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64" r:id="rId2"/>
    <p:sldMasterId id="2147483671" r:id="rId3"/>
  </p:sldMasterIdLst>
  <p:notesMasterIdLst>
    <p:notesMasterId r:id="rId20"/>
  </p:notesMasterIdLst>
  <p:handoutMasterIdLst>
    <p:handoutMasterId r:id="rId21"/>
  </p:handoutMasterIdLst>
  <p:sldIdLst>
    <p:sldId id="256" r:id="rId4"/>
    <p:sldId id="355" r:id="rId5"/>
    <p:sldId id="353" r:id="rId6"/>
    <p:sldId id="360" r:id="rId7"/>
    <p:sldId id="361" r:id="rId8"/>
    <p:sldId id="374" r:id="rId9"/>
    <p:sldId id="375" r:id="rId10"/>
    <p:sldId id="368" r:id="rId11"/>
    <p:sldId id="382" r:id="rId12"/>
    <p:sldId id="378" r:id="rId13"/>
    <p:sldId id="379" r:id="rId14"/>
    <p:sldId id="380" r:id="rId15"/>
    <p:sldId id="381" r:id="rId16"/>
    <p:sldId id="370" r:id="rId17"/>
    <p:sldId id="376" r:id="rId18"/>
    <p:sldId id="302" r:id="rId19"/>
  </p:sldIdLst>
  <p:sldSz cx="9144000" cy="6858000" type="screen4x3"/>
  <p:notesSz cx="7010400" cy="93726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740">
          <p15:clr>
            <a:srgbClr val="A4A3A4"/>
          </p15:clr>
        </p15:guide>
        <p15:guide id="2" orient="horz" pos="336" userDrawn="1">
          <p15:clr>
            <a:srgbClr val="A4A3A4"/>
          </p15:clr>
        </p15:guide>
        <p15:guide id="3" pos="216" userDrawn="1">
          <p15:clr>
            <a:srgbClr val="A4A3A4"/>
          </p15:clr>
        </p15:guide>
        <p15:guide id="4" orient="horz" pos="888" userDrawn="1">
          <p15:clr>
            <a:srgbClr val="A4A3A4"/>
          </p15:clr>
        </p15:guide>
      </p15:sldGuideLst>
    </p:ext>
    <p:ext uri="{2D200454-40CA-4A62-9FC3-DE9A4176ACB9}">
      <p15:notesGuideLst xmlns="" xmlns:p15="http://schemas.microsoft.com/office/powerpoint/2012/main">
        <p15:guide id="1" orient="horz" pos="2952">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a:srgbClr val="ACB7B2"/>
    <a:srgbClr val="401816"/>
    <a:srgbClr val="5C5F0B"/>
    <a:srgbClr val="B7BE16"/>
    <a:srgbClr val="A2BFAF"/>
    <a:srgbClr val="FFBC1D"/>
    <a:srgbClr val="AC2B37"/>
    <a:srgbClr val="762C7C"/>
    <a:srgbClr val="AF1C6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91" autoAdjust="0"/>
    <p:restoredTop sz="94660"/>
  </p:normalViewPr>
  <p:slideViewPr>
    <p:cSldViewPr snapToGrid="0">
      <p:cViewPr>
        <p:scale>
          <a:sx n="90" d="100"/>
          <a:sy n="90" d="100"/>
        </p:scale>
        <p:origin x="-1373" y="-58"/>
      </p:cViewPr>
      <p:guideLst>
        <p:guide orient="horz" pos="740"/>
        <p:guide orient="horz" pos="336"/>
        <p:guide orient="horz" pos="888"/>
        <p:guide pos="216"/>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5" d="100"/>
          <a:sy n="55" d="100"/>
        </p:scale>
        <p:origin x="-2538" y="-90"/>
      </p:cViewPr>
      <p:guideLst>
        <p:guide orient="horz" pos="2952"/>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611D078-DD0A-40E2-B305-70E14B887042}" type="doc">
      <dgm:prSet loTypeId="urn:microsoft.com/office/officeart/2005/8/layout/pyramid1" loCatId="pyramid" qsTypeId="urn:microsoft.com/office/officeart/2005/8/quickstyle/simple1" qsCatId="simple" csTypeId="urn:microsoft.com/office/officeart/2005/8/colors/accent1_2" csCatId="accent1" phldr="1"/>
      <dgm:spPr/>
    </dgm:pt>
    <dgm:pt modelId="{6780869D-DC05-40E4-8D7D-B57D85D84584}">
      <dgm:prSet custT="1"/>
      <dgm:spPr>
        <a:solidFill>
          <a:schemeClr val="accent1"/>
        </a:solidFill>
      </dgm:spPr>
      <dgm:t>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chemeClr val="bg1"/>
            </a:solidFill>
            <a:effectLst/>
            <a:latin typeface="Arial" charset="0"/>
          </a:endParaRPr>
        </a:p>
      </dgm:t>
    </dgm:pt>
    <dgm:pt modelId="{DF488C4F-53C5-47CD-8716-40A597F070D2}" type="parTrans" cxnId="{B9288501-A415-43C6-8B88-4F20017BBF11}">
      <dgm:prSet/>
      <dgm:spPr/>
      <dgm:t>
        <a:bodyPr/>
        <a:lstStyle/>
        <a:p>
          <a:endParaRPr lang="en-US" sz="1400"/>
        </a:p>
      </dgm:t>
    </dgm:pt>
    <dgm:pt modelId="{D79E0654-B5DE-4299-A6AF-63288AC1A495}" type="sibTrans" cxnId="{B9288501-A415-43C6-8B88-4F20017BBF11}">
      <dgm:prSet/>
      <dgm:spPr/>
      <dgm:t>
        <a:bodyPr/>
        <a:lstStyle/>
        <a:p>
          <a:endParaRPr lang="en-US" sz="1400"/>
        </a:p>
      </dgm:t>
    </dgm:pt>
    <dgm:pt modelId="{CDB280BD-D3DB-40C7-88C3-3FC37377DEAD}">
      <dgm:prSet custT="1"/>
      <dgm:spPr>
        <a:solidFill>
          <a:schemeClr val="accent2"/>
        </a:solidFill>
      </dgm:spPr>
      <dgm:t>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chemeClr val="bg1"/>
            </a:solidFill>
            <a:effectLst/>
            <a:latin typeface="Arial" charset="0"/>
          </a:endParaRPr>
        </a:p>
      </dgm:t>
    </dgm:pt>
    <dgm:pt modelId="{33DE5160-0ECE-48B9-96B1-0DD1733F5F77}" type="parTrans" cxnId="{C522E444-E193-4475-98F7-56FF9EF74B07}">
      <dgm:prSet/>
      <dgm:spPr/>
      <dgm:t>
        <a:bodyPr/>
        <a:lstStyle/>
        <a:p>
          <a:endParaRPr lang="en-US" sz="1400"/>
        </a:p>
      </dgm:t>
    </dgm:pt>
    <dgm:pt modelId="{2BEA7B35-CD35-4688-8D21-71B1EA6F5D52}" type="sibTrans" cxnId="{C522E444-E193-4475-98F7-56FF9EF74B07}">
      <dgm:prSet/>
      <dgm:spPr/>
      <dgm:t>
        <a:bodyPr/>
        <a:lstStyle/>
        <a:p>
          <a:endParaRPr lang="en-US" sz="1400"/>
        </a:p>
      </dgm:t>
    </dgm:pt>
    <dgm:pt modelId="{4DD233DA-C976-481A-BB81-9EC3EF76B0C0}">
      <dgm:prSet custT="1"/>
      <dgm:spPr>
        <a:solidFill>
          <a:schemeClr val="accent5"/>
        </a:solidFill>
      </dgm:spPr>
      <dgm:t>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chemeClr val="bg1"/>
            </a:solidFill>
            <a:effectLst/>
            <a:latin typeface="Arial" charset="0"/>
          </a:endParaRPr>
        </a:p>
      </dgm:t>
    </dgm:pt>
    <dgm:pt modelId="{A1B4B1EA-20D5-43F7-85B5-59CA10ACD7F1}" type="parTrans" cxnId="{7021A2EB-63AD-415A-8379-FEBE9862D0B7}">
      <dgm:prSet/>
      <dgm:spPr/>
      <dgm:t>
        <a:bodyPr/>
        <a:lstStyle/>
        <a:p>
          <a:endParaRPr lang="en-US" sz="1400"/>
        </a:p>
      </dgm:t>
    </dgm:pt>
    <dgm:pt modelId="{FF45C6A0-073E-402A-B598-717B8107A029}" type="sibTrans" cxnId="{7021A2EB-63AD-415A-8379-FEBE9862D0B7}">
      <dgm:prSet/>
      <dgm:spPr/>
      <dgm:t>
        <a:bodyPr/>
        <a:lstStyle/>
        <a:p>
          <a:endParaRPr lang="en-US" sz="1400"/>
        </a:p>
      </dgm:t>
    </dgm:pt>
    <dgm:pt modelId="{0399E9C4-06AC-4B7A-A4AD-EEC586F4FD53}" type="pres">
      <dgm:prSet presAssocID="{2611D078-DD0A-40E2-B305-70E14B887042}" presName="Name0" presStyleCnt="0">
        <dgm:presLayoutVars>
          <dgm:dir/>
          <dgm:animLvl val="lvl"/>
          <dgm:resizeHandles val="exact"/>
        </dgm:presLayoutVars>
      </dgm:prSet>
      <dgm:spPr/>
    </dgm:pt>
    <dgm:pt modelId="{740F044A-A056-4A09-8390-E9CF4E28AAD5}" type="pres">
      <dgm:prSet presAssocID="{6780869D-DC05-40E4-8D7D-B57D85D84584}" presName="Name8" presStyleCnt="0"/>
      <dgm:spPr/>
    </dgm:pt>
    <dgm:pt modelId="{1FDA8155-2622-4FFA-9BE0-857E85773A30}" type="pres">
      <dgm:prSet presAssocID="{6780869D-DC05-40E4-8D7D-B57D85D84584}" presName="level" presStyleLbl="node1" presStyleIdx="0" presStyleCnt="3">
        <dgm:presLayoutVars>
          <dgm:chMax val="1"/>
          <dgm:bulletEnabled val="1"/>
        </dgm:presLayoutVars>
      </dgm:prSet>
      <dgm:spPr/>
      <dgm:t>
        <a:bodyPr/>
        <a:lstStyle/>
        <a:p>
          <a:endParaRPr lang="en-US"/>
        </a:p>
      </dgm:t>
    </dgm:pt>
    <dgm:pt modelId="{153FDB92-382B-45D4-82AC-07DE11E5E7E9}" type="pres">
      <dgm:prSet presAssocID="{6780869D-DC05-40E4-8D7D-B57D85D84584}" presName="levelTx" presStyleLbl="revTx" presStyleIdx="0" presStyleCnt="0">
        <dgm:presLayoutVars>
          <dgm:chMax val="1"/>
          <dgm:bulletEnabled val="1"/>
        </dgm:presLayoutVars>
      </dgm:prSet>
      <dgm:spPr/>
      <dgm:t>
        <a:bodyPr/>
        <a:lstStyle/>
        <a:p>
          <a:endParaRPr lang="en-US"/>
        </a:p>
      </dgm:t>
    </dgm:pt>
    <dgm:pt modelId="{11723029-9E91-4AD9-A1A6-34B7B5A5D663}" type="pres">
      <dgm:prSet presAssocID="{CDB280BD-D3DB-40C7-88C3-3FC37377DEAD}" presName="Name8" presStyleCnt="0"/>
      <dgm:spPr/>
    </dgm:pt>
    <dgm:pt modelId="{7FFC235B-08FF-4F68-8117-B065DB5272C7}" type="pres">
      <dgm:prSet presAssocID="{CDB280BD-D3DB-40C7-88C3-3FC37377DEAD}" presName="level" presStyleLbl="node1" presStyleIdx="1" presStyleCnt="3">
        <dgm:presLayoutVars>
          <dgm:chMax val="1"/>
          <dgm:bulletEnabled val="1"/>
        </dgm:presLayoutVars>
      </dgm:prSet>
      <dgm:spPr/>
      <dgm:t>
        <a:bodyPr/>
        <a:lstStyle/>
        <a:p>
          <a:endParaRPr lang="en-US"/>
        </a:p>
      </dgm:t>
    </dgm:pt>
    <dgm:pt modelId="{96651008-F272-49FA-9E62-D326078780AE}" type="pres">
      <dgm:prSet presAssocID="{CDB280BD-D3DB-40C7-88C3-3FC37377DEAD}" presName="levelTx" presStyleLbl="revTx" presStyleIdx="0" presStyleCnt="0">
        <dgm:presLayoutVars>
          <dgm:chMax val="1"/>
          <dgm:bulletEnabled val="1"/>
        </dgm:presLayoutVars>
      </dgm:prSet>
      <dgm:spPr/>
      <dgm:t>
        <a:bodyPr/>
        <a:lstStyle/>
        <a:p>
          <a:endParaRPr lang="en-US"/>
        </a:p>
      </dgm:t>
    </dgm:pt>
    <dgm:pt modelId="{3C117949-9633-44F2-A9C5-091CE1F10E27}" type="pres">
      <dgm:prSet presAssocID="{4DD233DA-C976-481A-BB81-9EC3EF76B0C0}" presName="Name8" presStyleCnt="0"/>
      <dgm:spPr/>
    </dgm:pt>
    <dgm:pt modelId="{CC767BB5-D999-4BF5-A74B-67818EDC390A}" type="pres">
      <dgm:prSet presAssocID="{4DD233DA-C976-481A-BB81-9EC3EF76B0C0}" presName="level" presStyleLbl="node1" presStyleIdx="2" presStyleCnt="3" custLinFactNeighborY="2590">
        <dgm:presLayoutVars>
          <dgm:chMax val="1"/>
          <dgm:bulletEnabled val="1"/>
        </dgm:presLayoutVars>
      </dgm:prSet>
      <dgm:spPr/>
      <dgm:t>
        <a:bodyPr/>
        <a:lstStyle/>
        <a:p>
          <a:endParaRPr lang="en-US"/>
        </a:p>
      </dgm:t>
    </dgm:pt>
    <dgm:pt modelId="{DB89D51F-5D26-4FBF-85A9-6365F1B12727}" type="pres">
      <dgm:prSet presAssocID="{4DD233DA-C976-481A-BB81-9EC3EF76B0C0}" presName="levelTx" presStyleLbl="revTx" presStyleIdx="0" presStyleCnt="0">
        <dgm:presLayoutVars>
          <dgm:chMax val="1"/>
          <dgm:bulletEnabled val="1"/>
        </dgm:presLayoutVars>
      </dgm:prSet>
      <dgm:spPr/>
      <dgm:t>
        <a:bodyPr/>
        <a:lstStyle/>
        <a:p>
          <a:endParaRPr lang="en-US"/>
        </a:p>
      </dgm:t>
    </dgm:pt>
  </dgm:ptLst>
  <dgm:cxnLst>
    <dgm:cxn modelId="{685ED18F-9E00-4530-9379-AA86F67CC21B}" type="presOf" srcId="{6780869D-DC05-40E4-8D7D-B57D85D84584}" destId="{1FDA8155-2622-4FFA-9BE0-857E85773A30}" srcOrd="0" destOrd="0" presId="urn:microsoft.com/office/officeart/2005/8/layout/pyramid1"/>
    <dgm:cxn modelId="{4F8908BB-3104-4F7B-BAB8-9227620D1FBC}" type="presOf" srcId="{CDB280BD-D3DB-40C7-88C3-3FC37377DEAD}" destId="{7FFC235B-08FF-4F68-8117-B065DB5272C7}" srcOrd="0" destOrd="0" presId="urn:microsoft.com/office/officeart/2005/8/layout/pyramid1"/>
    <dgm:cxn modelId="{B9288501-A415-43C6-8B88-4F20017BBF11}" srcId="{2611D078-DD0A-40E2-B305-70E14B887042}" destId="{6780869D-DC05-40E4-8D7D-B57D85D84584}" srcOrd="0" destOrd="0" parTransId="{DF488C4F-53C5-47CD-8716-40A597F070D2}" sibTransId="{D79E0654-B5DE-4299-A6AF-63288AC1A495}"/>
    <dgm:cxn modelId="{341B09CB-DBCF-4CE3-A3E0-9E5F2F337F89}" type="presOf" srcId="{6780869D-DC05-40E4-8D7D-B57D85D84584}" destId="{153FDB92-382B-45D4-82AC-07DE11E5E7E9}" srcOrd="1" destOrd="0" presId="urn:microsoft.com/office/officeart/2005/8/layout/pyramid1"/>
    <dgm:cxn modelId="{7021A2EB-63AD-415A-8379-FEBE9862D0B7}" srcId="{2611D078-DD0A-40E2-B305-70E14B887042}" destId="{4DD233DA-C976-481A-BB81-9EC3EF76B0C0}" srcOrd="2" destOrd="0" parTransId="{A1B4B1EA-20D5-43F7-85B5-59CA10ACD7F1}" sibTransId="{FF45C6A0-073E-402A-B598-717B8107A029}"/>
    <dgm:cxn modelId="{2E25C061-6E23-4E2B-9458-9A4682AFCD21}" type="presOf" srcId="{2611D078-DD0A-40E2-B305-70E14B887042}" destId="{0399E9C4-06AC-4B7A-A4AD-EEC586F4FD53}" srcOrd="0" destOrd="0" presId="urn:microsoft.com/office/officeart/2005/8/layout/pyramid1"/>
    <dgm:cxn modelId="{6C0D0108-C246-43F3-940E-47AE59462147}" type="presOf" srcId="{4DD233DA-C976-481A-BB81-9EC3EF76B0C0}" destId="{DB89D51F-5D26-4FBF-85A9-6365F1B12727}" srcOrd="1" destOrd="0" presId="urn:microsoft.com/office/officeart/2005/8/layout/pyramid1"/>
    <dgm:cxn modelId="{06B03619-2D52-4B78-9E96-72A5DA527BA0}" type="presOf" srcId="{4DD233DA-C976-481A-BB81-9EC3EF76B0C0}" destId="{CC767BB5-D999-4BF5-A74B-67818EDC390A}" srcOrd="0" destOrd="0" presId="urn:microsoft.com/office/officeart/2005/8/layout/pyramid1"/>
    <dgm:cxn modelId="{C522E444-E193-4475-98F7-56FF9EF74B07}" srcId="{2611D078-DD0A-40E2-B305-70E14B887042}" destId="{CDB280BD-D3DB-40C7-88C3-3FC37377DEAD}" srcOrd="1" destOrd="0" parTransId="{33DE5160-0ECE-48B9-96B1-0DD1733F5F77}" sibTransId="{2BEA7B35-CD35-4688-8D21-71B1EA6F5D52}"/>
    <dgm:cxn modelId="{51EEEC22-B878-4E80-AEAB-D0E52F73D000}" type="presOf" srcId="{CDB280BD-D3DB-40C7-88C3-3FC37377DEAD}" destId="{96651008-F272-49FA-9E62-D326078780AE}" srcOrd="1" destOrd="0" presId="urn:microsoft.com/office/officeart/2005/8/layout/pyramid1"/>
    <dgm:cxn modelId="{6FCC22BA-66D9-4747-B367-0DABC4AA2E47}" type="presParOf" srcId="{0399E9C4-06AC-4B7A-A4AD-EEC586F4FD53}" destId="{740F044A-A056-4A09-8390-E9CF4E28AAD5}" srcOrd="0" destOrd="0" presId="urn:microsoft.com/office/officeart/2005/8/layout/pyramid1"/>
    <dgm:cxn modelId="{BF0167B5-09A5-48AC-8062-C60646A49F99}" type="presParOf" srcId="{740F044A-A056-4A09-8390-E9CF4E28AAD5}" destId="{1FDA8155-2622-4FFA-9BE0-857E85773A30}" srcOrd="0" destOrd="0" presId="urn:microsoft.com/office/officeart/2005/8/layout/pyramid1"/>
    <dgm:cxn modelId="{6CB2225F-1E45-47B7-A83E-64595A4F7992}" type="presParOf" srcId="{740F044A-A056-4A09-8390-E9CF4E28AAD5}" destId="{153FDB92-382B-45D4-82AC-07DE11E5E7E9}" srcOrd="1" destOrd="0" presId="urn:microsoft.com/office/officeart/2005/8/layout/pyramid1"/>
    <dgm:cxn modelId="{73684514-F309-4A21-B532-D94949E6BE3E}" type="presParOf" srcId="{0399E9C4-06AC-4B7A-A4AD-EEC586F4FD53}" destId="{11723029-9E91-4AD9-A1A6-34B7B5A5D663}" srcOrd="1" destOrd="0" presId="urn:microsoft.com/office/officeart/2005/8/layout/pyramid1"/>
    <dgm:cxn modelId="{99F6D86F-E197-4ABE-AE73-1D75BD7D028C}" type="presParOf" srcId="{11723029-9E91-4AD9-A1A6-34B7B5A5D663}" destId="{7FFC235B-08FF-4F68-8117-B065DB5272C7}" srcOrd="0" destOrd="0" presId="urn:microsoft.com/office/officeart/2005/8/layout/pyramid1"/>
    <dgm:cxn modelId="{B69120A7-BB6B-4D19-B157-9595A3664EC9}" type="presParOf" srcId="{11723029-9E91-4AD9-A1A6-34B7B5A5D663}" destId="{96651008-F272-49FA-9E62-D326078780AE}" srcOrd="1" destOrd="0" presId="urn:microsoft.com/office/officeart/2005/8/layout/pyramid1"/>
    <dgm:cxn modelId="{4E11DD5C-86E9-49D2-91F6-B5DE6F8E0821}" type="presParOf" srcId="{0399E9C4-06AC-4B7A-A4AD-EEC586F4FD53}" destId="{3C117949-9633-44F2-A9C5-091CE1F10E27}" srcOrd="2" destOrd="0" presId="urn:microsoft.com/office/officeart/2005/8/layout/pyramid1"/>
    <dgm:cxn modelId="{D793E074-1029-49D8-83DB-666C4FBFB205}" type="presParOf" srcId="{3C117949-9633-44F2-A9C5-091CE1F10E27}" destId="{CC767BB5-D999-4BF5-A74B-67818EDC390A}" srcOrd="0" destOrd="0" presId="urn:microsoft.com/office/officeart/2005/8/layout/pyramid1"/>
    <dgm:cxn modelId="{129EF04D-6679-45E8-BBCE-1C812B93CC69}" type="presParOf" srcId="{3C117949-9633-44F2-A9C5-091CE1F10E27}" destId="{DB89D51F-5D26-4FBF-85A9-6365F1B12727}"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DA8155-2622-4FFA-9BE0-857E85773A30}">
      <dsp:nvSpPr>
        <dsp:cNvPr id="0" name=""/>
        <dsp:cNvSpPr/>
      </dsp:nvSpPr>
      <dsp:spPr>
        <a:xfrm>
          <a:off x="1694577" y="0"/>
          <a:ext cx="1694577" cy="1303584"/>
        </a:xfrm>
        <a:prstGeom prst="trapezoid">
          <a:avLst>
            <a:gd name="adj" fmla="val 64997"/>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400" b="1" i="0" u="none" strike="noStrike" kern="1200" cap="none" normalizeH="0" baseline="0" dirty="0" smtClean="0">
            <a:ln>
              <a:noFill/>
            </a:ln>
            <a:solidFill>
              <a:schemeClr val="bg1"/>
            </a:solidFill>
            <a:effectLst/>
            <a:latin typeface="Arial" charset="0"/>
          </a:endParaRPr>
        </a:p>
      </dsp:txBody>
      <dsp:txXfrm>
        <a:off x="1694577" y="0"/>
        <a:ext cx="1694577" cy="1303584"/>
      </dsp:txXfrm>
    </dsp:sp>
    <dsp:sp modelId="{7FFC235B-08FF-4F68-8117-B065DB5272C7}">
      <dsp:nvSpPr>
        <dsp:cNvPr id="0" name=""/>
        <dsp:cNvSpPr/>
      </dsp:nvSpPr>
      <dsp:spPr>
        <a:xfrm>
          <a:off x="847288" y="1303584"/>
          <a:ext cx="3389154" cy="1303584"/>
        </a:xfrm>
        <a:prstGeom prst="trapezoid">
          <a:avLst>
            <a:gd name="adj" fmla="val 64997"/>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400" b="1" i="0" u="none" strike="noStrike" kern="1200" cap="none" normalizeH="0" baseline="0" dirty="0" smtClean="0">
            <a:ln>
              <a:noFill/>
            </a:ln>
            <a:solidFill>
              <a:schemeClr val="bg1"/>
            </a:solidFill>
            <a:effectLst/>
            <a:latin typeface="Arial" charset="0"/>
          </a:endParaRPr>
        </a:p>
      </dsp:txBody>
      <dsp:txXfrm>
        <a:off x="1440390" y="1303584"/>
        <a:ext cx="2202950" cy="1303584"/>
      </dsp:txXfrm>
    </dsp:sp>
    <dsp:sp modelId="{CC767BB5-D999-4BF5-A74B-67818EDC390A}">
      <dsp:nvSpPr>
        <dsp:cNvPr id="0" name=""/>
        <dsp:cNvSpPr/>
      </dsp:nvSpPr>
      <dsp:spPr>
        <a:xfrm>
          <a:off x="0" y="2607168"/>
          <a:ext cx="5083731" cy="1303584"/>
        </a:xfrm>
        <a:prstGeom prst="trapezoid">
          <a:avLst>
            <a:gd name="adj" fmla="val 64997"/>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400" b="1" i="0" u="none" strike="noStrike" kern="1200" cap="none" normalizeH="0" baseline="0" dirty="0" smtClean="0">
            <a:ln>
              <a:noFill/>
            </a:ln>
            <a:solidFill>
              <a:schemeClr val="bg1"/>
            </a:solidFill>
            <a:effectLst/>
            <a:latin typeface="Arial" charset="0"/>
          </a:endParaRPr>
        </a:p>
      </dsp:txBody>
      <dsp:txXfrm>
        <a:off x="889652" y="2607168"/>
        <a:ext cx="3304425" cy="1303584"/>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8630"/>
          </a:xfrm>
          <a:prstGeom prst="rect">
            <a:avLst/>
          </a:prstGeom>
        </p:spPr>
        <p:txBody>
          <a:bodyPr vert="horz" lIns="93616" tIns="46808" rIns="93616" bIns="46808"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8630"/>
          </a:xfrm>
          <a:prstGeom prst="rect">
            <a:avLst/>
          </a:prstGeom>
        </p:spPr>
        <p:txBody>
          <a:bodyPr vert="horz" lIns="93616" tIns="46808" rIns="93616" bIns="46808" rtlCol="0"/>
          <a:lstStyle>
            <a:lvl1pPr algn="r">
              <a:defRPr sz="1200"/>
            </a:lvl1pPr>
          </a:lstStyle>
          <a:p>
            <a:fld id="{CBC2C562-3ABF-449F-BC7D-78255304C412}" type="datetimeFigureOut">
              <a:rPr lang="en-US" smtClean="0"/>
              <a:pPr/>
              <a:t>12/11/2016</a:t>
            </a:fld>
            <a:endParaRPr lang="en-US"/>
          </a:p>
        </p:txBody>
      </p:sp>
      <p:sp>
        <p:nvSpPr>
          <p:cNvPr id="4" name="Footer Placeholder 3"/>
          <p:cNvSpPr>
            <a:spLocks noGrp="1"/>
          </p:cNvSpPr>
          <p:nvPr>
            <p:ph type="ftr" sz="quarter" idx="2"/>
          </p:nvPr>
        </p:nvSpPr>
        <p:spPr>
          <a:xfrm>
            <a:off x="0" y="8902343"/>
            <a:ext cx="3037840" cy="468630"/>
          </a:xfrm>
          <a:prstGeom prst="rect">
            <a:avLst/>
          </a:prstGeom>
        </p:spPr>
        <p:txBody>
          <a:bodyPr vert="horz" lIns="93616" tIns="46808" rIns="93616" bIns="46808"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902343"/>
            <a:ext cx="3037840" cy="468630"/>
          </a:xfrm>
          <a:prstGeom prst="rect">
            <a:avLst/>
          </a:prstGeom>
        </p:spPr>
        <p:txBody>
          <a:bodyPr vert="horz" lIns="93616" tIns="46808" rIns="93616" bIns="46808" rtlCol="0" anchor="b"/>
          <a:lstStyle>
            <a:lvl1pPr algn="r">
              <a:defRPr sz="1200"/>
            </a:lvl1pPr>
          </a:lstStyle>
          <a:p>
            <a:fld id="{88C4C71A-1C17-4342-AD83-9B360BA581CB}" type="slidenum">
              <a:rPr lang="en-US" smtClean="0"/>
              <a:pPr/>
              <a:t>‹#›</a:t>
            </a:fld>
            <a:endParaRPr lang="en-US"/>
          </a:p>
        </p:txBody>
      </p:sp>
    </p:spTree>
    <p:extLst>
      <p:ext uri="{BB962C8B-B14F-4D97-AF65-F5344CB8AC3E}">
        <p14:creationId xmlns:p14="http://schemas.microsoft.com/office/powerpoint/2010/main" val="85517488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8630"/>
          </a:xfrm>
          <a:prstGeom prst="rect">
            <a:avLst/>
          </a:prstGeom>
        </p:spPr>
        <p:txBody>
          <a:bodyPr vert="horz" lIns="93616" tIns="46808" rIns="93616" bIns="46808" rtlCol="0"/>
          <a:lstStyle>
            <a:lvl1pPr algn="l">
              <a:defRPr sz="1200"/>
            </a:lvl1pPr>
          </a:lstStyle>
          <a:p>
            <a:endParaRPr lang="en-US"/>
          </a:p>
        </p:txBody>
      </p:sp>
      <p:sp>
        <p:nvSpPr>
          <p:cNvPr id="3" name="Date Placeholder 2"/>
          <p:cNvSpPr>
            <a:spLocks noGrp="1"/>
          </p:cNvSpPr>
          <p:nvPr>
            <p:ph type="dt" idx="1"/>
          </p:nvPr>
        </p:nvSpPr>
        <p:spPr>
          <a:xfrm>
            <a:off x="3970938" y="0"/>
            <a:ext cx="3037840" cy="468630"/>
          </a:xfrm>
          <a:prstGeom prst="rect">
            <a:avLst/>
          </a:prstGeom>
        </p:spPr>
        <p:txBody>
          <a:bodyPr vert="horz" lIns="93616" tIns="46808" rIns="93616" bIns="46808" rtlCol="0"/>
          <a:lstStyle>
            <a:lvl1pPr algn="r">
              <a:defRPr sz="1200"/>
            </a:lvl1pPr>
          </a:lstStyle>
          <a:p>
            <a:fld id="{6D0524E5-8614-4D32-A3DF-F32181F74545}" type="datetimeFigureOut">
              <a:rPr lang="en-US" smtClean="0"/>
              <a:pPr/>
              <a:t>12/11/2016</a:t>
            </a:fld>
            <a:endParaRPr lang="en-US"/>
          </a:p>
        </p:txBody>
      </p:sp>
      <p:sp>
        <p:nvSpPr>
          <p:cNvPr id="4" name="Slide Image Placeholder 3"/>
          <p:cNvSpPr>
            <a:spLocks noGrp="1" noRot="1" noChangeAspect="1"/>
          </p:cNvSpPr>
          <p:nvPr>
            <p:ph type="sldImg" idx="2"/>
          </p:nvPr>
        </p:nvSpPr>
        <p:spPr>
          <a:xfrm>
            <a:off x="1162050" y="703263"/>
            <a:ext cx="4686300" cy="3514725"/>
          </a:xfrm>
          <a:prstGeom prst="rect">
            <a:avLst/>
          </a:prstGeom>
          <a:noFill/>
          <a:ln w="12700">
            <a:solidFill>
              <a:prstClr val="black"/>
            </a:solidFill>
          </a:ln>
        </p:spPr>
        <p:txBody>
          <a:bodyPr vert="horz" lIns="93616" tIns="46808" rIns="93616" bIns="46808" rtlCol="0" anchor="ctr"/>
          <a:lstStyle/>
          <a:p>
            <a:endParaRPr lang="en-US"/>
          </a:p>
        </p:txBody>
      </p:sp>
      <p:sp>
        <p:nvSpPr>
          <p:cNvPr id="5" name="Notes Placeholder 4"/>
          <p:cNvSpPr>
            <a:spLocks noGrp="1"/>
          </p:cNvSpPr>
          <p:nvPr>
            <p:ph type="body" sz="quarter" idx="3"/>
          </p:nvPr>
        </p:nvSpPr>
        <p:spPr>
          <a:xfrm>
            <a:off x="701040" y="4451985"/>
            <a:ext cx="5608320" cy="4217670"/>
          </a:xfrm>
          <a:prstGeom prst="rect">
            <a:avLst/>
          </a:prstGeom>
        </p:spPr>
        <p:txBody>
          <a:bodyPr vert="horz" lIns="93616" tIns="46808" rIns="93616" bIns="46808"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902343"/>
            <a:ext cx="3037840" cy="468630"/>
          </a:xfrm>
          <a:prstGeom prst="rect">
            <a:avLst/>
          </a:prstGeom>
        </p:spPr>
        <p:txBody>
          <a:bodyPr vert="horz" lIns="93616" tIns="46808" rIns="93616" bIns="46808"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902343"/>
            <a:ext cx="3037840" cy="468630"/>
          </a:xfrm>
          <a:prstGeom prst="rect">
            <a:avLst/>
          </a:prstGeom>
        </p:spPr>
        <p:txBody>
          <a:bodyPr vert="horz" lIns="93616" tIns="46808" rIns="93616" bIns="46808" rtlCol="0" anchor="b"/>
          <a:lstStyle>
            <a:lvl1pPr algn="r">
              <a:defRPr sz="1200"/>
            </a:lvl1pPr>
          </a:lstStyle>
          <a:p>
            <a:fld id="{9FF4F04D-5809-46B9-BC34-D0E45399D316}" type="slidenum">
              <a:rPr lang="en-US" smtClean="0"/>
              <a:pPr/>
              <a:t>‹#›</a:t>
            </a:fld>
            <a:endParaRPr lang="en-US"/>
          </a:p>
        </p:txBody>
      </p:sp>
    </p:spTree>
    <p:extLst>
      <p:ext uri="{BB962C8B-B14F-4D97-AF65-F5344CB8AC3E}">
        <p14:creationId xmlns:p14="http://schemas.microsoft.com/office/powerpoint/2010/main" val="31103741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1</a:t>
            </a:fld>
            <a:endParaRPr lang="en-US"/>
          </a:p>
        </p:txBody>
      </p:sp>
    </p:spTree>
    <p:extLst>
      <p:ext uri="{BB962C8B-B14F-4D97-AF65-F5344CB8AC3E}">
        <p14:creationId xmlns:p14="http://schemas.microsoft.com/office/powerpoint/2010/main" val="35964802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F4F04D-5809-46B9-BC34-D0E45399D316}" type="slidenum">
              <a:rPr lang="en-US" smtClean="0"/>
              <a:pPr/>
              <a:t>4</a:t>
            </a:fld>
            <a:endParaRPr lang="en-US" dirty="0"/>
          </a:p>
        </p:txBody>
      </p:sp>
    </p:spTree>
    <p:extLst>
      <p:ext uri="{BB962C8B-B14F-4D97-AF65-F5344CB8AC3E}">
        <p14:creationId xmlns:p14="http://schemas.microsoft.com/office/powerpoint/2010/main" val="1075427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2050" y="703263"/>
            <a:ext cx="4686300" cy="35147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F4F04D-5809-46B9-BC34-D0E45399D316}" type="slidenum">
              <a:rPr lang="en-US" smtClean="0"/>
              <a:pPr/>
              <a:t>6</a:t>
            </a:fld>
            <a:endParaRPr lang="en-US" dirty="0"/>
          </a:p>
        </p:txBody>
      </p:sp>
    </p:spTree>
    <p:extLst>
      <p:ext uri="{BB962C8B-B14F-4D97-AF65-F5344CB8AC3E}">
        <p14:creationId xmlns:p14="http://schemas.microsoft.com/office/powerpoint/2010/main" val="10018660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4</a:t>
            </a:fld>
            <a:endParaRPr lang="en-US" dirty="0"/>
          </a:p>
        </p:txBody>
      </p:sp>
    </p:spTree>
    <p:extLst>
      <p:ext uri="{BB962C8B-B14F-4D97-AF65-F5344CB8AC3E}">
        <p14:creationId xmlns:p14="http://schemas.microsoft.com/office/powerpoint/2010/main" val="21359467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16</a:t>
            </a:fld>
            <a:endParaRPr lang="en-US"/>
          </a:p>
        </p:txBody>
      </p:sp>
    </p:spTree>
    <p:extLst>
      <p:ext uri="{BB962C8B-B14F-4D97-AF65-F5344CB8AC3E}">
        <p14:creationId xmlns:p14="http://schemas.microsoft.com/office/powerpoint/2010/main" val="108037393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jpe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5.emf"/><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tags" Target="../tags/tag7.xml"/><Relationship Id="rId11" Type="http://schemas.openxmlformats.org/officeDocument/2006/relationships/image" Target="../media/image3.emf"/><Relationship Id="rId5" Type="http://schemas.openxmlformats.org/officeDocument/2006/relationships/tags" Target="../tags/tag6.xml"/><Relationship Id="rId10" Type="http://schemas.openxmlformats.org/officeDocument/2006/relationships/oleObject" Target="../embeddings/oleObject1.bin"/><Relationship Id="rId4" Type="http://schemas.openxmlformats.org/officeDocument/2006/relationships/tags" Target="../tags/tag5.xml"/><Relationship Id="rId9" Type="http://schemas.openxmlformats.org/officeDocument/2006/relationships/image" Target="../media/image4.jpeg"/><Relationship Id="rId14" Type="http://schemas.openxmlformats.org/officeDocument/2006/relationships/image" Target="../media/image7.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1.xml"/><Relationship Id="rId7" Type="http://schemas.openxmlformats.org/officeDocument/2006/relationships/tags" Target="../tags/tag25.xml"/><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oleObject" Target="../embeddings/oleObject5.bin"/><Relationship Id="rId5" Type="http://schemas.openxmlformats.org/officeDocument/2006/relationships/tags" Target="../tags/tag23.xml"/><Relationship Id="rId10" Type="http://schemas.openxmlformats.org/officeDocument/2006/relationships/image" Target="../media/image3.emf"/><Relationship Id="rId4" Type="http://schemas.openxmlformats.org/officeDocument/2006/relationships/tags" Target="../tags/tag22.xml"/><Relationship Id="rId9" Type="http://schemas.openxmlformats.org/officeDocument/2006/relationships/oleObject" Target="../embeddings/oleObject4.bin"/></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37.xml"/><Relationship Id="rId7"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vmlDrawing" Target="../drawings/vmlDrawing6.v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image" Target="../media/image18.png"/><Relationship Id="rId4" Type="http://schemas.openxmlformats.org/officeDocument/2006/relationships/tags" Target="../tags/tag38.xml"/><Relationship Id="rId9"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8.png"/><Relationship Id="rId2" Type="http://schemas.openxmlformats.org/officeDocument/2006/relationships/tags" Target="../tags/tag41.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vmlDrawing" Target="../drawings/vmlDrawing8.v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image" Target="../media/image5.emf"/><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3.emf"/><Relationship Id="rId2" Type="http://schemas.openxmlformats.org/officeDocument/2006/relationships/tags" Target="../tags/tag52.xml"/><Relationship Id="rId1" Type="http://schemas.openxmlformats.org/officeDocument/2006/relationships/vmlDrawing" Target="../drawings/vmlDrawing10.vml"/><Relationship Id="rId6" Type="http://schemas.openxmlformats.org/officeDocument/2006/relationships/tags" Target="../tags/tag56.xml"/><Relationship Id="rId11" Type="http://schemas.openxmlformats.org/officeDocument/2006/relationships/oleObject" Target="../embeddings/oleObject11.bin"/><Relationship Id="rId5" Type="http://schemas.openxmlformats.org/officeDocument/2006/relationships/tags" Target="../tags/tag55.xml"/><Relationship Id="rId10" Type="http://schemas.openxmlformats.org/officeDocument/2006/relationships/image" Target="../media/image21.jpeg"/><Relationship Id="rId4" Type="http://schemas.openxmlformats.org/officeDocument/2006/relationships/tags" Target="../tags/tag54.xml"/><Relationship Id="rId9" Type="http://schemas.openxmlformats.org/officeDocument/2006/relationships/image" Target="../media/image20.jpeg"/></Relationships>
</file>

<file path=ppt/slideLayouts/_rels/slideLayout23.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image" Target="../media/image5.emf"/><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21.jpeg"/><Relationship Id="rId2" Type="http://schemas.openxmlformats.org/officeDocument/2006/relationships/tags" Target="../tags/tag58.xml"/><Relationship Id="rId1" Type="http://schemas.openxmlformats.org/officeDocument/2006/relationships/vmlDrawing" Target="../drawings/vmlDrawing11.vml"/><Relationship Id="rId6" Type="http://schemas.openxmlformats.org/officeDocument/2006/relationships/tags" Target="../tags/tag62.xml"/><Relationship Id="rId11" Type="http://schemas.openxmlformats.org/officeDocument/2006/relationships/image" Target="../media/image3.emf"/><Relationship Id="rId5" Type="http://schemas.openxmlformats.org/officeDocument/2006/relationships/tags" Target="../tags/tag61.xml"/><Relationship Id="rId10" Type="http://schemas.openxmlformats.org/officeDocument/2006/relationships/oleObject" Target="../embeddings/oleObject12.bin"/><Relationship Id="rId4" Type="http://schemas.openxmlformats.org/officeDocument/2006/relationships/tags" Target="../tags/tag60.xml"/><Relationship Id="rId9" Type="http://schemas.openxmlformats.org/officeDocument/2006/relationships/image" Target="../media/image22.jpe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3.emf"/><Relationship Id="rId2" Type="http://schemas.openxmlformats.org/officeDocument/2006/relationships/tags" Target="../tags/tag64.xml"/><Relationship Id="rId1" Type="http://schemas.openxmlformats.org/officeDocument/2006/relationships/vmlDrawing" Target="../drawings/vmlDrawing12.vml"/><Relationship Id="rId6" Type="http://schemas.openxmlformats.org/officeDocument/2006/relationships/oleObject" Target="../embeddings/oleObject13.bin"/><Relationship Id="rId5" Type="http://schemas.openxmlformats.org/officeDocument/2006/relationships/slideMaster" Target="../slideMasters/slideMaster3.xml"/><Relationship Id="rId4" Type="http://schemas.openxmlformats.org/officeDocument/2006/relationships/tags" Target="../tags/tag66.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68.xml"/><Relationship Id="rId7" Type="http://schemas.openxmlformats.org/officeDocument/2006/relationships/oleObject" Target="../embeddings/oleObject14.bin"/><Relationship Id="rId2" Type="http://schemas.openxmlformats.org/officeDocument/2006/relationships/tags" Target="../tags/tag67.xml"/><Relationship Id="rId1" Type="http://schemas.openxmlformats.org/officeDocument/2006/relationships/vmlDrawing" Target="../drawings/vmlDrawing13.vml"/><Relationship Id="rId6" Type="http://schemas.openxmlformats.org/officeDocument/2006/relationships/slideMaster" Target="../slideMasters/slideMaster3.xml"/><Relationship Id="rId5" Type="http://schemas.openxmlformats.org/officeDocument/2006/relationships/tags" Target="../tags/tag70.xml"/><Relationship Id="rId4" Type="http://schemas.openxmlformats.org/officeDocument/2006/relationships/tags" Target="../tags/tag69.xml"/><Relationship Id="rId9" Type="http://schemas.openxmlformats.org/officeDocument/2006/relationships/image" Target="../media/image23.png"/></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3.emf"/><Relationship Id="rId2" Type="http://schemas.openxmlformats.org/officeDocument/2006/relationships/tags" Target="../tags/tag71.xml"/><Relationship Id="rId1" Type="http://schemas.openxmlformats.org/officeDocument/2006/relationships/vmlDrawing" Target="../drawings/vmlDrawing14.vml"/><Relationship Id="rId6" Type="http://schemas.openxmlformats.org/officeDocument/2006/relationships/oleObject" Target="../embeddings/oleObject15.bin"/><Relationship Id="rId5" Type="http://schemas.openxmlformats.org/officeDocument/2006/relationships/slideMaster" Target="../slideMasters/slideMaster3.xml"/><Relationship Id="rId4" Type="http://schemas.openxmlformats.org/officeDocument/2006/relationships/tags" Target="../tags/tag73.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75.xml"/><Relationship Id="rId7" Type="http://schemas.openxmlformats.org/officeDocument/2006/relationships/oleObject" Target="../embeddings/oleObject16.bin"/><Relationship Id="rId2" Type="http://schemas.openxmlformats.org/officeDocument/2006/relationships/tags" Target="../tags/tag74.xml"/><Relationship Id="rId1" Type="http://schemas.openxmlformats.org/officeDocument/2006/relationships/vmlDrawing" Target="../drawings/vmlDrawing15.vml"/><Relationship Id="rId6" Type="http://schemas.openxmlformats.org/officeDocument/2006/relationships/slideMaster" Target="../slideMasters/slideMaster3.xml"/><Relationship Id="rId5" Type="http://schemas.openxmlformats.org/officeDocument/2006/relationships/tags" Target="../tags/tag77.xml"/><Relationship Id="rId4" Type="http://schemas.openxmlformats.org/officeDocument/2006/relationships/tags" Target="../tags/tag76.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79.xml"/><Relationship Id="rId7" Type="http://schemas.openxmlformats.org/officeDocument/2006/relationships/oleObject" Target="../embeddings/oleObject17.bin"/><Relationship Id="rId2" Type="http://schemas.openxmlformats.org/officeDocument/2006/relationships/tags" Target="../tags/tag78.xml"/><Relationship Id="rId1" Type="http://schemas.openxmlformats.org/officeDocument/2006/relationships/vmlDrawing" Target="../drawings/vmlDrawing16.vml"/><Relationship Id="rId6" Type="http://schemas.openxmlformats.org/officeDocument/2006/relationships/slideMaster" Target="../slideMasters/slideMaster3.xml"/><Relationship Id="rId5" Type="http://schemas.openxmlformats.org/officeDocument/2006/relationships/tags" Target="../tags/tag81.xml"/><Relationship Id="rId4" Type="http://schemas.openxmlformats.org/officeDocument/2006/relationships/tags" Target="../tags/tag80.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83.xml"/><Relationship Id="rId7" Type="http://schemas.openxmlformats.org/officeDocument/2006/relationships/tags" Target="../tags/tag87.xml"/><Relationship Id="rId2" Type="http://schemas.openxmlformats.org/officeDocument/2006/relationships/tags" Target="../tags/tag82.xml"/><Relationship Id="rId1" Type="http://schemas.openxmlformats.org/officeDocument/2006/relationships/vmlDrawing" Target="../drawings/vmlDrawing17.vml"/><Relationship Id="rId6" Type="http://schemas.openxmlformats.org/officeDocument/2006/relationships/tags" Target="../tags/tag86.xml"/><Relationship Id="rId5" Type="http://schemas.openxmlformats.org/officeDocument/2006/relationships/tags" Target="../tags/tag85.xml"/><Relationship Id="rId10" Type="http://schemas.openxmlformats.org/officeDocument/2006/relationships/image" Target="../media/image3.emf"/><Relationship Id="rId4" Type="http://schemas.openxmlformats.org/officeDocument/2006/relationships/tags" Target="../tags/tag84.xml"/><Relationship Id="rId9" Type="http://schemas.openxmlformats.org/officeDocument/2006/relationships/oleObject" Target="../embeddings/oleObject18.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oleObject" Target="../embeddings/oleObject19.bin"/><Relationship Id="rId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0.xml"/><Relationship Id="rId1" Type="http://schemas.openxmlformats.org/officeDocument/2006/relationships/vmlDrawing" Target="../drawings/vmlDrawing19.vml"/><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image" Target="../media/image8.jpe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image" Target="../media/image9.jpe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1.jpeg"/><Relationship Id="rId4" Type="http://schemas.openxmlformats.org/officeDocument/2006/relationships/image" Target="../media/image10.jpe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6.xml"/><Relationship Id="rId7" Type="http://schemas.openxmlformats.org/officeDocument/2006/relationships/oleObject" Target="../embeddings/oleObject2.bin"/><Relationship Id="rId2" Type="http://schemas.openxmlformats.org/officeDocument/2006/relationships/tags" Target="../tags/tag15.xml"/><Relationship Id="rId1" Type="http://schemas.openxmlformats.org/officeDocument/2006/relationships/vmlDrawing" Target="../drawings/vmlDrawing2.vml"/><Relationship Id="rId6" Type="http://schemas.openxmlformats.org/officeDocument/2006/relationships/image" Target="../media/image12.jpeg"/><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flipH="1">
            <a:off x="0" y="1352040"/>
            <a:ext cx="9144000" cy="4987861"/>
          </a:xfrm>
          <a:prstGeom prst="rect">
            <a:avLst/>
          </a:prstGeom>
        </p:spPr>
      </p:pic>
      <p:sp>
        <p:nvSpPr>
          <p:cNvPr id="10" name="Rectangle 7"/>
          <p:cNvSpPr/>
          <p:nvPr userDrawn="1">
            <p:custDataLst>
              <p:tags r:id="rId2"/>
            </p:custDataLst>
          </p:nvPr>
        </p:nvSpPr>
        <p:spPr bwMode="auto">
          <a:xfrm>
            <a:off x="-1" y="-659"/>
            <a:ext cx="9144530" cy="176274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95432" h="4325468">
                <a:moveTo>
                  <a:pt x="3" y="0"/>
                </a:moveTo>
                <a:lnTo>
                  <a:pt x="21694177" y="21891"/>
                </a:lnTo>
                <a:cubicBezTo>
                  <a:pt x="21694690" y="89491"/>
                  <a:pt x="21695431" y="3122758"/>
                  <a:pt x="21694177" y="3166173"/>
                </a:cubicBezTo>
                <a:cubicBezTo>
                  <a:pt x="21550078" y="3591064"/>
                  <a:pt x="21159648" y="3545215"/>
                  <a:pt x="20899886" y="3551158"/>
                </a:cubicBezTo>
                <a:lnTo>
                  <a:pt x="4219849" y="3526990"/>
                </a:lnTo>
                <a:cubicBezTo>
                  <a:pt x="3642635" y="3560132"/>
                  <a:pt x="3268256" y="3862646"/>
                  <a:pt x="3076647" y="4325468"/>
                </a:cubicBezTo>
                <a:cubicBezTo>
                  <a:pt x="2778293" y="3621691"/>
                  <a:pt x="2180933" y="3526112"/>
                  <a:pt x="1902293" y="3526990"/>
                </a:cubicBezTo>
                <a:lnTo>
                  <a:pt x="5" y="3526990"/>
                </a:lnTo>
                <a:cubicBezTo>
                  <a:pt x="227" y="3165111"/>
                  <a:pt x="1" y="1026327"/>
                  <a:pt x="3"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4" name="Object 3" hidden="1"/>
          <p:cNvGraphicFramePr>
            <a:graphicFrameLocks noChangeAspect="1"/>
          </p:cNvGraphicFramePr>
          <p:nvPr>
            <p:custDataLst>
              <p:tags r:id="rId3"/>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54374" name="think-cell Slide" r:id="rId10" imgW="360" imgH="360" progId="">
                  <p:embed/>
                </p:oleObj>
              </mc:Choice>
              <mc:Fallback>
                <p:oleObj name="think-cell Slide" r:id="rId10" imgW="360" imgH="360" progId="">
                  <p:embed/>
                  <p:pic>
                    <p:nvPicPr>
                      <p:cNvPr id="0" name="Picture 10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4"/>
            </p:custDataLst>
          </p:nvPr>
        </p:nvSpPr>
        <p:spPr>
          <a:xfrm>
            <a:off x="5048518" y="2683036"/>
            <a:ext cx="4095482" cy="1700698"/>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5"/>
            </p:custDataLst>
          </p:nvPr>
        </p:nvSpPr>
        <p:spPr>
          <a:xfrm>
            <a:off x="5048518" y="4609876"/>
            <a:ext cx="4095483"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11" name="Rectangle 10"/>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2"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5807786" y="6520694"/>
            <a:ext cx="3001425" cy="239021"/>
          </a:xfrm>
          <a:prstGeom prst="rect">
            <a:avLst/>
          </a:prstGeom>
          <a:noFill/>
        </p:spPr>
      </p:pic>
      <p:pic>
        <p:nvPicPr>
          <p:cNvPr id="15" name="Picture 14" descr="capgemini_rgb.jpg"/>
          <p:cNvPicPr>
            <a:picLocks noChangeAspect="1"/>
          </p:cNvPicPr>
          <p:nvPr userDrawn="1"/>
        </p:nvPicPr>
        <p:blipFill>
          <a:blip r:embed="rId13" cstate="print"/>
          <a:stretch>
            <a:fillRect/>
          </a:stretch>
        </p:blipFill>
        <p:spPr>
          <a:xfrm>
            <a:off x="476250" y="348898"/>
            <a:ext cx="2355850" cy="720182"/>
          </a:xfrm>
          <a:prstGeom prst="rect">
            <a:avLst/>
          </a:prstGeom>
        </p:spPr>
      </p:pic>
      <p:pic>
        <p:nvPicPr>
          <p:cNvPr id="2" name="Picture 1"/>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6597122" y="571290"/>
            <a:ext cx="1912177" cy="309425"/>
          </a:xfrm>
          <a:prstGeom prst="rect">
            <a:avLst/>
          </a:prstGeom>
        </p:spPr>
      </p:pic>
    </p:spTree>
  </p:cSld>
  <p:clrMapOvr>
    <a:masterClrMapping/>
  </p:clrMapOvr>
  <p:extLst mod="1">
    <p:ext uri="{DCECCB84-F9BA-43D5-87BE-67443E8EF086}">
      <p15:sldGuideLst xmlns=""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200" b="1"/>
            </a:lvl1pPr>
          </a:lstStyle>
          <a:p>
            <a:r>
              <a:rPr lang="en-US" smtClean="0"/>
              <a:t>Click to edit Master title style</a:t>
            </a:r>
            <a:endParaRPr lang="en-US" dirty="0"/>
          </a:p>
        </p:txBody>
      </p:sp>
      <p:sp>
        <p:nvSpPr>
          <p:cNvPr id="3" name="Content Placeholder 2"/>
          <p:cNvSpPr>
            <a:spLocks noGrp="1"/>
          </p:cNvSpPr>
          <p:nvPr>
            <p:ph idx="1"/>
          </p:nvPr>
        </p:nvSpPr>
        <p:spPr>
          <a:xfrm>
            <a:off x="3575050" y="273051"/>
            <a:ext cx="5111751" cy="5853113"/>
          </a:xfrm>
        </p:spPr>
        <p:txBody>
          <a:bodyPr>
            <a:noAutofit/>
          </a:bodyPr>
          <a:lstStyle>
            <a:lvl1pPr>
              <a:defRPr sz="1600"/>
            </a:lvl1pPr>
            <a:lvl2pPr>
              <a:defRPr sz="1400"/>
            </a:lvl2pPr>
            <a:lvl3pPr>
              <a:defRPr sz="1200"/>
            </a:lvl3pPr>
            <a:lvl4pPr>
              <a:defRPr sz="1100"/>
            </a:lvl4pPr>
            <a:lvl5pPr>
              <a:defRPr sz="11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1" y="1573620"/>
            <a:ext cx="3008313" cy="507831"/>
          </a:xfrm>
        </p:spPr>
        <p:txBody>
          <a:bodyPr/>
          <a:lstStyle>
            <a:lvl1pPr marL="0" indent="0">
              <a:buNone/>
              <a:defRPr sz="1400" b="1"/>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a:p>
            <a:pPr lvl="1"/>
            <a:r>
              <a:rPr lang="en-US" smtClean="0"/>
              <a:t>Second level</a:t>
            </a:r>
          </a:p>
        </p:txBody>
      </p:sp>
      <p:pic>
        <p:nvPicPr>
          <p:cNvPr id="8" name="Picture 4" descr="capgemini_rgb-[Converted]"/>
          <p:cNvPicPr>
            <a:picLocks noChangeAspect="1" noChangeArrowheads="1"/>
          </p:cNvPicPr>
          <p:nvPr userDrawn="1"/>
        </p:nvPicPr>
        <p:blipFill>
          <a:blip r:embed="rId2" cstate="print"/>
          <a:srcRect/>
          <a:stretch>
            <a:fillRect/>
          </a:stretch>
        </p:blipFill>
        <p:spPr bwMode="gray">
          <a:xfrm>
            <a:off x="273049" y="6451601"/>
            <a:ext cx="1289051" cy="301625"/>
          </a:xfrm>
          <a:prstGeom prst="rect">
            <a:avLst/>
          </a:prstGeom>
          <a:noFill/>
          <a:ln w="9525">
            <a:noFill/>
            <a:miter lim="800000"/>
            <a:headEnd/>
            <a:tailEnd/>
          </a:ln>
        </p:spPr>
      </p:pic>
      <p:sp>
        <p:nvSpPr>
          <p:cNvPr id="9" name="Text Box 5"/>
          <p:cNvSpPr txBox="1">
            <a:spLocks noChangeArrowheads="1"/>
          </p:cNvSpPr>
          <p:nvPr userDrawn="1"/>
        </p:nvSpPr>
        <p:spPr bwMode="gray">
          <a:xfrm>
            <a:off x="1571625" y="6491288"/>
            <a:ext cx="1311578" cy="223138"/>
          </a:xfrm>
          <a:prstGeom prst="rect">
            <a:avLst/>
          </a:prstGeom>
          <a:noFill/>
          <a:ln w="19050">
            <a:noFill/>
            <a:miter lim="800000"/>
            <a:headEnd/>
            <a:tailEnd/>
          </a:ln>
          <a:effectLst/>
        </p:spPr>
        <p:txBody>
          <a:bodyPr wrap="none">
            <a:spAutoFit/>
          </a:bodyPr>
          <a:lstStyle/>
          <a:p>
            <a:pPr eaLnBrk="0" hangingPunct="0">
              <a:lnSpc>
                <a:spcPct val="85000"/>
              </a:lnSpc>
            </a:pPr>
            <a:r>
              <a:rPr lang="en-US" sz="1000">
                <a:solidFill>
                  <a:srgbClr val="969696"/>
                </a:solidFill>
              </a:rPr>
              <a:t>In collaboration with</a:t>
            </a:r>
          </a:p>
        </p:txBody>
      </p:sp>
      <p:sp>
        <p:nvSpPr>
          <p:cNvPr id="10" name="Rectangle 6"/>
          <p:cNvSpPr>
            <a:spLocks noChangeArrowheads="1"/>
          </p:cNvSpPr>
          <p:nvPr userDrawn="1"/>
        </p:nvSpPr>
        <p:spPr bwMode="gray">
          <a:xfrm>
            <a:off x="2927351" y="6400801"/>
            <a:ext cx="1020763" cy="403225"/>
          </a:xfrm>
          <a:prstGeom prst="rect">
            <a:avLst/>
          </a:prstGeom>
          <a:noFill/>
          <a:ln w="19050">
            <a:solidFill>
              <a:srgbClr val="B2B2B2"/>
            </a:solidFill>
            <a:prstDash val="sysDot"/>
            <a:miter lim="800000"/>
            <a:headEnd/>
            <a:tailEnd/>
          </a:ln>
          <a:effectLst/>
        </p:spPr>
        <p:txBody>
          <a:bodyPr wrap="none" anchor="ctr"/>
          <a:lstStyle/>
          <a:p>
            <a:r>
              <a:rPr lang="en-US" sz="1000" dirty="0" smtClean="0">
                <a:solidFill>
                  <a:srgbClr val="969696"/>
                </a:solidFill>
              </a:rPr>
              <a:t>Lattice </a:t>
            </a:r>
            <a:r>
              <a:rPr lang="en-US" sz="1000" dirty="0">
                <a:solidFill>
                  <a:srgbClr val="969696"/>
                </a:solidFill>
              </a:rPr>
              <a:t>or</a:t>
            </a:r>
            <a:br>
              <a:rPr lang="en-US" sz="1000" dirty="0">
                <a:solidFill>
                  <a:srgbClr val="969696"/>
                </a:solidFill>
              </a:rPr>
            </a:br>
            <a:r>
              <a:rPr lang="en-US" sz="1000" dirty="0">
                <a:solidFill>
                  <a:srgbClr val="969696"/>
                </a:solidFill>
              </a:rPr>
              <a:t>Partner logo</a:t>
            </a:r>
          </a:p>
        </p:txBody>
      </p:sp>
      <p:sp>
        <p:nvSpPr>
          <p:cNvPr id="11" name="Line 7"/>
          <p:cNvSpPr>
            <a:spLocks noChangeShapeType="1"/>
          </p:cNvSpPr>
          <p:nvPr userDrawn="1"/>
        </p:nvSpPr>
        <p:spPr bwMode="gray">
          <a:xfrm>
            <a:off x="8691563" y="6500813"/>
            <a:ext cx="0" cy="239712"/>
          </a:xfrm>
          <a:prstGeom prst="line">
            <a:avLst/>
          </a:prstGeom>
          <a:noFill/>
          <a:ln w="9525">
            <a:solidFill>
              <a:srgbClr val="969696"/>
            </a:solidFill>
            <a:round/>
            <a:headEnd/>
            <a:tailEnd/>
          </a:ln>
          <a:effectLst/>
        </p:spPr>
        <p:txBody>
          <a:bodyPr wrap="none" anchor="ctr"/>
          <a:lstStyle/>
          <a:p>
            <a:endParaRPr lang="en-US"/>
          </a:p>
        </p:txBody>
      </p:sp>
      <p:sp>
        <p:nvSpPr>
          <p:cNvPr id="12" name="Text Box 8"/>
          <p:cNvSpPr txBox="1">
            <a:spLocks noChangeArrowheads="1"/>
          </p:cNvSpPr>
          <p:nvPr userDrawn="1"/>
        </p:nvSpPr>
        <p:spPr bwMode="gray">
          <a:xfrm>
            <a:off x="8691564" y="6499225"/>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a:solidFill>
                <a:srgbClr val="969696"/>
              </a:solidFill>
              <a:latin typeface="Arial Narrow" pitchFamily="34" charset="0"/>
            </a:endParaRPr>
          </a:p>
        </p:txBody>
      </p:sp>
      <p:sp>
        <p:nvSpPr>
          <p:cNvPr id="13" name="Text Box 9"/>
          <p:cNvSpPr txBox="1">
            <a:spLocks noChangeArrowheads="1"/>
          </p:cNvSpPr>
          <p:nvPr userDrawn="1"/>
        </p:nvSpPr>
        <p:spPr bwMode="gray">
          <a:xfrm>
            <a:off x="4106863" y="6484938"/>
            <a:ext cx="4551363" cy="275460"/>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800" dirty="0">
                <a:solidFill>
                  <a:srgbClr val="969696"/>
                </a:solidFill>
                <a:latin typeface="Arial Narrow" pitchFamily="34" charset="0"/>
              </a:rPr>
              <a:t>DOCUMENT TITLE</a:t>
            </a:r>
          </a:p>
          <a:p>
            <a:pPr algn="r" eaLnBrk="0" hangingPunct="0">
              <a:lnSpc>
                <a:spcPct val="85000"/>
              </a:lnSpc>
            </a:pPr>
            <a:r>
              <a:rPr lang="en-US" sz="600" dirty="0" smtClean="0">
                <a:solidFill>
                  <a:srgbClr val="969696"/>
                </a:solidFill>
                <a:latin typeface="Arial Narrow" pitchFamily="34" charset="0"/>
              </a:rPr>
              <a:t>The information contained in this document is proprietary. Copyright © 2011 Capgemini. All rights reserved.</a:t>
            </a:r>
            <a:endParaRPr lang="en-US" sz="600" dirty="0">
              <a:solidFill>
                <a:srgbClr val="969696"/>
              </a:solidFill>
              <a:latin typeface="Arial Narrow" pitchFamily="34" charset="0"/>
            </a:endParaRPr>
          </a:p>
        </p:txBody>
      </p:sp>
      <p:cxnSp>
        <p:nvCxnSpPr>
          <p:cNvPr id="16" name="Straight Connector 15"/>
          <p:cNvCxnSpPr/>
          <p:nvPr userDrawn="1"/>
        </p:nvCxnSpPr>
        <p:spPr>
          <a:xfrm rot="5400000">
            <a:off x="524707" y="3164093"/>
            <a:ext cx="5987940" cy="1588"/>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792288" y="1201483"/>
            <a:ext cx="5486400"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5367338"/>
            <a:ext cx="54864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Title Placeholder 1"/>
          <p:cNvSpPr>
            <a:spLocks noGrp="1"/>
          </p:cNvSpPr>
          <p:nvPr>
            <p:ph type="title"/>
          </p:nvPr>
        </p:nvSpPr>
        <p:spPr>
          <a:xfrm>
            <a:off x="320040" y="25263"/>
            <a:ext cx="8503920" cy="822960"/>
          </a:xfrm>
          <a:prstGeom prst="rect">
            <a:avLst/>
          </a:prstGeom>
          <a:noFill/>
          <a:ln w="9525" algn="ctr">
            <a:noFill/>
            <a:miter lim="800000"/>
            <a:headEnd/>
            <a:tailEnd/>
          </a:ln>
          <a:effectLst/>
        </p:spPr>
        <p:txBody>
          <a:bodyPr vert="horz" wrap="square" lIns="0" tIns="0" rIns="0" bIns="0" numCol="1" anchor="ctr" anchorCtr="0" compatLnSpc="1">
            <a:prstTxWarp prst="textNoShape">
              <a:avLst/>
            </a:prstTxWarp>
          </a:bodyPr>
          <a:lstStyle/>
          <a:p>
            <a:r>
              <a:rPr lang="en-US" smtClean="0"/>
              <a:t>Click to edit Master title style</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r">
              <a:defRPr/>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7438968" y="1005841"/>
            <a:ext cx="1384995" cy="518230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15" name="Text Box 5"/>
          <p:cNvSpPr txBox="1">
            <a:spLocks noChangeArrowheads="1"/>
          </p:cNvSpPr>
          <p:nvPr userDrawn="1"/>
        </p:nvSpPr>
        <p:spPr bwMode="gray">
          <a:xfrm rot="5400000">
            <a:off x="-381606" y="2135545"/>
            <a:ext cx="1311578" cy="223138"/>
          </a:xfrm>
          <a:prstGeom prst="rect">
            <a:avLst/>
          </a:prstGeom>
          <a:noFill/>
          <a:ln w="19050">
            <a:noFill/>
            <a:miter lim="800000"/>
            <a:headEnd/>
            <a:tailEnd/>
          </a:ln>
          <a:effectLst/>
        </p:spPr>
        <p:txBody>
          <a:bodyPr wrap="none">
            <a:spAutoFit/>
          </a:bodyPr>
          <a:lstStyle/>
          <a:p>
            <a:pPr eaLnBrk="0" hangingPunct="0">
              <a:lnSpc>
                <a:spcPct val="85000"/>
              </a:lnSpc>
            </a:pPr>
            <a:r>
              <a:rPr lang="en-US" sz="1000">
                <a:solidFill>
                  <a:srgbClr val="969696"/>
                </a:solidFill>
              </a:rPr>
              <a:t>In collaboration with</a:t>
            </a:r>
          </a:p>
        </p:txBody>
      </p:sp>
      <p:sp>
        <p:nvSpPr>
          <p:cNvPr id="16" name="Rectangle 6"/>
          <p:cNvSpPr>
            <a:spLocks noChangeArrowheads="1"/>
          </p:cNvSpPr>
          <p:nvPr userDrawn="1"/>
        </p:nvSpPr>
        <p:spPr bwMode="gray">
          <a:xfrm rot="5400000">
            <a:off x="-236198" y="3261528"/>
            <a:ext cx="1020763" cy="403225"/>
          </a:xfrm>
          <a:prstGeom prst="rect">
            <a:avLst/>
          </a:prstGeom>
          <a:noFill/>
          <a:ln w="19050">
            <a:solidFill>
              <a:srgbClr val="B2B2B2"/>
            </a:solidFill>
            <a:prstDash val="sysDot"/>
            <a:miter lim="800000"/>
            <a:headEnd/>
            <a:tailEnd/>
          </a:ln>
          <a:effectLst/>
        </p:spPr>
        <p:txBody>
          <a:bodyPr wrap="none" anchor="ctr"/>
          <a:lstStyle/>
          <a:p>
            <a:r>
              <a:rPr lang="en-US" sz="1000" dirty="0" smtClean="0">
                <a:solidFill>
                  <a:srgbClr val="969696"/>
                </a:solidFill>
              </a:rPr>
              <a:t>Lattice </a:t>
            </a:r>
            <a:r>
              <a:rPr lang="en-US" sz="1000" dirty="0">
                <a:solidFill>
                  <a:srgbClr val="969696"/>
                </a:solidFill>
              </a:rPr>
              <a:t>or</a:t>
            </a:r>
            <a:br>
              <a:rPr lang="en-US" sz="1000" dirty="0">
                <a:solidFill>
                  <a:srgbClr val="969696"/>
                </a:solidFill>
              </a:rPr>
            </a:br>
            <a:r>
              <a:rPr lang="en-US" sz="1000" dirty="0">
                <a:solidFill>
                  <a:srgbClr val="969696"/>
                </a:solidFill>
              </a:rPr>
              <a:t>Partner logo</a:t>
            </a:r>
          </a:p>
        </p:txBody>
      </p:sp>
      <p:sp>
        <p:nvSpPr>
          <p:cNvPr id="17" name="Line 7"/>
          <p:cNvSpPr>
            <a:spLocks noChangeShapeType="1"/>
          </p:cNvSpPr>
          <p:nvPr userDrawn="1"/>
        </p:nvSpPr>
        <p:spPr bwMode="gray">
          <a:xfrm rot="5400000">
            <a:off x="274183" y="6303903"/>
            <a:ext cx="0" cy="239712"/>
          </a:xfrm>
          <a:prstGeom prst="line">
            <a:avLst/>
          </a:prstGeom>
          <a:noFill/>
          <a:ln w="9525">
            <a:solidFill>
              <a:srgbClr val="969696"/>
            </a:solidFill>
            <a:round/>
            <a:headEnd/>
            <a:tailEnd/>
          </a:ln>
          <a:effectLst/>
        </p:spPr>
        <p:txBody>
          <a:bodyPr wrap="none" anchor="ctr"/>
          <a:lstStyle/>
          <a:p>
            <a:endParaRPr lang="en-US"/>
          </a:p>
        </p:txBody>
      </p:sp>
      <p:sp>
        <p:nvSpPr>
          <p:cNvPr id="18" name="Text Box 8"/>
          <p:cNvSpPr txBox="1">
            <a:spLocks noChangeArrowheads="1"/>
          </p:cNvSpPr>
          <p:nvPr userDrawn="1"/>
        </p:nvSpPr>
        <p:spPr bwMode="gray">
          <a:xfrm rot="5400000">
            <a:off x="47966" y="6528534"/>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dirty="0">
              <a:solidFill>
                <a:srgbClr val="969696"/>
              </a:solidFill>
              <a:latin typeface="Arial Narrow" pitchFamily="34" charset="0"/>
            </a:endParaRPr>
          </a:p>
        </p:txBody>
      </p:sp>
      <p:sp>
        <p:nvSpPr>
          <p:cNvPr id="19" name="Text Box 9"/>
          <p:cNvSpPr txBox="1">
            <a:spLocks noChangeArrowheads="1"/>
          </p:cNvSpPr>
          <p:nvPr userDrawn="1"/>
        </p:nvSpPr>
        <p:spPr bwMode="gray">
          <a:xfrm rot="5400000">
            <a:off x="-666778" y="5272489"/>
            <a:ext cx="1881922" cy="353943"/>
          </a:xfrm>
          <a:prstGeom prst="rect">
            <a:avLst/>
          </a:prstGeom>
          <a:noFill/>
          <a:ln w="12700" algn="ctr">
            <a:noFill/>
            <a:miter lim="800000"/>
            <a:headEnd/>
            <a:tailEnd type="none" w="lg" len="lg"/>
          </a:ln>
          <a:effectLst/>
        </p:spPr>
        <p:txBody>
          <a:bodyPr wrap="square">
            <a:spAutoFit/>
          </a:bodyPr>
          <a:lstStyle/>
          <a:p>
            <a:pPr algn="r" eaLnBrk="0" hangingPunct="0">
              <a:lnSpc>
                <a:spcPct val="85000"/>
              </a:lnSpc>
            </a:pPr>
            <a:r>
              <a:rPr lang="en-US" sz="800" dirty="0">
                <a:solidFill>
                  <a:srgbClr val="969696"/>
                </a:solidFill>
                <a:latin typeface="Arial Narrow" pitchFamily="34" charset="0"/>
              </a:rPr>
              <a:t>DOCUMENT TITLE</a:t>
            </a:r>
          </a:p>
          <a:p>
            <a:pPr algn="r" eaLnBrk="0" hangingPunct="0">
              <a:lnSpc>
                <a:spcPct val="85000"/>
              </a:lnSpc>
            </a:pPr>
            <a:r>
              <a:rPr lang="en-US" sz="600" dirty="0" smtClean="0">
                <a:solidFill>
                  <a:srgbClr val="969696"/>
                </a:solidFill>
                <a:latin typeface="Arial Narrow" pitchFamily="34" charset="0"/>
              </a:rPr>
              <a:t>The information contained in this document is proprietary. Copyright © 2012 Capgemini. All rights reserved.</a:t>
            </a:r>
            <a:endParaRPr lang="en-US" sz="600" dirty="0">
              <a:solidFill>
                <a:srgbClr val="969696"/>
              </a:solidFill>
              <a:latin typeface="Arial Narrow" pitchFamily="34" charset="0"/>
            </a:endParaRPr>
          </a:p>
        </p:txBody>
      </p:sp>
      <p:sp>
        <p:nvSpPr>
          <p:cNvPr id="2" name="Vertical Title 1"/>
          <p:cNvSpPr>
            <a:spLocks noGrp="1"/>
          </p:cNvSpPr>
          <p:nvPr userDrawn="1">
            <p:ph type="title" orient="vert"/>
          </p:nvPr>
        </p:nvSpPr>
        <p:spPr>
          <a:xfrm>
            <a:off x="8144556" y="274639"/>
            <a:ext cx="925033" cy="6285819"/>
          </a:xfrm>
        </p:spPr>
        <p:txBody>
          <a:bodyPr vert="eaVert"/>
          <a:lstStyle/>
          <a:p>
            <a:r>
              <a:rPr lang="en-US" smtClean="0"/>
              <a:t>Click to edit Master title style</a:t>
            </a:r>
            <a:endParaRPr lang="en-US" dirty="0"/>
          </a:p>
        </p:txBody>
      </p:sp>
      <p:sp>
        <p:nvSpPr>
          <p:cNvPr id="3" name="Vertical Text Placeholder 2"/>
          <p:cNvSpPr>
            <a:spLocks noGrp="1"/>
          </p:cNvSpPr>
          <p:nvPr userDrawn="1">
            <p:ph type="body" orient="vert" idx="1"/>
          </p:nvPr>
        </p:nvSpPr>
        <p:spPr>
          <a:xfrm>
            <a:off x="6586951" y="274639"/>
            <a:ext cx="1384995" cy="628581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13" name="Group 12"/>
          <p:cNvGrpSpPr/>
          <p:nvPr userDrawn="1"/>
        </p:nvGrpSpPr>
        <p:grpSpPr>
          <a:xfrm>
            <a:off x="8069937" y="1589"/>
            <a:ext cx="1" cy="6858000"/>
            <a:chOff x="8069935" y="1589"/>
            <a:chExt cx="1" cy="6858000"/>
          </a:xfrm>
        </p:grpSpPr>
        <p:sp>
          <p:nvSpPr>
            <p:cNvPr id="8" name="Line 12"/>
            <p:cNvSpPr>
              <a:spLocks noChangeShapeType="1"/>
            </p:cNvSpPr>
            <p:nvPr userDrawn="1"/>
          </p:nvSpPr>
          <p:spPr bwMode="gray">
            <a:xfrm rot="5400000">
              <a:off x="4640935" y="3430589"/>
              <a:ext cx="6858000" cy="0"/>
            </a:xfrm>
            <a:prstGeom prst="line">
              <a:avLst/>
            </a:prstGeom>
            <a:noFill/>
            <a:ln w="9525">
              <a:solidFill>
                <a:schemeClr val="bg2"/>
              </a:solidFill>
              <a:round/>
              <a:headEnd/>
              <a:tailEnd/>
            </a:ln>
            <a:effectLst/>
          </p:spPr>
          <p:txBody>
            <a:bodyPr wrap="none" anchor="ctr"/>
            <a:lstStyle/>
            <a:p>
              <a:endParaRPr lang="en-US"/>
            </a:p>
          </p:txBody>
        </p:sp>
        <p:sp>
          <p:nvSpPr>
            <p:cNvPr id="9" name="Line 13"/>
            <p:cNvSpPr>
              <a:spLocks noChangeShapeType="1"/>
            </p:cNvSpPr>
            <p:nvPr userDrawn="1"/>
          </p:nvSpPr>
          <p:spPr bwMode="gray">
            <a:xfrm rot="5400000">
              <a:off x="6861848" y="1482726"/>
              <a:ext cx="2416175" cy="0"/>
            </a:xfrm>
            <a:prstGeom prst="line">
              <a:avLst/>
            </a:prstGeom>
            <a:noFill/>
            <a:ln w="28575">
              <a:solidFill>
                <a:schemeClr val="bg2"/>
              </a:solidFill>
              <a:round/>
              <a:headEnd/>
              <a:tailEnd/>
            </a:ln>
            <a:effectLst/>
          </p:spPr>
          <p:txBody>
            <a:bodyPr wrap="none" anchor="ctr"/>
            <a:lstStyle/>
            <a:p>
              <a:endParaRPr lang="en-US"/>
            </a:p>
          </p:txBody>
        </p:sp>
      </p:grpSp>
      <p:pic>
        <p:nvPicPr>
          <p:cNvPr id="14" name="Picture 4" descr="capgemini_rgb-[Converted]"/>
          <p:cNvPicPr>
            <a:picLocks noChangeAspect="1" noChangeArrowheads="1"/>
          </p:cNvPicPr>
          <p:nvPr userDrawn="1"/>
        </p:nvPicPr>
        <p:blipFill>
          <a:blip r:embed="rId2" cstate="print"/>
          <a:srcRect/>
          <a:stretch>
            <a:fillRect/>
          </a:stretch>
        </p:blipFill>
        <p:spPr bwMode="gray">
          <a:xfrm rot="5400000">
            <a:off x="-370342" y="768352"/>
            <a:ext cx="1289050" cy="301625"/>
          </a:xfrm>
          <a:prstGeom prst="rect">
            <a:avLst/>
          </a:prstGeom>
          <a:noFill/>
          <a:ln w="9525">
            <a:noFill/>
            <a:miter lim="800000"/>
            <a:headEnd/>
            <a:tailEnd/>
          </a:ln>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4231" name="think-cell Slide" r:id="rId5" imgW="360" imgH="360" progId="">
                  <p:embed/>
                </p:oleObj>
              </mc:Choice>
              <mc:Fallback>
                <p:oleObj name="think-cell Slide" r:id="rId5" imgW="360" imgH="360" progId="">
                  <p:embed/>
                  <p:pic>
                    <p:nvPicPr>
                      <p:cNvPr id="0" name="Picture 2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293078" y="1511300"/>
            <a:ext cx="8554914" cy="1123384"/>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576995760"/>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8_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8823960" cy="822960"/>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21470454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6500"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15"/>
          <p:cNvSpPr txBox="1">
            <a:spLocks noChangeArrowheads="1"/>
          </p:cNvSpPr>
          <p:nvPr>
            <p:custDataLst>
              <p:tags r:id="rId3"/>
            </p:custDataLst>
          </p:nvPr>
        </p:nvSpPr>
        <p:spPr bwMode="auto">
          <a:xfrm>
            <a:off x="8827126"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ctr" eaLnBrk="1" hangingPunct="1"/>
            <a:fld id="{CAA40A77-5C44-4CAA-86C5-24CE754755F1}" type="slidenum">
              <a:rPr lang="en-US" sz="700">
                <a:solidFill>
                  <a:schemeClr val="tx2"/>
                </a:solidFill>
              </a:rPr>
              <a:pPr algn="ctr" eaLnBrk="1" hangingPunct="1"/>
              <a:t>‹#›</a:t>
            </a:fld>
            <a:endParaRPr lang="en-US" sz="700" dirty="0">
              <a:solidFill>
                <a:schemeClr val="tx2"/>
              </a:solidFill>
            </a:endParaRPr>
          </a:p>
        </p:txBody>
      </p:sp>
      <p:sp>
        <p:nvSpPr>
          <p:cNvPr id="6" name="Rectangle 17"/>
          <p:cNvSpPr>
            <a:spLocks noChangeArrowheads="1"/>
          </p:cNvSpPr>
          <p:nvPr>
            <p:custDataLst>
              <p:tags r:id="rId4"/>
            </p:custDataLst>
          </p:nvPr>
        </p:nvSpPr>
        <p:spPr bwMode="auto">
          <a:xfrm>
            <a:off x="6223489"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p>
            <a:pPr algn="r" defTabSz="995363" eaLnBrk="0" hangingPunct="0">
              <a:lnSpc>
                <a:spcPct val="90000"/>
              </a:lnSpc>
              <a:spcBef>
                <a:spcPct val="10000"/>
              </a:spcBef>
            </a:pPr>
            <a:endParaRPr lang="en-US" altLang="en-US" sz="700" dirty="0">
              <a:solidFill>
                <a:schemeClr val="tx2"/>
              </a:solidFill>
              <a:ea typeface="Helvetica Light"/>
              <a:cs typeface="Helvetica Light"/>
            </a:endParaRPr>
          </a:p>
        </p:txBody>
      </p:sp>
      <p:sp>
        <p:nvSpPr>
          <p:cNvPr id="7" name="Rectangle 18"/>
          <p:cNvSpPr>
            <a:spLocks noChangeArrowheads="1"/>
          </p:cNvSpPr>
          <p:nvPr>
            <p:custDataLst>
              <p:tags r:id="rId5"/>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endParaRPr lang="en-US" sz="700" dirty="0">
              <a:solidFill>
                <a:schemeClr val="tx2"/>
              </a:solidFill>
            </a:endParaRPr>
          </a:p>
        </p:txBody>
      </p:sp>
      <p:cxnSp>
        <p:nvCxnSpPr>
          <p:cNvPr id="9" name="Straight Connector 5"/>
          <p:cNvCxnSpPr/>
          <p:nvPr>
            <p:custDataLst>
              <p:tags r:id="rId6"/>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userDrawn="1">
            <p:custDataLst>
              <p:tags r:id="rId7"/>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6501" name="think-cell Slide" r:id="rId11" imgW="360" imgH="360" progId="">
                  <p:embed/>
                </p:oleObj>
              </mc:Choice>
              <mc:Fallback>
                <p:oleObj name="think-cell Slide" r:id="rId11" imgW="360" imgH="360" progId="">
                  <p:embed/>
                  <p:pic>
                    <p:nvPicPr>
                      <p:cNvPr id="0" name="Picture 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312303596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57444" name="think-cell Slide" r:id="rId8" imgW="360" imgH="360" progId="">
                  <p:embed/>
                </p:oleObj>
              </mc:Choice>
              <mc:Fallback>
                <p:oleObj name="think-cell Slide" r:id="rId8" imgW="360" imgH="360" progId="">
                  <p:embed/>
                  <p:pic>
                    <p:nvPicPr>
                      <p:cNvPr id="0" name="Picture 9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5337166" y="3258545"/>
            <a:ext cx="3416820"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6" name="Rectangle 9"/>
          <p:cNvSpPr>
            <a:spLocks noChangeArrowheads="1"/>
          </p:cNvSpPr>
          <p:nvPr userDrawn="1">
            <p:custDataLst>
              <p:tags r:id="rId4"/>
            </p:custDataLst>
          </p:nvPr>
        </p:nvSpPr>
        <p:spPr bwMode="gray">
          <a:xfrm>
            <a:off x="1031966" y="3827544"/>
            <a:ext cx="4074108"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l"/>
            <a:r>
              <a:rPr lang="en-US" sz="1000" dirty="0" smtClean="0">
                <a:solidFill>
                  <a:schemeClr val="bg1"/>
                </a:solidFill>
                <a:latin typeface="Arial" pitchFamily="34" charset="0"/>
                <a:cs typeface="Arial" pitchFamily="34" charset="0"/>
              </a:rPr>
              <a:t>With more than 180,000 people in over 40 countries,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is one of the world's foremost providers of consulting, technology and outsourcing services. The Group reported 2015 global revenues of EUR 11.9 billion (about $13.2 billion USD at 2015 average rate)  </a:t>
            </a:r>
          </a:p>
          <a:p>
            <a:pPr marL="0" indent="0" algn="l"/>
            <a:r>
              <a:rPr lang="en-US" sz="1000" dirty="0" smtClean="0">
                <a:solidFill>
                  <a:schemeClr val="bg1"/>
                </a:solidFill>
                <a:latin typeface="Arial" pitchFamily="34" charset="0"/>
                <a:cs typeface="Arial" pitchFamily="34" charset="0"/>
              </a:rPr>
              <a:t>Together with its Lattices,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creates and delivers business, technology and digital solutions that fit their needs, enabling them to achieve innovation and competitiveness. A deeply multicultural organization,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 Learn more about us at www.capgemini.com.</a:t>
            </a:r>
          </a:p>
          <a:p>
            <a:pPr marL="0" indent="0" algn="l"/>
            <a:endParaRPr lang="en-US" sz="1050" dirty="0" smtClean="0">
              <a:solidFill>
                <a:schemeClr val="bg1"/>
              </a:solidFill>
              <a:latin typeface="Arial" pitchFamily="34" charset="0"/>
              <a:cs typeface="Arial" pitchFamily="34" charset="0"/>
            </a:endParaRPr>
          </a:p>
          <a:p>
            <a:pPr marL="0" indent="0" algn="just"/>
            <a:r>
              <a:rPr lang="en-US" sz="900" i="1" dirty="0"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9" name="Image 337" descr="CBE_Label_ppt.png"/>
          <p:cNvPicPr>
            <a:picLocks noChangeAspect="1"/>
          </p:cNvPicPr>
          <p:nvPr userDrawn="1"/>
        </p:nvPicPr>
        <p:blipFill>
          <a:blip r:embed="rId10" cstate="print"/>
          <a:stretch>
            <a:fillRect/>
          </a:stretch>
        </p:blipFill>
        <p:spPr>
          <a:xfrm>
            <a:off x="775578" y="3395465"/>
            <a:ext cx="519570" cy="523727"/>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8823960"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20040" y="1171977"/>
            <a:ext cx="8503920" cy="1384995"/>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569913" indent="-228600"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795338"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031875"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sp>
        <p:nvSpPr>
          <p:cNvPr id="8" name="Rectangle 9"/>
          <p:cNvSpPr>
            <a:spLocks noChangeArrowheads="1"/>
          </p:cNvSpPr>
          <p:nvPr userDrawn="1">
            <p:custDataLst>
              <p:tags r:id="rId2"/>
            </p:custDataLst>
          </p:nvPr>
        </p:nvSpPr>
        <p:spPr bwMode="gray">
          <a:xfrm>
            <a:off x="4584545" y="3083752"/>
            <a:ext cx="4559456"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514900 w 4514900"/>
              <a:gd name="connsiteY0" fmla="*/ 2132777 h 2132777"/>
              <a:gd name="connsiteX1" fmla="*/ 164137 w 4514900"/>
              <a:gd name="connsiteY1" fmla="*/ 2132777 h 2132777"/>
              <a:gd name="connsiteX2" fmla="*/ 48075 w 4514900"/>
              <a:gd name="connsiteY2" fmla="*/ 2084702 h 2132777"/>
              <a:gd name="connsiteX3" fmla="*/ 0 w 4514900"/>
              <a:gd name="connsiteY3" fmla="*/ 1968640 h 2132777"/>
              <a:gd name="connsiteX4" fmla="*/ 0 w 451490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4900" h="2132777">
                <a:moveTo>
                  <a:pt x="451490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4572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l"/>
            <a:r>
              <a:rPr lang="en-US" sz="1000" dirty="0" smtClean="0">
                <a:solidFill>
                  <a:schemeClr val="bg1"/>
                </a:solidFill>
                <a:latin typeface="Arial" pitchFamily="34" charset="0"/>
                <a:cs typeface="Arial" pitchFamily="34" charset="0"/>
              </a:rPr>
              <a:t>With more than 180,000 people in over 40 countries,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is one of the world's foremost providers of consulting, technology and outsourcing services. The Group reported 2015 global revenues of EUR 11.9 billion (about $13.2 billion USD at 2015 average rate)  </a:t>
            </a:r>
          </a:p>
          <a:p>
            <a:pPr marL="0" indent="0" algn="l"/>
            <a:r>
              <a:rPr lang="en-US" sz="1000" dirty="0" smtClean="0">
                <a:solidFill>
                  <a:schemeClr val="bg1"/>
                </a:solidFill>
                <a:latin typeface="Arial" pitchFamily="34" charset="0"/>
                <a:cs typeface="Arial" pitchFamily="34" charset="0"/>
              </a:rPr>
              <a:t>Together with its Lattices,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creates and delivers business, technology and digital solutions that fit their needs, enabling them to achieve innovation and competitiveness. A deeply multicultural organization,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 </a:t>
            </a:r>
            <a:br>
              <a:rPr lang="en-US" sz="1000" dirty="0" smtClean="0">
                <a:solidFill>
                  <a:schemeClr val="bg1"/>
                </a:solidFill>
                <a:latin typeface="Arial" pitchFamily="34" charset="0"/>
                <a:cs typeface="Arial" pitchFamily="34" charset="0"/>
              </a:rPr>
            </a:br>
            <a:r>
              <a:rPr lang="en-US" sz="1000" dirty="0" smtClean="0">
                <a:solidFill>
                  <a:schemeClr val="bg1"/>
                </a:solidFill>
                <a:latin typeface="Arial" pitchFamily="34" charset="0"/>
                <a:cs typeface="Arial" pitchFamily="34" charset="0"/>
              </a:rPr>
              <a:t>Learn more about us at www.capgemini.com.</a:t>
            </a:r>
          </a:p>
          <a:p>
            <a:pPr marL="0" indent="0" algn="just"/>
            <a:endParaRPr lang="en-US" sz="1050" dirty="0" smtClean="0">
              <a:solidFill>
                <a:schemeClr val="bg1"/>
              </a:solidFill>
              <a:latin typeface="Arial" pitchFamily="34" charset="0"/>
              <a:cs typeface="Arial" pitchFamily="34" charset="0"/>
            </a:endParaRPr>
          </a:p>
          <a:p>
            <a:pPr marL="0" indent="0" algn="just"/>
            <a:r>
              <a:rPr lang="en-US" sz="900" i="1" dirty="0"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graphicFrame>
        <p:nvGraphicFramePr>
          <p:cNvPr id="6" name="Object 5" hidden="1"/>
          <p:cNvGraphicFramePr>
            <a:graphicFrameLocks noChangeAspect="1"/>
          </p:cNvGraphicFramePr>
          <p:nvPr>
            <p:custDataLst>
              <p:tags r:id="rId3"/>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58468" name="think-cell Slide" r:id="rId5" imgW="360" imgH="360" progId="">
                  <p:embed/>
                </p:oleObj>
              </mc:Choice>
              <mc:Fallback>
                <p:oleObj name="think-cell Slide" r:id="rId5" imgW="360" imgH="360" progId="">
                  <p:embed/>
                  <p:pic>
                    <p:nvPicPr>
                      <p:cNvPr id="0" name="Picture 9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Image 6" descr="CBE_Label_ppt.png"/>
          <p:cNvPicPr>
            <a:picLocks noChangeAspect="1"/>
          </p:cNvPicPr>
          <p:nvPr userDrawn="1"/>
        </p:nvPicPr>
        <p:blipFill>
          <a:blip r:embed="rId7" cstate="print"/>
          <a:stretch>
            <a:fillRect/>
          </a:stretch>
        </p:blipFill>
        <p:spPr>
          <a:xfrm>
            <a:off x="4318149" y="2791400"/>
            <a:ext cx="519570" cy="523727"/>
          </a:xfrm>
          <a:prstGeom prst="rect">
            <a:avLst/>
          </a:prstGeom>
          <a:noFill/>
          <a:ln>
            <a:noFill/>
          </a:ln>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9492" name="think-cell Slide" r:id="rId4" imgW="360" imgH="360" progId="">
                  <p:embed/>
                </p:oleObj>
              </mc:Choice>
              <mc:Fallback>
                <p:oleObj name="think-cell Slide" r:id="rId4" imgW="360" imgH="360" progId="">
                  <p:embed/>
                  <p:pic>
                    <p:nvPicPr>
                      <p:cNvPr id="0" name="Picture 9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027" name="Picture 3" descr="D:\Live Jobs\2014\FEB\28\JOB 2\Source\img1.jpg"/>
          <p:cNvPicPr>
            <a:picLocks noChangeAspect="1" noChangeArrowheads="1"/>
          </p:cNvPicPr>
          <p:nvPr userDrawn="1"/>
        </p:nvPicPr>
        <p:blipFill>
          <a:blip r:embed="rId9" cstate="print"/>
          <a:srcRect l="41507"/>
          <a:stretch>
            <a:fillRect/>
          </a:stretch>
        </p:blipFill>
        <p:spPr bwMode="auto">
          <a:xfrm>
            <a:off x="0" y="1085580"/>
            <a:ext cx="9144000" cy="5515419"/>
          </a:xfrm>
          <a:prstGeom prst="rect">
            <a:avLst/>
          </a:prstGeom>
          <a:noFill/>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smtClean="0">
              <a:solidFill>
                <a:prstClr val="white"/>
              </a:solidFill>
            </a:endParaRPr>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smtClean="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84025" name="think-cell Slide" r:id="rId11" imgW="360" imgH="360" progId="">
                  <p:embed/>
                </p:oleObj>
              </mc:Choice>
              <mc:Fallback>
                <p:oleObj name="think-cell Slide" r:id="rId11" imgW="360" imgH="360" progId="">
                  <p:embed/>
                  <p:pic>
                    <p:nvPicPr>
                      <p:cNvPr id="0" name="Picture 5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8" y="6520697"/>
            <a:ext cx="2658462" cy="229351"/>
          </a:xfrm>
          <a:prstGeom prst="rect">
            <a:avLst/>
          </a:prstGeom>
          <a:noFill/>
        </p:spPr>
      </p:pic>
      <p:sp>
        <p:nvSpPr>
          <p:cNvPr id="2" name="Title 1"/>
          <p:cNvSpPr>
            <a:spLocks noGrp="1"/>
          </p:cNvSpPr>
          <p:nvPr>
            <p:ph type="ctrTitle" hasCustomPrompt="1"/>
            <p:custDataLst>
              <p:tags r:id="rId6"/>
            </p:custDataLst>
          </p:nvPr>
        </p:nvSpPr>
        <p:spPr>
          <a:xfrm>
            <a:off x="-1" y="4037611"/>
            <a:ext cx="9141186" cy="1098157"/>
          </a:xfrm>
          <a:solidFill>
            <a:schemeClr val="bg1">
              <a:alpha val="50000"/>
            </a:schemeClr>
          </a:solidFill>
        </p:spPr>
        <p:txBody>
          <a:bodyPr lIns="548640" tIns="33059" rIns="33059" bIns="33059" anchor="ctr"/>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1" y="5145571"/>
            <a:ext cx="9141186" cy="500486"/>
          </a:xfrm>
          <a:solidFill>
            <a:schemeClr val="bg1">
              <a:alpha val="50000"/>
            </a:schemeClr>
          </a:solidFill>
        </p:spPr>
        <p:txBody>
          <a:bodyPr lIns="548640" tIns="33059" rIns="33059" bIns="33059" anchor="ctr"/>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5" name="Image 14" descr="ppt_Capgemini_Image_115U9844-1.jpg"/>
          <p:cNvPicPr>
            <a:picLocks noChangeAspect="1"/>
          </p:cNvPicPr>
          <p:nvPr userDrawn="1"/>
        </p:nvPicPr>
        <p:blipFill>
          <a:blip r:embed="rId9" cstate="email"/>
          <a:srcRect/>
          <a:stretch>
            <a:fillRect/>
          </a:stretch>
        </p:blipFill>
        <p:spPr>
          <a:xfrm>
            <a:off x="0" y="1318161"/>
            <a:ext cx="9144000" cy="5029201"/>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85049" name="think-cell Slide" r:id="rId10" imgW="360" imgH="360" progId="">
                  <p:embed/>
                </p:oleObj>
              </mc:Choice>
              <mc:Fallback>
                <p:oleObj name="think-cell Slide" r:id="rId10" imgW="360" imgH="360" progId="">
                  <p:embed/>
                  <p:pic>
                    <p:nvPicPr>
                      <p:cNvPr id="0" name="Picture 5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145310" y="1968817"/>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4926419" y="4609877"/>
            <a:ext cx="4217582" cy="1004115"/>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95" y="0"/>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smtClean="0">
              <a:solidFill>
                <a:prstClr val="white"/>
              </a:solidFill>
              <a:cs typeface="Arial"/>
            </a:endParaRPr>
          </a:p>
        </p:txBody>
      </p:sp>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smtClean="0">
              <a:solidFill>
                <a:prstClr val="white"/>
              </a:solidFill>
            </a:endParaRPr>
          </a:p>
        </p:txBody>
      </p:sp>
      <p:pic>
        <p:nvPicPr>
          <p:cNvPr id="10" name="Image 9" descr="Capgemini_logo.jpg"/>
          <p:cNvPicPr>
            <a:picLocks noChangeAspect="1"/>
          </p:cNvPicPr>
          <p:nvPr userDrawn="1"/>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8" y="6520697"/>
            <a:ext cx="2658462" cy="229351"/>
          </a:xfrm>
          <a:prstGeom prst="rect">
            <a:avLst/>
          </a:prstGeom>
          <a:noFill/>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able of Content-Agenda">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6073" name="think-cell Slide" r:id="rId6" imgW="360" imgH="360" progId="">
                  <p:embed/>
                </p:oleObj>
              </mc:Choice>
              <mc:Fallback>
                <p:oleObj name="think-cell Slide" r:id="rId6" imgW="360" imgH="360" progId="">
                  <p:embed/>
                  <p:pic>
                    <p:nvPicPr>
                      <p:cNvPr id="0" name="Picture 5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dirty="0">
              <a:solidFill>
                <a:srgbClr val="00264A"/>
              </a:solidFill>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Table of Content-Agenda">
    <p:spTree>
      <p:nvGrpSpPr>
        <p:cNvPr id="1" name=""/>
        <p:cNvGrpSpPr/>
        <p:nvPr/>
      </p:nvGrpSpPr>
      <p:grpSpPr>
        <a:xfrm>
          <a:off x="0" y="0"/>
          <a:ext cx="0" cy="0"/>
          <a:chOff x="0" y="0"/>
          <a:chExt cx="0" cy="0"/>
        </a:xfrm>
      </p:grpSpPr>
      <p:sp>
        <p:nvSpPr>
          <p:cNvPr id="13" name="Rectangle 12"/>
          <p:cNvSpPr/>
          <p:nvPr userDrawn="1"/>
        </p:nvSpPr>
        <p:spPr>
          <a:xfrm>
            <a:off x="0" y="0"/>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2400" dirty="0" smtClean="0">
              <a:solidFill>
                <a:srgbClr val="9F958F">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7097" name="think-cell Slide" r:id="rId7" imgW="360" imgH="360" progId="">
                  <p:embed/>
                </p:oleObj>
              </mc:Choice>
              <mc:Fallback>
                <p:oleObj name="think-cell Slide" r:id="rId7" imgW="360" imgH="360" progId="">
                  <p:embed/>
                  <p:pic>
                    <p:nvPicPr>
                      <p:cNvPr id="0" name="Picture 5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dirty="0">
              <a:solidFill>
                <a:srgbClr val="00264A"/>
              </a:solidFill>
            </a:endParaRPr>
          </a:p>
        </p:txBody>
      </p:sp>
      <p:pic>
        <p:nvPicPr>
          <p:cNvPr id="12" name="Image 11" descr="HandsPanel_shutterstock_72073621.png"/>
          <p:cNvPicPr>
            <a:picLocks noChangeAspect="1"/>
          </p:cNvPicPr>
          <p:nvPr userDrawn="1"/>
        </p:nvPicPr>
        <p:blipFill>
          <a:blip r:embed="rId9" cstate="email"/>
          <a:srcRect b="8012"/>
          <a:stretch>
            <a:fillRect/>
          </a:stretch>
        </p:blipFill>
        <p:spPr>
          <a:xfrm>
            <a:off x="0"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6"/>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8121" name="think-cell Slide" r:id="rId6" imgW="360" imgH="360" progId="">
                  <p:embed/>
                </p:oleObj>
              </mc:Choice>
              <mc:Fallback>
                <p:oleObj name="think-cell Slide" r:id="rId6" imgW="360" imgH="360" progId="">
                  <p:embed/>
                  <p:pic>
                    <p:nvPicPr>
                      <p:cNvPr id="0" name="Picture 5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9145" name="think-cell Slide" r:id="rId7" imgW="360" imgH="360" progId="">
                  <p:embed/>
                </p:oleObj>
              </mc:Choice>
              <mc:Fallback>
                <p:oleObj name="think-cell Slide" r:id="rId7" imgW="360" imgH="360" progId="">
                  <p:embed/>
                  <p:pic>
                    <p:nvPicPr>
                      <p:cNvPr id="0" name="Picture 5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0169" name="think-cell Slide" r:id="rId7" imgW="360" imgH="360" progId="">
                  <p:embed/>
                </p:oleObj>
              </mc:Choice>
              <mc:Fallback>
                <p:oleObj name="think-cell Slide" r:id="rId7" imgW="360" imgH="360" progId="">
                  <p:embed/>
                  <p:pic>
                    <p:nvPicPr>
                      <p:cNvPr id="0" name="Picture 5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1193" name="think-cell Slide" r:id="rId9" imgW="360" imgH="360" progId="">
                  <p:embed/>
                </p:oleObj>
              </mc:Choice>
              <mc:Fallback>
                <p:oleObj name="think-cell Slide" r:id="rId9" imgW="360" imgH="360" progId="">
                  <p:embed/>
                  <p:pic>
                    <p:nvPicPr>
                      <p:cNvPr id="0" name="Picture 5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233363" indent="-233363">
              <a:defRPr lang="en-US" sz="1600" b="0" kern="1200" dirty="0" smtClean="0">
                <a:solidFill>
                  <a:schemeClr val="tx1"/>
                </a:solidFill>
                <a:latin typeface="Arial" pitchFamily="34" charset="0"/>
                <a:ea typeface="+mn-ea"/>
                <a:cs typeface="Arial" pitchFamily="34" charset="0"/>
              </a:defRPr>
            </a:lvl1pPr>
            <a:lvl2pPr marL="457200" indent="-223838">
              <a:defRPr lang="en-US" sz="1600" b="0" kern="1200" dirty="0" smtClean="0">
                <a:solidFill>
                  <a:schemeClr val="tx1"/>
                </a:solidFill>
                <a:latin typeface="Arial" pitchFamily="34" charset="0"/>
                <a:ea typeface="+mn-ea"/>
                <a:cs typeface="Arial" pitchFamily="34" charset="0"/>
              </a:defRPr>
            </a:lvl2pPr>
            <a:lvl3pPr>
              <a:defRPr lang="en-US" sz="1400" b="0" kern="1200" dirty="0" smtClean="0">
                <a:solidFill>
                  <a:schemeClr val="tx1"/>
                </a:solidFill>
                <a:latin typeface="Arial" pitchFamily="34" charset="0"/>
                <a:ea typeface="+mn-ea"/>
                <a:cs typeface="Arial" pitchFamily="34" charset="0"/>
              </a:defRPr>
            </a:lvl3pPr>
            <a:lvl4pPr>
              <a:defRPr lang="en-US" sz="1200" b="0" kern="1200" dirty="0" smtClean="0">
                <a:solidFill>
                  <a:schemeClr val="tx1"/>
                </a:solidFill>
                <a:latin typeface="Arial" pitchFamily="34" charset="0"/>
                <a:ea typeface="+mn-ea"/>
                <a:cs typeface="Arial" pitchFamily="34" charset="0"/>
              </a:defRPr>
            </a:lvl4pPr>
            <a:lvl5pPr>
              <a:defRPr lang="en-US" sz="1200" b="0" kern="1200" dirty="0">
                <a:solidFill>
                  <a:schemeClr val="tx1"/>
                </a:solidFill>
                <a:latin typeface="Arial" pitchFamily="34" charset="0"/>
                <a:ea typeface="+mn-ea"/>
                <a:cs typeface="Arial" pitchFamily="34" charset="0"/>
              </a:defRPr>
            </a:lvl5p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smtClean="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smtClean="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smtClean="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ifth level</a:t>
            </a:r>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217" name="think-cell Slide" r:id="rId5" imgW="360" imgH="360" progId="">
                  <p:embed/>
                </p:oleObj>
              </mc:Choice>
              <mc:Fallback>
                <p:oleObj name="think-cell Slide" r:id="rId5" imgW="360" imgH="360" progId="">
                  <p:embed/>
                  <p:pic>
                    <p:nvPicPr>
                      <p:cNvPr id="0" name="Picture 5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3241" name="think-cell Slide" r:id="rId4" imgW="360" imgH="360" progId="">
                  <p:embed/>
                </p:oleObj>
              </mc:Choice>
              <mc:Fallback>
                <p:oleObj name="think-cell Slide" r:id="rId4" imgW="360" imgH="360" progId="">
                  <p:embed/>
                  <p:pic>
                    <p:nvPicPr>
                      <p:cNvPr id="0" name="Picture 5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gradFill>
          <a:gsLst>
            <a:gs pos="0">
              <a:srgbClr val="005B7C"/>
            </a:gs>
            <a:gs pos="50000">
              <a:srgbClr val="0085B3"/>
            </a:gs>
            <a:gs pos="100000">
              <a:srgbClr val="00A0D6"/>
            </a:gs>
          </a:gsLst>
          <a:lin ang="18900000" scaled="1"/>
        </a:gra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0"/>
            <a:ext cx="9144000" cy="6099048"/>
          </a:xfrm>
          <a:prstGeom prst="rect">
            <a:avLst/>
          </a:prstGeom>
        </p:spPr>
      </p:pic>
      <p:sp>
        <p:nvSpPr>
          <p:cNvPr id="7" name="Rectangle 7"/>
          <p:cNvSpPr/>
          <p:nvPr userDrawn="1">
            <p:custDataLst>
              <p:tags r:id="rId1"/>
            </p:custDataLst>
          </p:nvPr>
        </p:nvSpPr>
        <p:spPr bwMode="auto">
          <a:xfrm>
            <a:off x="-2047" y="4029669"/>
            <a:ext cx="9147890" cy="2833417"/>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25855"/>
              <a:gd name="connsiteY0" fmla="*/ 10139197 h 10229976"/>
              <a:gd name="connsiteX1" fmla="*/ 21725167 w 21725855"/>
              <a:gd name="connsiteY1" fmla="*/ 3 h 10229976"/>
              <a:gd name="connsiteX2" fmla="*/ 21725167 w 21725855"/>
              <a:gd name="connsiteY2" fmla="*/ 3144285 h 10229976"/>
              <a:gd name="connsiteX3" fmla="*/ 20930876 w 21725855"/>
              <a:gd name="connsiteY3" fmla="*/ 3529270 h 10229976"/>
              <a:gd name="connsiteX4" fmla="*/ 4250839 w 21725855"/>
              <a:gd name="connsiteY4" fmla="*/ 3505102 h 10229976"/>
              <a:gd name="connsiteX5" fmla="*/ 3107637 w 21725855"/>
              <a:gd name="connsiteY5" fmla="*/ 4303580 h 10229976"/>
              <a:gd name="connsiteX6" fmla="*/ 1933283 w 21725855"/>
              <a:gd name="connsiteY6" fmla="*/ 3505102 h 10229976"/>
              <a:gd name="connsiteX7" fmla="*/ 30995 w 21725855"/>
              <a:gd name="connsiteY7" fmla="*/ 3505102 h 10229976"/>
              <a:gd name="connsiteX8" fmla="*/ 0 w 21725855"/>
              <a:gd name="connsiteY8" fmla="*/ 10139197 h 10229976"/>
              <a:gd name="connsiteX0" fmla="*/ 0 w 21725203"/>
              <a:gd name="connsiteY0" fmla="*/ 6995113 h 7085892"/>
              <a:gd name="connsiteX1" fmla="*/ 21694175 w 21725203"/>
              <a:gd name="connsiteY1" fmla="*/ 6952895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888786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920841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56164"/>
              <a:gd name="connsiteY0" fmla="*/ 6995113 h 7085892"/>
              <a:gd name="connsiteX1" fmla="*/ 21756159 w 21756164"/>
              <a:gd name="connsiteY1" fmla="*/ 6952895 h 7085892"/>
              <a:gd name="connsiteX2" fmla="*/ 21725167 w 21756164"/>
              <a:gd name="connsiteY2" fmla="*/ 201 h 7085892"/>
              <a:gd name="connsiteX3" fmla="*/ 20930876 w 21756164"/>
              <a:gd name="connsiteY3" fmla="*/ 385186 h 7085892"/>
              <a:gd name="connsiteX4" fmla="*/ 4250839 w 21756164"/>
              <a:gd name="connsiteY4" fmla="*/ 361018 h 7085892"/>
              <a:gd name="connsiteX5" fmla="*/ 3107637 w 21756164"/>
              <a:gd name="connsiteY5" fmla="*/ 1159496 h 7085892"/>
              <a:gd name="connsiteX6" fmla="*/ 1933283 w 21756164"/>
              <a:gd name="connsiteY6" fmla="*/ 361018 h 7085892"/>
              <a:gd name="connsiteX7" fmla="*/ 30995 w 21756164"/>
              <a:gd name="connsiteY7" fmla="*/ 361018 h 7085892"/>
              <a:gd name="connsiteX8" fmla="*/ 0 w 21756164"/>
              <a:gd name="connsiteY8" fmla="*/ 6995113 h 7085892"/>
              <a:gd name="connsiteX0" fmla="*/ 0 w 21756164"/>
              <a:gd name="connsiteY0" fmla="*/ 6995113 h 7086228"/>
              <a:gd name="connsiteX1" fmla="*/ 21756159 w 21756164"/>
              <a:gd name="connsiteY1" fmla="*/ 6952895 h 7086228"/>
              <a:gd name="connsiteX2" fmla="*/ 21725167 w 21756164"/>
              <a:gd name="connsiteY2" fmla="*/ 201 h 7086228"/>
              <a:gd name="connsiteX3" fmla="*/ 20930876 w 21756164"/>
              <a:gd name="connsiteY3" fmla="*/ 385186 h 7086228"/>
              <a:gd name="connsiteX4" fmla="*/ 4250839 w 21756164"/>
              <a:gd name="connsiteY4" fmla="*/ 361018 h 7086228"/>
              <a:gd name="connsiteX5" fmla="*/ 3107637 w 21756164"/>
              <a:gd name="connsiteY5" fmla="*/ 1159496 h 7086228"/>
              <a:gd name="connsiteX6" fmla="*/ 1933283 w 21756164"/>
              <a:gd name="connsiteY6" fmla="*/ 361018 h 7086228"/>
              <a:gd name="connsiteX7" fmla="*/ 2 w 21756164"/>
              <a:gd name="connsiteY7" fmla="*/ 393072 h 7086228"/>
              <a:gd name="connsiteX8" fmla="*/ 0 w 21756164"/>
              <a:gd name="connsiteY8" fmla="*/ 6995113 h 7086228"/>
              <a:gd name="connsiteX0" fmla="*/ 0 w 21756164"/>
              <a:gd name="connsiteY0" fmla="*/ 6995113 h 7086157"/>
              <a:gd name="connsiteX1" fmla="*/ 21756159 w 21756164"/>
              <a:gd name="connsiteY1" fmla="*/ 6952895 h 7086157"/>
              <a:gd name="connsiteX2" fmla="*/ 21725167 w 21756164"/>
              <a:gd name="connsiteY2" fmla="*/ 201 h 7086157"/>
              <a:gd name="connsiteX3" fmla="*/ 20930876 w 21756164"/>
              <a:gd name="connsiteY3" fmla="*/ 385186 h 7086157"/>
              <a:gd name="connsiteX4" fmla="*/ 4250839 w 21756164"/>
              <a:gd name="connsiteY4" fmla="*/ 361018 h 7086157"/>
              <a:gd name="connsiteX5" fmla="*/ 3107637 w 21756164"/>
              <a:gd name="connsiteY5" fmla="*/ 1159496 h 7086157"/>
              <a:gd name="connsiteX6" fmla="*/ 1933283 w 21756164"/>
              <a:gd name="connsiteY6" fmla="*/ 361018 h 7086157"/>
              <a:gd name="connsiteX7" fmla="*/ 26140 w 21756164"/>
              <a:gd name="connsiteY7" fmla="*/ 386312 h 7086157"/>
              <a:gd name="connsiteX8" fmla="*/ 0 w 21756164"/>
              <a:gd name="connsiteY8" fmla="*/ 6995113 h 7086157"/>
              <a:gd name="connsiteX0" fmla="*/ 0 w 21756164"/>
              <a:gd name="connsiteY0" fmla="*/ 6995113 h 7085875"/>
              <a:gd name="connsiteX1" fmla="*/ 21756159 w 21756164"/>
              <a:gd name="connsiteY1" fmla="*/ 6952895 h 7085875"/>
              <a:gd name="connsiteX2" fmla="*/ 21725167 w 21756164"/>
              <a:gd name="connsiteY2" fmla="*/ 201 h 7085875"/>
              <a:gd name="connsiteX3" fmla="*/ 20930876 w 21756164"/>
              <a:gd name="connsiteY3" fmla="*/ 385186 h 7085875"/>
              <a:gd name="connsiteX4" fmla="*/ 4250839 w 21756164"/>
              <a:gd name="connsiteY4" fmla="*/ 361018 h 7085875"/>
              <a:gd name="connsiteX5" fmla="*/ 3107637 w 21756164"/>
              <a:gd name="connsiteY5" fmla="*/ 1159496 h 7085875"/>
              <a:gd name="connsiteX6" fmla="*/ 1933283 w 21756164"/>
              <a:gd name="connsiteY6" fmla="*/ 361018 h 7085875"/>
              <a:gd name="connsiteX7" fmla="*/ 26140 w 21756164"/>
              <a:gd name="connsiteY7" fmla="*/ 359281 h 7085875"/>
              <a:gd name="connsiteX8" fmla="*/ 0 w 21756164"/>
              <a:gd name="connsiteY8" fmla="*/ 6995113 h 7085875"/>
              <a:gd name="connsiteX0" fmla="*/ 472961 w 21730024"/>
              <a:gd name="connsiteY0" fmla="*/ 6272426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2961 w 21730024"/>
              <a:gd name="connsiteY8" fmla="*/ 6272426 h 6953376"/>
              <a:gd name="connsiteX0" fmla="*/ 479 w 21730024"/>
              <a:gd name="connsiteY0" fmla="*/ 6946935 h 7038202"/>
              <a:gd name="connsiteX1" fmla="*/ 21730019 w 21730024"/>
              <a:gd name="connsiteY1" fmla="*/ 6952895 h 7038202"/>
              <a:gd name="connsiteX2" fmla="*/ 21699027 w 21730024"/>
              <a:gd name="connsiteY2" fmla="*/ 201 h 7038202"/>
              <a:gd name="connsiteX3" fmla="*/ 20904736 w 21730024"/>
              <a:gd name="connsiteY3" fmla="*/ 385186 h 7038202"/>
              <a:gd name="connsiteX4" fmla="*/ 4224699 w 21730024"/>
              <a:gd name="connsiteY4" fmla="*/ 361018 h 7038202"/>
              <a:gd name="connsiteX5" fmla="*/ 3081497 w 21730024"/>
              <a:gd name="connsiteY5" fmla="*/ 1159496 h 7038202"/>
              <a:gd name="connsiteX6" fmla="*/ 1907143 w 21730024"/>
              <a:gd name="connsiteY6" fmla="*/ 361018 h 7038202"/>
              <a:gd name="connsiteX7" fmla="*/ 0 w 21730024"/>
              <a:gd name="connsiteY7" fmla="*/ 359281 h 7038202"/>
              <a:gd name="connsiteX8" fmla="*/ 479 w 21730024"/>
              <a:gd name="connsiteY8" fmla="*/ 6946935 h 7038202"/>
              <a:gd name="connsiteX0" fmla="*/ 85846 w 21815391"/>
              <a:gd name="connsiteY0" fmla="*/ 6946935 h 6953376"/>
              <a:gd name="connsiteX1" fmla="*/ 21815386 w 21815391"/>
              <a:gd name="connsiteY1" fmla="*/ 6952895 h 6953376"/>
              <a:gd name="connsiteX2" fmla="*/ 21784394 w 21815391"/>
              <a:gd name="connsiteY2" fmla="*/ 201 h 6953376"/>
              <a:gd name="connsiteX3" fmla="*/ 20990103 w 21815391"/>
              <a:gd name="connsiteY3" fmla="*/ 385186 h 6953376"/>
              <a:gd name="connsiteX4" fmla="*/ 4310066 w 21815391"/>
              <a:gd name="connsiteY4" fmla="*/ 361018 h 6953376"/>
              <a:gd name="connsiteX5" fmla="*/ 3166864 w 21815391"/>
              <a:gd name="connsiteY5" fmla="*/ 1159496 h 6953376"/>
              <a:gd name="connsiteX6" fmla="*/ 1992510 w 21815391"/>
              <a:gd name="connsiteY6" fmla="*/ 361018 h 6953376"/>
              <a:gd name="connsiteX7" fmla="*/ 85367 w 21815391"/>
              <a:gd name="connsiteY7" fmla="*/ 359281 h 6953376"/>
              <a:gd name="connsiteX8" fmla="*/ 85846 w 21815391"/>
              <a:gd name="connsiteY8" fmla="*/ 6946935 h 6953376"/>
              <a:gd name="connsiteX0" fmla="*/ 479 w 21730024"/>
              <a:gd name="connsiteY0" fmla="*/ 6946935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9 w 21730024"/>
              <a:gd name="connsiteY8" fmla="*/ 6946935 h 6953376"/>
              <a:gd name="connsiteX0" fmla="*/ 479 w 21699030"/>
              <a:gd name="connsiteY0" fmla="*/ 6946937 h 6946937"/>
              <a:gd name="connsiteX1" fmla="*/ 21344051 w 21699030"/>
              <a:gd name="connsiteY1" fmla="*/ 6787711 h 6946937"/>
              <a:gd name="connsiteX2" fmla="*/ 21699027 w 21699030"/>
              <a:gd name="connsiteY2" fmla="*/ 203 h 6946937"/>
              <a:gd name="connsiteX3" fmla="*/ 20904736 w 21699030"/>
              <a:gd name="connsiteY3" fmla="*/ 385188 h 6946937"/>
              <a:gd name="connsiteX4" fmla="*/ 4224699 w 21699030"/>
              <a:gd name="connsiteY4" fmla="*/ 361020 h 6946937"/>
              <a:gd name="connsiteX5" fmla="*/ 3081497 w 21699030"/>
              <a:gd name="connsiteY5" fmla="*/ 1159498 h 6946937"/>
              <a:gd name="connsiteX6" fmla="*/ 1907143 w 21699030"/>
              <a:gd name="connsiteY6" fmla="*/ 361020 h 6946937"/>
              <a:gd name="connsiteX7" fmla="*/ 0 w 21699030"/>
              <a:gd name="connsiteY7" fmla="*/ 359283 h 6946937"/>
              <a:gd name="connsiteX8" fmla="*/ 479 w 21699030"/>
              <a:gd name="connsiteY8" fmla="*/ 6946937 h 6946937"/>
              <a:gd name="connsiteX0" fmla="*/ 479 w 21703452"/>
              <a:gd name="connsiteY0" fmla="*/ 6946935 h 6946935"/>
              <a:gd name="connsiteX1" fmla="*/ 21703403 w 21703452"/>
              <a:gd name="connsiteY1" fmla="*/ 6946012 h 6946935"/>
              <a:gd name="connsiteX2" fmla="*/ 21699027 w 21703452"/>
              <a:gd name="connsiteY2" fmla="*/ 201 h 6946935"/>
              <a:gd name="connsiteX3" fmla="*/ 20904736 w 21703452"/>
              <a:gd name="connsiteY3" fmla="*/ 385186 h 6946935"/>
              <a:gd name="connsiteX4" fmla="*/ 4224699 w 21703452"/>
              <a:gd name="connsiteY4" fmla="*/ 361018 h 6946935"/>
              <a:gd name="connsiteX5" fmla="*/ 3081497 w 21703452"/>
              <a:gd name="connsiteY5" fmla="*/ 1159496 h 6946935"/>
              <a:gd name="connsiteX6" fmla="*/ 1907143 w 21703452"/>
              <a:gd name="connsiteY6" fmla="*/ 361018 h 6946935"/>
              <a:gd name="connsiteX7" fmla="*/ 0 w 21703452"/>
              <a:gd name="connsiteY7" fmla="*/ 359281 h 6946935"/>
              <a:gd name="connsiteX8" fmla="*/ 479 w 21703452"/>
              <a:gd name="connsiteY8" fmla="*/ 6946935 h 6946935"/>
              <a:gd name="connsiteX0" fmla="*/ 479 w 21869774"/>
              <a:gd name="connsiteY0" fmla="*/ 6946945 h 6946945"/>
              <a:gd name="connsiteX1" fmla="*/ 21869772 w 21869774"/>
              <a:gd name="connsiteY1" fmla="*/ 6505527 h 6946945"/>
              <a:gd name="connsiteX2" fmla="*/ 21699027 w 21869774"/>
              <a:gd name="connsiteY2" fmla="*/ 211 h 6946945"/>
              <a:gd name="connsiteX3" fmla="*/ 20904736 w 21869774"/>
              <a:gd name="connsiteY3" fmla="*/ 385196 h 6946945"/>
              <a:gd name="connsiteX4" fmla="*/ 4224699 w 21869774"/>
              <a:gd name="connsiteY4" fmla="*/ 361028 h 6946945"/>
              <a:gd name="connsiteX5" fmla="*/ 3081497 w 21869774"/>
              <a:gd name="connsiteY5" fmla="*/ 1159506 h 6946945"/>
              <a:gd name="connsiteX6" fmla="*/ 1907143 w 21869774"/>
              <a:gd name="connsiteY6" fmla="*/ 361028 h 6946945"/>
              <a:gd name="connsiteX7" fmla="*/ 0 w 21869774"/>
              <a:gd name="connsiteY7" fmla="*/ 359291 h 6946945"/>
              <a:gd name="connsiteX8" fmla="*/ 479 w 21869774"/>
              <a:gd name="connsiteY8" fmla="*/ 6946945 h 6946945"/>
              <a:gd name="connsiteX0" fmla="*/ 479 w 21703454"/>
              <a:gd name="connsiteY0" fmla="*/ 6946935 h 6953376"/>
              <a:gd name="connsiteX1" fmla="*/ 21703405 w 21703454"/>
              <a:gd name="connsiteY1" fmla="*/ 6952895 h 6953376"/>
              <a:gd name="connsiteX2" fmla="*/ 21699027 w 21703454"/>
              <a:gd name="connsiteY2" fmla="*/ 201 h 6953376"/>
              <a:gd name="connsiteX3" fmla="*/ 20904736 w 21703454"/>
              <a:gd name="connsiteY3" fmla="*/ 385186 h 6953376"/>
              <a:gd name="connsiteX4" fmla="*/ 4224699 w 21703454"/>
              <a:gd name="connsiteY4" fmla="*/ 361018 h 6953376"/>
              <a:gd name="connsiteX5" fmla="*/ 3081497 w 21703454"/>
              <a:gd name="connsiteY5" fmla="*/ 1159496 h 6953376"/>
              <a:gd name="connsiteX6" fmla="*/ 1907143 w 21703454"/>
              <a:gd name="connsiteY6" fmla="*/ 361018 h 6953376"/>
              <a:gd name="connsiteX7" fmla="*/ 0 w 21703454"/>
              <a:gd name="connsiteY7" fmla="*/ 359281 h 6953376"/>
              <a:gd name="connsiteX8" fmla="*/ 479 w 21703454"/>
              <a:gd name="connsiteY8" fmla="*/ 6946935 h 6953376"/>
              <a:gd name="connsiteX0" fmla="*/ 479 w 21703404"/>
              <a:gd name="connsiteY0" fmla="*/ 6947131 h 6953091"/>
              <a:gd name="connsiteX1" fmla="*/ 21703405 w 21703404"/>
              <a:gd name="connsiteY1" fmla="*/ 6953091 h 6953091"/>
              <a:gd name="connsiteX2" fmla="*/ 21699027 w 21703404"/>
              <a:gd name="connsiteY2" fmla="*/ 397 h 6953091"/>
              <a:gd name="connsiteX3" fmla="*/ 20904736 w 21703404"/>
              <a:gd name="connsiteY3" fmla="*/ 385382 h 6953091"/>
              <a:gd name="connsiteX4" fmla="*/ 4224699 w 21703404"/>
              <a:gd name="connsiteY4" fmla="*/ 361214 h 6953091"/>
              <a:gd name="connsiteX5" fmla="*/ 3081497 w 21703404"/>
              <a:gd name="connsiteY5" fmla="*/ 1159692 h 6953091"/>
              <a:gd name="connsiteX6" fmla="*/ 1907143 w 21703404"/>
              <a:gd name="connsiteY6" fmla="*/ 361214 h 6953091"/>
              <a:gd name="connsiteX7" fmla="*/ 0 w 21703404"/>
              <a:gd name="connsiteY7" fmla="*/ 359477 h 6953091"/>
              <a:gd name="connsiteX8" fmla="*/ 479 w 21703404"/>
              <a:gd name="connsiteY8" fmla="*/ 6947131 h 6953091"/>
              <a:gd name="connsiteX0" fmla="*/ 479 w 21703404"/>
              <a:gd name="connsiteY0" fmla="*/ 6946733 h 6952693"/>
              <a:gd name="connsiteX1" fmla="*/ 21703405 w 21703404"/>
              <a:gd name="connsiteY1" fmla="*/ 6952693 h 6952693"/>
              <a:gd name="connsiteX2" fmla="*/ 21699027 w 21703404"/>
              <a:gd name="connsiteY2" fmla="*/ -1 h 6952693"/>
              <a:gd name="connsiteX3" fmla="*/ 20904736 w 21703404"/>
              <a:gd name="connsiteY3" fmla="*/ 384984 h 6952693"/>
              <a:gd name="connsiteX4" fmla="*/ 4224699 w 21703404"/>
              <a:gd name="connsiteY4" fmla="*/ 360816 h 6952693"/>
              <a:gd name="connsiteX5" fmla="*/ 3081497 w 21703404"/>
              <a:gd name="connsiteY5" fmla="*/ 1159294 h 6952693"/>
              <a:gd name="connsiteX6" fmla="*/ 1907143 w 21703404"/>
              <a:gd name="connsiteY6" fmla="*/ 360816 h 6952693"/>
              <a:gd name="connsiteX7" fmla="*/ 0 w 21703404"/>
              <a:gd name="connsiteY7" fmla="*/ 359079 h 6952693"/>
              <a:gd name="connsiteX8" fmla="*/ 479 w 21703404"/>
              <a:gd name="connsiteY8" fmla="*/ 6946733 h 6952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03404" h="6952693">
                <a:moveTo>
                  <a:pt x="479" y="6946733"/>
                </a:moveTo>
                <a:lnTo>
                  <a:pt x="21703405" y="6952693"/>
                </a:lnTo>
                <a:cubicBezTo>
                  <a:pt x="21701216" y="3476346"/>
                  <a:pt x="21706934" y="899518"/>
                  <a:pt x="21699027" y="-1"/>
                </a:cubicBezTo>
                <a:cubicBezTo>
                  <a:pt x="21554928" y="424890"/>
                  <a:pt x="21164498" y="379041"/>
                  <a:pt x="20904736" y="384984"/>
                </a:cubicBezTo>
                <a:lnTo>
                  <a:pt x="4224699" y="360816"/>
                </a:lnTo>
                <a:cubicBezTo>
                  <a:pt x="3647485" y="393958"/>
                  <a:pt x="3273106" y="696472"/>
                  <a:pt x="3081497" y="1159294"/>
                </a:cubicBezTo>
                <a:cubicBezTo>
                  <a:pt x="2783143" y="455517"/>
                  <a:pt x="2185783" y="359938"/>
                  <a:pt x="1907143" y="360816"/>
                </a:cubicBezTo>
                <a:lnTo>
                  <a:pt x="0" y="359079"/>
                </a:lnTo>
                <a:cubicBezTo>
                  <a:pt x="222" y="-2800"/>
                  <a:pt x="239" y="3652906"/>
                  <a:pt x="479" y="6946733"/>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8" name="Titre 1"/>
          <p:cNvSpPr>
            <a:spLocks noGrp="1"/>
          </p:cNvSpPr>
          <p:nvPr>
            <p:ph type="title" hasCustomPrompt="1"/>
            <p:custDataLst>
              <p:tags r:id="rId2"/>
            </p:custDataLst>
          </p:nvPr>
        </p:nvSpPr>
        <p:spPr>
          <a:xfrm>
            <a:off x="0" y="4699000"/>
            <a:ext cx="9144000" cy="899319"/>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6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
        <p:nvSpPr>
          <p:cNvPr id="6" name="Text Placeholder 5"/>
          <p:cNvSpPr>
            <a:spLocks noGrp="1"/>
          </p:cNvSpPr>
          <p:nvPr>
            <p:ph type="body" sz="quarter" idx="10"/>
          </p:nvPr>
        </p:nvSpPr>
        <p:spPr>
          <a:xfrm>
            <a:off x="863600" y="5598319"/>
            <a:ext cx="755650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smtClean="0"/>
              <a:t>Click to edit Master text style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0" y="-12526"/>
            <a:ext cx="9144000" cy="4772416"/>
          </a:xfrm>
          <a:prstGeom prst="rect">
            <a:avLst/>
          </a:prstGeom>
        </p:spPr>
      </p:pic>
      <p:sp>
        <p:nvSpPr>
          <p:cNvPr id="7" name="Rectangle 7"/>
          <p:cNvSpPr/>
          <p:nvPr userDrawn="1">
            <p:custDataLst>
              <p:tags r:id="rId1"/>
            </p:custDataLst>
          </p:nvPr>
        </p:nvSpPr>
        <p:spPr bwMode="auto">
          <a:xfrm>
            <a:off x="-2047" y="4029669"/>
            <a:ext cx="9147890" cy="2833417"/>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25855"/>
              <a:gd name="connsiteY0" fmla="*/ 10139197 h 10229976"/>
              <a:gd name="connsiteX1" fmla="*/ 21725167 w 21725855"/>
              <a:gd name="connsiteY1" fmla="*/ 3 h 10229976"/>
              <a:gd name="connsiteX2" fmla="*/ 21725167 w 21725855"/>
              <a:gd name="connsiteY2" fmla="*/ 3144285 h 10229976"/>
              <a:gd name="connsiteX3" fmla="*/ 20930876 w 21725855"/>
              <a:gd name="connsiteY3" fmla="*/ 3529270 h 10229976"/>
              <a:gd name="connsiteX4" fmla="*/ 4250839 w 21725855"/>
              <a:gd name="connsiteY4" fmla="*/ 3505102 h 10229976"/>
              <a:gd name="connsiteX5" fmla="*/ 3107637 w 21725855"/>
              <a:gd name="connsiteY5" fmla="*/ 4303580 h 10229976"/>
              <a:gd name="connsiteX6" fmla="*/ 1933283 w 21725855"/>
              <a:gd name="connsiteY6" fmla="*/ 3505102 h 10229976"/>
              <a:gd name="connsiteX7" fmla="*/ 30995 w 21725855"/>
              <a:gd name="connsiteY7" fmla="*/ 3505102 h 10229976"/>
              <a:gd name="connsiteX8" fmla="*/ 0 w 21725855"/>
              <a:gd name="connsiteY8" fmla="*/ 10139197 h 10229976"/>
              <a:gd name="connsiteX0" fmla="*/ 0 w 21725203"/>
              <a:gd name="connsiteY0" fmla="*/ 6995113 h 7085892"/>
              <a:gd name="connsiteX1" fmla="*/ 21694175 w 21725203"/>
              <a:gd name="connsiteY1" fmla="*/ 6952895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888786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920841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56164"/>
              <a:gd name="connsiteY0" fmla="*/ 6995113 h 7085892"/>
              <a:gd name="connsiteX1" fmla="*/ 21756159 w 21756164"/>
              <a:gd name="connsiteY1" fmla="*/ 6952895 h 7085892"/>
              <a:gd name="connsiteX2" fmla="*/ 21725167 w 21756164"/>
              <a:gd name="connsiteY2" fmla="*/ 201 h 7085892"/>
              <a:gd name="connsiteX3" fmla="*/ 20930876 w 21756164"/>
              <a:gd name="connsiteY3" fmla="*/ 385186 h 7085892"/>
              <a:gd name="connsiteX4" fmla="*/ 4250839 w 21756164"/>
              <a:gd name="connsiteY4" fmla="*/ 361018 h 7085892"/>
              <a:gd name="connsiteX5" fmla="*/ 3107637 w 21756164"/>
              <a:gd name="connsiteY5" fmla="*/ 1159496 h 7085892"/>
              <a:gd name="connsiteX6" fmla="*/ 1933283 w 21756164"/>
              <a:gd name="connsiteY6" fmla="*/ 361018 h 7085892"/>
              <a:gd name="connsiteX7" fmla="*/ 30995 w 21756164"/>
              <a:gd name="connsiteY7" fmla="*/ 361018 h 7085892"/>
              <a:gd name="connsiteX8" fmla="*/ 0 w 21756164"/>
              <a:gd name="connsiteY8" fmla="*/ 6995113 h 7085892"/>
              <a:gd name="connsiteX0" fmla="*/ 0 w 21756164"/>
              <a:gd name="connsiteY0" fmla="*/ 6995113 h 7086228"/>
              <a:gd name="connsiteX1" fmla="*/ 21756159 w 21756164"/>
              <a:gd name="connsiteY1" fmla="*/ 6952895 h 7086228"/>
              <a:gd name="connsiteX2" fmla="*/ 21725167 w 21756164"/>
              <a:gd name="connsiteY2" fmla="*/ 201 h 7086228"/>
              <a:gd name="connsiteX3" fmla="*/ 20930876 w 21756164"/>
              <a:gd name="connsiteY3" fmla="*/ 385186 h 7086228"/>
              <a:gd name="connsiteX4" fmla="*/ 4250839 w 21756164"/>
              <a:gd name="connsiteY4" fmla="*/ 361018 h 7086228"/>
              <a:gd name="connsiteX5" fmla="*/ 3107637 w 21756164"/>
              <a:gd name="connsiteY5" fmla="*/ 1159496 h 7086228"/>
              <a:gd name="connsiteX6" fmla="*/ 1933283 w 21756164"/>
              <a:gd name="connsiteY6" fmla="*/ 361018 h 7086228"/>
              <a:gd name="connsiteX7" fmla="*/ 2 w 21756164"/>
              <a:gd name="connsiteY7" fmla="*/ 393072 h 7086228"/>
              <a:gd name="connsiteX8" fmla="*/ 0 w 21756164"/>
              <a:gd name="connsiteY8" fmla="*/ 6995113 h 7086228"/>
              <a:gd name="connsiteX0" fmla="*/ 0 w 21756164"/>
              <a:gd name="connsiteY0" fmla="*/ 6995113 h 7086157"/>
              <a:gd name="connsiteX1" fmla="*/ 21756159 w 21756164"/>
              <a:gd name="connsiteY1" fmla="*/ 6952895 h 7086157"/>
              <a:gd name="connsiteX2" fmla="*/ 21725167 w 21756164"/>
              <a:gd name="connsiteY2" fmla="*/ 201 h 7086157"/>
              <a:gd name="connsiteX3" fmla="*/ 20930876 w 21756164"/>
              <a:gd name="connsiteY3" fmla="*/ 385186 h 7086157"/>
              <a:gd name="connsiteX4" fmla="*/ 4250839 w 21756164"/>
              <a:gd name="connsiteY4" fmla="*/ 361018 h 7086157"/>
              <a:gd name="connsiteX5" fmla="*/ 3107637 w 21756164"/>
              <a:gd name="connsiteY5" fmla="*/ 1159496 h 7086157"/>
              <a:gd name="connsiteX6" fmla="*/ 1933283 w 21756164"/>
              <a:gd name="connsiteY6" fmla="*/ 361018 h 7086157"/>
              <a:gd name="connsiteX7" fmla="*/ 26140 w 21756164"/>
              <a:gd name="connsiteY7" fmla="*/ 386312 h 7086157"/>
              <a:gd name="connsiteX8" fmla="*/ 0 w 21756164"/>
              <a:gd name="connsiteY8" fmla="*/ 6995113 h 7086157"/>
              <a:gd name="connsiteX0" fmla="*/ 0 w 21756164"/>
              <a:gd name="connsiteY0" fmla="*/ 6995113 h 7085875"/>
              <a:gd name="connsiteX1" fmla="*/ 21756159 w 21756164"/>
              <a:gd name="connsiteY1" fmla="*/ 6952895 h 7085875"/>
              <a:gd name="connsiteX2" fmla="*/ 21725167 w 21756164"/>
              <a:gd name="connsiteY2" fmla="*/ 201 h 7085875"/>
              <a:gd name="connsiteX3" fmla="*/ 20930876 w 21756164"/>
              <a:gd name="connsiteY3" fmla="*/ 385186 h 7085875"/>
              <a:gd name="connsiteX4" fmla="*/ 4250839 w 21756164"/>
              <a:gd name="connsiteY4" fmla="*/ 361018 h 7085875"/>
              <a:gd name="connsiteX5" fmla="*/ 3107637 w 21756164"/>
              <a:gd name="connsiteY5" fmla="*/ 1159496 h 7085875"/>
              <a:gd name="connsiteX6" fmla="*/ 1933283 w 21756164"/>
              <a:gd name="connsiteY6" fmla="*/ 361018 h 7085875"/>
              <a:gd name="connsiteX7" fmla="*/ 26140 w 21756164"/>
              <a:gd name="connsiteY7" fmla="*/ 359281 h 7085875"/>
              <a:gd name="connsiteX8" fmla="*/ 0 w 21756164"/>
              <a:gd name="connsiteY8" fmla="*/ 6995113 h 7085875"/>
              <a:gd name="connsiteX0" fmla="*/ 472961 w 21730024"/>
              <a:gd name="connsiteY0" fmla="*/ 6272426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2961 w 21730024"/>
              <a:gd name="connsiteY8" fmla="*/ 6272426 h 6953376"/>
              <a:gd name="connsiteX0" fmla="*/ 479 w 21730024"/>
              <a:gd name="connsiteY0" fmla="*/ 6946935 h 7038202"/>
              <a:gd name="connsiteX1" fmla="*/ 21730019 w 21730024"/>
              <a:gd name="connsiteY1" fmla="*/ 6952895 h 7038202"/>
              <a:gd name="connsiteX2" fmla="*/ 21699027 w 21730024"/>
              <a:gd name="connsiteY2" fmla="*/ 201 h 7038202"/>
              <a:gd name="connsiteX3" fmla="*/ 20904736 w 21730024"/>
              <a:gd name="connsiteY3" fmla="*/ 385186 h 7038202"/>
              <a:gd name="connsiteX4" fmla="*/ 4224699 w 21730024"/>
              <a:gd name="connsiteY4" fmla="*/ 361018 h 7038202"/>
              <a:gd name="connsiteX5" fmla="*/ 3081497 w 21730024"/>
              <a:gd name="connsiteY5" fmla="*/ 1159496 h 7038202"/>
              <a:gd name="connsiteX6" fmla="*/ 1907143 w 21730024"/>
              <a:gd name="connsiteY6" fmla="*/ 361018 h 7038202"/>
              <a:gd name="connsiteX7" fmla="*/ 0 w 21730024"/>
              <a:gd name="connsiteY7" fmla="*/ 359281 h 7038202"/>
              <a:gd name="connsiteX8" fmla="*/ 479 w 21730024"/>
              <a:gd name="connsiteY8" fmla="*/ 6946935 h 7038202"/>
              <a:gd name="connsiteX0" fmla="*/ 85846 w 21815391"/>
              <a:gd name="connsiteY0" fmla="*/ 6946935 h 6953376"/>
              <a:gd name="connsiteX1" fmla="*/ 21815386 w 21815391"/>
              <a:gd name="connsiteY1" fmla="*/ 6952895 h 6953376"/>
              <a:gd name="connsiteX2" fmla="*/ 21784394 w 21815391"/>
              <a:gd name="connsiteY2" fmla="*/ 201 h 6953376"/>
              <a:gd name="connsiteX3" fmla="*/ 20990103 w 21815391"/>
              <a:gd name="connsiteY3" fmla="*/ 385186 h 6953376"/>
              <a:gd name="connsiteX4" fmla="*/ 4310066 w 21815391"/>
              <a:gd name="connsiteY4" fmla="*/ 361018 h 6953376"/>
              <a:gd name="connsiteX5" fmla="*/ 3166864 w 21815391"/>
              <a:gd name="connsiteY5" fmla="*/ 1159496 h 6953376"/>
              <a:gd name="connsiteX6" fmla="*/ 1992510 w 21815391"/>
              <a:gd name="connsiteY6" fmla="*/ 361018 h 6953376"/>
              <a:gd name="connsiteX7" fmla="*/ 85367 w 21815391"/>
              <a:gd name="connsiteY7" fmla="*/ 359281 h 6953376"/>
              <a:gd name="connsiteX8" fmla="*/ 85846 w 21815391"/>
              <a:gd name="connsiteY8" fmla="*/ 6946935 h 6953376"/>
              <a:gd name="connsiteX0" fmla="*/ 479 w 21730024"/>
              <a:gd name="connsiteY0" fmla="*/ 6946935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9 w 21730024"/>
              <a:gd name="connsiteY8" fmla="*/ 6946935 h 6953376"/>
              <a:gd name="connsiteX0" fmla="*/ 479 w 21699030"/>
              <a:gd name="connsiteY0" fmla="*/ 6946937 h 6946937"/>
              <a:gd name="connsiteX1" fmla="*/ 21344051 w 21699030"/>
              <a:gd name="connsiteY1" fmla="*/ 6787711 h 6946937"/>
              <a:gd name="connsiteX2" fmla="*/ 21699027 w 21699030"/>
              <a:gd name="connsiteY2" fmla="*/ 203 h 6946937"/>
              <a:gd name="connsiteX3" fmla="*/ 20904736 w 21699030"/>
              <a:gd name="connsiteY3" fmla="*/ 385188 h 6946937"/>
              <a:gd name="connsiteX4" fmla="*/ 4224699 w 21699030"/>
              <a:gd name="connsiteY4" fmla="*/ 361020 h 6946937"/>
              <a:gd name="connsiteX5" fmla="*/ 3081497 w 21699030"/>
              <a:gd name="connsiteY5" fmla="*/ 1159498 h 6946937"/>
              <a:gd name="connsiteX6" fmla="*/ 1907143 w 21699030"/>
              <a:gd name="connsiteY6" fmla="*/ 361020 h 6946937"/>
              <a:gd name="connsiteX7" fmla="*/ 0 w 21699030"/>
              <a:gd name="connsiteY7" fmla="*/ 359283 h 6946937"/>
              <a:gd name="connsiteX8" fmla="*/ 479 w 21699030"/>
              <a:gd name="connsiteY8" fmla="*/ 6946937 h 6946937"/>
              <a:gd name="connsiteX0" fmla="*/ 479 w 21703452"/>
              <a:gd name="connsiteY0" fmla="*/ 6946935 h 6946935"/>
              <a:gd name="connsiteX1" fmla="*/ 21703403 w 21703452"/>
              <a:gd name="connsiteY1" fmla="*/ 6946012 h 6946935"/>
              <a:gd name="connsiteX2" fmla="*/ 21699027 w 21703452"/>
              <a:gd name="connsiteY2" fmla="*/ 201 h 6946935"/>
              <a:gd name="connsiteX3" fmla="*/ 20904736 w 21703452"/>
              <a:gd name="connsiteY3" fmla="*/ 385186 h 6946935"/>
              <a:gd name="connsiteX4" fmla="*/ 4224699 w 21703452"/>
              <a:gd name="connsiteY4" fmla="*/ 361018 h 6946935"/>
              <a:gd name="connsiteX5" fmla="*/ 3081497 w 21703452"/>
              <a:gd name="connsiteY5" fmla="*/ 1159496 h 6946935"/>
              <a:gd name="connsiteX6" fmla="*/ 1907143 w 21703452"/>
              <a:gd name="connsiteY6" fmla="*/ 361018 h 6946935"/>
              <a:gd name="connsiteX7" fmla="*/ 0 w 21703452"/>
              <a:gd name="connsiteY7" fmla="*/ 359281 h 6946935"/>
              <a:gd name="connsiteX8" fmla="*/ 479 w 21703452"/>
              <a:gd name="connsiteY8" fmla="*/ 6946935 h 6946935"/>
              <a:gd name="connsiteX0" fmla="*/ 479 w 21869774"/>
              <a:gd name="connsiteY0" fmla="*/ 6946945 h 6946945"/>
              <a:gd name="connsiteX1" fmla="*/ 21869772 w 21869774"/>
              <a:gd name="connsiteY1" fmla="*/ 6505527 h 6946945"/>
              <a:gd name="connsiteX2" fmla="*/ 21699027 w 21869774"/>
              <a:gd name="connsiteY2" fmla="*/ 211 h 6946945"/>
              <a:gd name="connsiteX3" fmla="*/ 20904736 w 21869774"/>
              <a:gd name="connsiteY3" fmla="*/ 385196 h 6946945"/>
              <a:gd name="connsiteX4" fmla="*/ 4224699 w 21869774"/>
              <a:gd name="connsiteY4" fmla="*/ 361028 h 6946945"/>
              <a:gd name="connsiteX5" fmla="*/ 3081497 w 21869774"/>
              <a:gd name="connsiteY5" fmla="*/ 1159506 h 6946945"/>
              <a:gd name="connsiteX6" fmla="*/ 1907143 w 21869774"/>
              <a:gd name="connsiteY6" fmla="*/ 361028 h 6946945"/>
              <a:gd name="connsiteX7" fmla="*/ 0 w 21869774"/>
              <a:gd name="connsiteY7" fmla="*/ 359291 h 6946945"/>
              <a:gd name="connsiteX8" fmla="*/ 479 w 21869774"/>
              <a:gd name="connsiteY8" fmla="*/ 6946945 h 6946945"/>
              <a:gd name="connsiteX0" fmla="*/ 479 w 21703454"/>
              <a:gd name="connsiteY0" fmla="*/ 6946935 h 6953376"/>
              <a:gd name="connsiteX1" fmla="*/ 21703405 w 21703454"/>
              <a:gd name="connsiteY1" fmla="*/ 6952895 h 6953376"/>
              <a:gd name="connsiteX2" fmla="*/ 21699027 w 21703454"/>
              <a:gd name="connsiteY2" fmla="*/ 201 h 6953376"/>
              <a:gd name="connsiteX3" fmla="*/ 20904736 w 21703454"/>
              <a:gd name="connsiteY3" fmla="*/ 385186 h 6953376"/>
              <a:gd name="connsiteX4" fmla="*/ 4224699 w 21703454"/>
              <a:gd name="connsiteY4" fmla="*/ 361018 h 6953376"/>
              <a:gd name="connsiteX5" fmla="*/ 3081497 w 21703454"/>
              <a:gd name="connsiteY5" fmla="*/ 1159496 h 6953376"/>
              <a:gd name="connsiteX6" fmla="*/ 1907143 w 21703454"/>
              <a:gd name="connsiteY6" fmla="*/ 361018 h 6953376"/>
              <a:gd name="connsiteX7" fmla="*/ 0 w 21703454"/>
              <a:gd name="connsiteY7" fmla="*/ 359281 h 6953376"/>
              <a:gd name="connsiteX8" fmla="*/ 479 w 21703454"/>
              <a:gd name="connsiteY8" fmla="*/ 6946935 h 6953376"/>
              <a:gd name="connsiteX0" fmla="*/ 479 w 21703404"/>
              <a:gd name="connsiteY0" fmla="*/ 6947131 h 6953091"/>
              <a:gd name="connsiteX1" fmla="*/ 21703405 w 21703404"/>
              <a:gd name="connsiteY1" fmla="*/ 6953091 h 6953091"/>
              <a:gd name="connsiteX2" fmla="*/ 21699027 w 21703404"/>
              <a:gd name="connsiteY2" fmla="*/ 397 h 6953091"/>
              <a:gd name="connsiteX3" fmla="*/ 20904736 w 21703404"/>
              <a:gd name="connsiteY3" fmla="*/ 385382 h 6953091"/>
              <a:gd name="connsiteX4" fmla="*/ 4224699 w 21703404"/>
              <a:gd name="connsiteY4" fmla="*/ 361214 h 6953091"/>
              <a:gd name="connsiteX5" fmla="*/ 3081497 w 21703404"/>
              <a:gd name="connsiteY5" fmla="*/ 1159692 h 6953091"/>
              <a:gd name="connsiteX6" fmla="*/ 1907143 w 21703404"/>
              <a:gd name="connsiteY6" fmla="*/ 361214 h 6953091"/>
              <a:gd name="connsiteX7" fmla="*/ 0 w 21703404"/>
              <a:gd name="connsiteY7" fmla="*/ 359477 h 6953091"/>
              <a:gd name="connsiteX8" fmla="*/ 479 w 21703404"/>
              <a:gd name="connsiteY8" fmla="*/ 6947131 h 6953091"/>
              <a:gd name="connsiteX0" fmla="*/ 479 w 21703404"/>
              <a:gd name="connsiteY0" fmla="*/ 6946733 h 6952693"/>
              <a:gd name="connsiteX1" fmla="*/ 21703405 w 21703404"/>
              <a:gd name="connsiteY1" fmla="*/ 6952693 h 6952693"/>
              <a:gd name="connsiteX2" fmla="*/ 21699027 w 21703404"/>
              <a:gd name="connsiteY2" fmla="*/ -1 h 6952693"/>
              <a:gd name="connsiteX3" fmla="*/ 20904736 w 21703404"/>
              <a:gd name="connsiteY3" fmla="*/ 384984 h 6952693"/>
              <a:gd name="connsiteX4" fmla="*/ 4224699 w 21703404"/>
              <a:gd name="connsiteY4" fmla="*/ 360816 h 6952693"/>
              <a:gd name="connsiteX5" fmla="*/ 3081497 w 21703404"/>
              <a:gd name="connsiteY5" fmla="*/ 1159294 h 6952693"/>
              <a:gd name="connsiteX6" fmla="*/ 1907143 w 21703404"/>
              <a:gd name="connsiteY6" fmla="*/ 360816 h 6952693"/>
              <a:gd name="connsiteX7" fmla="*/ 0 w 21703404"/>
              <a:gd name="connsiteY7" fmla="*/ 359079 h 6952693"/>
              <a:gd name="connsiteX8" fmla="*/ 479 w 21703404"/>
              <a:gd name="connsiteY8" fmla="*/ 6946733 h 6952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03404" h="6952693">
                <a:moveTo>
                  <a:pt x="479" y="6946733"/>
                </a:moveTo>
                <a:lnTo>
                  <a:pt x="21703405" y="6952693"/>
                </a:lnTo>
                <a:cubicBezTo>
                  <a:pt x="21701216" y="3476346"/>
                  <a:pt x="21706934" y="899518"/>
                  <a:pt x="21699027" y="-1"/>
                </a:cubicBezTo>
                <a:cubicBezTo>
                  <a:pt x="21554928" y="424890"/>
                  <a:pt x="21164498" y="379041"/>
                  <a:pt x="20904736" y="384984"/>
                </a:cubicBezTo>
                <a:lnTo>
                  <a:pt x="4224699" y="360816"/>
                </a:lnTo>
                <a:cubicBezTo>
                  <a:pt x="3647485" y="393958"/>
                  <a:pt x="3273106" y="696472"/>
                  <a:pt x="3081497" y="1159294"/>
                </a:cubicBezTo>
                <a:cubicBezTo>
                  <a:pt x="2783143" y="455517"/>
                  <a:pt x="2185783" y="359938"/>
                  <a:pt x="1907143" y="360816"/>
                </a:cubicBezTo>
                <a:lnTo>
                  <a:pt x="0" y="359079"/>
                </a:lnTo>
                <a:cubicBezTo>
                  <a:pt x="222" y="-2800"/>
                  <a:pt x="239" y="3652906"/>
                  <a:pt x="479" y="6946733"/>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8" name="Titre 1"/>
          <p:cNvSpPr>
            <a:spLocks noGrp="1"/>
          </p:cNvSpPr>
          <p:nvPr>
            <p:ph type="title" hasCustomPrompt="1"/>
            <p:custDataLst>
              <p:tags r:id="rId2"/>
            </p:custDataLst>
          </p:nvPr>
        </p:nvSpPr>
        <p:spPr>
          <a:xfrm>
            <a:off x="0" y="4699000"/>
            <a:ext cx="9144000" cy="899319"/>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6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
        <p:nvSpPr>
          <p:cNvPr id="6" name="Text Placeholder 5"/>
          <p:cNvSpPr>
            <a:spLocks noGrp="1"/>
          </p:cNvSpPr>
          <p:nvPr>
            <p:ph type="body" sz="quarter" idx="10"/>
          </p:nvPr>
        </p:nvSpPr>
        <p:spPr>
          <a:xfrm>
            <a:off x="863600" y="5598319"/>
            <a:ext cx="755650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smtClean="0"/>
              <a:t>Click to edit Master text styles</a:t>
            </a:r>
          </a:p>
        </p:txBody>
      </p:sp>
    </p:spTree>
    <p:extLst>
      <p:ext uri="{BB962C8B-B14F-4D97-AF65-F5344CB8AC3E}">
        <p14:creationId xmlns:p14="http://schemas.microsoft.com/office/powerpoint/2010/main" val="41769251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Section Header">
    <p:bg>
      <p:bgPr>
        <a:solidFill>
          <a:schemeClr val="accent2"/>
        </a:solidFill>
        <a:effectLst/>
      </p:bgPr>
    </p:bg>
    <p:spTree>
      <p:nvGrpSpPr>
        <p:cNvPr id="1" name=""/>
        <p:cNvGrpSpPr/>
        <p:nvPr/>
      </p:nvGrpSpPr>
      <p:grpSpPr>
        <a:xfrm>
          <a:off x="0" y="0"/>
          <a:ext cx="0" cy="0"/>
          <a:chOff x="0" y="0"/>
          <a:chExt cx="0" cy="0"/>
        </a:xfrm>
      </p:grpSpPr>
      <p:grpSp>
        <p:nvGrpSpPr>
          <p:cNvPr id="10" name="Group 9"/>
          <p:cNvGrpSpPr/>
          <p:nvPr userDrawn="1"/>
        </p:nvGrpSpPr>
        <p:grpSpPr>
          <a:xfrm>
            <a:off x="2" y="0"/>
            <a:ext cx="9143999" cy="4543720"/>
            <a:chOff x="27934" y="0"/>
            <a:chExt cx="9116066" cy="4543720"/>
          </a:xfrm>
        </p:grpSpPr>
        <p:sp>
          <p:nvSpPr>
            <p:cNvPr id="9" name="Rectangle 8"/>
            <p:cNvSpPr/>
            <p:nvPr userDrawn="1"/>
          </p:nvSpPr>
          <p:spPr>
            <a:xfrm>
              <a:off x="945823" y="4204067"/>
              <a:ext cx="741575" cy="339653"/>
            </a:xfrm>
            <a:prstGeom prst="rect">
              <a:avLst/>
            </a:prstGeom>
            <a:solidFill>
              <a:srgbClr val="4018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5" name="Group 4"/>
            <p:cNvGrpSpPr/>
            <p:nvPr userDrawn="1"/>
          </p:nvGrpSpPr>
          <p:grpSpPr>
            <a:xfrm>
              <a:off x="27934" y="0"/>
              <a:ext cx="9116066" cy="4204067"/>
              <a:chOff x="-581981" y="0"/>
              <a:chExt cx="9725981" cy="4485342"/>
            </a:xfrm>
          </p:grpSpPr>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419350" y="0"/>
                <a:ext cx="6724650" cy="4485342"/>
              </a:xfrm>
              <a:prstGeom prst="rect">
                <a:avLst/>
              </a:prstGeom>
            </p:spPr>
          </p:pic>
          <p:pic>
            <p:nvPicPr>
              <p:cNvPr id="8" name="Picture 7"/>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flipH="1">
                <a:off x="-581981" y="0"/>
                <a:ext cx="3031473" cy="4485342"/>
              </a:xfrm>
              <a:prstGeom prst="rect">
                <a:avLst/>
              </a:prstGeom>
            </p:spPr>
          </p:pic>
        </p:grpSp>
      </p:grpSp>
      <p:sp>
        <p:nvSpPr>
          <p:cNvPr id="7" name="Rectangle 7"/>
          <p:cNvSpPr/>
          <p:nvPr userDrawn="1">
            <p:custDataLst>
              <p:tags r:id="rId1"/>
            </p:custDataLst>
          </p:nvPr>
        </p:nvSpPr>
        <p:spPr bwMode="auto">
          <a:xfrm>
            <a:off x="-2047" y="4029669"/>
            <a:ext cx="9147890" cy="2833417"/>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25855"/>
              <a:gd name="connsiteY0" fmla="*/ 10139197 h 10229976"/>
              <a:gd name="connsiteX1" fmla="*/ 21725167 w 21725855"/>
              <a:gd name="connsiteY1" fmla="*/ 3 h 10229976"/>
              <a:gd name="connsiteX2" fmla="*/ 21725167 w 21725855"/>
              <a:gd name="connsiteY2" fmla="*/ 3144285 h 10229976"/>
              <a:gd name="connsiteX3" fmla="*/ 20930876 w 21725855"/>
              <a:gd name="connsiteY3" fmla="*/ 3529270 h 10229976"/>
              <a:gd name="connsiteX4" fmla="*/ 4250839 w 21725855"/>
              <a:gd name="connsiteY4" fmla="*/ 3505102 h 10229976"/>
              <a:gd name="connsiteX5" fmla="*/ 3107637 w 21725855"/>
              <a:gd name="connsiteY5" fmla="*/ 4303580 h 10229976"/>
              <a:gd name="connsiteX6" fmla="*/ 1933283 w 21725855"/>
              <a:gd name="connsiteY6" fmla="*/ 3505102 h 10229976"/>
              <a:gd name="connsiteX7" fmla="*/ 30995 w 21725855"/>
              <a:gd name="connsiteY7" fmla="*/ 3505102 h 10229976"/>
              <a:gd name="connsiteX8" fmla="*/ 0 w 21725855"/>
              <a:gd name="connsiteY8" fmla="*/ 10139197 h 10229976"/>
              <a:gd name="connsiteX0" fmla="*/ 0 w 21725203"/>
              <a:gd name="connsiteY0" fmla="*/ 6995113 h 7085892"/>
              <a:gd name="connsiteX1" fmla="*/ 21694175 w 21725203"/>
              <a:gd name="connsiteY1" fmla="*/ 6952895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888786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920841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56164"/>
              <a:gd name="connsiteY0" fmla="*/ 6995113 h 7085892"/>
              <a:gd name="connsiteX1" fmla="*/ 21756159 w 21756164"/>
              <a:gd name="connsiteY1" fmla="*/ 6952895 h 7085892"/>
              <a:gd name="connsiteX2" fmla="*/ 21725167 w 21756164"/>
              <a:gd name="connsiteY2" fmla="*/ 201 h 7085892"/>
              <a:gd name="connsiteX3" fmla="*/ 20930876 w 21756164"/>
              <a:gd name="connsiteY3" fmla="*/ 385186 h 7085892"/>
              <a:gd name="connsiteX4" fmla="*/ 4250839 w 21756164"/>
              <a:gd name="connsiteY4" fmla="*/ 361018 h 7085892"/>
              <a:gd name="connsiteX5" fmla="*/ 3107637 w 21756164"/>
              <a:gd name="connsiteY5" fmla="*/ 1159496 h 7085892"/>
              <a:gd name="connsiteX6" fmla="*/ 1933283 w 21756164"/>
              <a:gd name="connsiteY6" fmla="*/ 361018 h 7085892"/>
              <a:gd name="connsiteX7" fmla="*/ 30995 w 21756164"/>
              <a:gd name="connsiteY7" fmla="*/ 361018 h 7085892"/>
              <a:gd name="connsiteX8" fmla="*/ 0 w 21756164"/>
              <a:gd name="connsiteY8" fmla="*/ 6995113 h 7085892"/>
              <a:gd name="connsiteX0" fmla="*/ 0 w 21756164"/>
              <a:gd name="connsiteY0" fmla="*/ 6995113 h 7086228"/>
              <a:gd name="connsiteX1" fmla="*/ 21756159 w 21756164"/>
              <a:gd name="connsiteY1" fmla="*/ 6952895 h 7086228"/>
              <a:gd name="connsiteX2" fmla="*/ 21725167 w 21756164"/>
              <a:gd name="connsiteY2" fmla="*/ 201 h 7086228"/>
              <a:gd name="connsiteX3" fmla="*/ 20930876 w 21756164"/>
              <a:gd name="connsiteY3" fmla="*/ 385186 h 7086228"/>
              <a:gd name="connsiteX4" fmla="*/ 4250839 w 21756164"/>
              <a:gd name="connsiteY4" fmla="*/ 361018 h 7086228"/>
              <a:gd name="connsiteX5" fmla="*/ 3107637 w 21756164"/>
              <a:gd name="connsiteY5" fmla="*/ 1159496 h 7086228"/>
              <a:gd name="connsiteX6" fmla="*/ 1933283 w 21756164"/>
              <a:gd name="connsiteY6" fmla="*/ 361018 h 7086228"/>
              <a:gd name="connsiteX7" fmla="*/ 2 w 21756164"/>
              <a:gd name="connsiteY7" fmla="*/ 393072 h 7086228"/>
              <a:gd name="connsiteX8" fmla="*/ 0 w 21756164"/>
              <a:gd name="connsiteY8" fmla="*/ 6995113 h 7086228"/>
              <a:gd name="connsiteX0" fmla="*/ 0 w 21756164"/>
              <a:gd name="connsiteY0" fmla="*/ 6995113 h 7086157"/>
              <a:gd name="connsiteX1" fmla="*/ 21756159 w 21756164"/>
              <a:gd name="connsiteY1" fmla="*/ 6952895 h 7086157"/>
              <a:gd name="connsiteX2" fmla="*/ 21725167 w 21756164"/>
              <a:gd name="connsiteY2" fmla="*/ 201 h 7086157"/>
              <a:gd name="connsiteX3" fmla="*/ 20930876 w 21756164"/>
              <a:gd name="connsiteY3" fmla="*/ 385186 h 7086157"/>
              <a:gd name="connsiteX4" fmla="*/ 4250839 w 21756164"/>
              <a:gd name="connsiteY4" fmla="*/ 361018 h 7086157"/>
              <a:gd name="connsiteX5" fmla="*/ 3107637 w 21756164"/>
              <a:gd name="connsiteY5" fmla="*/ 1159496 h 7086157"/>
              <a:gd name="connsiteX6" fmla="*/ 1933283 w 21756164"/>
              <a:gd name="connsiteY6" fmla="*/ 361018 h 7086157"/>
              <a:gd name="connsiteX7" fmla="*/ 26140 w 21756164"/>
              <a:gd name="connsiteY7" fmla="*/ 386312 h 7086157"/>
              <a:gd name="connsiteX8" fmla="*/ 0 w 21756164"/>
              <a:gd name="connsiteY8" fmla="*/ 6995113 h 7086157"/>
              <a:gd name="connsiteX0" fmla="*/ 0 w 21756164"/>
              <a:gd name="connsiteY0" fmla="*/ 6995113 h 7085875"/>
              <a:gd name="connsiteX1" fmla="*/ 21756159 w 21756164"/>
              <a:gd name="connsiteY1" fmla="*/ 6952895 h 7085875"/>
              <a:gd name="connsiteX2" fmla="*/ 21725167 w 21756164"/>
              <a:gd name="connsiteY2" fmla="*/ 201 h 7085875"/>
              <a:gd name="connsiteX3" fmla="*/ 20930876 w 21756164"/>
              <a:gd name="connsiteY3" fmla="*/ 385186 h 7085875"/>
              <a:gd name="connsiteX4" fmla="*/ 4250839 w 21756164"/>
              <a:gd name="connsiteY4" fmla="*/ 361018 h 7085875"/>
              <a:gd name="connsiteX5" fmla="*/ 3107637 w 21756164"/>
              <a:gd name="connsiteY5" fmla="*/ 1159496 h 7085875"/>
              <a:gd name="connsiteX6" fmla="*/ 1933283 w 21756164"/>
              <a:gd name="connsiteY6" fmla="*/ 361018 h 7085875"/>
              <a:gd name="connsiteX7" fmla="*/ 26140 w 21756164"/>
              <a:gd name="connsiteY7" fmla="*/ 359281 h 7085875"/>
              <a:gd name="connsiteX8" fmla="*/ 0 w 21756164"/>
              <a:gd name="connsiteY8" fmla="*/ 6995113 h 7085875"/>
              <a:gd name="connsiteX0" fmla="*/ 472961 w 21730024"/>
              <a:gd name="connsiteY0" fmla="*/ 6272426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2961 w 21730024"/>
              <a:gd name="connsiteY8" fmla="*/ 6272426 h 6953376"/>
              <a:gd name="connsiteX0" fmla="*/ 479 w 21730024"/>
              <a:gd name="connsiteY0" fmla="*/ 6946935 h 7038202"/>
              <a:gd name="connsiteX1" fmla="*/ 21730019 w 21730024"/>
              <a:gd name="connsiteY1" fmla="*/ 6952895 h 7038202"/>
              <a:gd name="connsiteX2" fmla="*/ 21699027 w 21730024"/>
              <a:gd name="connsiteY2" fmla="*/ 201 h 7038202"/>
              <a:gd name="connsiteX3" fmla="*/ 20904736 w 21730024"/>
              <a:gd name="connsiteY3" fmla="*/ 385186 h 7038202"/>
              <a:gd name="connsiteX4" fmla="*/ 4224699 w 21730024"/>
              <a:gd name="connsiteY4" fmla="*/ 361018 h 7038202"/>
              <a:gd name="connsiteX5" fmla="*/ 3081497 w 21730024"/>
              <a:gd name="connsiteY5" fmla="*/ 1159496 h 7038202"/>
              <a:gd name="connsiteX6" fmla="*/ 1907143 w 21730024"/>
              <a:gd name="connsiteY6" fmla="*/ 361018 h 7038202"/>
              <a:gd name="connsiteX7" fmla="*/ 0 w 21730024"/>
              <a:gd name="connsiteY7" fmla="*/ 359281 h 7038202"/>
              <a:gd name="connsiteX8" fmla="*/ 479 w 21730024"/>
              <a:gd name="connsiteY8" fmla="*/ 6946935 h 7038202"/>
              <a:gd name="connsiteX0" fmla="*/ 85846 w 21815391"/>
              <a:gd name="connsiteY0" fmla="*/ 6946935 h 6953376"/>
              <a:gd name="connsiteX1" fmla="*/ 21815386 w 21815391"/>
              <a:gd name="connsiteY1" fmla="*/ 6952895 h 6953376"/>
              <a:gd name="connsiteX2" fmla="*/ 21784394 w 21815391"/>
              <a:gd name="connsiteY2" fmla="*/ 201 h 6953376"/>
              <a:gd name="connsiteX3" fmla="*/ 20990103 w 21815391"/>
              <a:gd name="connsiteY3" fmla="*/ 385186 h 6953376"/>
              <a:gd name="connsiteX4" fmla="*/ 4310066 w 21815391"/>
              <a:gd name="connsiteY4" fmla="*/ 361018 h 6953376"/>
              <a:gd name="connsiteX5" fmla="*/ 3166864 w 21815391"/>
              <a:gd name="connsiteY5" fmla="*/ 1159496 h 6953376"/>
              <a:gd name="connsiteX6" fmla="*/ 1992510 w 21815391"/>
              <a:gd name="connsiteY6" fmla="*/ 361018 h 6953376"/>
              <a:gd name="connsiteX7" fmla="*/ 85367 w 21815391"/>
              <a:gd name="connsiteY7" fmla="*/ 359281 h 6953376"/>
              <a:gd name="connsiteX8" fmla="*/ 85846 w 21815391"/>
              <a:gd name="connsiteY8" fmla="*/ 6946935 h 6953376"/>
              <a:gd name="connsiteX0" fmla="*/ 479 w 21730024"/>
              <a:gd name="connsiteY0" fmla="*/ 6946935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9 w 21730024"/>
              <a:gd name="connsiteY8" fmla="*/ 6946935 h 6953376"/>
              <a:gd name="connsiteX0" fmla="*/ 479 w 21699030"/>
              <a:gd name="connsiteY0" fmla="*/ 6946937 h 6946937"/>
              <a:gd name="connsiteX1" fmla="*/ 21344051 w 21699030"/>
              <a:gd name="connsiteY1" fmla="*/ 6787711 h 6946937"/>
              <a:gd name="connsiteX2" fmla="*/ 21699027 w 21699030"/>
              <a:gd name="connsiteY2" fmla="*/ 203 h 6946937"/>
              <a:gd name="connsiteX3" fmla="*/ 20904736 w 21699030"/>
              <a:gd name="connsiteY3" fmla="*/ 385188 h 6946937"/>
              <a:gd name="connsiteX4" fmla="*/ 4224699 w 21699030"/>
              <a:gd name="connsiteY4" fmla="*/ 361020 h 6946937"/>
              <a:gd name="connsiteX5" fmla="*/ 3081497 w 21699030"/>
              <a:gd name="connsiteY5" fmla="*/ 1159498 h 6946937"/>
              <a:gd name="connsiteX6" fmla="*/ 1907143 w 21699030"/>
              <a:gd name="connsiteY6" fmla="*/ 361020 h 6946937"/>
              <a:gd name="connsiteX7" fmla="*/ 0 w 21699030"/>
              <a:gd name="connsiteY7" fmla="*/ 359283 h 6946937"/>
              <a:gd name="connsiteX8" fmla="*/ 479 w 21699030"/>
              <a:gd name="connsiteY8" fmla="*/ 6946937 h 6946937"/>
              <a:gd name="connsiteX0" fmla="*/ 479 w 21703452"/>
              <a:gd name="connsiteY0" fmla="*/ 6946935 h 6946935"/>
              <a:gd name="connsiteX1" fmla="*/ 21703403 w 21703452"/>
              <a:gd name="connsiteY1" fmla="*/ 6946012 h 6946935"/>
              <a:gd name="connsiteX2" fmla="*/ 21699027 w 21703452"/>
              <a:gd name="connsiteY2" fmla="*/ 201 h 6946935"/>
              <a:gd name="connsiteX3" fmla="*/ 20904736 w 21703452"/>
              <a:gd name="connsiteY3" fmla="*/ 385186 h 6946935"/>
              <a:gd name="connsiteX4" fmla="*/ 4224699 w 21703452"/>
              <a:gd name="connsiteY4" fmla="*/ 361018 h 6946935"/>
              <a:gd name="connsiteX5" fmla="*/ 3081497 w 21703452"/>
              <a:gd name="connsiteY5" fmla="*/ 1159496 h 6946935"/>
              <a:gd name="connsiteX6" fmla="*/ 1907143 w 21703452"/>
              <a:gd name="connsiteY6" fmla="*/ 361018 h 6946935"/>
              <a:gd name="connsiteX7" fmla="*/ 0 w 21703452"/>
              <a:gd name="connsiteY7" fmla="*/ 359281 h 6946935"/>
              <a:gd name="connsiteX8" fmla="*/ 479 w 21703452"/>
              <a:gd name="connsiteY8" fmla="*/ 6946935 h 6946935"/>
              <a:gd name="connsiteX0" fmla="*/ 479 w 21869774"/>
              <a:gd name="connsiteY0" fmla="*/ 6946945 h 6946945"/>
              <a:gd name="connsiteX1" fmla="*/ 21869772 w 21869774"/>
              <a:gd name="connsiteY1" fmla="*/ 6505527 h 6946945"/>
              <a:gd name="connsiteX2" fmla="*/ 21699027 w 21869774"/>
              <a:gd name="connsiteY2" fmla="*/ 211 h 6946945"/>
              <a:gd name="connsiteX3" fmla="*/ 20904736 w 21869774"/>
              <a:gd name="connsiteY3" fmla="*/ 385196 h 6946945"/>
              <a:gd name="connsiteX4" fmla="*/ 4224699 w 21869774"/>
              <a:gd name="connsiteY4" fmla="*/ 361028 h 6946945"/>
              <a:gd name="connsiteX5" fmla="*/ 3081497 w 21869774"/>
              <a:gd name="connsiteY5" fmla="*/ 1159506 h 6946945"/>
              <a:gd name="connsiteX6" fmla="*/ 1907143 w 21869774"/>
              <a:gd name="connsiteY6" fmla="*/ 361028 h 6946945"/>
              <a:gd name="connsiteX7" fmla="*/ 0 w 21869774"/>
              <a:gd name="connsiteY7" fmla="*/ 359291 h 6946945"/>
              <a:gd name="connsiteX8" fmla="*/ 479 w 21869774"/>
              <a:gd name="connsiteY8" fmla="*/ 6946945 h 6946945"/>
              <a:gd name="connsiteX0" fmla="*/ 479 w 21703454"/>
              <a:gd name="connsiteY0" fmla="*/ 6946935 h 6953376"/>
              <a:gd name="connsiteX1" fmla="*/ 21703405 w 21703454"/>
              <a:gd name="connsiteY1" fmla="*/ 6952895 h 6953376"/>
              <a:gd name="connsiteX2" fmla="*/ 21699027 w 21703454"/>
              <a:gd name="connsiteY2" fmla="*/ 201 h 6953376"/>
              <a:gd name="connsiteX3" fmla="*/ 20904736 w 21703454"/>
              <a:gd name="connsiteY3" fmla="*/ 385186 h 6953376"/>
              <a:gd name="connsiteX4" fmla="*/ 4224699 w 21703454"/>
              <a:gd name="connsiteY4" fmla="*/ 361018 h 6953376"/>
              <a:gd name="connsiteX5" fmla="*/ 3081497 w 21703454"/>
              <a:gd name="connsiteY5" fmla="*/ 1159496 h 6953376"/>
              <a:gd name="connsiteX6" fmla="*/ 1907143 w 21703454"/>
              <a:gd name="connsiteY6" fmla="*/ 361018 h 6953376"/>
              <a:gd name="connsiteX7" fmla="*/ 0 w 21703454"/>
              <a:gd name="connsiteY7" fmla="*/ 359281 h 6953376"/>
              <a:gd name="connsiteX8" fmla="*/ 479 w 21703454"/>
              <a:gd name="connsiteY8" fmla="*/ 6946935 h 6953376"/>
              <a:gd name="connsiteX0" fmla="*/ 479 w 21703404"/>
              <a:gd name="connsiteY0" fmla="*/ 6947131 h 6953091"/>
              <a:gd name="connsiteX1" fmla="*/ 21703405 w 21703404"/>
              <a:gd name="connsiteY1" fmla="*/ 6953091 h 6953091"/>
              <a:gd name="connsiteX2" fmla="*/ 21699027 w 21703404"/>
              <a:gd name="connsiteY2" fmla="*/ 397 h 6953091"/>
              <a:gd name="connsiteX3" fmla="*/ 20904736 w 21703404"/>
              <a:gd name="connsiteY3" fmla="*/ 385382 h 6953091"/>
              <a:gd name="connsiteX4" fmla="*/ 4224699 w 21703404"/>
              <a:gd name="connsiteY4" fmla="*/ 361214 h 6953091"/>
              <a:gd name="connsiteX5" fmla="*/ 3081497 w 21703404"/>
              <a:gd name="connsiteY5" fmla="*/ 1159692 h 6953091"/>
              <a:gd name="connsiteX6" fmla="*/ 1907143 w 21703404"/>
              <a:gd name="connsiteY6" fmla="*/ 361214 h 6953091"/>
              <a:gd name="connsiteX7" fmla="*/ 0 w 21703404"/>
              <a:gd name="connsiteY7" fmla="*/ 359477 h 6953091"/>
              <a:gd name="connsiteX8" fmla="*/ 479 w 21703404"/>
              <a:gd name="connsiteY8" fmla="*/ 6947131 h 6953091"/>
              <a:gd name="connsiteX0" fmla="*/ 479 w 21703404"/>
              <a:gd name="connsiteY0" fmla="*/ 6946733 h 6952693"/>
              <a:gd name="connsiteX1" fmla="*/ 21703405 w 21703404"/>
              <a:gd name="connsiteY1" fmla="*/ 6952693 h 6952693"/>
              <a:gd name="connsiteX2" fmla="*/ 21699027 w 21703404"/>
              <a:gd name="connsiteY2" fmla="*/ -1 h 6952693"/>
              <a:gd name="connsiteX3" fmla="*/ 20904736 w 21703404"/>
              <a:gd name="connsiteY3" fmla="*/ 384984 h 6952693"/>
              <a:gd name="connsiteX4" fmla="*/ 4224699 w 21703404"/>
              <a:gd name="connsiteY4" fmla="*/ 360816 h 6952693"/>
              <a:gd name="connsiteX5" fmla="*/ 3081497 w 21703404"/>
              <a:gd name="connsiteY5" fmla="*/ 1159294 h 6952693"/>
              <a:gd name="connsiteX6" fmla="*/ 1907143 w 21703404"/>
              <a:gd name="connsiteY6" fmla="*/ 360816 h 6952693"/>
              <a:gd name="connsiteX7" fmla="*/ 0 w 21703404"/>
              <a:gd name="connsiteY7" fmla="*/ 359079 h 6952693"/>
              <a:gd name="connsiteX8" fmla="*/ 479 w 21703404"/>
              <a:gd name="connsiteY8" fmla="*/ 6946733 h 6952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03404" h="6952693">
                <a:moveTo>
                  <a:pt x="479" y="6946733"/>
                </a:moveTo>
                <a:lnTo>
                  <a:pt x="21703405" y="6952693"/>
                </a:lnTo>
                <a:cubicBezTo>
                  <a:pt x="21701216" y="3476346"/>
                  <a:pt x="21706934" y="899518"/>
                  <a:pt x="21699027" y="-1"/>
                </a:cubicBezTo>
                <a:cubicBezTo>
                  <a:pt x="21554928" y="424890"/>
                  <a:pt x="21164498" y="379041"/>
                  <a:pt x="20904736" y="384984"/>
                </a:cubicBezTo>
                <a:lnTo>
                  <a:pt x="4224699" y="360816"/>
                </a:lnTo>
                <a:cubicBezTo>
                  <a:pt x="3647485" y="393958"/>
                  <a:pt x="3273106" y="696472"/>
                  <a:pt x="3081497" y="1159294"/>
                </a:cubicBezTo>
                <a:cubicBezTo>
                  <a:pt x="2783143" y="455517"/>
                  <a:pt x="2185783" y="359938"/>
                  <a:pt x="1907143" y="360816"/>
                </a:cubicBezTo>
                <a:lnTo>
                  <a:pt x="0" y="359079"/>
                </a:lnTo>
                <a:cubicBezTo>
                  <a:pt x="222" y="-2800"/>
                  <a:pt x="239" y="3652906"/>
                  <a:pt x="479" y="6946733"/>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8" name="Titre 1"/>
          <p:cNvSpPr>
            <a:spLocks noGrp="1"/>
          </p:cNvSpPr>
          <p:nvPr>
            <p:ph type="title" hasCustomPrompt="1"/>
            <p:custDataLst>
              <p:tags r:id="rId2"/>
            </p:custDataLst>
          </p:nvPr>
        </p:nvSpPr>
        <p:spPr>
          <a:xfrm>
            <a:off x="0" y="4699000"/>
            <a:ext cx="9144000" cy="899319"/>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6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
        <p:nvSpPr>
          <p:cNvPr id="6" name="Text Placeholder 5"/>
          <p:cNvSpPr>
            <a:spLocks noGrp="1"/>
          </p:cNvSpPr>
          <p:nvPr>
            <p:ph type="body" sz="quarter" idx="10"/>
          </p:nvPr>
        </p:nvSpPr>
        <p:spPr>
          <a:xfrm>
            <a:off x="863600" y="5598319"/>
            <a:ext cx="755650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smtClean="0"/>
              <a:t>Click to edit Master text styles</a:t>
            </a:r>
          </a:p>
        </p:txBody>
      </p:sp>
    </p:spTree>
    <p:extLst>
      <p:ext uri="{BB962C8B-B14F-4D97-AF65-F5344CB8AC3E}">
        <p14:creationId xmlns:p14="http://schemas.microsoft.com/office/powerpoint/2010/main" val="23218587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a:off x="-4211" y="1340444"/>
            <a:ext cx="9157579" cy="5517556"/>
          </a:xfrm>
          <a:prstGeom prst="rect">
            <a:avLst/>
          </a:prstGeom>
        </p:spPr>
      </p:pic>
      <p:sp>
        <p:nvSpPr>
          <p:cNvPr id="7" name="Rectangle 7"/>
          <p:cNvSpPr/>
          <p:nvPr userDrawn="1">
            <p:custDataLst>
              <p:tags r:id="rId2"/>
            </p:custDataLst>
          </p:nvPr>
        </p:nvSpPr>
        <p:spPr bwMode="auto">
          <a:xfrm>
            <a:off x="-573" y="-4552"/>
            <a:ext cx="9148783" cy="304155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25852"/>
              <a:gd name="connsiteY0" fmla="*/ 0 h 7530858"/>
              <a:gd name="connsiteX1" fmla="*/ 21725164 w 21725852"/>
              <a:gd name="connsiteY1" fmla="*/ 3227281 h 7530858"/>
              <a:gd name="connsiteX2" fmla="*/ 21725164 w 21725852"/>
              <a:gd name="connsiteY2" fmla="*/ 6371563 h 7530858"/>
              <a:gd name="connsiteX3" fmla="*/ 20930873 w 21725852"/>
              <a:gd name="connsiteY3" fmla="*/ 6756548 h 7530858"/>
              <a:gd name="connsiteX4" fmla="*/ 4250836 w 21725852"/>
              <a:gd name="connsiteY4" fmla="*/ 6732380 h 7530858"/>
              <a:gd name="connsiteX5" fmla="*/ 3107634 w 21725852"/>
              <a:gd name="connsiteY5" fmla="*/ 7530858 h 7530858"/>
              <a:gd name="connsiteX6" fmla="*/ 1933280 w 21725852"/>
              <a:gd name="connsiteY6" fmla="*/ 6732380 h 7530858"/>
              <a:gd name="connsiteX7" fmla="*/ 30992 w 21725852"/>
              <a:gd name="connsiteY7" fmla="*/ 6732380 h 7530858"/>
              <a:gd name="connsiteX8" fmla="*/ 0 w 21725852"/>
              <a:gd name="connsiteY8" fmla="*/ 0 h 7530858"/>
              <a:gd name="connsiteX0" fmla="*/ 0 w 21818142"/>
              <a:gd name="connsiteY0" fmla="*/ 0 h 7530858"/>
              <a:gd name="connsiteX1" fmla="*/ 21818140 w 21818142"/>
              <a:gd name="connsiteY1" fmla="*/ 85999 h 7530858"/>
              <a:gd name="connsiteX2" fmla="*/ 21725164 w 21818142"/>
              <a:gd name="connsiteY2" fmla="*/ 6371563 h 7530858"/>
              <a:gd name="connsiteX3" fmla="*/ 20930873 w 21818142"/>
              <a:gd name="connsiteY3" fmla="*/ 6756548 h 7530858"/>
              <a:gd name="connsiteX4" fmla="*/ 4250836 w 21818142"/>
              <a:gd name="connsiteY4" fmla="*/ 6732380 h 7530858"/>
              <a:gd name="connsiteX5" fmla="*/ 3107634 w 21818142"/>
              <a:gd name="connsiteY5" fmla="*/ 7530858 h 7530858"/>
              <a:gd name="connsiteX6" fmla="*/ 1933280 w 21818142"/>
              <a:gd name="connsiteY6" fmla="*/ 6732380 h 7530858"/>
              <a:gd name="connsiteX7" fmla="*/ 30992 w 21818142"/>
              <a:gd name="connsiteY7" fmla="*/ 6732380 h 7530858"/>
              <a:gd name="connsiteX8" fmla="*/ 0 w 21818142"/>
              <a:gd name="connsiteY8" fmla="*/ 0 h 7530858"/>
              <a:gd name="connsiteX0" fmla="*/ 419487 w 21787150"/>
              <a:gd name="connsiteY0" fmla="*/ 485240 h 7445958"/>
              <a:gd name="connsiteX1" fmla="*/ 21787148 w 21787150"/>
              <a:gd name="connsiteY1" fmla="*/ 1099 h 7445958"/>
              <a:gd name="connsiteX2" fmla="*/ 21694172 w 21787150"/>
              <a:gd name="connsiteY2" fmla="*/ 6286663 h 7445958"/>
              <a:gd name="connsiteX3" fmla="*/ 20899881 w 21787150"/>
              <a:gd name="connsiteY3" fmla="*/ 6671648 h 7445958"/>
              <a:gd name="connsiteX4" fmla="*/ 4219844 w 21787150"/>
              <a:gd name="connsiteY4" fmla="*/ 6647480 h 7445958"/>
              <a:gd name="connsiteX5" fmla="*/ 3076642 w 21787150"/>
              <a:gd name="connsiteY5" fmla="*/ 7445958 h 7445958"/>
              <a:gd name="connsiteX6" fmla="*/ 1902288 w 21787150"/>
              <a:gd name="connsiteY6" fmla="*/ 6647480 h 7445958"/>
              <a:gd name="connsiteX7" fmla="*/ 0 w 21787150"/>
              <a:gd name="connsiteY7" fmla="*/ 6647480 h 7445958"/>
              <a:gd name="connsiteX8" fmla="*/ 419487 w 21787150"/>
              <a:gd name="connsiteY8" fmla="*/ 485240 h 7445958"/>
              <a:gd name="connsiteX0" fmla="*/ 0 w 21788505"/>
              <a:gd name="connsiteY0" fmla="*/ 0 h 7463422"/>
              <a:gd name="connsiteX1" fmla="*/ 21788503 w 21788505"/>
              <a:gd name="connsiteY1" fmla="*/ 18563 h 7463422"/>
              <a:gd name="connsiteX2" fmla="*/ 21695527 w 21788505"/>
              <a:gd name="connsiteY2" fmla="*/ 6304127 h 7463422"/>
              <a:gd name="connsiteX3" fmla="*/ 20901236 w 21788505"/>
              <a:gd name="connsiteY3" fmla="*/ 6689112 h 7463422"/>
              <a:gd name="connsiteX4" fmla="*/ 4221199 w 21788505"/>
              <a:gd name="connsiteY4" fmla="*/ 6664944 h 7463422"/>
              <a:gd name="connsiteX5" fmla="*/ 3077997 w 21788505"/>
              <a:gd name="connsiteY5" fmla="*/ 7463422 h 7463422"/>
              <a:gd name="connsiteX6" fmla="*/ 1903643 w 21788505"/>
              <a:gd name="connsiteY6" fmla="*/ 6664944 h 7463422"/>
              <a:gd name="connsiteX7" fmla="*/ 1355 w 21788505"/>
              <a:gd name="connsiteY7" fmla="*/ 6664944 h 7463422"/>
              <a:gd name="connsiteX8" fmla="*/ 0 w 21788505"/>
              <a:gd name="connsiteY8" fmla="*/ 0 h 7463422"/>
              <a:gd name="connsiteX0" fmla="*/ 0 w 21788505"/>
              <a:gd name="connsiteY0" fmla="*/ 0 h 7463422"/>
              <a:gd name="connsiteX1" fmla="*/ 21788503 w 21788505"/>
              <a:gd name="connsiteY1" fmla="*/ 18563 h 7463422"/>
              <a:gd name="connsiteX2" fmla="*/ 21695527 w 21788505"/>
              <a:gd name="connsiteY2" fmla="*/ 6304127 h 7463422"/>
              <a:gd name="connsiteX3" fmla="*/ 20901236 w 21788505"/>
              <a:gd name="connsiteY3" fmla="*/ 6689112 h 7463422"/>
              <a:gd name="connsiteX4" fmla="*/ 4221199 w 21788505"/>
              <a:gd name="connsiteY4" fmla="*/ 6664944 h 7463422"/>
              <a:gd name="connsiteX5" fmla="*/ 3077997 w 21788505"/>
              <a:gd name="connsiteY5" fmla="*/ 7463422 h 7463422"/>
              <a:gd name="connsiteX6" fmla="*/ 1903643 w 21788505"/>
              <a:gd name="connsiteY6" fmla="*/ 6664944 h 7463422"/>
              <a:gd name="connsiteX7" fmla="*/ 1355 w 21788505"/>
              <a:gd name="connsiteY7" fmla="*/ 6664944 h 7463422"/>
              <a:gd name="connsiteX8" fmla="*/ 0 w 21788505"/>
              <a:gd name="connsiteY8" fmla="*/ 0 h 7463422"/>
              <a:gd name="connsiteX0" fmla="*/ 0 w 21735164"/>
              <a:gd name="connsiteY0" fmla="*/ 0 h 7463422"/>
              <a:gd name="connsiteX1" fmla="*/ 21735159 w 21735164"/>
              <a:gd name="connsiteY1" fmla="*/ 6301 h 7463422"/>
              <a:gd name="connsiteX2" fmla="*/ 21695527 w 21735164"/>
              <a:gd name="connsiteY2" fmla="*/ 6304127 h 7463422"/>
              <a:gd name="connsiteX3" fmla="*/ 20901236 w 21735164"/>
              <a:gd name="connsiteY3" fmla="*/ 6689112 h 7463422"/>
              <a:gd name="connsiteX4" fmla="*/ 4221199 w 21735164"/>
              <a:gd name="connsiteY4" fmla="*/ 6664944 h 7463422"/>
              <a:gd name="connsiteX5" fmla="*/ 3077997 w 21735164"/>
              <a:gd name="connsiteY5" fmla="*/ 7463422 h 7463422"/>
              <a:gd name="connsiteX6" fmla="*/ 1903643 w 21735164"/>
              <a:gd name="connsiteY6" fmla="*/ 6664944 h 7463422"/>
              <a:gd name="connsiteX7" fmla="*/ 1355 w 21735164"/>
              <a:gd name="connsiteY7" fmla="*/ 6664944 h 7463422"/>
              <a:gd name="connsiteX8" fmla="*/ 0 w 21735164"/>
              <a:gd name="connsiteY8" fmla="*/ 0 h 7463422"/>
              <a:gd name="connsiteX0" fmla="*/ 0 w 21695531"/>
              <a:gd name="connsiteY0" fmla="*/ 0 h 7463422"/>
              <a:gd name="connsiteX1" fmla="*/ 21421007 w 21695531"/>
              <a:gd name="connsiteY1" fmla="*/ 43084 h 7463422"/>
              <a:gd name="connsiteX2" fmla="*/ 21695527 w 21695531"/>
              <a:gd name="connsiteY2" fmla="*/ 6304127 h 7463422"/>
              <a:gd name="connsiteX3" fmla="*/ 20901236 w 21695531"/>
              <a:gd name="connsiteY3" fmla="*/ 6689112 h 7463422"/>
              <a:gd name="connsiteX4" fmla="*/ 4221199 w 21695531"/>
              <a:gd name="connsiteY4" fmla="*/ 6664944 h 7463422"/>
              <a:gd name="connsiteX5" fmla="*/ 3077997 w 21695531"/>
              <a:gd name="connsiteY5" fmla="*/ 7463422 h 7463422"/>
              <a:gd name="connsiteX6" fmla="*/ 1903643 w 21695531"/>
              <a:gd name="connsiteY6" fmla="*/ 6664944 h 7463422"/>
              <a:gd name="connsiteX7" fmla="*/ 1355 w 21695531"/>
              <a:gd name="connsiteY7" fmla="*/ 6664944 h 7463422"/>
              <a:gd name="connsiteX8" fmla="*/ 0 w 21695531"/>
              <a:gd name="connsiteY8" fmla="*/ 0 h 7463422"/>
              <a:gd name="connsiteX0" fmla="*/ 0 w 21705543"/>
              <a:gd name="connsiteY0" fmla="*/ 0 h 7463422"/>
              <a:gd name="connsiteX1" fmla="*/ 21705522 w 21705543"/>
              <a:gd name="connsiteY1" fmla="*/ 6301 h 7463422"/>
              <a:gd name="connsiteX2" fmla="*/ 21695527 w 21705543"/>
              <a:gd name="connsiteY2" fmla="*/ 6304127 h 7463422"/>
              <a:gd name="connsiteX3" fmla="*/ 20901236 w 21705543"/>
              <a:gd name="connsiteY3" fmla="*/ 6689112 h 7463422"/>
              <a:gd name="connsiteX4" fmla="*/ 4221199 w 21705543"/>
              <a:gd name="connsiteY4" fmla="*/ 6664944 h 7463422"/>
              <a:gd name="connsiteX5" fmla="*/ 3077997 w 21705543"/>
              <a:gd name="connsiteY5" fmla="*/ 7463422 h 7463422"/>
              <a:gd name="connsiteX6" fmla="*/ 1903643 w 21705543"/>
              <a:gd name="connsiteY6" fmla="*/ 6664944 h 7463422"/>
              <a:gd name="connsiteX7" fmla="*/ 1355 w 21705543"/>
              <a:gd name="connsiteY7" fmla="*/ 6664944 h 7463422"/>
              <a:gd name="connsiteX8" fmla="*/ 0 w 21705543"/>
              <a:gd name="connsiteY8" fmla="*/ 0 h 7463422"/>
              <a:gd name="connsiteX0" fmla="*/ 0 w 21705522"/>
              <a:gd name="connsiteY0" fmla="*/ 0 h 7463422"/>
              <a:gd name="connsiteX1" fmla="*/ 21705522 w 21705522"/>
              <a:gd name="connsiteY1" fmla="*/ 6301 h 7463422"/>
              <a:gd name="connsiteX2" fmla="*/ 21695527 w 21705522"/>
              <a:gd name="connsiteY2" fmla="*/ 6304127 h 7463422"/>
              <a:gd name="connsiteX3" fmla="*/ 20901236 w 21705522"/>
              <a:gd name="connsiteY3" fmla="*/ 6689112 h 7463422"/>
              <a:gd name="connsiteX4" fmla="*/ 4221199 w 21705522"/>
              <a:gd name="connsiteY4" fmla="*/ 6664944 h 7463422"/>
              <a:gd name="connsiteX5" fmla="*/ 3077997 w 21705522"/>
              <a:gd name="connsiteY5" fmla="*/ 7463422 h 7463422"/>
              <a:gd name="connsiteX6" fmla="*/ 1903643 w 21705522"/>
              <a:gd name="connsiteY6" fmla="*/ 6664944 h 7463422"/>
              <a:gd name="connsiteX7" fmla="*/ 1355 w 21705522"/>
              <a:gd name="connsiteY7" fmla="*/ 6664944 h 7463422"/>
              <a:gd name="connsiteX8" fmla="*/ 0 w 21705522"/>
              <a:gd name="connsiteY8" fmla="*/ 0 h 7463422"/>
              <a:gd name="connsiteX0" fmla="*/ 0 w 21705522"/>
              <a:gd name="connsiteY0" fmla="*/ 0 h 7463422"/>
              <a:gd name="connsiteX1" fmla="*/ 21705522 w 21705522"/>
              <a:gd name="connsiteY1" fmla="*/ 6301 h 7463422"/>
              <a:gd name="connsiteX2" fmla="*/ 21695527 w 21705522"/>
              <a:gd name="connsiteY2" fmla="*/ 6304127 h 7463422"/>
              <a:gd name="connsiteX3" fmla="*/ 20901236 w 21705522"/>
              <a:gd name="connsiteY3" fmla="*/ 6689112 h 7463422"/>
              <a:gd name="connsiteX4" fmla="*/ 4221199 w 21705522"/>
              <a:gd name="connsiteY4" fmla="*/ 6664944 h 7463422"/>
              <a:gd name="connsiteX5" fmla="*/ 3077997 w 21705522"/>
              <a:gd name="connsiteY5" fmla="*/ 7463422 h 7463422"/>
              <a:gd name="connsiteX6" fmla="*/ 1903643 w 21705522"/>
              <a:gd name="connsiteY6" fmla="*/ 6664944 h 7463422"/>
              <a:gd name="connsiteX7" fmla="*/ 1355 w 21705522"/>
              <a:gd name="connsiteY7" fmla="*/ 6658402 h 7463422"/>
              <a:gd name="connsiteX8" fmla="*/ 0 w 21705522"/>
              <a:gd name="connsiteY8" fmla="*/ 0 h 7463422"/>
              <a:gd name="connsiteX0" fmla="*/ 0 w 21705522"/>
              <a:gd name="connsiteY0" fmla="*/ 0 h 7463422"/>
              <a:gd name="connsiteX1" fmla="*/ 21705522 w 21705522"/>
              <a:gd name="connsiteY1" fmla="*/ 6301 h 7463422"/>
              <a:gd name="connsiteX2" fmla="*/ 21695527 w 21705522"/>
              <a:gd name="connsiteY2" fmla="*/ 6304127 h 7463422"/>
              <a:gd name="connsiteX3" fmla="*/ 20901236 w 21705522"/>
              <a:gd name="connsiteY3" fmla="*/ 6689112 h 7463422"/>
              <a:gd name="connsiteX4" fmla="*/ 4221199 w 21705522"/>
              <a:gd name="connsiteY4" fmla="*/ 6664944 h 7463422"/>
              <a:gd name="connsiteX5" fmla="*/ 3077997 w 21705522"/>
              <a:gd name="connsiteY5" fmla="*/ 7463422 h 7463422"/>
              <a:gd name="connsiteX6" fmla="*/ 1903643 w 21705522"/>
              <a:gd name="connsiteY6" fmla="*/ 6664944 h 7463422"/>
              <a:gd name="connsiteX7" fmla="*/ 1355 w 21705522"/>
              <a:gd name="connsiteY7" fmla="*/ 6658402 h 7463422"/>
              <a:gd name="connsiteX8" fmla="*/ 0 w 21705522"/>
              <a:gd name="connsiteY8" fmla="*/ 0 h 7463422"/>
              <a:gd name="connsiteX0" fmla="*/ 0 w 21705522"/>
              <a:gd name="connsiteY0" fmla="*/ 0 h 7463422"/>
              <a:gd name="connsiteX1" fmla="*/ 21705522 w 21705522"/>
              <a:gd name="connsiteY1" fmla="*/ 6301 h 7463422"/>
              <a:gd name="connsiteX2" fmla="*/ 21695527 w 21705522"/>
              <a:gd name="connsiteY2" fmla="*/ 6304127 h 7463422"/>
              <a:gd name="connsiteX3" fmla="*/ 20901236 w 21705522"/>
              <a:gd name="connsiteY3" fmla="*/ 6689112 h 7463422"/>
              <a:gd name="connsiteX4" fmla="*/ 4221199 w 21705522"/>
              <a:gd name="connsiteY4" fmla="*/ 6664944 h 7463422"/>
              <a:gd name="connsiteX5" fmla="*/ 3077997 w 21705522"/>
              <a:gd name="connsiteY5" fmla="*/ 7463422 h 7463422"/>
              <a:gd name="connsiteX6" fmla="*/ 1903643 w 21705522"/>
              <a:gd name="connsiteY6" fmla="*/ 6664944 h 7463422"/>
              <a:gd name="connsiteX7" fmla="*/ 1355 w 21705522"/>
              <a:gd name="connsiteY7" fmla="*/ 6658402 h 7463422"/>
              <a:gd name="connsiteX8" fmla="*/ 0 w 21705522"/>
              <a:gd name="connsiteY8" fmla="*/ 0 h 7463422"/>
              <a:gd name="connsiteX0" fmla="*/ 0 w 21705522"/>
              <a:gd name="connsiteY0" fmla="*/ 0 h 7463422"/>
              <a:gd name="connsiteX1" fmla="*/ 21705522 w 21705522"/>
              <a:gd name="connsiteY1" fmla="*/ 6301 h 7463422"/>
              <a:gd name="connsiteX2" fmla="*/ 21695527 w 21705522"/>
              <a:gd name="connsiteY2" fmla="*/ 6304127 h 7463422"/>
              <a:gd name="connsiteX3" fmla="*/ 20901236 w 21705522"/>
              <a:gd name="connsiteY3" fmla="*/ 6689112 h 7463422"/>
              <a:gd name="connsiteX4" fmla="*/ 4221199 w 21705522"/>
              <a:gd name="connsiteY4" fmla="*/ 6664944 h 7463422"/>
              <a:gd name="connsiteX5" fmla="*/ 3077997 w 21705522"/>
              <a:gd name="connsiteY5" fmla="*/ 7463422 h 7463422"/>
              <a:gd name="connsiteX6" fmla="*/ 1903643 w 21705522"/>
              <a:gd name="connsiteY6" fmla="*/ 6664944 h 7463422"/>
              <a:gd name="connsiteX7" fmla="*/ 1355 w 21705522"/>
              <a:gd name="connsiteY7" fmla="*/ 6658402 h 7463422"/>
              <a:gd name="connsiteX8" fmla="*/ 0 w 21705522"/>
              <a:gd name="connsiteY8" fmla="*/ 0 h 746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05522" h="7463422">
                <a:moveTo>
                  <a:pt x="0" y="0"/>
                </a:moveTo>
                <a:lnTo>
                  <a:pt x="21705522" y="6301"/>
                </a:lnTo>
                <a:cubicBezTo>
                  <a:pt x="21700524" y="3155214"/>
                  <a:pt x="21703313" y="5368611"/>
                  <a:pt x="21695527" y="6304127"/>
                </a:cubicBezTo>
                <a:cubicBezTo>
                  <a:pt x="21551428" y="6729018"/>
                  <a:pt x="21160998" y="6683169"/>
                  <a:pt x="20901236" y="6689112"/>
                </a:cubicBezTo>
                <a:lnTo>
                  <a:pt x="4221199" y="6664944"/>
                </a:lnTo>
                <a:cubicBezTo>
                  <a:pt x="3643985" y="6698086"/>
                  <a:pt x="3269606" y="7000600"/>
                  <a:pt x="3077997" y="7463422"/>
                </a:cubicBezTo>
                <a:cubicBezTo>
                  <a:pt x="2779643" y="6759645"/>
                  <a:pt x="2182283" y="6664066"/>
                  <a:pt x="1903643" y="6664944"/>
                </a:cubicBezTo>
                <a:lnTo>
                  <a:pt x="1355" y="6658402"/>
                </a:lnTo>
                <a:cubicBezTo>
                  <a:pt x="677" y="3329201"/>
                  <a:pt x="677" y="333247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5639" name="think-cell Slide" r:id="rId7" imgW="360" imgH="360" progId="">
                  <p:embed/>
                </p:oleObj>
              </mc:Choice>
              <mc:Fallback>
                <p:oleObj name="think-cell Slide" r:id="rId7" imgW="360" imgH="360" progId="">
                  <p:embed/>
                  <p:pic>
                    <p:nvPicPr>
                      <p:cNvPr id="0" name="Picture 10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4"/>
            </p:custDataLst>
          </p:nvPr>
        </p:nvSpPr>
        <p:spPr>
          <a:xfrm>
            <a:off x="0" y="705190"/>
            <a:ext cx="9144000" cy="1143240"/>
          </a:xfrm>
          <a:prstGeom prst="rect">
            <a:avLst/>
          </a:prstGeom>
        </p:spPr>
        <p:txBody>
          <a:bodyPr lIns="330588" tIns="33059" rIns="33059" bIns="33059" anchor="ctr" anchorCtr="0"/>
          <a:lstStyle>
            <a:lvl1pPr algn="l">
              <a:defRPr sz="3600" b="0">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8" name="Text Placeholder 7"/>
          <p:cNvSpPr>
            <a:spLocks noGrp="1"/>
          </p:cNvSpPr>
          <p:nvPr>
            <p:ph type="body" sz="quarter" idx="10"/>
          </p:nvPr>
        </p:nvSpPr>
        <p:spPr>
          <a:xfrm>
            <a:off x="336550" y="1847850"/>
            <a:ext cx="725805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smtClean="0"/>
              <a:t>Click to edit Master text styles</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8823960" cy="822960"/>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20040" y="1197735"/>
            <a:ext cx="4114800" cy="1384995"/>
          </a:xfrm>
        </p:spPr>
        <p:txBody>
          <a:bodyPr vert="horz" wrap="square" lIns="0" tIns="0" rIns="0" bIns="0" rtlCol="0">
            <a:spAutoFit/>
          </a:bodyPr>
          <a:lstStyle>
            <a:lvl1pPr marL="0" indent="0" algn="l" defTabSz="914400" rtl="0" eaLnBrk="1" fontAlgn="base" latinLnBrk="0" hangingPunct="1">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60375" indent="-1778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31825" indent="-171450" algn="l" defTabSz="862013"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803275" indent="-17145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4709160" y="1197735"/>
            <a:ext cx="4114800" cy="1384995"/>
          </a:xfrm>
        </p:spPr>
        <p:txBody>
          <a:bodyPr vert="horz" wrap="square" lIns="0" tIns="0" rIns="0" bIns="0" rtlCol="0">
            <a:spAutoFit/>
          </a:bodyPr>
          <a:lstStyle>
            <a:lvl1pPr marL="0" indent="0" algn="l" defTabSz="914400" rtl="0" eaLnBrk="1" fontAlgn="base" latinLnBrk="0" hangingPunct="1">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60375" indent="-1778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31825" indent="-171450" algn="l" defTabSz="862013"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803275" indent="-17145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320040" y="2026014"/>
            <a:ext cx="4114800" cy="3417862"/>
          </a:xfrm>
          <a:solidFill>
            <a:schemeClr val="bg1"/>
          </a:solidFill>
          <a:ln w="12700" algn="ctr">
            <a:solidFill>
              <a:schemeClr val="accent2"/>
            </a:solidFill>
            <a:miter lim="800000"/>
            <a:headEnd/>
            <a:tailEnd/>
          </a:ln>
          <a:effectLst/>
        </p:spPr>
        <p:txBody>
          <a:bodyPr vert="horz" wrap="square" lIns="91440" tIns="45720" rIns="91440" bIns="45720" numCol="1" rtlCol="0" anchor="t" anchorCtr="0" compatLnSpc="1">
            <a:prstTxWarp prst="textNoShape">
              <a:avLst/>
            </a:prstTxWarp>
            <a:noAutofit/>
          </a:bodyPr>
          <a:lstStyle>
            <a:lvl1pPr algn="l" rtl="0" eaLnBrk="1" fontAlgn="base" latinLnBrk="0" hangingPunct="1">
              <a:spcBef>
                <a:spcPct val="0"/>
              </a:spcBef>
              <a:spcAft>
                <a:spcPct val="50000"/>
              </a:spcAft>
              <a:buClr>
                <a:schemeClr val="accent2"/>
              </a:buClr>
              <a:defRPr lang="en-US" sz="1400" b="1" kern="1200" dirty="0" smtClean="0">
                <a:solidFill>
                  <a:schemeClr val="tx1"/>
                </a:solidFill>
                <a:latin typeface="Arial" pitchFamily="34" charset="0"/>
                <a:ea typeface="+mn-ea"/>
                <a:cs typeface="Arial" pitchFamily="34" charset="0"/>
              </a:defRPr>
            </a:lvl1pPr>
            <a:lvl2pPr algn="l" rtl="0" eaLnBrk="1" fontAlgn="base" latinLnBrk="0" hangingPunct="1">
              <a:spcBef>
                <a:spcPct val="0"/>
              </a:spcBef>
              <a:spcAft>
                <a:spcPct val="50000"/>
              </a:spcAft>
              <a:buClr>
                <a:schemeClr val="accent2"/>
              </a:buClr>
              <a:defRPr lang="en-US" sz="1200" b="0" kern="1200" dirty="0" smtClean="0">
                <a:solidFill>
                  <a:schemeClr val="tx1"/>
                </a:solidFill>
                <a:latin typeface="Arial" pitchFamily="34" charset="0"/>
                <a:ea typeface="+mn-ea"/>
                <a:cs typeface="Arial" pitchFamily="34" charset="0"/>
              </a:defRPr>
            </a:lvl2pPr>
            <a:lvl3pPr marL="460375" indent="-228600" algn="l" rtl="0" eaLnBrk="1" fontAlgn="base" latinLnBrk="0" hangingPunct="1">
              <a:spcBef>
                <a:spcPct val="0"/>
              </a:spcBef>
              <a:spcAft>
                <a:spcPct val="50000"/>
              </a:spcAft>
              <a:buClr>
                <a:schemeClr val="accent2"/>
              </a:buClr>
              <a:defRPr lang="en-US" sz="1100" b="0" kern="1200" dirty="0" smtClean="0">
                <a:solidFill>
                  <a:schemeClr val="tx1"/>
                </a:solidFill>
                <a:latin typeface="Arial" pitchFamily="34" charset="0"/>
                <a:ea typeface="+mn-ea"/>
                <a:cs typeface="Arial" pitchFamily="34" charset="0"/>
              </a:defRPr>
            </a:lvl3pPr>
            <a:lvl4pPr marL="685800"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4pPr>
            <a:lvl5pPr marL="911225"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5pPr>
            <a:lvl6pPr>
              <a:defRPr sz="1600"/>
            </a:lvl6pPr>
            <a:lvl7pPr>
              <a:defRPr sz="1600"/>
            </a:lvl7pPr>
            <a:lvl8pPr>
              <a:defRPr sz="1600"/>
            </a:lvl8pPr>
            <a:lvl9pPr>
              <a:defRPr sz="1600"/>
            </a:lvl9pPr>
          </a:lstStyle>
          <a:p>
            <a:pPr marL="0" lvl="0" indent="0" algn="l" defTabSz="914400" rtl="0" eaLnBrk="1" fontAlgn="base" latinLnBrk="0" hangingPunct="1">
              <a:spcBef>
                <a:spcPct val="0"/>
              </a:spcBef>
              <a:spcAft>
                <a:spcPct val="50000"/>
              </a:spcAft>
              <a:buClr>
                <a:schemeClr val="accent2"/>
              </a:buClr>
              <a:buFont typeface="Arial" pitchFamily="34" charset="0"/>
              <a:buNone/>
            </a:pPr>
            <a:r>
              <a:rPr lang="en-US" smtClean="0"/>
              <a:t>Click to edit Master text styles</a:t>
            </a:r>
          </a:p>
          <a:p>
            <a:pPr marL="0" lvl="1" indent="0" algn="l" defTabSz="914400" rtl="0" eaLnBrk="1" fontAlgn="base" latinLnBrk="0" hangingPunct="1">
              <a:spcBef>
                <a:spcPct val="0"/>
              </a:spcBef>
              <a:spcAft>
                <a:spcPct val="50000"/>
              </a:spcAft>
              <a:buClr>
                <a:schemeClr val="accent2"/>
              </a:buClr>
              <a:buFont typeface="Arial" pitchFamily="34" charset="0"/>
              <a:buNone/>
            </a:pPr>
            <a:r>
              <a:rPr lang="en-US" smtClean="0"/>
              <a:t>Second level</a:t>
            </a:r>
          </a:p>
          <a:p>
            <a:pPr marL="0" lvl="2" indent="0" algn="l" defTabSz="914400" rtl="0" eaLnBrk="1" fontAlgn="base" latinLnBrk="0" hangingPunct="1">
              <a:spcBef>
                <a:spcPct val="0"/>
              </a:spcBef>
              <a:spcAft>
                <a:spcPct val="50000"/>
              </a:spcAft>
              <a:buClr>
                <a:schemeClr val="accent2"/>
              </a:buClr>
              <a:buFont typeface="Arial" pitchFamily="34" charset="0"/>
              <a:buNone/>
            </a:pPr>
            <a:r>
              <a:rPr lang="en-US" smtClean="0"/>
              <a:t>Third level</a:t>
            </a:r>
          </a:p>
          <a:p>
            <a:pPr marL="0" lvl="3" indent="0" algn="l" defTabSz="914400" rtl="0" eaLnBrk="1" fontAlgn="base" latinLnBrk="0" hangingPunct="1">
              <a:spcBef>
                <a:spcPct val="0"/>
              </a:spcBef>
              <a:spcAft>
                <a:spcPct val="50000"/>
              </a:spcAft>
              <a:buClr>
                <a:schemeClr val="accent2"/>
              </a:buClr>
              <a:buFont typeface="Arial" pitchFamily="34" charset="0"/>
              <a:buNone/>
            </a:pPr>
            <a:r>
              <a:rPr lang="en-US" smtClean="0"/>
              <a:t>Fourth level</a:t>
            </a:r>
          </a:p>
          <a:p>
            <a:pPr marL="0" lvl="4" indent="0" algn="l" defTabSz="914400" rtl="0" eaLnBrk="1" fontAlgn="base" latinLnBrk="0" hangingPunct="1">
              <a:spcBef>
                <a:spcPct val="0"/>
              </a:spcBef>
              <a:spcAft>
                <a:spcPct val="50000"/>
              </a:spcAft>
              <a:buClr>
                <a:schemeClr val="accent2"/>
              </a:buClr>
              <a:buFont typeface="Arial" pitchFamily="34" charset="0"/>
              <a:buNone/>
            </a:pPr>
            <a:r>
              <a:rPr lang="en-US" smtClean="0"/>
              <a:t>Fifth level</a:t>
            </a:r>
            <a:endParaRPr lang="en-US" dirty="0"/>
          </a:p>
        </p:txBody>
      </p:sp>
      <p:sp>
        <p:nvSpPr>
          <p:cNvPr id="6" name="Content Placeholder 5"/>
          <p:cNvSpPr>
            <a:spLocks noGrp="1"/>
          </p:cNvSpPr>
          <p:nvPr>
            <p:ph sz="quarter" idx="4"/>
          </p:nvPr>
        </p:nvSpPr>
        <p:spPr>
          <a:xfrm>
            <a:off x="4709160" y="2026014"/>
            <a:ext cx="4114800" cy="3417862"/>
          </a:xfrm>
          <a:solidFill>
            <a:schemeClr val="bg1"/>
          </a:solidFill>
          <a:ln w="12700" algn="ctr">
            <a:solidFill>
              <a:schemeClr val="accent2"/>
            </a:solidFill>
            <a:miter lim="800000"/>
            <a:headEnd/>
            <a:tailEnd/>
          </a:ln>
          <a:effectLst/>
        </p:spPr>
        <p:txBody>
          <a:bodyPr vert="horz" wrap="square" lIns="91440" tIns="45720" rIns="91440" bIns="45720" numCol="1" rtlCol="0" anchor="t" anchorCtr="0" compatLnSpc="1">
            <a:prstTxWarp prst="textNoShape">
              <a:avLst/>
            </a:prstTxWarp>
            <a:noAutofit/>
          </a:bodyPr>
          <a:lstStyle>
            <a:lvl1pPr algn="l" rtl="0" eaLnBrk="1" fontAlgn="base" latinLnBrk="0" hangingPunct="1">
              <a:spcBef>
                <a:spcPct val="0"/>
              </a:spcBef>
              <a:spcAft>
                <a:spcPct val="50000"/>
              </a:spcAft>
              <a:buClr>
                <a:schemeClr val="accent2"/>
              </a:buClr>
              <a:defRPr lang="en-US" sz="1400" b="1" kern="1200" dirty="0" smtClean="0">
                <a:solidFill>
                  <a:schemeClr val="tx1"/>
                </a:solidFill>
                <a:latin typeface="Arial" pitchFamily="34" charset="0"/>
                <a:ea typeface="+mn-ea"/>
                <a:cs typeface="Arial" pitchFamily="34" charset="0"/>
              </a:defRPr>
            </a:lvl1pPr>
            <a:lvl2pPr algn="l" rtl="0" eaLnBrk="1" fontAlgn="base" latinLnBrk="0" hangingPunct="1">
              <a:spcBef>
                <a:spcPct val="0"/>
              </a:spcBef>
              <a:spcAft>
                <a:spcPct val="50000"/>
              </a:spcAft>
              <a:buClr>
                <a:schemeClr val="accent2"/>
              </a:buClr>
              <a:defRPr lang="en-US" sz="1200" b="0" kern="1200" dirty="0" smtClean="0">
                <a:solidFill>
                  <a:schemeClr val="tx1"/>
                </a:solidFill>
                <a:latin typeface="Arial" pitchFamily="34" charset="0"/>
                <a:ea typeface="+mn-ea"/>
                <a:cs typeface="Arial" pitchFamily="34" charset="0"/>
              </a:defRPr>
            </a:lvl2pPr>
            <a:lvl3pPr marL="460375" indent="-228600" algn="l" rtl="0" eaLnBrk="1" fontAlgn="base" latinLnBrk="0" hangingPunct="1">
              <a:spcBef>
                <a:spcPct val="0"/>
              </a:spcBef>
              <a:spcAft>
                <a:spcPct val="50000"/>
              </a:spcAft>
              <a:buClr>
                <a:schemeClr val="accent2"/>
              </a:buClr>
              <a:defRPr lang="en-US" sz="1100" b="0" kern="1200" dirty="0" smtClean="0">
                <a:solidFill>
                  <a:schemeClr val="tx1"/>
                </a:solidFill>
                <a:latin typeface="Arial" pitchFamily="34" charset="0"/>
                <a:ea typeface="+mn-ea"/>
                <a:cs typeface="Arial" pitchFamily="34" charset="0"/>
              </a:defRPr>
            </a:lvl3pPr>
            <a:lvl4pPr marL="685800"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4pPr>
            <a:lvl5pPr marL="911225"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5pPr>
            <a:lvl6pPr>
              <a:defRPr sz="1600"/>
            </a:lvl6pPr>
            <a:lvl7pPr>
              <a:defRPr sz="1600"/>
            </a:lvl7pPr>
            <a:lvl8pPr>
              <a:defRPr sz="1600"/>
            </a:lvl8pPr>
            <a:lvl9pPr>
              <a:defRPr sz="1600"/>
            </a:lvl9pPr>
          </a:lstStyle>
          <a:p>
            <a:pPr marL="0" lvl="0" indent="0" algn="l" defTabSz="914400" rtl="0" eaLnBrk="1" fontAlgn="base" latinLnBrk="0" hangingPunct="1">
              <a:spcBef>
                <a:spcPct val="0"/>
              </a:spcBef>
              <a:spcAft>
                <a:spcPct val="50000"/>
              </a:spcAft>
              <a:buClr>
                <a:schemeClr val="accent2"/>
              </a:buClr>
              <a:buFont typeface="Arial" pitchFamily="34" charset="0"/>
              <a:buNone/>
            </a:pPr>
            <a:r>
              <a:rPr lang="en-US" smtClean="0"/>
              <a:t>Click to edit Master text styles</a:t>
            </a:r>
          </a:p>
          <a:p>
            <a:pPr marL="0" lvl="1" indent="0" algn="l" defTabSz="914400" rtl="0" eaLnBrk="1" fontAlgn="base" latinLnBrk="0" hangingPunct="1">
              <a:spcBef>
                <a:spcPct val="0"/>
              </a:spcBef>
              <a:spcAft>
                <a:spcPct val="50000"/>
              </a:spcAft>
              <a:buClr>
                <a:schemeClr val="accent2"/>
              </a:buClr>
              <a:buFont typeface="Arial" pitchFamily="34" charset="0"/>
              <a:buNone/>
            </a:pPr>
            <a:r>
              <a:rPr lang="en-US" smtClean="0"/>
              <a:t>Second level</a:t>
            </a:r>
          </a:p>
          <a:p>
            <a:pPr marL="0" lvl="2" indent="0" algn="l" defTabSz="914400" rtl="0" eaLnBrk="1" fontAlgn="base" latinLnBrk="0" hangingPunct="1">
              <a:spcBef>
                <a:spcPct val="0"/>
              </a:spcBef>
              <a:spcAft>
                <a:spcPct val="50000"/>
              </a:spcAft>
              <a:buClr>
                <a:schemeClr val="accent2"/>
              </a:buClr>
              <a:buFont typeface="Arial" pitchFamily="34" charset="0"/>
              <a:buNone/>
            </a:pPr>
            <a:r>
              <a:rPr lang="en-US" smtClean="0"/>
              <a:t>Third level</a:t>
            </a:r>
          </a:p>
          <a:p>
            <a:pPr marL="0" lvl="3" indent="0" algn="l" defTabSz="914400" rtl="0" eaLnBrk="1" fontAlgn="base" latinLnBrk="0" hangingPunct="1">
              <a:spcBef>
                <a:spcPct val="0"/>
              </a:spcBef>
              <a:spcAft>
                <a:spcPct val="50000"/>
              </a:spcAft>
              <a:buClr>
                <a:schemeClr val="accent2"/>
              </a:buClr>
              <a:buFont typeface="Arial" pitchFamily="34" charset="0"/>
              <a:buNone/>
            </a:pPr>
            <a:r>
              <a:rPr lang="en-US" smtClean="0"/>
              <a:t>Fourth level</a:t>
            </a:r>
          </a:p>
          <a:p>
            <a:pPr marL="0" lvl="4" indent="0" algn="l" defTabSz="914400" rtl="0" eaLnBrk="1" fontAlgn="base" latinLnBrk="0" hangingPunct="1">
              <a:spcBef>
                <a:spcPct val="0"/>
              </a:spcBef>
              <a:spcAft>
                <a:spcPct val="50000"/>
              </a:spcAft>
              <a:buClr>
                <a:schemeClr val="accent2"/>
              </a:buClr>
              <a:buFont typeface="Arial" pitchFamily="34" charset="0"/>
              <a:buNone/>
            </a:pPr>
            <a:r>
              <a:rPr lang="en-US" smtClean="0"/>
              <a:t>Fifth level</a:t>
            </a:r>
            <a:endParaRPr lang="en-US" dirty="0"/>
          </a:p>
        </p:txBody>
      </p:sp>
      <p:sp>
        <p:nvSpPr>
          <p:cNvPr id="2" name="Title 1"/>
          <p:cNvSpPr>
            <a:spLocks noGrp="1"/>
          </p:cNvSpPr>
          <p:nvPr>
            <p:ph type="title"/>
          </p:nvPr>
        </p:nvSpPr>
        <p:spPr>
          <a:xfrm>
            <a:off x="0" y="25263"/>
            <a:ext cx="8823960" cy="822960"/>
          </a:xfrm>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20040" y="1471315"/>
            <a:ext cx="4114800" cy="548640"/>
          </a:xfrm>
          <a:gradFill flip="none" rotWithShape="1">
            <a:gsLst>
              <a:gs pos="75000">
                <a:schemeClr val="accent2"/>
              </a:gs>
              <a:gs pos="100000">
                <a:schemeClr val="accent4"/>
              </a:gs>
            </a:gsLst>
            <a:lin ang="16200000" scaled="1"/>
            <a:tileRect/>
          </a:gradFill>
          <a:ln w="12700">
            <a:solidFill>
              <a:schemeClr val="accent2"/>
            </a:solidFill>
          </a:ln>
        </p:spPr>
        <p:txBody>
          <a:bodyPr lIns="91440" tIns="91440" rIns="91440" bIns="91440" anchor="ctr" anchorCtr="0">
            <a:noAutofit/>
          </a:bodyPr>
          <a:lstStyle>
            <a:lvl1pPr marL="0" indent="0" algn="ctr">
              <a:buNone/>
              <a:defRPr sz="1400" b="1">
                <a:solidFill>
                  <a:schemeClr val="bg1"/>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4709160" y="1471315"/>
            <a:ext cx="4114800" cy="548640"/>
          </a:xfrm>
          <a:gradFill flip="none" rotWithShape="1">
            <a:gsLst>
              <a:gs pos="75000">
                <a:schemeClr val="accent2"/>
              </a:gs>
              <a:gs pos="100000">
                <a:schemeClr val="accent4"/>
              </a:gs>
            </a:gsLst>
            <a:lin ang="16200000" scaled="1"/>
            <a:tileRect/>
          </a:gradFill>
          <a:ln w="12700">
            <a:solidFill>
              <a:schemeClr val="accent2"/>
            </a:solidFill>
          </a:ln>
        </p:spPr>
        <p:txBody>
          <a:bodyPr lIns="91440" tIns="91440" rIns="91440" bIns="91440" anchor="ctr" anchorCtr="0">
            <a:noAutofit/>
          </a:bodyPr>
          <a:lstStyle>
            <a:lvl1pPr marL="0" indent="0" algn="ctr">
              <a:buNone/>
              <a:defRPr sz="1400" b="1">
                <a:solidFill>
                  <a:schemeClr val="bg1"/>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18" Type="http://schemas.openxmlformats.org/officeDocument/2006/relationships/image" Target="../media/image3.emf"/><Relationship Id="rId26" Type="http://schemas.openxmlformats.org/officeDocument/2006/relationships/hyperlink" Target="http://www.youtube.com/capgemini" TargetMode="External"/><Relationship Id="rId3" Type="http://schemas.openxmlformats.org/officeDocument/2006/relationships/slideLayout" Target="../slideLayouts/slideLayout21.xml"/><Relationship Id="rId21" Type="http://schemas.openxmlformats.org/officeDocument/2006/relationships/image" Target="../media/image13.png"/><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oleObject" Target="../embeddings/oleObject6.bin"/><Relationship Id="rId25" Type="http://schemas.openxmlformats.org/officeDocument/2006/relationships/image" Target="../media/image15.png"/><Relationship Id="rId2" Type="http://schemas.openxmlformats.org/officeDocument/2006/relationships/slideLayout" Target="../slideLayouts/slideLayout20.xml"/><Relationship Id="rId16" Type="http://schemas.openxmlformats.org/officeDocument/2006/relationships/image" Target="../media/image6.jpeg"/><Relationship Id="rId20" Type="http://schemas.openxmlformats.org/officeDocument/2006/relationships/hyperlink" Target="http://www.facebook.com/Capgemini" TargetMode="External"/><Relationship Id="rId29" Type="http://schemas.openxmlformats.org/officeDocument/2006/relationships/image" Target="../media/image17.gif"/><Relationship Id="rId1" Type="http://schemas.openxmlformats.org/officeDocument/2006/relationships/slideLayout" Target="../slideLayouts/slideLayout19.xml"/><Relationship Id="rId6" Type="http://schemas.openxmlformats.org/officeDocument/2006/relationships/tags" Target="../tags/tag26.xml"/><Relationship Id="rId11" Type="http://schemas.openxmlformats.org/officeDocument/2006/relationships/tags" Target="../tags/tag31.xml"/><Relationship Id="rId24" Type="http://schemas.openxmlformats.org/officeDocument/2006/relationships/hyperlink" Target="http://www.twitter.com/capgemini" TargetMode="External"/><Relationship Id="rId5" Type="http://schemas.openxmlformats.org/officeDocument/2006/relationships/vmlDrawing" Target="../drawings/vmlDrawing5.vml"/><Relationship Id="rId15" Type="http://schemas.openxmlformats.org/officeDocument/2006/relationships/tags" Target="../tags/tag35.xml"/><Relationship Id="rId23" Type="http://schemas.openxmlformats.org/officeDocument/2006/relationships/image" Target="../media/image14.png"/><Relationship Id="rId28" Type="http://schemas.openxmlformats.org/officeDocument/2006/relationships/hyperlink" Target="http://www.slideshare.net/capgemini" TargetMode="External"/><Relationship Id="rId10" Type="http://schemas.openxmlformats.org/officeDocument/2006/relationships/tags" Target="../tags/tag30.xml"/><Relationship Id="rId19" Type="http://schemas.openxmlformats.org/officeDocument/2006/relationships/image" Target="../media/image5.emf"/><Relationship Id="rId4" Type="http://schemas.openxmlformats.org/officeDocument/2006/relationships/theme" Target="../theme/theme2.xml"/><Relationship Id="rId9" Type="http://schemas.openxmlformats.org/officeDocument/2006/relationships/tags" Target="../tags/tag29.xml"/><Relationship Id="rId14" Type="http://schemas.openxmlformats.org/officeDocument/2006/relationships/tags" Target="../tags/tag34.xml"/><Relationship Id="rId22" Type="http://schemas.openxmlformats.org/officeDocument/2006/relationships/hyperlink" Target="http://www.linkedin.com/company/capgemini" TargetMode="External"/><Relationship Id="rId27" Type="http://schemas.openxmlformats.org/officeDocument/2006/relationships/image" Target="../media/image16.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vmlDrawing" Target="../drawings/vmlDrawing9.vml"/><Relationship Id="rId18" Type="http://schemas.openxmlformats.org/officeDocument/2006/relationships/tags" Target="../tags/tag48.xml"/><Relationship Id="rId3" Type="http://schemas.openxmlformats.org/officeDocument/2006/relationships/slideLayout" Target="../slideLayouts/slideLayout24.xml"/><Relationship Id="rId21" Type="http://schemas.openxmlformats.org/officeDocument/2006/relationships/tags" Target="../tags/tag51.xml"/><Relationship Id="rId7" Type="http://schemas.openxmlformats.org/officeDocument/2006/relationships/slideLayout" Target="../slideLayouts/slideLayout28.xml"/><Relationship Id="rId12" Type="http://schemas.openxmlformats.org/officeDocument/2006/relationships/theme" Target="../theme/theme3.xml"/><Relationship Id="rId17" Type="http://schemas.openxmlformats.org/officeDocument/2006/relationships/tags" Target="../tags/tag47.xml"/><Relationship Id="rId2" Type="http://schemas.openxmlformats.org/officeDocument/2006/relationships/slideLayout" Target="../slideLayouts/slideLayout23.xml"/><Relationship Id="rId16" Type="http://schemas.openxmlformats.org/officeDocument/2006/relationships/tags" Target="../tags/tag46.xml"/><Relationship Id="rId20" Type="http://schemas.openxmlformats.org/officeDocument/2006/relationships/tags" Target="../tags/tag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image" Target="../media/image19.jpeg"/><Relationship Id="rId5" Type="http://schemas.openxmlformats.org/officeDocument/2006/relationships/slideLayout" Target="../slideLayouts/slideLayout26.xml"/><Relationship Id="rId15" Type="http://schemas.openxmlformats.org/officeDocument/2006/relationships/tags" Target="../tags/tag45.xml"/><Relationship Id="rId23" Type="http://schemas.openxmlformats.org/officeDocument/2006/relationships/image" Target="../media/image3.emf"/><Relationship Id="rId10" Type="http://schemas.openxmlformats.org/officeDocument/2006/relationships/slideLayout" Target="../slideLayouts/slideLayout31.xml"/><Relationship Id="rId19" Type="http://schemas.openxmlformats.org/officeDocument/2006/relationships/tags" Target="../tags/tag49.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tags" Target="../tags/tag44.xml"/><Relationship Id="rId22" Type="http://schemas.openxmlformats.org/officeDocument/2006/relationships/oleObject" Target="../embeddings/oleObject10.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 y="25263"/>
            <a:ext cx="8823957" cy="82296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p>
            <a:r>
              <a:rPr lang="en-US" smtClean="0"/>
              <a:t>Click to edit Master title style</a:t>
            </a:r>
            <a:endParaRPr lang="en-US" dirty="0"/>
          </a:p>
        </p:txBody>
      </p:sp>
      <p:sp>
        <p:nvSpPr>
          <p:cNvPr id="3" name="Text Placeholder 2"/>
          <p:cNvSpPr>
            <a:spLocks noGrp="1"/>
          </p:cNvSpPr>
          <p:nvPr>
            <p:ph type="body" idx="1"/>
          </p:nvPr>
        </p:nvSpPr>
        <p:spPr>
          <a:xfrm>
            <a:off x="320040" y="1234215"/>
            <a:ext cx="8503920" cy="138499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smtClean="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smtClean="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smtClean="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ifth level</a:t>
            </a:r>
            <a:endParaRPr lang="en-US" dirty="0"/>
          </a:p>
        </p:txBody>
      </p:sp>
      <p:pic>
        <p:nvPicPr>
          <p:cNvPr id="11" name="Picture 4" descr="capgemini_rgb-[Converted]"/>
          <p:cNvPicPr>
            <a:picLocks noChangeAspect="1" noChangeArrowheads="1"/>
          </p:cNvPicPr>
          <p:nvPr/>
        </p:nvPicPr>
        <p:blipFill>
          <a:blip r:embed="rId22" cstate="print"/>
          <a:srcRect/>
          <a:stretch>
            <a:fillRect/>
          </a:stretch>
        </p:blipFill>
        <p:spPr bwMode="gray">
          <a:xfrm>
            <a:off x="273049" y="6451601"/>
            <a:ext cx="1289051" cy="301625"/>
          </a:xfrm>
          <a:prstGeom prst="rect">
            <a:avLst/>
          </a:prstGeom>
          <a:noFill/>
          <a:ln w="9525">
            <a:noFill/>
            <a:miter lim="800000"/>
            <a:headEnd/>
            <a:tailEnd/>
          </a:ln>
        </p:spPr>
      </p:pic>
      <p:sp>
        <p:nvSpPr>
          <p:cNvPr id="12" name="Text Box 5"/>
          <p:cNvSpPr txBox="1">
            <a:spLocks noChangeArrowheads="1"/>
          </p:cNvSpPr>
          <p:nvPr userDrawn="1"/>
        </p:nvSpPr>
        <p:spPr bwMode="gray">
          <a:xfrm>
            <a:off x="1571625" y="6491288"/>
            <a:ext cx="1311578" cy="223138"/>
          </a:xfrm>
          <a:prstGeom prst="rect">
            <a:avLst/>
          </a:prstGeom>
          <a:noFill/>
          <a:ln w="19050">
            <a:noFill/>
            <a:miter lim="800000"/>
            <a:headEnd/>
            <a:tailEnd/>
          </a:ln>
          <a:effectLst/>
        </p:spPr>
        <p:txBody>
          <a:bodyPr wrap="none">
            <a:spAutoFit/>
          </a:bodyPr>
          <a:lstStyle/>
          <a:p>
            <a:pPr eaLnBrk="0" hangingPunct="0">
              <a:lnSpc>
                <a:spcPct val="85000"/>
              </a:lnSpc>
            </a:pPr>
            <a:r>
              <a:rPr lang="en-US" sz="1000" dirty="0">
                <a:solidFill>
                  <a:srgbClr val="969696"/>
                </a:solidFill>
              </a:rPr>
              <a:t>In collaboration with</a:t>
            </a:r>
          </a:p>
        </p:txBody>
      </p:sp>
      <p:sp>
        <p:nvSpPr>
          <p:cNvPr id="14" name="Line 7"/>
          <p:cNvSpPr>
            <a:spLocks noChangeShapeType="1"/>
          </p:cNvSpPr>
          <p:nvPr/>
        </p:nvSpPr>
        <p:spPr bwMode="gray">
          <a:xfrm>
            <a:off x="8691563" y="6500813"/>
            <a:ext cx="0" cy="239712"/>
          </a:xfrm>
          <a:prstGeom prst="line">
            <a:avLst/>
          </a:prstGeom>
          <a:noFill/>
          <a:ln w="9525">
            <a:solidFill>
              <a:srgbClr val="969696"/>
            </a:solidFill>
            <a:round/>
            <a:headEnd/>
            <a:tailEnd/>
          </a:ln>
          <a:effectLst/>
        </p:spPr>
        <p:txBody>
          <a:bodyPr wrap="none" anchor="ctr"/>
          <a:lstStyle/>
          <a:p>
            <a:endParaRPr lang="en-US">
              <a:solidFill>
                <a:schemeClr val="tx2"/>
              </a:solidFill>
            </a:endParaRPr>
          </a:p>
        </p:txBody>
      </p:sp>
      <p:sp>
        <p:nvSpPr>
          <p:cNvPr id="15" name="Text Box 8"/>
          <p:cNvSpPr txBox="1">
            <a:spLocks noChangeArrowheads="1"/>
          </p:cNvSpPr>
          <p:nvPr/>
        </p:nvSpPr>
        <p:spPr bwMode="gray">
          <a:xfrm>
            <a:off x="8691564" y="6499225"/>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a:solidFill>
                <a:srgbClr val="969696"/>
              </a:solidFill>
              <a:latin typeface="Arial Narrow" pitchFamily="34" charset="0"/>
            </a:endParaRPr>
          </a:p>
        </p:txBody>
      </p:sp>
      <p:sp>
        <p:nvSpPr>
          <p:cNvPr id="16" name="Text Box 9"/>
          <p:cNvSpPr txBox="1">
            <a:spLocks noChangeArrowheads="1"/>
          </p:cNvSpPr>
          <p:nvPr/>
        </p:nvSpPr>
        <p:spPr bwMode="gray">
          <a:xfrm>
            <a:off x="4106863" y="6548438"/>
            <a:ext cx="4551363" cy="170816"/>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00" dirty="0" smtClean="0">
                <a:solidFill>
                  <a:schemeClr val="tx2"/>
                </a:solidFill>
                <a:latin typeface="Arial Narrow" pitchFamily="34" charset="0"/>
              </a:rPr>
              <a:t>The information contained in this document is proprietary. Copyright © 2016 Capgemini. All rights reserved.</a:t>
            </a:r>
            <a:endParaRPr lang="en-US" sz="600" dirty="0">
              <a:solidFill>
                <a:schemeClr val="tx2"/>
              </a:solidFill>
              <a:latin typeface="Arial Narrow" pitchFamily="34" charset="0"/>
            </a:endParaRPr>
          </a:p>
        </p:txBody>
      </p:sp>
      <p:sp>
        <p:nvSpPr>
          <p:cNvPr id="18" name="Rectangle 17"/>
          <p:cNvSpPr/>
          <p:nvPr userDrawn="1">
            <p:custDataLst>
              <p:tags r:id="rId20"/>
            </p:custDataLst>
          </p:nvPr>
        </p:nvSpPr>
        <p:spPr>
          <a:xfrm>
            <a:off x="6682612" y="6418258"/>
            <a:ext cx="1914554" cy="195814"/>
          </a:xfrm>
          <a:prstGeom prst="rect">
            <a:avLst/>
          </a:prstGeom>
        </p:spPr>
        <p:txBody>
          <a:bodyPr wrap="none" lIns="35997" tIns="35997" rIns="35997" bIns="35997" anchor="b" anchorCtr="0">
            <a:noAutofit/>
          </a:bodyPr>
          <a:lstStyle/>
          <a:p>
            <a:pPr algn="r"/>
            <a:r>
              <a:rPr lang="en-US" sz="600" dirty="0" smtClean="0">
                <a:solidFill>
                  <a:schemeClr val="tx2"/>
                </a:solidFill>
                <a:latin typeface="Arial Narrow" pitchFamily="34" charset="0"/>
              </a:rPr>
              <a:t>Presentation Title | November 2016</a:t>
            </a:r>
            <a:endParaRPr lang="en-US" sz="600" dirty="0">
              <a:solidFill>
                <a:schemeClr val="tx2"/>
              </a:solidFill>
              <a:latin typeface="Arial Narrow" pitchFamily="34" charset="0"/>
            </a:endParaRPr>
          </a:p>
        </p:txBody>
      </p:sp>
      <p:sp>
        <p:nvSpPr>
          <p:cNvPr id="17" name="Rectangle 7"/>
          <p:cNvSpPr/>
          <p:nvPr userDrawn="1">
            <p:custDataLst>
              <p:tags r:id="rId21"/>
            </p:custDataLst>
          </p:nvPr>
        </p:nvSpPr>
        <p:spPr bwMode="auto">
          <a:xfrm>
            <a:off x="-4761" y="749616"/>
            <a:ext cx="9147175" cy="309301"/>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1 w 21694863"/>
              <a:gd name="connsiteY0" fmla="*/ 0 h 4325468"/>
              <a:gd name="connsiteX1" fmla="*/ 21694175 w 21694863"/>
              <a:gd name="connsiteY1" fmla="*/ 21891 h 4325468"/>
              <a:gd name="connsiteX2" fmla="*/ 21694175 w 21694863"/>
              <a:gd name="connsiteY2" fmla="*/ 3166173 h 4325468"/>
              <a:gd name="connsiteX3" fmla="*/ 20899884 w 21694863"/>
              <a:gd name="connsiteY3" fmla="*/ 3551158 h 4325468"/>
              <a:gd name="connsiteX4" fmla="*/ 4219847 w 21694863"/>
              <a:gd name="connsiteY4" fmla="*/ 3526990 h 4325468"/>
              <a:gd name="connsiteX5" fmla="*/ 3076645 w 21694863"/>
              <a:gd name="connsiteY5" fmla="*/ 4325468 h 4325468"/>
              <a:gd name="connsiteX6" fmla="*/ 1902291 w 21694863"/>
              <a:gd name="connsiteY6" fmla="*/ 3526990 h 4325468"/>
              <a:gd name="connsiteX7" fmla="*/ 3 w 21694863"/>
              <a:gd name="connsiteY7" fmla="*/ 3526990 h 4325468"/>
              <a:gd name="connsiteX8" fmla="*/ 216943 w 21694863"/>
              <a:gd name="connsiteY8" fmla="*/ 224377 h 4325468"/>
              <a:gd name="connsiteX0" fmla="*/ 1 w 21694863"/>
              <a:gd name="connsiteY0" fmla="*/ 0 h 4325468"/>
              <a:gd name="connsiteX1" fmla="*/ 21694175 w 21694863"/>
              <a:gd name="connsiteY1" fmla="*/ 21891 h 4325468"/>
              <a:gd name="connsiteX2" fmla="*/ 21694175 w 21694863"/>
              <a:gd name="connsiteY2" fmla="*/ 3166173 h 4325468"/>
              <a:gd name="connsiteX3" fmla="*/ 20899884 w 21694863"/>
              <a:gd name="connsiteY3" fmla="*/ 3551158 h 4325468"/>
              <a:gd name="connsiteX4" fmla="*/ 4219847 w 21694863"/>
              <a:gd name="connsiteY4" fmla="*/ 3526990 h 4325468"/>
              <a:gd name="connsiteX5" fmla="*/ 3076645 w 21694863"/>
              <a:gd name="connsiteY5" fmla="*/ 4325468 h 4325468"/>
              <a:gd name="connsiteX6" fmla="*/ 1902291 w 21694863"/>
              <a:gd name="connsiteY6" fmla="*/ 3526990 h 4325468"/>
              <a:gd name="connsiteX7" fmla="*/ 3 w 21694863"/>
              <a:gd name="connsiteY7" fmla="*/ 3526990 h 4325468"/>
              <a:gd name="connsiteX0" fmla="*/ 21694173 w 21694861"/>
              <a:gd name="connsiteY0" fmla="*/ 0 h 4303577"/>
              <a:gd name="connsiteX1" fmla="*/ 21694173 w 21694861"/>
              <a:gd name="connsiteY1" fmla="*/ 3144282 h 4303577"/>
              <a:gd name="connsiteX2" fmla="*/ 20899882 w 21694861"/>
              <a:gd name="connsiteY2" fmla="*/ 3529267 h 4303577"/>
              <a:gd name="connsiteX3" fmla="*/ 4219845 w 21694861"/>
              <a:gd name="connsiteY3" fmla="*/ 3505099 h 4303577"/>
              <a:gd name="connsiteX4" fmla="*/ 3076643 w 21694861"/>
              <a:gd name="connsiteY4" fmla="*/ 4303577 h 4303577"/>
              <a:gd name="connsiteX5" fmla="*/ 1902289 w 21694861"/>
              <a:gd name="connsiteY5" fmla="*/ 3505099 h 4303577"/>
              <a:gd name="connsiteX6" fmla="*/ 1 w 21694861"/>
              <a:gd name="connsiteY6" fmla="*/ 3505099 h 4303577"/>
              <a:gd name="connsiteX0" fmla="*/ 21694173 w 21694173"/>
              <a:gd name="connsiteY0" fmla="*/ 0 h 1159295"/>
              <a:gd name="connsiteX1" fmla="*/ 20899882 w 21694173"/>
              <a:gd name="connsiteY1" fmla="*/ 384985 h 1159295"/>
              <a:gd name="connsiteX2" fmla="*/ 4219845 w 21694173"/>
              <a:gd name="connsiteY2" fmla="*/ 360817 h 1159295"/>
              <a:gd name="connsiteX3" fmla="*/ 3076643 w 21694173"/>
              <a:gd name="connsiteY3" fmla="*/ 1159295 h 1159295"/>
              <a:gd name="connsiteX4" fmla="*/ 1902289 w 21694173"/>
              <a:gd name="connsiteY4" fmla="*/ 360817 h 1159295"/>
              <a:gd name="connsiteX5" fmla="*/ 1 w 21694173"/>
              <a:gd name="connsiteY5" fmla="*/ 360817 h 1159295"/>
              <a:gd name="connsiteX0" fmla="*/ 21694173 w 21694173"/>
              <a:gd name="connsiteY0" fmla="*/ 0 h 1159295"/>
              <a:gd name="connsiteX1" fmla="*/ 20899882 w 21694173"/>
              <a:gd name="connsiteY1" fmla="*/ 384985 h 1159295"/>
              <a:gd name="connsiteX2" fmla="*/ 4219845 w 21694173"/>
              <a:gd name="connsiteY2" fmla="*/ 360817 h 1159295"/>
              <a:gd name="connsiteX3" fmla="*/ 3076643 w 21694173"/>
              <a:gd name="connsiteY3" fmla="*/ 1159295 h 1159295"/>
              <a:gd name="connsiteX4" fmla="*/ 1902289 w 21694173"/>
              <a:gd name="connsiteY4" fmla="*/ 360817 h 1159295"/>
              <a:gd name="connsiteX5" fmla="*/ 0 w 21694173"/>
              <a:gd name="connsiteY5" fmla="*/ 325388 h 1159295"/>
              <a:gd name="connsiteX0" fmla="*/ 20572358 w 20572358"/>
              <a:gd name="connsiteY0" fmla="*/ 0 h 1159295"/>
              <a:gd name="connsiteX1" fmla="*/ 19778067 w 20572358"/>
              <a:gd name="connsiteY1" fmla="*/ 384985 h 1159295"/>
              <a:gd name="connsiteX2" fmla="*/ 3098030 w 20572358"/>
              <a:gd name="connsiteY2" fmla="*/ 360817 h 1159295"/>
              <a:gd name="connsiteX3" fmla="*/ 1954828 w 20572358"/>
              <a:gd name="connsiteY3" fmla="*/ 1159295 h 1159295"/>
              <a:gd name="connsiteX4" fmla="*/ 780474 w 20572358"/>
              <a:gd name="connsiteY4" fmla="*/ 360817 h 1159295"/>
              <a:gd name="connsiteX5" fmla="*/ 0 w 20572358"/>
              <a:gd name="connsiteY5" fmla="*/ 343100 h 1159295"/>
              <a:gd name="connsiteX0" fmla="*/ 20341146 w 20341146"/>
              <a:gd name="connsiteY0" fmla="*/ 0 h 1159295"/>
              <a:gd name="connsiteX1" fmla="*/ 19546855 w 20341146"/>
              <a:gd name="connsiteY1" fmla="*/ 384985 h 1159295"/>
              <a:gd name="connsiteX2" fmla="*/ 2866818 w 20341146"/>
              <a:gd name="connsiteY2" fmla="*/ 360817 h 1159295"/>
              <a:gd name="connsiteX3" fmla="*/ 1723616 w 20341146"/>
              <a:gd name="connsiteY3" fmla="*/ 1159295 h 1159295"/>
              <a:gd name="connsiteX4" fmla="*/ 549262 w 20341146"/>
              <a:gd name="connsiteY4" fmla="*/ 360817 h 1159295"/>
              <a:gd name="connsiteX5" fmla="*/ 0 w 20341146"/>
              <a:gd name="connsiteY5" fmla="*/ 343100 h 1159295"/>
              <a:gd name="connsiteX0" fmla="*/ 20341146 w 20341146"/>
              <a:gd name="connsiteY0" fmla="*/ 0 h 1159295"/>
              <a:gd name="connsiteX1" fmla="*/ 19546855 w 20341146"/>
              <a:gd name="connsiteY1" fmla="*/ 384985 h 1159295"/>
              <a:gd name="connsiteX2" fmla="*/ 2866818 w 20341146"/>
              <a:gd name="connsiteY2" fmla="*/ 360817 h 1159295"/>
              <a:gd name="connsiteX3" fmla="*/ 1723616 w 20341146"/>
              <a:gd name="connsiteY3" fmla="*/ 1159295 h 1159295"/>
              <a:gd name="connsiteX4" fmla="*/ 549262 w 20341146"/>
              <a:gd name="connsiteY4" fmla="*/ 360817 h 1159295"/>
              <a:gd name="connsiteX5" fmla="*/ 0 w 20341146"/>
              <a:gd name="connsiteY5" fmla="*/ 343100 h 1159295"/>
              <a:gd name="connsiteX0" fmla="*/ 23706597 w 23706597"/>
              <a:gd name="connsiteY0" fmla="*/ 0 h 1203579"/>
              <a:gd name="connsiteX1" fmla="*/ 19546855 w 23706597"/>
              <a:gd name="connsiteY1" fmla="*/ 429269 h 1203579"/>
              <a:gd name="connsiteX2" fmla="*/ 2866818 w 23706597"/>
              <a:gd name="connsiteY2" fmla="*/ 405101 h 1203579"/>
              <a:gd name="connsiteX3" fmla="*/ 1723616 w 23706597"/>
              <a:gd name="connsiteY3" fmla="*/ 1203579 h 1203579"/>
              <a:gd name="connsiteX4" fmla="*/ 549262 w 23706597"/>
              <a:gd name="connsiteY4" fmla="*/ 405101 h 1203579"/>
              <a:gd name="connsiteX5" fmla="*/ 0 w 23706597"/>
              <a:gd name="connsiteY5" fmla="*/ 387384 h 1203579"/>
              <a:gd name="connsiteX0" fmla="*/ 28887508 w 28887508"/>
              <a:gd name="connsiteY0" fmla="*/ 0 h 1159295"/>
              <a:gd name="connsiteX1" fmla="*/ 19546855 w 28887508"/>
              <a:gd name="connsiteY1" fmla="*/ 384985 h 1159295"/>
              <a:gd name="connsiteX2" fmla="*/ 2866818 w 28887508"/>
              <a:gd name="connsiteY2" fmla="*/ 360817 h 1159295"/>
              <a:gd name="connsiteX3" fmla="*/ 1723616 w 28887508"/>
              <a:gd name="connsiteY3" fmla="*/ 1159295 h 1159295"/>
              <a:gd name="connsiteX4" fmla="*/ 549262 w 28887508"/>
              <a:gd name="connsiteY4" fmla="*/ 360817 h 1159295"/>
              <a:gd name="connsiteX5" fmla="*/ 0 w 28887508"/>
              <a:gd name="connsiteY5" fmla="*/ 343100 h 1159295"/>
              <a:gd name="connsiteX0" fmla="*/ 32895222 w 32895222"/>
              <a:gd name="connsiteY0" fmla="*/ 0 h 1150439"/>
              <a:gd name="connsiteX1" fmla="*/ 19546855 w 32895222"/>
              <a:gd name="connsiteY1" fmla="*/ 376129 h 1150439"/>
              <a:gd name="connsiteX2" fmla="*/ 2866818 w 32895222"/>
              <a:gd name="connsiteY2" fmla="*/ 351961 h 1150439"/>
              <a:gd name="connsiteX3" fmla="*/ 1723616 w 32895222"/>
              <a:gd name="connsiteY3" fmla="*/ 1150439 h 1150439"/>
              <a:gd name="connsiteX4" fmla="*/ 549262 w 32895222"/>
              <a:gd name="connsiteY4" fmla="*/ 351961 h 1150439"/>
              <a:gd name="connsiteX5" fmla="*/ 0 w 32895222"/>
              <a:gd name="connsiteY5" fmla="*/ 334244 h 1150439"/>
              <a:gd name="connsiteX0" fmla="*/ 32895222 w 32895222"/>
              <a:gd name="connsiteY0" fmla="*/ 0 h 1150439"/>
              <a:gd name="connsiteX1" fmla="*/ 21858998 w 32895222"/>
              <a:gd name="connsiteY1" fmla="*/ 384985 h 1150439"/>
              <a:gd name="connsiteX2" fmla="*/ 2866818 w 32895222"/>
              <a:gd name="connsiteY2" fmla="*/ 351961 h 1150439"/>
              <a:gd name="connsiteX3" fmla="*/ 1723616 w 32895222"/>
              <a:gd name="connsiteY3" fmla="*/ 1150439 h 1150439"/>
              <a:gd name="connsiteX4" fmla="*/ 549262 w 32895222"/>
              <a:gd name="connsiteY4" fmla="*/ 351961 h 1150439"/>
              <a:gd name="connsiteX5" fmla="*/ 0 w 32895222"/>
              <a:gd name="connsiteY5" fmla="*/ 334244 h 1150439"/>
              <a:gd name="connsiteX0" fmla="*/ 32895222 w 32895222"/>
              <a:gd name="connsiteY0" fmla="*/ 0 h 1150439"/>
              <a:gd name="connsiteX1" fmla="*/ 26645990 w 32895222"/>
              <a:gd name="connsiteY1" fmla="*/ 340701 h 1150439"/>
              <a:gd name="connsiteX2" fmla="*/ 2866818 w 32895222"/>
              <a:gd name="connsiteY2" fmla="*/ 351961 h 1150439"/>
              <a:gd name="connsiteX3" fmla="*/ 1723616 w 32895222"/>
              <a:gd name="connsiteY3" fmla="*/ 1150439 h 1150439"/>
              <a:gd name="connsiteX4" fmla="*/ 549262 w 32895222"/>
              <a:gd name="connsiteY4" fmla="*/ 351961 h 1150439"/>
              <a:gd name="connsiteX5" fmla="*/ 0 w 32895222"/>
              <a:gd name="connsiteY5" fmla="*/ 334244 h 1150439"/>
              <a:gd name="connsiteX0" fmla="*/ 32895222 w 32895222"/>
              <a:gd name="connsiteY0" fmla="*/ 0 h 1150439"/>
              <a:gd name="connsiteX1" fmla="*/ 31818339 w 32895222"/>
              <a:gd name="connsiteY1" fmla="*/ 358417 h 1150439"/>
              <a:gd name="connsiteX2" fmla="*/ 2866818 w 32895222"/>
              <a:gd name="connsiteY2" fmla="*/ 351961 h 1150439"/>
              <a:gd name="connsiteX3" fmla="*/ 1723616 w 32895222"/>
              <a:gd name="connsiteY3" fmla="*/ 1150439 h 1150439"/>
              <a:gd name="connsiteX4" fmla="*/ 549262 w 32895222"/>
              <a:gd name="connsiteY4" fmla="*/ 351961 h 1150439"/>
              <a:gd name="connsiteX5" fmla="*/ 0 w 32895222"/>
              <a:gd name="connsiteY5" fmla="*/ 334244 h 1150439"/>
              <a:gd name="connsiteX0" fmla="*/ 32895222 w 32895222"/>
              <a:gd name="connsiteY0" fmla="*/ 0 h 1150439"/>
              <a:gd name="connsiteX1" fmla="*/ 32023862 w 32895222"/>
              <a:gd name="connsiteY1" fmla="*/ 393845 h 1150439"/>
              <a:gd name="connsiteX2" fmla="*/ 2866818 w 32895222"/>
              <a:gd name="connsiteY2" fmla="*/ 351961 h 1150439"/>
              <a:gd name="connsiteX3" fmla="*/ 1723616 w 32895222"/>
              <a:gd name="connsiteY3" fmla="*/ 1150439 h 1150439"/>
              <a:gd name="connsiteX4" fmla="*/ 549262 w 32895222"/>
              <a:gd name="connsiteY4" fmla="*/ 351961 h 1150439"/>
              <a:gd name="connsiteX5" fmla="*/ 0 w 32895222"/>
              <a:gd name="connsiteY5" fmla="*/ 334244 h 1150439"/>
              <a:gd name="connsiteX0" fmla="*/ 32895222 w 32895222"/>
              <a:gd name="connsiteY0" fmla="*/ 0 h 1150439"/>
              <a:gd name="connsiteX1" fmla="*/ 32023862 w 32895222"/>
              <a:gd name="connsiteY1" fmla="*/ 358417 h 1150439"/>
              <a:gd name="connsiteX2" fmla="*/ 2866818 w 32895222"/>
              <a:gd name="connsiteY2" fmla="*/ 351961 h 1150439"/>
              <a:gd name="connsiteX3" fmla="*/ 1723616 w 32895222"/>
              <a:gd name="connsiteY3" fmla="*/ 1150439 h 1150439"/>
              <a:gd name="connsiteX4" fmla="*/ 549262 w 32895222"/>
              <a:gd name="connsiteY4" fmla="*/ 351961 h 1150439"/>
              <a:gd name="connsiteX5" fmla="*/ 0 w 32895222"/>
              <a:gd name="connsiteY5" fmla="*/ 334244 h 1150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895222" h="1150439">
                <a:moveTo>
                  <a:pt x="32895222" y="0"/>
                </a:moveTo>
                <a:cubicBezTo>
                  <a:pt x="32751123" y="424891"/>
                  <a:pt x="32283624" y="352474"/>
                  <a:pt x="32023862" y="358417"/>
                </a:cubicBezTo>
                <a:lnTo>
                  <a:pt x="2866818" y="351961"/>
                </a:lnTo>
                <a:cubicBezTo>
                  <a:pt x="2289604" y="385103"/>
                  <a:pt x="1915225" y="687617"/>
                  <a:pt x="1723616" y="1150439"/>
                </a:cubicBezTo>
                <a:cubicBezTo>
                  <a:pt x="1425262" y="446662"/>
                  <a:pt x="827902" y="351083"/>
                  <a:pt x="549262" y="351961"/>
                </a:cubicBezTo>
                <a:lnTo>
                  <a:pt x="0" y="334244"/>
                </a:lnTo>
              </a:path>
            </a:pathLst>
          </a:custGeom>
          <a:solidFill>
            <a:schemeClr val="bg1"/>
          </a:solidFill>
          <a:ln w="28575" cmpd="sng" algn="ctr">
            <a:solidFill>
              <a:schemeClr val="bg2"/>
            </a:solid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3" name="Picture 12"/>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2890822" y="6506528"/>
            <a:ext cx="1129263" cy="182735"/>
          </a:xfrm>
          <a:prstGeom prst="rect">
            <a:avLst/>
          </a:prstGeom>
        </p:spPr>
      </p:pic>
    </p:spTree>
  </p:cSld>
  <p:clrMap bg1="lt1" tx1="dk1" bg2="lt2" tx2="dk2" accent1="accent1" accent2="accent2" accent3="accent3" accent4="accent4" accent5="accent5" accent6="accent6" hlink="hlink" folHlink="folHlink"/>
  <p:sldLayoutIdLst>
    <p:sldLayoutId id="2147483662" r:id="rId1"/>
    <p:sldLayoutId id="2147483660" r:id="rId2"/>
    <p:sldLayoutId id="2147483650" r:id="rId3"/>
    <p:sldLayoutId id="2147483651" r:id="rId4"/>
    <p:sldLayoutId id="2147483670" r:id="rId5"/>
    <p:sldLayoutId id="2147483669" r:id="rId6"/>
    <p:sldLayoutId id="2147483668" r:id="rId7"/>
    <p:sldLayoutId id="2147483652" r:id="rId8"/>
    <p:sldLayoutId id="2147483653" r:id="rId9"/>
    <p:sldLayoutId id="2147483654" r:id="rId10"/>
    <p:sldLayoutId id="2147483655" r:id="rId11"/>
    <p:sldLayoutId id="2147483656" r:id="rId12"/>
    <p:sldLayoutId id="2147483657" r:id="rId13"/>
    <p:sldLayoutId id="2147483658" r:id="rId14"/>
    <p:sldLayoutId id="2147483659" r:id="rId15"/>
    <p:sldLayoutId id="2147483683" r:id="rId16"/>
    <p:sldLayoutId id="2147483684" r:id="rId17"/>
    <p:sldLayoutId id="2147483686" r:id="rId18"/>
  </p:sldLayoutIdLst>
  <p:hf sldNum="0" hdr="0" dt="0"/>
  <p:txStyles>
    <p:titleStyle>
      <a:lvl1pPr algn="l" defTabSz="914400" rtl="0" eaLnBrk="1" fontAlgn="base" latinLnBrk="0" hangingPunct="1">
        <a:spcBef>
          <a:spcPct val="0"/>
        </a:spcBef>
        <a:spcAft>
          <a:spcPct val="0"/>
        </a:spcAft>
        <a:buNone/>
        <a:defRPr lang="en-US" sz="2200" b="1" kern="1200" dirty="0">
          <a:solidFill>
            <a:schemeClr val="tx1"/>
          </a:solidFill>
          <a:latin typeface="Arial" pitchFamily="34" charset="0"/>
          <a:ea typeface="+mj-ea"/>
          <a:cs typeface="Arial" pitchFamily="34" charset="0"/>
        </a:defRPr>
      </a:lvl1pPr>
    </p:titleStyle>
    <p:bodyStyle>
      <a:lvl1pPr marL="342900" indent="-342900"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1pPr>
      <a:lvl2pPr marL="742950" indent="-285750" algn="l" defTabSz="914400" rtl="0" eaLnBrk="1" fontAlgn="base" latinLnBrk="0" hangingPunct="1">
        <a:spcBef>
          <a:spcPct val="0"/>
        </a:spcBef>
        <a:spcAft>
          <a:spcPts val="600"/>
        </a:spcAft>
        <a:buClr>
          <a:schemeClr val="accent2"/>
        </a:buClr>
        <a:buFont typeface="Arial" pitchFamily="34" charset="0"/>
        <a:buChar char="–"/>
        <a:defRPr lang="en-US" sz="1600" b="0" kern="1200" dirty="0" smtClean="0">
          <a:solidFill>
            <a:schemeClr val="tx1"/>
          </a:solidFill>
          <a:latin typeface="Arial" pitchFamily="34" charset="0"/>
          <a:ea typeface="+mn-ea"/>
          <a:cs typeface="Arial" pitchFamily="34" charset="0"/>
        </a:defRPr>
      </a:lvl2pPr>
      <a:lvl3pPr marL="1025525" indent="-2286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1317625"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541463"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7"/>
          <p:cNvSpPr/>
          <p:nvPr userDrawn="1">
            <p:custDataLst>
              <p:tags r:id="rId6"/>
            </p:custDataLst>
          </p:nvPr>
        </p:nvSpPr>
        <p:spPr bwMode="auto">
          <a:xfrm>
            <a:off x="-3890" y="2163291"/>
            <a:ext cx="9147240" cy="469860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25855"/>
              <a:gd name="connsiteY0" fmla="*/ 10139197 h 10229976"/>
              <a:gd name="connsiteX1" fmla="*/ 21725167 w 21725855"/>
              <a:gd name="connsiteY1" fmla="*/ 3 h 10229976"/>
              <a:gd name="connsiteX2" fmla="*/ 21725167 w 21725855"/>
              <a:gd name="connsiteY2" fmla="*/ 3144285 h 10229976"/>
              <a:gd name="connsiteX3" fmla="*/ 20930876 w 21725855"/>
              <a:gd name="connsiteY3" fmla="*/ 3529270 h 10229976"/>
              <a:gd name="connsiteX4" fmla="*/ 4250839 w 21725855"/>
              <a:gd name="connsiteY4" fmla="*/ 3505102 h 10229976"/>
              <a:gd name="connsiteX5" fmla="*/ 3107637 w 21725855"/>
              <a:gd name="connsiteY5" fmla="*/ 4303580 h 10229976"/>
              <a:gd name="connsiteX6" fmla="*/ 1933283 w 21725855"/>
              <a:gd name="connsiteY6" fmla="*/ 3505102 h 10229976"/>
              <a:gd name="connsiteX7" fmla="*/ 30995 w 21725855"/>
              <a:gd name="connsiteY7" fmla="*/ 3505102 h 10229976"/>
              <a:gd name="connsiteX8" fmla="*/ 0 w 21725855"/>
              <a:gd name="connsiteY8" fmla="*/ 10139197 h 10229976"/>
              <a:gd name="connsiteX0" fmla="*/ 0 w 21725203"/>
              <a:gd name="connsiteY0" fmla="*/ 6995113 h 7085892"/>
              <a:gd name="connsiteX1" fmla="*/ 21694175 w 21725203"/>
              <a:gd name="connsiteY1" fmla="*/ 6952895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888786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920841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56164"/>
              <a:gd name="connsiteY0" fmla="*/ 6995113 h 7085892"/>
              <a:gd name="connsiteX1" fmla="*/ 21756159 w 21756164"/>
              <a:gd name="connsiteY1" fmla="*/ 6952895 h 7085892"/>
              <a:gd name="connsiteX2" fmla="*/ 21725167 w 21756164"/>
              <a:gd name="connsiteY2" fmla="*/ 201 h 7085892"/>
              <a:gd name="connsiteX3" fmla="*/ 20930876 w 21756164"/>
              <a:gd name="connsiteY3" fmla="*/ 385186 h 7085892"/>
              <a:gd name="connsiteX4" fmla="*/ 4250839 w 21756164"/>
              <a:gd name="connsiteY4" fmla="*/ 361018 h 7085892"/>
              <a:gd name="connsiteX5" fmla="*/ 3107637 w 21756164"/>
              <a:gd name="connsiteY5" fmla="*/ 1159496 h 7085892"/>
              <a:gd name="connsiteX6" fmla="*/ 1933283 w 21756164"/>
              <a:gd name="connsiteY6" fmla="*/ 361018 h 7085892"/>
              <a:gd name="connsiteX7" fmla="*/ 30995 w 21756164"/>
              <a:gd name="connsiteY7" fmla="*/ 361018 h 7085892"/>
              <a:gd name="connsiteX8" fmla="*/ 0 w 21756164"/>
              <a:gd name="connsiteY8" fmla="*/ 6995113 h 7085892"/>
              <a:gd name="connsiteX0" fmla="*/ 0 w 21756164"/>
              <a:gd name="connsiteY0" fmla="*/ 6995113 h 7086228"/>
              <a:gd name="connsiteX1" fmla="*/ 21756159 w 21756164"/>
              <a:gd name="connsiteY1" fmla="*/ 6952895 h 7086228"/>
              <a:gd name="connsiteX2" fmla="*/ 21725167 w 21756164"/>
              <a:gd name="connsiteY2" fmla="*/ 201 h 7086228"/>
              <a:gd name="connsiteX3" fmla="*/ 20930876 w 21756164"/>
              <a:gd name="connsiteY3" fmla="*/ 385186 h 7086228"/>
              <a:gd name="connsiteX4" fmla="*/ 4250839 w 21756164"/>
              <a:gd name="connsiteY4" fmla="*/ 361018 h 7086228"/>
              <a:gd name="connsiteX5" fmla="*/ 3107637 w 21756164"/>
              <a:gd name="connsiteY5" fmla="*/ 1159496 h 7086228"/>
              <a:gd name="connsiteX6" fmla="*/ 1933283 w 21756164"/>
              <a:gd name="connsiteY6" fmla="*/ 361018 h 7086228"/>
              <a:gd name="connsiteX7" fmla="*/ 2 w 21756164"/>
              <a:gd name="connsiteY7" fmla="*/ 393072 h 7086228"/>
              <a:gd name="connsiteX8" fmla="*/ 0 w 21756164"/>
              <a:gd name="connsiteY8" fmla="*/ 6995113 h 7086228"/>
              <a:gd name="connsiteX0" fmla="*/ 0 w 21756164"/>
              <a:gd name="connsiteY0" fmla="*/ 6995113 h 7086157"/>
              <a:gd name="connsiteX1" fmla="*/ 21756159 w 21756164"/>
              <a:gd name="connsiteY1" fmla="*/ 6952895 h 7086157"/>
              <a:gd name="connsiteX2" fmla="*/ 21725167 w 21756164"/>
              <a:gd name="connsiteY2" fmla="*/ 201 h 7086157"/>
              <a:gd name="connsiteX3" fmla="*/ 20930876 w 21756164"/>
              <a:gd name="connsiteY3" fmla="*/ 385186 h 7086157"/>
              <a:gd name="connsiteX4" fmla="*/ 4250839 w 21756164"/>
              <a:gd name="connsiteY4" fmla="*/ 361018 h 7086157"/>
              <a:gd name="connsiteX5" fmla="*/ 3107637 w 21756164"/>
              <a:gd name="connsiteY5" fmla="*/ 1159496 h 7086157"/>
              <a:gd name="connsiteX6" fmla="*/ 1933283 w 21756164"/>
              <a:gd name="connsiteY6" fmla="*/ 361018 h 7086157"/>
              <a:gd name="connsiteX7" fmla="*/ 26140 w 21756164"/>
              <a:gd name="connsiteY7" fmla="*/ 386312 h 7086157"/>
              <a:gd name="connsiteX8" fmla="*/ 0 w 21756164"/>
              <a:gd name="connsiteY8" fmla="*/ 6995113 h 7086157"/>
              <a:gd name="connsiteX0" fmla="*/ 0 w 21756164"/>
              <a:gd name="connsiteY0" fmla="*/ 6995113 h 7085875"/>
              <a:gd name="connsiteX1" fmla="*/ 21756159 w 21756164"/>
              <a:gd name="connsiteY1" fmla="*/ 6952895 h 7085875"/>
              <a:gd name="connsiteX2" fmla="*/ 21725167 w 21756164"/>
              <a:gd name="connsiteY2" fmla="*/ 201 h 7085875"/>
              <a:gd name="connsiteX3" fmla="*/ 20930876 w 21756164"/>
              <a:gd name="connsiteY3" fmla="*/ 385186 h 7085875"/>
              <a:gd name="connsiteX4" fmla="*/ 4250839 w 21756164"/>
              <a:gd name="connsiteY4" fmla="*/ 361018 h 7085875"/>
              <a:gd name="connsiteX5" fmla="*/ 3107637 w 21756164"/>
              <a:gd name="connsiteY5" fmla="*/ 1159496 h 7085875"/>
              <a:gd name="connsiteX6" fmla="*/ 1933283 w 21756164"/>
              <a:gd name="connsiteY6" fmla="*/ 361018 h 7085875"/>
              <a:gd name="connsiteX7" fmla="*/ 26140 w 21756164"/>
              <a:gd name="connsiteY7" fmla="*/ 359281 h 7085875"/>
              <a:gd name="connsiteX8" fmla="*/ 0 w 21756164"/>
              <a:gd name="connsiteY8" fmla="*/ 6995113 h 7085875"/>
              <a:gd name="connsiteX0" fmla="*/ 472961 w 21730024"/>
              <a:gd name="connsiteY0" fmla="*/ 6272426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2961 w 21730024"/>
              <a:gd name="connsiteY8" fmla="*/ 6272426 h 6953376"/>
              <a:gd name="connsiteX0" fmla="*/ 479 w 21730024"/>
              <a:gd name="connsiteY0" fmla="*/ 6946935 h 7038202"/>
              <a:gd name="connsiteX1" fmla="*/ 21730019 w 21730024"/>
              <a:gd name="connsiteY1" fmla="*/ 6952895 h 7038202"/>
              <a:gd name="connsiteX2" fmla="*/ 21699027 w 21730024"/>
              <a:gd name="connsiteY2" fmla="*/ 201 h 7038202"/>
              <a:gd name="connsiteX3" fmla="*/ 20904736 w 21730024"/>
              <a:gd name="connsiteY3" fmla="*/ 385186 h 7038202"/>
              <a:gd name="connsiteX4" fmla="*/ 4224699 w 21730024"/>
              <a:gd name="connsiteY4" fmla="*/ 361018 h 7038202"/>
              <a:gd name="connsiteX5" fmla="*/ 3081497 w 21730024"/>
              <a:gd name="connsiteY5" fmla="*/ 1159496 h 7038202"/>
              <a:gd name="connsiteX6" fmla="*/ 1907143 w 21730024"/>
              <a:gd name="connsiteY6" fmla="*/ 361018 h 7038202"/>
              <a:gd name="connsiteX7" fmla="*/ 0 w 21730024"/>
              <a:gd name="connsiteY7" fmla="*/ 359281 h 7038202"/>
              <a:gd name="connsiteX8" fmla="*/ 479 w 21730024"/>
              <a:gd name="connsiteY8" fmla="*/ 6946935 h 7038202"/>
              <a:gd name="connsiteX0" fmla="*/ 85846 w 21815391"/>
              <a:gd name="connsiteY0" fmla="*/ 6946935 h 6953376"/>
              <a:gd name="connsiteX1" fmla="*/ 21815386 w 21815391"/>
              <a:gd name="connsiteY1" fmla="*/ 6952895 h 6953376"/>
              <a:gd name="connsiteX2" fmla="*/ 21784394 w 21815391"/>
              <a:gd name="connsiteY2" fmla="*/ 201 h 6953376"/>
              <a:gd name="connsiteX3" fmla="*/ 20990103 w 21815391"/>
              <a:gd name="connsiteY3" fmla="*/ 385186 h 6953376"/>
              <a:gd name="connsiteX4" fmla="*/ 4310066 w 21815391"/>
              <a:gd name="connsiteY4" fmla="*/ 361018 h 6953376"/>
              <a:gd name="connsiteX5" fmla="*/ 3166864 w 21815391"/>
              <a:gd name="connsiteY5" fmla="*/ 1159496 h 6953376"/>
              <a:gd name="connsiteX6" fmla="*/ 1992510 w 21815391"/>
              <a:gd name="connsiteY6" fmla="*/ 361018 h 6953376"/>
              <a:gd name="connsiteX7" fmla="*/ 85367 w 21815391"/>
              <a:gd name="connsiteY7" fmla="*/ 359281 h 6953376"/>
              <a:gd name="connsiteX8" fmla="*/ 85846 w 21815391"/>
              <a:gd name="connsiteY8" fmla="*/ 6946935 h 6953376"/>
              <a:gd name="connsiteX0" fmla="*/ 479 w 21730024"/>
              <a:gd name="connsiteY0" fmla="*/ 6946935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9 w 21730024"/>
              <a:gd name="connsiteY8" fmla="*/ 6946935 h 6953376"/>
              <a:gd name="connsiteX0" fmla="*/ 479 w 21699030"/>
              <a:gd name="connsiteY0" fmla="*/ 6946937 h 6946937"/>
              <a:gd name="connsiteX1" fmla="*/ 21344051 w 21699030"/>
              <a:gd name="connsiteY1" fmla="*/ 6787711 h 6946937"/>
              <a:gd name="connsiteX2" fmla="*/ 21699027 w 21699030"/>
              <a:gd name="connsiteY2" fmla="*/ 203 h 6946937"/>
              <a:gd name="connsiteX3" fmla="*/ 20904736 w 21699030"/>
              <a:gd name="connsiteY3" fmla="*/ 385188 h 6946937"/>
              <a:gd name="connsiteX4" fmla="*/ 4224699 w 21699030"/>
              <a:gd name="connsiteY4" fmla="*/ 361020 h 6946937"/>
              <a:gd name="connsiteX5" fmla="*/ 3081497 w 21699030"/>
              <a:gd name="connsiteY5" fmla="*/ 1159498 h 6946937"/>
              <a:gd name="connsiteX6" fmla="*/ 1907143 w 21699030"/>
              <a:gd name="connsiteY6" fmla="*/ 361020 h 6946937"/>
              <a:gd name="connsiteX7" fmla="*/ 0 w 21699030"/>
              <a:gd name="connsiteY7" fmla="*/ 359283 h 6946937"/>
              <a:gd name="connsiteX8" fmla="*/ 479 w 21699030"/>
              <a:gd name="connsiteY8" fmla="*/ 6946937 h 6946937"/>
              <a:gd name="connsiteX0" fmla="*/ 479 w 21703452"/>
              <a:gd name="connsiteY0" fmla="*/ 6946935 h 6946935"/>
              <a:gd name="connsiteX1" fmla="*/ 21703403 w 21703452"/>
              <a:gd name="connsiteY1" fmla="*/ 6946012 h 6946935"/>
              <a:gd name="connsiteX2" fmla="*/ 21699027 w 21703452"/>
              <a:gd name="connsiteY2" fmla="*/ 201 h 6946935"/>
              <a:gd name="connsiteX3" fmla="*/ 20904736 w 21703452"/>
              <a:gd name="connsiteY3" fmla="*/ 385186 h 6946935"/>
              <a:gd name="connsiteX4" fmla="*/ 4224699 w 21703452"/>
              <a:gd name="connsiteY4" fmla="*/ 361018 h 6946935"/>
              <a:gd name="connsiteX5" fmla="*/ 3081497 w 21703452"/>
              <a:gd name="connsiteY5" fmla="*/ 1159496 h 6946935"/>
              <a:gd name="connsiteX6" fmla="*/ 1907143 w 21703452"/>
              <a:gd name="connsiteY6" fmla="*/ 361018 h 6946935"/>
              <a:gd name="connsiteX7" fmla="*/ 0 w 21703452"/>
              <a:gd name="connsiteY7" fmla="*/ 359281 h 6946935"/>
              <a:gd name="connsiteX8" fmla="*/ 479 w 21703452"/>
              <a:gd name="connsiteY8" fmla="*/ 6946935 h 6946935"/>
              <a:gd name="connsiteX0" fmla="*/ 479 w 21869774"/>
              <a:gd name="connsiteY0" fmla="*/ 6946945 h 6946945"/>
              <a:gd name="connsiteX1" fmla="*/ 21869772 w 21869774"/>
              <a:gd name="connsiteY1" fmla="*/ 6505527 h 6946945"/>
              <a:gd name="connsiteX2" fmla="*/ 21699027 w 21869774"/>
              <a:gd name="connsiteY2" fmla="*/ 211 h 6946945"/>
              <a:gd name="connsiteX3" fmla="*/ 20904736 w 21869774"/>
              <a:gd name="connsiteY3" fmla="*/ 385196 h 6946945"/>
              <a:gd name="connsiteX4" fmla="*/ 4224699 w 21869774"/>
              <a:gd name="connsiteY4" fmla="*/ 361028 h 6946945"/>
              <a:gd name="connsiteX5" fmla="*/ 3081497 w 21869774"/>
              <a:gd name="connsiteY5" fmla="*/ 1159506 h 6946945"/>
              <a:gd name="connsiteX6" fmla="*/ 1907143 w 21869774"/>
              <a:gd name="connsiteY6" fmla="*/ 361028 h 6946945"/>
              <a:gd name="connsiteX7" fmla="*/ 0 w 21869774"/>
              <a:gd name="connsiteY7" fmla="*/ 359291 h 6946945"/>
              <a:gd name="connsiteX8" fmla="*/ 479 w 21869774"/>
              <a:gd name="connsiteY8" fmla="*/ 6946945 h 6946945"/>
              <a:gd name="connsiteX0" fmla="*/ 479 w 21703454"/>
              <a:gd name="connsiteY0" fmla="*/ 6946935 h 6953376"/>
              <a:gd name="connsiteX1" fmla="*/ 21703405 w 21703454"/>
              <a:gd name="connsiteY1" fmla="*/ 6952895 h 6953376"/>
              <a:gd name="connsiteX2" fmla="*/ 21699027 w 21703454"/>
              <a:gd name="connsiteY2" fmla="*/ 201 h 6953376"/>
              <a:gd name="connsiteX3" fmla="*/ 20904736 w 21703454"/>
              <a:gd name="connsiteY3" fmla="*/ 385186 h 6953376"/>
              <a:gd name="connsiteX4" fmla="*/ 4224699 w 21703454"/>
              <a:gd name="connsiteY4" fmla="*/ 361018 h 6953376"/>
              <a:gd name="connsiteX5" fmla="*/ 3081497 w 21703454"/>
              <a:gd name="connsiteY5" fmla="*/ 1159496 h 6953376"/>
              <a:gd name="connsiteX6" fmla="*/ 1907143 w 21703454"/>
              <a:gd name="connsiteY6" fmla="*/ 361018 h 6953376"/>
              <a:gd name="connsiteX7" fmla="*/ 0 w 21703454"/>
              <a:gd name="connsiteY7" fmla="*/ 359281 h 6953376"/>
              <a:gd name="connsiteX8" fmla="*/ 479 w 21703454"/>
              <a:gd name="connsiteY8" fmla="*/ 6946935 h 6953376"/>
              <a:gd name="connsiteX0" fmla="*/ 479 w 21703404"/>
              <a:gd name="connsiteY0" fmla="*/ 6947131 h 6953091"/>
              <a:gd name="connsiteX1" fmla="*/ 21703405 w 21703404"/>
              <a:gd name="connsiteY1" fmla="*/ 6953091 h 6953091"/>
              <a:gd name="connsiteX2" fmla="*/ 21699027 w 21703404"/>
              <a:gd name="connsiteY2" fmla="*/ 397 h 6953091"/>
              <a:gd name="connsiteX3" fmla="*/ 20904736 w 21703404"/>
              <a:gd name="connsiteY3" fmla="*/ 385382 h 6953091"/>
              <a:gd name="connsiteX4" fmla="*/ 4224699 w 21703404"/>
              <a:gd name="connsiteY4" fmla="*/ 361214 h 6953091"/>
              <a:gd name="connsiteX5" fmla="*/ 3081497 w 21703404"/>
              <a:gd name="connsiteY5" fmla="*/ 1159692 h 6953091"/>
              <a:gd name="connsiteX6" fmla="*/ 1907143 w 21703404"/>
              <a:gd name="connsiteY6" fmla="*/ 361214 h 6953091"/>
              <a:gd name="connsiteX7" fmla="*/ 0 w 21703404"/>
              <a:gd name="connsiteY7" fmla="*/ 359477 h 6953091"/>
              <a:gd name="connsiteX8" fmla="*/ 479 w 21703404"/>
              <a:gd name="connsiteY8" fmla="*/ 6947131 h 6953091"/>
              <a:gd name="connsiteX0" fmla="*/ 479 w 21703404"/>
              <a:gd name="connsiteY0" fmla="*/ 6946733 h 6952693"/>
              <a:gd name="connsiteX1" fmla="*/ 21703405 w 21703404"/>
              <a:gd name="connsiteY1" fmla="*/ 6952693 h 6952693"/>
              <a:gd name="connsiteX2" fmla="*/ 21699027 w 21703404"/>
              <a:gd name="connsiteY2" fmla="*/ -1 h 6952693"/>
              <a:gd name="connsiteX3" fmla="*/ 20904736 w 21703404"/>
              <a:gd name="connsiteY3" fmla="*/ 384984 h 6952693"/>
              <a:gd name="connsiteX4" fmla="*/ 4224699 w 21703404"/>
              <a:gd name="connsiteY4" fmla="*/ 360816 h 6952693"/>
              <a:gd name="connsiteX5" fmla="*/ 3081497 w 21703404"/>
              <a:gd name="connsiteY5" fmla="*/ 1159294 h 6952693"/>
              <a:gd name="connsiteX6" fmla="*/ 1907143 w 21703404"/>
              <a:gd name="connsiteY6" fmla="*/ 360816 h 6952693"/>
              <a:gd name="connsiteX7" fmla="*/ 0 w 21703404"/>
              <a:gd name="connsiteY7" fmla="*/ 359079 h 6952693"/>
              <a:gd name="connsiteX8" fmla="*/ 479 w 21703404"/>
              <a:gd name="connsiteY8" fmla="*/ 6946733 h 6952693"/>
              <a:gd name="connsiteX0" fmla="*/ 479 w 21703404"/>
              <a:gd name="connsiteY0" fmla="*/ 11587960 h 11587960"/>
              <a:gd name="connsiteX1" fmla="*/ 21703405 w 21703404"/>
              <a:gd name="connsiteY1" fmla="*/ 6952693 h 11587960"/>
              <a:gd name="connsiteX2" fmla="*/ 21699027 w 21703404"/>
              <a:gd name="connsiteY2" fmla="*/ -1 h 11587960"/>
              <a:gd name="connsiteX3" fmla="*/ 20904736 w 21703404"/>
              <a:gd name="connsiteY3" fmla="*/ 384984 h 11587960"/>
              <a:gd name="connsiteX4" fmla="*/ 4224699 w 21703404"/>
              <a:gd name="connsiteY4" fmla="*/ 360816 h 11587960"/>
              <a:gd name="connsiteX5" fmla="*/ 3081497 w 21703404"/>
              <a:gd name="connsiteY5" fmla="*/ 1159294 h 11587960"/>
              <a:gd name="connsiteX6" fmla="*/ 1907143 w 21703404"/>
              <a:gd name="connsiteY6" fmla="*/ 360816 h 11587960"/>
              <a:gd name="connsiteX7" fmla="*/ 0 w 21703404"/>
              <a:gd name="connsiteY7" fmla="*/ 359079 h 11587960"/>
              <a:gd name="connsiteX8" fmla="*/ 479 w 21703404"/>
              <a:gd name="connsiteY8" fmla="*/ 11587960 h 11587960"/>
              <a:gd name="connsiteX0" fmla="*/ 802867 w 21703404"/>
              <a:gd name="connsiteY0" fmla="*/ 10604388 h 10604388"/>
              <a:gd name="connsiteX1" fmla="*/ 21703405 w 21703404"/>
              <a:gd name="connsiteY1" fmla="*/ 6952693 h 10604388"/>
              <a:gd name="connsiteX2" fmla="*/ 21699027 w 21703404"/>
              <a:gd name="connsiteY2" fmla="*/ -1 h 10604388"/>
              <a:gd name="connsiteX3" fmla="*/ 20904736 w 21703404"/>
              <a:gd name="connsiteY3" fmla="*/ 384984 h 10604388"/>
              <a:gd name="connsiteX4" fmla="*/ 4224699 w 21703404"/>
              <a:gd name="connsiteY4" fmla="*/ 360816 h 10604388"/>
              <a:gd name="connsiteX5" fmla="*/ 3081497 w 21703404"/>
              <a:gd name="connsiteY5" fmla="*/ 1159294 h 10604388"/>
              <a:gd name="connsiteX6" fmla="*/ 1907143 w 21703404"/>
              <a:gd name="connsiteY6" fmla="*/ 360816 h 10604388"/>
              <a:gd name="connsiteX7" fmla="*/ 0 w 21703404"/>
              <a:gd name="connsiteY7" fmla="*/ 359079 h 10604388"/>
              <a:gd name="connsiteX8" fmla="*/ 802867 w 21703404"/>
              <a:gd name="connsiteY8" fmla="*/ 10604388 h 10604388"/>
              <a:gd name="connsiteX0" fmla="*/ 30197 w 21703404"/>
              <a:gd name="connsiteY0" fmla="*/ 11587960 h 11587960"/>
              <a:gd name="connsiteX1" fmla="*/ 21703405 w 21703404"/>
              <a:gd name="connsiteY1" fmla="*/ 6952693 h 11587960"/>
              <a:gd name="connsiteX2" fmla="*/ 21699027 w 21703404"/>
              <a:gd name="connsiteY2" fmla="*/ -1 h 11587960"/>
              <a:gd name="connsiteX3" fmla="*/ 20904736 w 21703404"/>
              <a:gd name="connsiteY3" fmla="*/ 384984 h 11587960"/>
              <a:gd name="connsiteX4" fmla="*/ 4224699 w 21703404"/>
              <a:gd name="connsiteY4" fmla="*/ 360816 h 11587960"/>
              <a:gd name="connsiteX5" fmla="*/ 3081497 w 21703404"/>
              <a:gd name="connsiteY5" fmla="*/ 1159294 h 11587960"/>
              <a:gd name="connsiteX6" fmla="*/ 1907143 w 21703404"/>
              <a:gd name="connsiteY6" fmla="*/ 360816 h 11587960"/>
              <a:gd name="connsiteX7" fmla="*/ 0 w 21703404"/>
              <a:gd name="connsiteY7" fmla="*/ 359079 h 11587960"/>
              <a:gd name="connsiteX8" fmla="*/ 30197 w 21703404"/>
              <a:gd name="connsiteY8" fmla="*/ 11587960 h 11587960"/>
              <a:gd name="connsiteX0" fmla="*/ 13248 w 21703404"/>
              <a:gd name="connsiteY0" fmla="*/ 11547057 h 11547057"/>
              <a:gd name="connsiteX1" fmla="*/ 21703405 w 21703404"/>
              <a:gd name="connsiteY1" fmla="*/ 6952693 h 11547057"/>
              <a:gd name="connsiteX2" fmla="*/ 21699027 w 21703404"/>
              <a:gd name="connsiteY2" fmla="*/ -1 h 11547057"/>
              <a:gd name="connsiteX3" fmla="*/ 20904736 w 21703404"/>
              <a:gd name="connsiteY3" fmla="*/ 384984 h 11547057"/>
              <a:gd name="connsiteX4" fmla="*/ 4224699 w 21703404"/>
              <a:gd name="connsiteY4" fmla="*/ 360816 h 11547057"/>
              <a:gd name="connsiteX5" fmla="*/ 3081497 w 21703404"/>
              <a:gd name="connsiteY5" fmla="*/ 1159294 h 11547057"/>
              <a:gd name="connsiteX6" fmla="*/ 1907143 w 21703404"/>
              <a:gd name="connsiteY6" fmla="*/ 360816 h 11547057"/>
              <a:gd name="connsiteX7" fmla="*/ 0 w 21703404"/>
              <a:gd name="connsiteY7" fmla="*/ 359079 h 11547057"/>
              <a:gd name="connsiteX8" fmla="*/ 13248 w 21703404"/>
              <a:gd name="connsiteY8" fmla="*/ 11547057 h 11547057"/>
              <a:gd name="connsiteX0" fmla="*/ 18899 w 21703404"/>
              <a:gd name="connsiteY0" fmla="*/ 11500312 h 11500312"/>
              <a:gd name="connsiteX1" fmla="*/ 21703405 w 21703404"/>
              <a:gd name="connsiteY1" fmla="*/ 6952693 h 11500312"/>
              <a:gd name="connsiteX2" fmla="*/ 21699027 w 21703404"/>
              <a:gd name="connsiteY2" fmla="*/ -1 h 11500312"/>
              <a:gd name="connsiteX3" fmla="*/ 20904736 w 21703404"/>
              <a:gd name="connsiteY3" fmla="*/ 384984 h 11500312"/>
              <a:gd name="connsiteX4" fmla="*/ 4224699 w 21703404"/>
              <a:gd name="connsiteY4" fmla="*/ 360816 h 11500312"/>
              <a:gd name="connsiteX5" fmla="*/ 3081497 w 21703404"/>
              <a:gd name="connsiteY5" fmla="*/ 1159294 h 11500312"/>
              <a:gd name="connsiteX6" fmla="*/ 1907143 w 21703404"/>
              <a:gd name="connsiteY6" fmla="*/ 360816 h 11500312"/>
              <a:gd name="connsiteX7" fmla="*/ 0 w 21703404"/>
              <a:gd name="connsiteY7" fmla="*/ 359079 h 11500312"/>
              <a:gd name="connsiteX8" fmla="*/ 18899 w 21703404"/>
              <a:gd name="connsiteY8" fmla="*/ 11500312 h 11500312"/>
              <a:gd name="connsiteX0" fmla="*/ 453915 w 21703404"/>
              <a:gd name="connsiteY0" fmla="*/ 10910154 h 10910154"/>
              <a:gd name="connsiteX1" fmla="*/ 21703405 w 21703404"/>
              <a:gd name="connsiteY1" fmla="*/ 6952693 h 10910154"/>
              <a:gd name="connsiteX2" fmla="*/ 21699027 w 21703404"/>
              <a:gd name="connsiteY2" fmla="*/ -1 h 10910154"/>
              <a:gd name="connsiteX3" fmla="*/ 20904736 w 21703404"/>
              <a:gd name="connsiteY3" fmla="*/ 384984 h 10910154"/>
              <a:gd name="connsiteX4" fmla="*/ 4224699 w 21703404"/>
              <a:gd name="connsiteY4" fmla="*/ 360816 h 10910154"/>
              <a:gd name="connsiteX5" fmla="*/ 3081497 w 21703404"/>
              <a:gd name="connsiteY5" fmla="*/ 1159294 h 10910154"/>
              <a:gd name="connsiteX6" fmla="*/ 1907143 w 21703404"/>
              <a:gd name="connsiteY6" fmla="*/ 360816 h 10910154"/>
              <a:gd name="connsiteX7" fmla="*/ 0 w 21703404"/>
              <a:gd name="connsiteY7" fmla="*/ 359079 h 10910154"/>
              <a:gd name="connsiteX8" fmla="*/ 453915 w 21703404"/>
              <a:gd name="connsiteY8" fmla="*/ 10910154 h 10910154"/>
              <a:gd name="connsiteX0" fmla="*/ 7602 w 21703404"/>
              <a:gd name="connsiteY0" fmla="*/ 11529527 h 11529527"/>
              <a:gd name="connsiteX1" fmla="*/ 21703405 w 21703404"/>
              <a:gd name="connsiteY1" fmla="*/ 6952693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3404"/>
              <a:gd name="connsiteY0" fmla="*/ 11529527 h 11529527"/>
              <a:gd name="connsiteX1" fmla="*/ 21703404 w 21703404"/>
              <a:gd name="connsiteY1" fmla="*/ 8571247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3404"/>
              <a:gd name="connsiteY0" fmla="*/ 11529527 h 11529527"/>
              <a:gd name="connsiteX1" fmla="*/ 21703404 w 21703404"/>
              <a:gd name="connsiteY1" fmla="*/ 11422707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1862"/>
              <a:gd name="connsiteY0" fmla="*/ 11529527 h 11529527"/>
              <a:gd name="connsiteX1" fmla="*/ 21697755 w 21701862"/>
              <a:gd name="connsiteY1" fmla="*/ 11522040 h 11529527"/>
              <a:gd name="connsiteX2" fmla="*/ 21699027 w 21701862"/>
              <a:gd name="connsiteY2" fmla="*/ -1 h 11529527"/>
              <a:gd name="connsiteX3" fmla="*/ 20904736 w 21701862"/>
              <a:gd name="connsiteY3" fmla="*/ 384984 h 11529527"/>
              <a:gd name="connsiteX4" fmla="*/ 4224699 w 21701862"/>
              <a:gd name="connsiteY4" fmla="*/ 360816 h 11529527"/>
              <a:gd name="connsiteX5" fmla="*/ 3081497 w 21701862"/>
              <a:gd name="connsiteY5" fmla="*/ 1159294 h 11529527"/>
              <a:gd name="connsiteX6" fmla="*/ 1907143 w 21701862"/>
              <a:gd name="connsiteY6" fmla="*/ 360816 h 11529527"/>
              <a:gd name="connsiteX7" fmla="*/ 0 w 21701862"/>
              <a:gd name="connsiteY7" fmla="*/ 359079 h 11529527"/>
              <a:gd name="connsiteX8" fmla="*/ 7602 w 21701862"/>
              <a:gd name="connsiteY8" fmla="*/ 11529527 h 11529527"/>
              <a:gd name="connsiteX0" fmla="*/ 7602 w 21701862"/>
              <a:gd name="connsiteY0" fmla="*/ 11529527 h 11529527"/>
              <a:gd name="connsiteX1" fmla="*/ 21697755 w 21701862"/>
              <a:gd name="connsiteY1" fmla="*/ 11516198 h 11529527"/>
              <a:gd name="connsiteX2" fmla="*/ 21699027 w 21701862"/>
              <a:gd name="connsiteY2" fmla="*/ -1 h 11529527"/>
              <a:gd name="connsiteX3" fmla="*/ 20904736 w 21701862"/>
              <a:gd name="connsiteY3" fmla="*/ 384984 h 11529527"/>
              <a:gd name="connsiteX4" fmla="*/ 4224699 w 21701862"/>
              <a:gd name="connsiteY4" fmla="*/ 360816 h 11529527"/>
              <a:gd name="connsiteX5" fmla="*/ 3081497 w 21701862"/>
              <a:gd name="connsiteY5" fmla="*/ 1159294 h 11529527"/>
              <a:gd name="connsiteX6" fmla="*/ 1907143 w 21701862"/>
              <a:gd name="connsiteY6" fmla="*/ 360816 h 11529527"/>
              <a:gd name="connsiteX7" fmla="*/ 0 w 21701862"/>
              <a:gd name="connsiteY7" fmla="*/ 359079 h 11529527"/>
              <a:gd name="connsiteX8" fmla="*/ 7602 w 21701862"/>
              <a:gd name="connsiteY8" fmla="*/ 11529527 h 1152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01862" h="11529527">
                <a:moveTo>
                  <a:pt x="7602" y="11529527"/>
                </a:moveTo>
                <a:lnTo>
                  <a:pt x="21697755" y="11516198"/>
                </a:lnTo>
                <a:cubicBezTo>
                  <a:pt x="21695566" y="8039851"/>
                  <a:pt x="21706934" y="899518"/>
                  <a:pt x="21699027" y="-1"/>
                </a:cubicBezTo>
                <a:cubicBezTo>
                  <a:pt x="21554928" y="424890"/>
                  <a:pt x="21164498" y="379041"/>
                  <a:pt x="20904736" y="384984"/>
                </a:cubicBezTo>
                <a:lnTo>
                  <a:pt x="4224699" y="360816"/>
                </a:lnTo>
                <a:cubicBezTo>
                  <a:pt x="3647485" y="393958"/>
                  <a:pt x="3273106" y="696472"/>
                  <a:pt x="3081497" y="1159294"/>
                </a:cubicBezTo>
                <a:cubicBezTo>
                  <a:pt x="2783143" y="455517"/>
                  <a:pt x="2185783" y="359938"/>
                  <a:pt x="1907143" y="360816"/>
                </a:cubicBezTo>
                <a:lnTo>
                  <a:pt x="0" y="359079"/>
                </a:lnTo>
                <a:cubicBezTo>
                  <a:pt x="222" y="-2800"/>
                  <a:pt x="7362" y="8235700"/>
                  <a:pt x="7602" y="11529527"/>
                </a:cubicBezTo>
                <a:close/>
              </a:path>
            </a:pathLst>
          </a:custGeom>
          <a:gradFill>
            <a:gsLst>
              <a:gs pos="0">
                <a:srgbClr val="005B7C"/>
              </a:gs>
              <a:gs pos="50000">
                <a:srgbClr val="0085B3"/>
              </a:gs>
              <a:gs pos="100000">
                <a:srgbClr val="00A0D6"/>
              </a:gs>
            </a:gsLst>
            <a:lin ang="18900000" scaled="1"/>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1" name="Picture 20" descr="capgemini_rgb.jpg"/>
          <p:cNvPicPr>
            <a:picLocks noChangeAspect="1"/>
          </p:cNvPicPr>
          <p:nvPr/>
        </p:nvPicPr>
        <p:blipFill>
          <a:blip r:embed="rId16" cstate="print"/>
          <a:stretch>
            <a:fillRect/>
          </a:stretch>
        </p:blipFill>
        <p:spPr>
          <a:xfrm>
            <a:off x="592410" y="844897"/>
            <a:ext cx="3027090" cy="925380"/>
          </a:xfrm>
          <a:prstGeom prst="rect">
            <a:avLst/>
          </a:prstGeom>
        </p:spPr>
      </p:pic>
      <p:graphicFrame>
        <p:nvGraphicFramePr>
          <p:cNvPr id="12" name="Object 11" hidden="1"/>
          <p:cNvGraphicFramePr>
            <a:graphicFrameLocks noChangeAspect="1"/>
          </p:cNvGraphicFramePr>
          <p:nvPr>
            <p:custDataLst>
              <p:tags r:id="rId7"/>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6420" name="think-cell Slide" r:id="rId17" imgW="360" imgH="360" progId="">
                  <p:embed/>
                </p:oleObj>
              </mc:Choice>
              <mc:Fallback>
                <p:oleObj name="think-cell Slide" r:id="rId17" imgW="360" imgH="360" progId="">
                  <p:embed/>
                  <p:pic>
                    <p:nvPicPr>
                      <p:cNvPr id="0" name="Picture 99"/>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104" descr="C:\Users\UserSim\Desktop\Capgemini\moto.emf"/>
          <p:cNvPicPr>
            <a:picLocks noChangeAspect="1" noChangeArrowheads="1"/>
          </p:cNvPicPr>
          <p:nvPr>
            <p:custDataLst>
              <p:tags r:id="rId8"/>
            </p:custDataLst>
          </p:nvPr>
        </p:nvPicPr>
        <p:blipFill>
          <a:blip r:embed="rId19" cstate="email"/>
          <a:srcRect/>
          <a:stretch>
            <a:fillRect/>
          </a:stretch>
        </p:blipFill>
        <p:spPr bwMode="auto">
          <a:xfrm>
            <a:off x="5069198" y="1173628"/>
            <a:ext cx="3364886" cy="290298"/>
          </a:xfrm>
          <a:prstGeom prst="rect">
            <a:avLst/>
          </a:prstGeom>
          <a:noFill/>
        </p:spPr>
      </p:pic>
      <p:sp>
        <p:nvSpPr>
          <p:cNvPr id="13" name="Rectangle 12"/>
          <p:cNvSpPr/>
          <p:nvPr>
            <p:custDataLst>
              <p:tags r:id="rId9"/>
            </p:custDataLst>
          </p:nvPr>
        </p:nvSpPr>
        <p:spPr>
          <a:xfrm>
            <a:off x="5099002" y="6379671"/>
            <a:ext cx="4045000"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6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220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0"/>
          </p:cNvPr>
          <p:cNvPicPr>
            <a:picLocks noChangeAspect="1" noChangeArrowheads="1"/>
          </p:cNvPicPr>
          <p:nvPr>
            <p:custDataLst>
              <p:tags r:id="rId11"/>
            </p:custDataLst>
          </p:nvPr>
        </p:nvPicPr>
        <p:blipFill>
          <a:blip r:embed="rId21" cstate="email"/>
          <a:srcRect/>
          <a:stretch>
            <a:fillRect/>
          </a:stretch>
        </p:blipFill>
        <p:spPr bwMode="auto">
          <a:xfrm>
            <a:off x="7328542" y="5932547"/>
            <a:ext cx="256821" cy="263770"/>
          </a:xfrm>
          <a:prstGeom prst="rect">
            <a:avLst/>
          </a:prstGeom>
          <a:noFill/>
        </p:spPr>
      </p:pic>
      <p:pic>
        <p:nvPicPr>
          <p:cNvPr id="17" name="Picture 4" descr="C:\Users\UserSim\Desktop\DS_icons\128x128 shadows\linkedin.png">
            <a:hlinkClick r:id="rId22"/>
          </p:cNvPr>
          <p:cNvPicPr>
            <a:picLocks noChangeAspect="1" noChangeArrowheads="1"/>
          </p:cNvPicPr>
          <p:nvPr>
            <p:custDataLst>
              <p:tags r:id="rId12"/>
            </p:custDataLst>
          </p:nvPr>
        </p:nvPicPr>
        <p:blipFill>
          <a:blip r:embed="rId23"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4"/>
          </p:cNvPr>
          <p:cNvPicPr>
            <a:picLocks noChangeAspect="1" noChangeArrowheads="1"/>
          </p:cNvPicPr>
          <p:nvPr>
            <p:custDataLst>
              <p:tags r:id="rId13"/>
            </p:custDataLst>
          </p:nvPr>
        </p:nvPicPr>
        <p:blipFill>
          <a:blip r:embed="rId25"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6"/>
          </p:cNvPr>
          <p:cNvPicPr>
            <a:picLocks noChangeAspect="1" noChangeArrowheads="1"/>
          </p:cNvPicPr>
          <p:nvPr>
            <p:custDataLst>
              <p:tags r:id="rId14"/>
            </p:custDataLst>
          </p:nvPr>
        </p:nvPicPr>
        <p:blipFill>
          <a:blip r:embed="rId27" cstate="email"/>
          <a:srcRect/>
          <a:stretch>
            <a:fillRect/>
          </a:stretch>
        </p:blipFill>
        <p:spPr bwMode="auto">
          <a:xfrm>
            <a:off x="8531283" y="5932547"/>
            <a:ext cx="259674" cy="266700"/>
          </a:xfrm>
          <a:prstGeom prst="rect">
            <a:avLst/>
          </a:prstGeom>
          <a:noFill/>
        </p:spPr>
      </p:pic>
      <p:pic>
        <p:nvPicPr>
          <p:cNvPr id="20" name="Image 22" descr="Picto_Slideshare.gif">
            <a:hlinkClick r:id="rId28"/>
          </p:cNvPr>
          <p:cNvPicPr preferRelativeResize="0">
            <a:picLocks/>
          </p:cNvPicPr>
          <p:nvPr>
            <p:custDataLst>
              <p:tags r:id="rId15"/>
            </p:custDataLst>
          </p:nvPr>
        </p:nvPicPr>
        <p:blipFill>
          <a:blip r:embed="rId29" cstate="email"/>
          <a:srcRect l="4793" t="6316" r="5718" b="7969"/>
          <a:stretch>
            <a:fillRect/>
          </a:stretch>
        </p:blipFill>
        <p:spPr>
          <a:xfrm>
            <a:off x="7950618" y="5932550"/>
            <a:ext cx="215411"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83001" name="think-cell Slide" r:id="rId22" imgW="360" imgH="360" progId="">
                  <p:embed/>
                </p:oleObj>
              </mc:Choice>
              <mc:Fallback>
                <p:oleObj name="think-cell Slide" r:id="rId22" imgW="360" imgH="360" progId="">
                  <p:embed/>
                  <p:pic>
                    <p:nvPicPr>
                      <p:cNvPr id="0" name="Picture 56"/>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6"/>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27276" y="6661691"/>
            <a:ext cx="110608" cy="107722"/>
          </a:xfrm>
          <a:prstGeom prst="rect">
            <a:avLst/>
          </a:prstGeom>
          <a:noFill/>
        </p:spPr>
        <p:txBody>
          <a:bodyPr wrap="none" lIns="0" tIns="0" rIns="0" bIns="0" rtlCol="0" anchor="ctr">
            <a:spAutoFit/>
          </a:bodyPr>
          <a:lstStyle/>
          <a:p>
            <a:pPr algn="ctr" defTabSz="957756"/>
            <a:fld id="{6A895693-0027-4F28-9367-92E39A51F51C}" type="slidenum">
              <a:rPr lang="en-US" sz="700" smtClean="0">
                <a:solidFill>
                  <a:srgbClr val="9F958F"/>
                </a:solidFill>
              </a:rPr>
              <a:pPr algn="ctr" defTabSz="957756"/>
              <a:t>‹#›</a:t>
            </a:fld>
            <a:endParaRPr lang="en-US" sz="700" dirty="0">
              <a:solidFill>
                <a:srgbClr val="9F958F"/>
              </a:solidFill>
            </a:endParaRPr>
          </a:p>
        </p:txBody>
      </p:sp>
      <p:sp>
        <p:nvSpPr>
          <p:cNvPr id="9" name="Freeform 4"/>
          <p:cNvSpPr>
            <a:spLocks/>
          </p:cNvSpPr>
          <p:nvPr>
            <p:custDataLst>
              <p:tags r:id="rId18"/>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dirty="0">
              <a:solidFill>
                <a:srgbClr val="00264A"/>
              </a:solidFill>
            </a:endParaRPr>
          </a:p>
        </p:txBody>
      </p:sp>
      <p:sp>
        <p:nvSpPr>
          <p:cNvPr id="12" name="Rectangle 11"/>
          <p:cNvSpPr>
            <a:spLocks noChangeArrowheads="1"/>
          </p:cNvSpPr>
          <p:nvPr>
            <p:custDataLst>
              <p:tags r:id="rId19"/>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600" dirty="0" smtClean="0">
                <a:solidFill>
                  <a:srgbClr val="9F958F"/>
                </a:solidFill>
                <a:cs typeface="Helvetica Light"/>
              </a:rPr>
              <a:t>Copyright © Capgemini 2014. All Rights Reserved</a:t>
            </a:r>
          </a:p>
        </p:txBody>
      </p:sp>
      <p:sp>
        <p:nvSpPr>
          <p:cNvPr id="13" name="Rectangle 12"/>
          <p:cNvSpPr/>
          <p:nvPr>
            <p:custDataLst>
              <p:tags r:id="rId20"/>
            </p:custDataLst>
          </p:nvPr>
        </p:nvSpPr>
        <p:spPr>
          <a:xfrm>
            <a:off x="6911926" y="6427223"/>
            <a:ext cx="1767281" cy="195814"/>
          </a:xfrm>
          <a:prstGeom prst="rect">
            <a:avLst/>
          </a:prstGeom>
        </p:spPr>
        <p:txBody>
          <a:bodyPr wrap="none" lIns="35997" tIns="35997" rIns="35997" bIns="35997" anchor="b" anchorCtr="0">
            <a:noAutofit/>
          </a:bodyPr>
          <a:lstStyle/>
          <a:p>
            <a:pPr algn="r" defTabSz="957756"/>
            <a:r>
              <a:rPr lang="en-US" sz="700" dirty="0" smtClean="0">
                <a:solidFill>
                  <a:srgbClr val="9F958F"/>
                </a:solidFill>
              </a:rPr>
              <a:t>Tabcorp SAP HRIS </a:t>
            </a:r>
            <a:r>
              <a:rPr lang="en-US" sz="700" dirty="0" smtClean="0">
                <a:solidFill>
                  <a:srgbClr val="9F958F"/>
                </a:solidFill>
                <a:cs typeface="Arial"/>
              </a:rPr>
              <a:t>– </a:t>
            </a:r>
            <a:r>
              <a:rPr lang="en-US" sz="700" dirty="0" smtClean="0">
                <a:solidFill>
                  <a:srgbClr val="9F958F"/>
                </a:solidFill>
              </a:rPr>
              <a:t>Post Implementation AMS | February 2014</a:t>
            </a:r>
            <a:endParaRPr lang="en-US" sz="700" dirty="0">
              <a:solidFill>
                <a:srgbClr val="9F958F"/>
              </a:solidFill>
            </a:endParaRPr>
          </a:p>
        </p:txBody>
      </p:sp>
      <p:cxnSp>
        <p:nvCxnSpPr>
          <p:cNvPr id="15" name="Straight Connector 5"/>
          <p:cNvCxnSpPr/>
          <p:nvPr>
            <p:custDataLst>
              <p:tags r:id="rId21"/>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4" cstate="print"/>
          <a:stretch>
            <a:fillRect/>
          </a:stretch>
        </p:blipFill>
        <p:spPr>
          <a:xfrm>
            <a:off x="109093" y="6419978"/>
            <a:ext cx="1329231" cy="343023"/>
          </a:xfrm>
          <a:prstGeom prst="rect">
            <a:avLst/>
          </a:prstGeom>
        </p:spPr>
      </p:pic>
    </p:spTree>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image" Target="../media/image24.emf"/><Relationship Id="rId7" Type="http://schemas.openxmlformats.org/officeDocument/2006/relationships/image" Target="../media/image28.emf"/><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27.emf"/><Relationship Id="rId11" Type="http://schemas.openxmlformats.org/officeDocument/2006/relationships/image" Target="../media/image32.emf"/><Relationship Id="rId5" Type="http://schemas.openxmlformats.org/officeDocument/2006/relationships/image" Target="../media/image26.emf"/><Relationship Id="rId10" Type="http://schemas.openxmlformats.org/officeDocument/2006/relationships/image" Target="../media/image31.emf"/><Relationship Id="rId4" Type="http://schemas.openxmlformats.org/officeDocument/2006/relationships/image" Target="../media/image25.emf"/><Relationship Id="rId9" Type="http://schemas.openxmlformats.org/officeDocument/2006/relationships/image" Target="../media/image30.emf"/></Relationships>
</file>

<file path=ppt/slides/_rels/slide5.xml.rels><?xml version="1.0" encoding="UTF-8" standalone="yes"?>
<Relationships xmlns="http://schemas.openxmlformats.org/package/2006/relationships"><Relationship Id="rId3" Type="http://schemas.openxmlformats.org/officeDocument/2006/relationships/image" Target="../media/image34.jpeg"/><Relationship Id="rId7" Type="http://schemas.openxmlformats.org/officeDocument/2006/relationships/image" Target="../media/image38.emf"/><Relationship Id="rId2" Type="http://schemas.openxmlformats.org/officeDocument/2006/relationships/image" Target="../media/image33.jpeg"/><Relationship Id="rId1" Type="http://schemas.openxmlformats.org/officeDocument/2006/relationships/slideLayout" Target="../slideLayouts/slideLayout16.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s/_rels/slide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41.png"/><Relationship Id="rId4" Type="http://schemas.openxmlformats.org/officeDocument/2006/relationships/diagramLayout" Target="../diagrams/layout1.xml"/><Relationship Id="rId9" Type="http://schemas.openxmlformats.org/officeDocument/2006/relationships/image" Target="../media/image40.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18" Type="http://schemas.openxmlformats.org/officeDocument/2006/relationships/image" Target="../media/image58.png"/><Relationship Id="rId3" Type="http://schemas.openxmlformats.org/officeDocument/2006/relationships/image" Target="../media/image43.png"/><Relationship Id="rId21" Type="http://schemas.openxmlformats.org/officeDocument/2006/relationships/image" Target="../media/image61.png"/><Relationship Id="rId7" Type="http://schemas.openxmlformats.org/officeDocument/2006/relationships/image" Target="../media/image47.png"/><Relationship Id="rId12" Type="http://schemas.openxmlformats.org/officeDocument/2006/relationships/image" Target="../media/image52.jpeg"/><Relationship Id="rId17" Type="http://schemas.openxmlformats.org/officeDocument/2006/relationships/image" Target="../media/image57.png"/><Relationship Id="rId2" Type="http://schemas.openxmlformats.org/officeDocument/2006/relationships/image" Target="../media/image42.png"/><Relationship Id="rId16" Type="http://schemas.openxmlformats.org/officeDocument/2006/relationships/image" Target="../media/image56.jpeg"/><Relationship Id="rId20" Type="http://schemas.openxmlformats.org/officeDocument/2006/relationships/image" Target="../media/image60.jpeg"/><Relationship Id="rId1" Type="http://schemas.openxmlformats.org/officeDocument/2006/relationships/slideLayout" Target="../slideLayouts/slideLayout17.xml"/><Relationship Id="rId6" Type="http://schemas.openxmlformats.org/officeDocument/2006/relationships/image" Target="../media/image46.png"/><Relationship Id="rId11" Type="http://schemas.openxmlformats.org/officeDocument/2006/relationships/image" Target="../media/image51.png"/><Relationship Id="rId24" Type="http://schemas.openxmlformats.org/officeDocument/2006/relationships/image" Target="../media/image64.png"/><Relationship Id="rId5" Type="http://schemas.openxmlformats.org/officeDocument/2006/relationships/image" Target="../media/image45.emf"/><Relationship Id="rId15" Type="http://schemas.openxmlformats.org/officeDocument/2006/relationships/image" Target="../media/image55.png"/><Relationship Id="rId23" Type="http://schemas.openxmlformats.org/officeDocument/2006/relationships/image" Target="../media/image63.png"/><Relationship Id="rId10" Type="http://schemas.openxmlformats.org/officeDocument/2006/relationships/image" Target="../media/image50.jpeg"/><Relationship Id="rId19" Type="http://schemas.openxmlformats.org/officeDocument/2006/relationships/image" Target="../media/image59.png"/><Relationship Id="rId4" Type="http://schemas.openxmlformats.org/officeDocument/2006/relationships/image" Target="../media/image44.png"/><Relationship Id="rId9" Type="http://schemas.openxmlformats.org/officeDocument/2006/relationships/image" Target="../media/image49.jpeg"/><Relationship Id="rId14" Type="http://schemas.openxmlformats.org/officeDocument/2006/relationships/image" Target="../media/image54.png"/><Relationship Id="rId22" Type="http://schemas.openxmlformats.org/officeDocument/2006/relationships/image" Target="../media/image6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603173" y="4435635"/>
            <a:ext cx="4540827" cy="1902819"/>
          </a:xfrm>
        </p:spPr>
        <p:txBody>
          <a:bodyPr/>
          <a:lstStyle/>
          <a:p>
            <a:r>
              <a:rPr lang="en-US" dirty="0" smtClean="0"/>
              <a:t>Capgemini AM Solution Walk-thru</a:t>
            </a:r>
            <a:endParaRPr lang="en-US" dirty="0"/>
          </a:p>
        </p:txBody>
      </p:sp>
      <p:sp>
        <p:nvSpPr>
          <p:cNvPr id="5" name="Subtitle 4"/>
          <p:cNvSpPr>
            <a:spLocks noGrp="1"/>
          </p:cNvSpPr>
          <p:nvPr>
            <p:ph type="body" sz="quarter" idx="10"/>
          </p:nvPr>
        </p:nvSpPr>
        <p:spPr>
          <a:xfrm>
            <a:off x="5048518" y="5830194"/>
            <a:ext cx="4095483" cy="777378"/>
          </a:xfrm>
        </p:spPr>
        <p:txBody>
          <a:bodyPr/>
          <a:lstStyle/>
          <a:p>
            <a:r>
              <a:rPr lang="en-US" dirty="0" smtClean="0"/>
              <a:t>November 2016</a:t>
            </a:r>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298516" y="1434943"/>
            <a:ext cx="8455608" cy="4846214"/>
          </a:xfrm>
          <a:prstGeom prst="rect">
            <a:avLst/>
          </a:prstGeom>
        </p:spPr>
        <p:txBody>
          <a:bodyPr>
            <a:normAutofit/>
          </a:bodyPr>
          <a:lstStyle/>
          <a:p>
            <a:r>
              <a:rPr lang="en-US" dirty="0" smtClean="0">
                <a:latin typeface="Candara" pitchFamily="34" charset="0"/>
              </a:rPr>
              <a:t>Following Summary was identified from the Workshop:</a:t>
            </a:r>
          </a:p>
          <a:p>
            <a:pPr lvl="1"/>
            <a:r>
              <a:rPr lang="en-US" dirty="0" smtClean="0">
                <a:latin typeface="Candara" pitchFamily="34" charset="0"/>
              </a:rPr>
              <a:t>  The CRM Landscape covers </a:t>
            </a:r>
            <a:r>
              <a:rPr lang="en-US" dirty="0">
                <a:latin typeface="Candara" pitchFamily="34" charset="0"/>
              </a:rPr>
              <a:t>the following:</a:t>
            </a:r>
          </a:p>
          <a:p>
            <a:pPr lvl="2"/>
            <a:r>
              <a:rPr lang="en-US" dirty="0">
                <a:latin typeface="Candara" pitchFamily="34" charset="0"/>
              </a:rPr>
              <a:t>Oracle Sales </a:t>
            </a:r>
            <a:r>
              <a:rPr lang="en-US" dirty="0" smtClean="0">
                <a:latin typeface="Candara" pitchFamily="34" charset="0"/>
              </a:rPr>
              <a:t>Cloud</a:t>
            </a:r>
            <a:endParaRPr lang="en-US" dirty="0">
              <a:latin typeface="Candara" pitchFamily="34" charset="0"/>
            </a:endParaRPr>
          </a:p>
          <a:p>
            <a:pPr lvl="2"/>
            <a:r>
              <a:rPr lang="en-US" dirty="0" smtClean="0">
                <a:latin typeface="Candara" pitchFamily="34" charset="0"/>
              </a:rPr>
              <a:t>Oracle </a:t>
            </a:r>
            <a:r>
              <a:rPr lang="en-US" dirty="0">
                <a:latin typeface="Candara" pitchFamily="34" charset="0"/>
              </a:rPr>
              <a:t>Sales Performance Management </a:t>
            </a:r>
            <a:r>
              <a:rPr lang="en-US" dirty="0" smtClean="0">
                <a:latin typeface="Candara" pitchFamily="34" charset="0"/>
              </a:rPr>
              <a:t>(Go Live Planned in January </a:t>
            </a:r>
            <a:r>
              <a:rPr lang="en-US" dirty="0">
                <a:latin typeface="Candara" pitchFamily="34" charset="0"/>
              </a:rPr>
              <a:t>2017)</a:t>
            </a:r>
          </a:p>
          <a:p>
            <a:pPr lvl="2"/>
            <a:r>
              <a:rPr lang="en-US" dirty="0">
                <a:latin typeface="Candara" pitchFamily="34" charset="0"/>
              </a:rPr>
              <a:t>Oracle CPQ </a:t>
            </a:r>
            <a:r>
              <a:rPr lang="en-US" dirty="0" smtClean="0">
                <a:latin typeface="Candara" pitchFamily="34" charset="0"/>
              </a:rPr>
              <a:t>Cloud</a:t>
            </a:r>
            <a:endParaRPr lang="en-US" dirty="0">
              <a:latin typeface="Candara" pitchFamily="34" charset="0"/>
            </a:endParaRPr>
          </a:p>
          <a:p>
            <a:pPr lvl="1"/>
            <a:r>
              <a:rPr lang="en-US" dirty="0" smtClean="0">
                <a:latin typeface="Candara" pitchFamily="34" charset="0"/>
              </a:rPr>
              <a:t>CRM Landscape Geography -&gt; Europe, Asia, Americas</a:t>
            </a:r>
          </a:p>
          <a:p>
            <a:pPr lvl="1"/>
            <a:r>
              <a:rPr lang="en-US" dirty="0" smtClean="0">
                <a:latin typeface="Candara" pitchFamily="34" charset="0"/>
              </a:rPr>
              <a:t>CRM User-base:</a:t>
            </a:r>
          </a:p>
          <a:p>
            <a:pPr lvl="2"/>
            <a:r>
              <a:rPr lang="en-US" dirty="0" smtClean="0">
                <a:latin typeface="Candara" pitchFamily="34" charset="0"/>
              </a:rPr>
              <a:t>Oracle Sales Cloud ~450</a:t>
            </a:r>
          </a:p>
          <a:p>
            <a:pPr lvl="2"/>
            <a:r>
              <a:rPr lang="en-US" dirty="0" smtClean="0">
                <a:latin typeface="Candara" pitchFamily="34" charset="0"/>
              </a:rPr>
              <a:t>Oracle CPQ Cloud ~250 </a:t>
            </a:r>
          </a:p>
          <a:p>
            <a:pPr lvl="2"/>
            <a:r>
              <a:rPr lang="en-US" dirty="0" smtClean="0">
                <a:latin typeface="Candara" pitchFamily="34" charset="0"/>
              </a:rPr>
              <a:t>Oracle SPM Cloud ~120</a:t>
            </a:r>
          </a:p>
          <a:p>
            <a:pPr lvl="1"/>
            <a:r>
              <a:rPr lang="en-US" dirty="0" smtClean="0">
                <a:latin typeface="Candara" pitchFamily="34" charset="0"/>
              </a:rPr>
              <a:t>Crucial Integration Points:</a:t>
            </a:r>
          </a:p>
          <a:p>
            <a:pPr lvl="2"/>
            <a:r>
              <a:rPr lang="en-US" dirty="0" smtClean="0">
                <a:latin typeface="Candara" pitchFamily="34" charset="0"/>
              </a:rPr>
              <a:t>EBS</a:t>
            </a:r>
          </a:p>
          <a:p>
            <a:pPr lvl="2"/>
            <a:r>
              <a:rPr lang="en-US" dirty="0" err="1" smtClean="0">
                <a:latin typeface="Candara" pitchFamily="34" charset="0"/>
              </a:rPr>
              <a:t>Azerity</a:t>
            </a:r>
            <a:endParaRPr lang="en-US" dirty="0" smtClean="0">
              <a:latin typeface="Candara" pitchFamily="34" charset="0"/>
            </a:endParaRPr>
          </a:p>
          <a:p>
            <a:pPr lvl="2"/>
            <a:r>
              <a:rPr lang="en-US" dirty="0" smtClean="0">
                <a:latin typeface="Candara" pitchFamily="34" charset="0"/>
              </a:rPr>
              <a:t>GTM/Matrix</a:t>
            </a:r>
          </a:p>
          <a:p>
            <a:pPr lvl="2"/>
            <a:r>
              <a:rPr lang="en-US" dirty="0" err="1" smtClean="0">
                <a:latin typeface="Candara" pitchFamily="34" charset="0"/>
              </a:rPr>
              <a:t>Marketo</a:t>
            </a:r>
            <a:endParaRPr lang="en-US" dirty="0">
              <a:latin typeface="Candara" pitchFamily="34" charset="0"/>
            </a:endParaRPr>
          </a:p>
        </p:txBody>
      </p:sp>
      <p:sp>
        <p:nvSpPr>
          <p:cNvPr id="2" name="Title 1"/>
          <p:cNvSpPr>
            <a:spLocks noGrp="1"/>
          </p:cNvSpPr>
          <p:nvPr>
            <p:ph type="title"/>
          </p:nvPr>
        </p:nvSpPr>
        <p:spPr/>
        <p:txBody>
          <a:bodyPr/>
          <a:lstStyle/>
          <a:p>
            <a:r>
              <a:rPr lang="en-US" dirty="0" smtClean="0">
                <a:latin typeface="Candara" pitchFamily="34" charset="0"/>
              </a:rPr>
              <a:t>November 12</a:t>
            </a:r>
            <a:r>
              <a:rPr lang="en-US" baseline="30000" dirty="0" smtClean="0">
                <a:latin typeface="Candara" pitchFamily="34" charset="0"/>
              </a:rPr>
              <a:t>th</a:t>
            </a:r>
            <a:r>
              <a:rPr lang="en-US" dirty="0" smtClean="0">
                <a:latin typeface="Candara" pitchFamily="34" charset="0"/>
              </a:rPr>
              <a:t> Workshop Recap</a:t>
            </a:r>
            <a:endParaRPr lang="en-US" dirty="0">
              <a:latin typeface="Candara" pitchFamily="34" charset="0"/>
            </a:endParaRPr>
          </a:p>
        </p:txBody>
      </p:sp>
    </p:spTree>
    <p:extLst>
      <p:ext uri="{BB962C8B-B14F-4D97-AF65-F5344CB8AC3E}">
        <p14:creationId xmlns:p14="http://schemas.microsoft.com/office/powerpoint/2010/main" val="18926055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ndara" pitchFamily="34" charset="0"/>
              </a:rPr>
              <a:t>CRM Scope Summary</a:t>
            </a:r>
            <a:endParaRPr lang="en-US" dirty="0">
              <a:latin typeface="Candara" pitchFamily="34" charset="0"/>
            </a:endParaRPr>
          </a:p>
        </p:txBody>
      </p:sp>
      <p:sp>
        <p:nvSpPr>
          <p:cNvPr id="33" name="Rounded Rectangle 32"/>
          <p:cNvSpPr/>
          <p:nvPr/>
        </p:nvSpPr>
        <p:spPr bwMode="auto">
          <a:xfrm>
            <a:off x="1167482" y="1353793"/>
            <a:ext cx="6602634" cy="2107254"/>
          </a:xfrm>
          <a:prstGeom prst="roundRect">
            <a:avLst>
              <a:gd name="adj" fmla="val 3474"/>
            </a:avLst>
          </a:prstGeom>
          <a:solidFill>
            <a:sysClr val="window" lastClr="FFFFFF">
              <a:lumMod val="95000"/>
            </a:sysClr>
          </a:solidFill>
          <a:ln w="12700" cap="flat" cmpd="sng" algn="ctr">
            <a:solidFill>
              <a:sysClr val="window" lastClr="FFFFFF">
                <a:lumMod val="50000"/>
              </a:sysClr>
            </a:solidFill>
            <a:prstDash val="solid"/>
          </a:ln>
          <a:effectLst>
            <a:outerShdw blurRad="50800" dist="38100" dir="5400000" algn="t" rotWithShape="0">
              <a:srgbClr val="00234B">
                <a:alpha val="40000"/>
              </a:srgbClr>
            </a:outerShdw>
          </a:effectLst>
        </p:spPr>
        <p:txBody>
          <a:bodyPr tIns="36576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ysClr val="window" lastClr="FFFFFF"/>
              </a:solidFill>
              <a:effectLst/>
              <a:uLnTx/>
              <a:uFillTx/>
              <a:latin typeface="Calibri" pitchFamily="34" charset="0"/>
              <a:ea typeface="+mn-ea"/>
              <a:cs typeface="+mn-cs"/>
            </a:endParaRPr>
          </a:p>
        </p:txBody>
      </p:sp>
      <p:grpSp>
        <p:nvGrpSpPr>
          <p:cNvPr id="3" name="Group 8"/>
          <p:cNvGrpSpPr/>
          <p:nvPr/>
        </p:nvGrpSpPr>
        <p:grpSpPr>
          <a:xfrm>
            <a:off x="1436110" y="2090272"/>
            <a:ext cx="2948860" cy="1212912"/>
            <a:chOff x="5145022" y="2269839"/>
            <a:chExt cx="3194598" cy="1212913"/>
          </a:xfrm>
        </p:grpSpPr>
        <p:sp>
          <p:nvSpPr>
            <p:cNvPr id="58" name="Rounded Rectangle 57"/>
            <p:cNvSpPr/>
            <p:nvPr/>
          </p:nvSpPr>
          <p:spPr bwMode="auto">
            <a:xfrm>
              <a:off x="7349944" y="3189773"/>
              <a:ext cx="989676" cy="292979"/>
            </a:xfrm>
            <a:prstGeom prst="roundRect">
              <a:avLst/>
            </a:prstGeom>
            <a:solidFill>
              <a:srgbClr val="0098CC"/>
            </a:solidFill>
            <a:ln w="25400" cap="flat" cmpd="sng" algn="ctr">
              <a:noFill/>
              <a:prstDash val="soli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ysClr val="window" lastClr="FFFFFF"/>
                  </a:solidFill>
                  <a:effectLst/>
                  <a:uLnTx/>
                  <a:uFillTx/>
                  <a:latin typeface="Calibri" pitchFamily="34" charset="0"/>
                  <a:ea typeface="+mn-ea"/>
                  <a:cs typeface="+mn-cs"/>
                </a:rPr>
                <a:t>Sales Campaigns</a:t>
              </a:r>
              <a:endParaRPr kumimoji="0" lang="en-US" sz="1050" b="1" i="0" u="none" strike="noStrike" kern="0" cap="none" spc="0" normalizeH="0" baseline="0" noProof="0" dirty="0">
                <a:ln>
                  <a:noFill/>
                </a:ln>
                <a:solidFill>
                  <a:sysClr val="window" lastClr="FFFFFF"/>
                </a:solidFill>
                <a:effectLst/>
                <a:uLnTx/>
                <a:uFillTx/>
                <a:latin typeface="Calibri" pitchFamily="34" charset="0"/>
                <a:ea typeface="+mn-ea"/>
                <a:cs typeface="+mn-cs"/>
              </a:endParaRPr>
            </a:p>
          </p:txBody>
        </p:sp>
        <p:grpSp>
          <p:nvGrpSpPr>
            <p:cNvPr id="4" name="Group 6"/>
            <p:cNvGrpSpPr/>
            <p:nvPr/>
          </p:nvGrpSpPr>
          <p:grpSpPr>
            <a:xfrm>
              <a:off x="5145023" y="2269839"/>
              <a:ext cx="3186051" cy="386986"/>
              <a:chOff x="5145023" y="2246080"/>
              <a:chExt cx="3186051" cy="386986"/>
            </a:xfrm>
          </p:grpSpPr>
          <p:sp>
            <p:nvSpPr>
              <p:cNvPr id="53" name="Rounded Rectangle 52"/>
              <p:cNvSpPr/>
              <p:nvPr/>
            </p:nvSpPr>
            <p:spPr bwMode="auto">
              <a:xfrm>
                <a:off x="5145023" y="2246080"/>
                <a:ext cx="989676" cy="386986"/>
              </a:xfrm>
              <a:prstGeom prst="roundRect">
                <a:avLst/>
              </a:prstGeom>
              <a:solidFill>
                <a:srgbClr val="0098CC"/>
              </a:solidFill>
              <a:ln w="25400" cap="flat" cmpd="sng" algn="ctr">
                <a:noFill/>
                <a:prstDash val="soli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ysClr val="window" lastClr="FFFFFF"/>
                    </a:solidFill>
                    <a:effectLst/>
                    <a:uLnTx/>
                    <a:uFillTx/>
                    <a:latin typeface="Calibri" pitchFamily="34" charset="0"/>
                    <a:ea typeface="+mn-ea"/>
                    <a:cs typeface="+mn-cs"/>
                  </a:rPr>
                  <a:t>Account Management</a:t>
                </a:r>
              </a:p>
            </p:txBody>
          </p:sp>
          <p:sp>
            <p:nvSpPr>
              <p:cNvPr id="54" name="Rounded Rectangle 53"/>
              <p:cNvSpPr/>
              <p:nvPr/>
            </p:nvSpPr>
            <p:spPr bwMode="auto">
              <a:xfrm>
                <a:off x="6243211" y="2246080"/>
                <a:ext cx="989676" cy="386986"/>
              </a:xfrm>
              <a:prstGeom prst="roundRect">
                <a:avLst/>
              </a:prstGeom>
              <a:solidFill>
                <a:srgbClr val="0098CC"/>
              </a:solidFill>
              <a:ln w="25400" cap="flat" cmpd="sng" algn="ctr">
                <a:noFill/>
                <a:prstDash val="soli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ysClr val="window" lastClr="FFFFFF"/>
                    </a:solidFill>
                    <a:effectLst/>
                    <a:uLnTx/>
                    <a:uFillTx/>
                    <a:latin typeface="Calibri" pitchFamily="34" charset="0"/>
                    <a:ea typeface="+mn-ea"/>
                    <a:cs typeface="+mn-cs"/>
                  </a:rPr>
                  <a:t>Contact Management</a:t>
                </a:r>
                <a:endParaRPr kumimoji="0" lang="en-US" sz="1050" b="1" i="0" u="none" strike="noStrike" kern="0" cap="none" spc="0" normalizeH="0" baseline="0" noProof="0" dirty="0">
                  <a:ln>
                    <a:noFill/>
                  </a:ln>
                  <a:solidFill>
                    <a:sysClr val="window" lastClr="FFFFFF"/>
                  </a:solidFill>
                  <a:effectLst/>
                  <a:uLnTx/>
                  <a:uFillTx/>
                  <a:latin typeface="Calibri" pitchFamily="34" charset="0"/>
                  <a:ea typeface="+mn-ea"/>
                  <a:cs typeface="+mn-cs"/>
                </a:endParaRPr>
              </a:p>
            </p:txBody>
          </p:sp>
          <p:sp>
            <p:nvSpPr>
              <p:cNvPr id="55" name="Rounded Rectangle 54"/>
              <p:cNvSpPr/>
              <p:nvPr/>
            </p:nvSpPr>
            <p:spPr bwMode="auto">
              <a:xfrm>
                <a:off x="7341398" y="2246080"/>
                <a:ext cx="989676" cy="386986"/>
              </a:xfrm>
              <a:prstGeom prst="roundRect">
                <a:avLst/>
              </a:prstGeom>
              <a:solidFill>
                <a:srgbClr val="0098CC"/>
              </a:solidFill>
              <a:ln w="25400" cap="flat" cmpd="sng" algn="ctr">
                <a:noFill/>
                <a:prstDash val="soli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ysClr val="window" lastClr="FFFFFF"/>
                    </a:solidFill>
                    <a:effectLst/>
                    <a:uLnTx/>
                    <a:uFillTx/>
                    <a:latin typeface="Calibri" pitchFamily="34" charset="0"/>
                    <a:ea typeface="+mn-ea"/>
                    <a:cs typeface="+mn-cs"/>
                  </a:rPr>
                  <a:t>Territory Management</a:t>
                </a:r>
                <a:endParaRPr kumimoji="0" lang="en-US" sz="1050" b="1" i="0" u="none" strike="noStrike" kern="0" cap="none" spc="0" normalizeH="0" baseline="0" noProof="0" dirty="0">
                  <a:ln>
                    <a:noFill/>
                  </a:ln>
                  <a:solidFill>
                    <a:sysClr val="window" lastClr="FFFFFF"/>
                  </a:solidFill>
                  <a:effectLst/>
                  <a:uLnTx/>
                  <a:uFillTx/>
                  <a:latin typeface="Calibri" pitchFamily="34" charset="0"/>
                  <a:ea typeface="+mn-ea"/>
                  <a:cs typeface="+mn-cs"/>
                </a:endParaRPr>
              </a:p>
            </p:txBody>
          </p:sp>
        </p:grpSp>
        <p:sp>
          <p:nvSpPr>
            <p:cNvPr id="42" name="Rounded Rectangle 41"/>
            <p:cNvSpPr/>
            <p:nvPr/>
          </p:nvSpPr>
          <p:spPr bwMode="auto">
            <a:xfrm>
              <a:off x="5145022" y="3189773"/>
              <a:ext cx="2161589" cy="292979"/>
            </a:xfrm>
            <a:prstGeom prst="roundRect">
              <a:avLst/>
            </a:prstGeom>
            <a:solidFill>
              <a:srgbClr val="0098CC"/>
            </a:solidFill>
            <a:ln w="25400" cap="flat" cmpd="sng" algn="ctr">
              <a:noFill/>
              <a:prstDash val="soli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smtClean="0">
                <a:ln>
                  <a:noFill/>
                </a:ln>
                <a:solidFill>
                  <a:sysClr val="window" lastClr="FFFFFF"/>
                </a:solidFill>
                <a:effectLst/>
                <a:uLnTx/>
                <a:uFillTx/>
                <a:latin typeface="Calibri" pitchFamily="34" charset="0"/>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ysClr val="window" lastClr="FFFFFF"/>
                  </a:solidFill>
                  <a:effectLst/>
                  <a:uLnTx/>
                  <a:uFillTx/>
                  <a:latin typeface="Calibri" pitchFamily="34" charset="0"/>
                  <a:ea typeface="+mn-ea"/>
                  <a:cs typeface="+mn-cs"/>
                </a:rPr>
                <a:t>Reporting &amp; Analytic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smtClean="0">
                <a:ln>
                  <a:noFill/>
                </a:ln>
                <a:solidFill>
                  <a:sysClr val="window" lastClr="FFFFFF"/>
                </a:solidFill>
                <a:effectLst/>
                <a:uLnTx/>
                <a:uFillTx/>
                <a:latin typeface="Calibri" pitchFamily="34" charset="0"/>
                <a:ea typeface="+mn-ea"/>
                <a:cs typeface="+mn-cs"/>
              </a:endParaRPr>
            </a:p>
          </p:txBody>
        </p:sp>
        <p:grpSp>
          <p:nvGrpSpPr>
            <p:cNvPr id="5" name="Group 42"/>
            <p:cNvGrpSpPr/>
            <p:nvPr/>
          </p:nvGrpSpPr>
          <p:grpSpPr>
            <a:xfrm>
              <a:off x="5145024" y="2731225"/>
              <a:ext cx="3186050" cy="386986"/>
              <a:chOff x="5145024" y="2723309"/>
              <a:chExt cx="3186050" cy="386986"/>
            </a:xfrm>
          </p:grpSpPr>
          <p:sp>
            <p:nvSpPr>
              <p:cNvPr id="50" name="Rounded Rectangle 49"/>
              <p:cNvSpPr/>
              <p:nvPr/>
            </p:nvSpPr>
            <p:spPr bwMode="auto">
              <a:xfrm>
                <a:off x="7341398" y="2723309"/>
                <a:ext cx="989676" cy="386986"/>
              </a:xfrm>
              <a:prstGeom prst="roundRect">
                <a:avLst/>
              </a:prstGeom>
              <a:solidFill>
                <a:srgbClr val="0098CC"/>
              </a:solidFill>
              <a:ln w="25400" cap="flat" cmpd="sng" algn="ctr">
                <a:noFill/>
                <a:prstDash val="soli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ysClr val="window" lastClr="FFFFFF"/>
                    </a:solidFill>
                    <a:effectLst/>
                    <a:uLnTx/>
                    <a:uFillTx/>
                    <a:latin typeface="Calibri" pitchFamily="34" charset="0"/>
                    <a:ea typeface="+mn-ea"/>
                    <a:cs typeface="+mn-cs"/>
                  </a:rPr>
                  <a:t>Lead Management</a:t>
                </a:r>
              </a:p>
            </p:txBody>
          </p:sp>
          <p:sp>
            <p:nvSpPr>
              <p:cNvPr id="51" name="Rounded Rectangle 50"/>
              <p:cNvSpPr/>
              <p:nvPr/>
            </p:nvSpPr>
            <p:spPr bwMode="auto">
              <a:xfrm>
                <a:off x="5145024" y="2723309"/>
                <a:ext cx="989676" cy="386986"/>
              </a:xfrm>
              <a:prstGeom prst="roundRect">
                <a:avLst/>
              </a:prstGeom>
              <a:solidFill>
                <a:srgbClr val="0098CC"/>
              </a:solidFill>
              <a:ln w="25400" cap="flat" cmpd="sng" algn="ctr">
                <a:noFill/>
                <a:prstDash val="soli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ysClr val="window" lastClr="FFFFFF"/>
                    </a:solidFill>
                    <a:effectLst/>
                    <a:uLnTx/>
                    <a:uFillTx/>
                    <a:latin typeface="Calibri" pitchFamily="34" charset="0"/>
                    <a:ea typeface="+mn-ea"/>
                    <a:cs typeface="+mn-cs"/>
                  </a:rPr>
                  <a:t>Opportunity Request</a:t>
                </a:r>
              </a:p>
            </p:txBody>
          </p:sp>
          <p:sp>
            <p:nvSpPr>
              <p:cNvPr id="52" name="Rounded Rectangle 51"/>
              <p:cNvSpPr/>
              <p:nvPr/>
            </p:nvSpPr>
            <p:spPr bwMode="auto">
              <a:xfrm>
                <a:off x="6169485" y="2723309"/>
                <a:ext cx="1137128" cy="386986"/>
              </a:xfrm>
              <a:prstGeom prst="roundRect">
                <a:avLst/>
              </a:prstGeom>
              <a:solidFill>
                <a:srgbClr val="0098CC"/>
              </a:solidFill>
              <a:ln w="25400" cap="flat" cmpd="sng" algn="ctr">
                <a:noFill/>
                <a:prstDash val="soli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ysClr val="window" lastClr="FFFFFF"/>
                    </a:solidFill>
                    <a:effectLst/>
                    <a:uLnTx/>
                    <a:uFillTx/>
                    <a:latin typeface="Calibri" pitchFamily="34" charset="0"/>
                    <a:ea typeface="+mn-ea"/>
                    <a:cs typeface="+mn-cs"/>
                  </a:rPr>
                  <a:t>Opportunity Management</a:t>
                </a:r>
                <a:endParaRPr kumimoji="0" lang="en-US" sz="1050" b="1" i="0" u="none" strike="noStrike" kern="0" cap="none" spc="0" normalizeH="0" baseline="0" noProof="0" dirty="0">
                  <a:ln>
                    <a:noFill/>
                  </a:ln>
                  <a:solidFill>
                    <a:sysClr val="window" lastClr="FFFFFF"/>
                  </a:solidFill>
                  <a:effectLst/>
                  <a:uLnTx/>
                  <a:uFillTx/>
                  <a:latin typeface="Calibri" pitchFamily="34" charset="0"/>
                  <a:ea typeface="+mn-ea"/>
                  <a:cs typeface="+mn-cs"/>
                </a:endParaRPr>
              </a:p>
            </p:txBody>
          </p:sp>
        </p:grpSp>
      </p:grpSp>
      <p:sp>
        <p:nvSpPr>
          <p:cNvPr id="60" name="Round Same Side Corner Rectangle 59"/>
          <p:cNvSpPr/>
          <p:nvPr/>
        </p:nvSpPr>
        <p:spPr bwMode="auto">
          <a:xfrm>
            <a:off x="1167482" y="1277594"/>
            <a:ext cx="6602634" cy="353943"/>
          </a:xfrm>
          <a:prstGeom prst="round2SameRect">
            <a:avLst>
              <a:gd name="adj1" fmla="val 39543"/>
              <a:gd name="adj2" fmla="val 0"/>
            </a:avLst>
          </a:prstGeom>
          <a:solidFill>
            <a:srgbClr val="00234B"/>
          </a:solidFill>
          <a:ln w="6350" cap="flat" cmpd="sng" algn="ctr">
            <a:solidFill>
              <a:srgbClr val="00234B"/>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0" fontAlgn="base" latinLnBrk="0" hangingPunct="0">
              <a:lnSpc>
                <a:spcPct val="85000"/>
              </a:lnSpc>
              <a:spcBef>
                <a:spcPct val="0"/>
              </a:spcBef>
              <a:spcAft>
                <a:spcPct val="0"/>
              </a:spcAft>
              <a:buClrTx/>
              <a:buSzTx/>
              <a:buFontTx/>
              <a:buNone/>
              <a:tabLst/>
              <a:defRPr/>
            </a:pPr>
            <a:r>
              <a:rPr kumimoji="0" lang="en-US" sz="2200" b="1" i="0" u="none" strike="noStrike" kern="0" cap="none" spc="0" normalizeH="0" baseline="0" noProof="0" dirty="0" smtClean="0">
                <a:ln>
                  <a:noFill/>
                </a:ln>
                <a:solidFill>
                  <a:sysClr val="window" lastClr="FFFFFF"/>
                </a:solidFill>
                <a:effectLst/>
                <a:uLnTx/>
                <a:uFillTx/>
                <a:latin typeface="Calibri" pitchFamily="34" charset="0"/>
                <a:cs typeface="Arial" charset="0"/>
              </a:rPr>
              <a:t>CRM Application Landscape</a:t>
            </a:r>
            <a:endParaRPr kumimoji="0" lang="en-US" sz="2200" b="1" i="0" u="none" strike="noStrike" kern="0" cap="none" spc="0" normalizeH="0" baseline="0" noProof="0" dirty="0">
              <a:ln>
                <a:noFill/>
              </a:ln>
              <a:solidFill>
                <a:sysClr val="window" lastClr="FFFFFF"/>
              </a:solidFill>
              <a:effectLst/>
              <a:uLnTx/>
              <a:uFillTx/>
              <a:latin typeface="Calibri" pitchFamily="34" charset="0"/>
              <a:cs typeface="Arial" charset="0"/>
            </a:endParaRPr>
          </a:p>
        </p:txBody>
      </p:sp>
      <p:sp>
        <p:nvSpPr>
          <p:cNvPr id="74" name="Round Same Side Corner Rectangle 73"/>
          <p:cNvSpPr/>
          <p:nvPr/>
        </p:nvSpPr>
        <p:spPr bwMode="auto">
          <a:xfrm>
            <a:off x="1383313" y="1721020"/>
            <a:ext cx="3001658" cy="353943"/>
          </a:xfrm>
          <a:prstGeom prst="round2SameRect">
            <a:avLst>
              <a:gd name="adj1" fmla="val 39543"/>
              <a:gd name="adj2" fmla="val 0"/>
            </a:avLst>
          </a:prstGeom>
          <a:solidFill>
            <a:srgbClr val="00234B"/>
          </a:solidFill>
          <a:ln w="6350" cap="flat" cmpd="sng" algn="ctr">
            <a:solidFill>
              <a:srgbClr val="00234B"/>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hangingPunct="0">
              <a:lnSpc>
                <a:spcPct val="85000"/>
              </a:lnSpc>
            </a:pPr>
            <a:r>
              <a:rPr lang="en-US" sz="1600" b="1" kern="0" dirty="0">
                <a:solidFill>
                  <a:sysClr val="window" lastClr="FFFFFF"/>
                </a:solidFill>
                <a:latin typeface="Calibri" pitchFamily="34" charset="0"/>
                <a:cs typeface="Arial" charset="0"/>
              </a:rPr>
              <a:t>Oracle Sales Cloud</a:t>
            </a:r>
          </a:p>
        </p:txBody>
      </p:sp>
      <p:grpSp>
        <p:nvGrpSpPr>
          <p:cNvPr id="6" name="Group 6"/>
          <p:cNvGrpSpPr/>
          <p:nvPr/>
        </p:nvGrpSpPr>
        <p:grpSpPr>
          <a:xfrm>
            <a:off x="4535019" y="2123028"/>
            <a:ext cx="2948860" cy="354230"/>
            <a:chOff x="5145023" y="2246080"/>
            <a:chExt cx="2087864" cy="386986"/>
          </a:xfrm>
        </p:grpSpPr>
        <p:sp>
          <p:nvSpPr>
            <p:cNvPr id="83" name="Rounded Rectangle 82"/>
            <p:cNvSpPr/>
            <p:nvPr/>
          </p:nvSpPr>
          <p:spPr bwMode="auto">
            <a:xfrm>
              <a:off x="5145023" y="2246080"/>
              <a:ext cx="989676" cy="386986"/>
            </a:xfrm>
            <a:prstGeom prst="roundRect">
              <a:avLst/>
            </a:prstGeom>
            <a:solidFill>
              <a:srgbClr val="0098CC"/>
            </a:solidFill>
            <a:ln w="25400" cap="flat" cmpd="sng" algn="ctr">
              <a:noFill/>
              <a:prstDash val="soli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ysClr val="window" lastClr="FFFFFF"/>
                  </a:solidFill>
                  <a:effectLst/>
                  <a:uLnTx/>
                  <a:uFillTx/>
                  <a:latin typeface="Calibri" pitchFamily="34" charset="0"/>
                  <a:ea typeface="+mn-ea"/>
                  <a:cs typeface="+mn-cs"/>
                </a:rPr>
                <a:t>Pricing</a:t>
              </a:r>
              <a:r>
                <a:rPr kumimoji="0" lang="en-US" sz="1050" b="1" i="0" u="none" strike="noStrike" kern="0" cap="none" spc="0" normalizeH="0" noProof="0" dirty="0" smtClean="0">
                  <a:ln>
                    <a:noFill/>
                  </a:ln>
                  <a:solidFill>
                    <a:sysClr val="window" lastClr="FFFFFF"/>
                  </a:solidFill>
                  <a:effectLst/>
                  <a:uLnTx/>
                  <a:uFillTx/>
                  <a:latin typeface="Calibri" pitchFamily="34" charset="0"/>
                  <a:ea typeface="+mn-ea"/>
                  <a:cs typeface="+mn-cs"/>
                </a:rPr>
                <a:t> Agreement</a:t>
              </a:r>
              <a:endParaRPr kumimoji="0" lang="en-US" sz="1050" b="1" i="0" u="none" strike="noStrike" kern="0" cap="none" spc="0" normalizeH="0" baseline="0" noProof="0" dirty="0" smtClean="0">
                <a:ln>
                  <a:noFill/>
                </a:ln>
                <a:solidFill>
                  <a:sysClr val="window" lastClr="FFFFFF"/>
                </a:solidFill>
                <a:effectLst/>
                <a:uLnTx/>
                <a:uFillTx/>
                <a:latin typeface="Calibri" pitchFamily="34" charset="0"/>
                <a:ea typeface="+mn-ea"/>
                <a:cs typeface="+mn-cs"/>
              </a:endParaRPr>
            </a:p>
          </p:txBody>
        </p:sp>
        <p:sp>
          <p:nvSpPr>
            <p:cNvPr id="84" name="Rounded Rectangle 83"/>
            <p:cNvSpPr/>
            <p:nvPr/>
          </p:nvSpPr>
          <p:spPr bwMode="auto">
            <a:xfrm>
              <a:off x="6243211" y="2246080"/>
              <a:ext cx="989676" cy="386986"/>
            </a:xfrm>
            <a:prstGeom prst="roundRect">
              <a:avLst/>
            </a:prstGeom>
            <a:solidFill>
              <a:srgbClr val="0098CC"/>
            </a:solidFill>
            <a:ln w="25400" cap="flat" cmpd="sng" algn="ctr">
              <a:noFill/>
              <a:prstDash val="soli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ysClr val="window" lastClr="FFFFFF"/>
                  </a:solidFill>
                  <a:effectLst/>
                  <a:uLnTx/>
                  <a:uFillTx/>
                  <a:latin typeface="Calibri" pitchFamily="34" charset="0"/>
                  <a:ea typeface="+mn-ea"/>
                  <a:cs typeface="+mn-cs"/>
                </a:rPr>
                <a:t>Quote Management</a:t>
              </a:r>
              <a:endParaRPr kumimoji="0" lang="en-US" sz="1050" b="1" i="0" u="none" strike="noStrike" kern="0" cap="none" spc="0" normalizeH="0" baseline="0" noProof="0" dirty="0">
                <a:ln>
                  <a:noFill/>
                </a:ln>
                <a:solidFill>
                  <a:sysClr val="window" lastClr="FFFFFF"/>
                </a:solidFill>
                <a:effectLst/>
                <a:uLnTx/>
                <a:uFillTx/>
                <a:latin typeface="Calibri" pitchFamily="34" charset="0"/>
                <a:ea typeface="+mn-ea"/>
                <a:cs typeface="+mn-cs"/>
              </a:endParaRPr>
            </a:p>
          </p:txBody>
        </p:sp>
      </p:grpSp>
      <p:sp>
        <p:nvSpPr>
          <p:cNvPr id="86" name="Round Same Side Corner Rectangle 85"/>
          <p:cNvSpPr/>
          <p:nvPr/>
        </p:nvSpPr>
        <p:spPr bwMode="auto">
          <a:xfrm>
            <a:off x="4535019" y="1728138"/>
            <a:ext cx="2948860" cy="353943"/>
          </a:xfrm>
          <a:prstGeom prst="round2SameRect">
            <a:avLst>
              <a:gd name="adj1" fmla="val 39543"/>
              <a:gd name="adj2" fmla="val 0"/>
            </a:avLst>
          </a:prstGeom>
          <a:solidFill>
            <a:srgbClr val="00234B"/>
          </a:solidFill>
          <a:ln w="6350" cap="flat" cmpd="sng" algn="ctr">
            <a:solidFill>
              <a:srgbClr val="00234B"/>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hangingPunct="0">
              <a:lnSpc>
                <a:spcPct val="85000"/>
              </a:lnSpc>
            </a:pPr>
            <a:r>
              <a:rPr lang="en-US" sz="1600" b="1" kern="0" dirty="0" smtClean="0">
                <a:solidFill>
                  <a:sysClr val="window" lastClr="FFFFFF"/>
                </a:solidFill>
                <a:latin typeface="Calibri" pitchFamily="34" charset="0"/>
                <a:cs typeface="Arial" charset="0"/>
              </a:rPr>
              <a:t>Oracle CPQ Cloud</a:t>
            </a:r>
            <a:endParaRPr lang="en-US" sz="1600" b="1" kern="0" dirty="0">
              <a:solidFill>
                <a:sysClr val="window" lastClr="FFFFFF"/>
              </a:solidFill>
              <a:latin typeface="Calibri" pitchFamily="34" charset="0"/>
              <a:cs typeface="Arial" charset="0"/>
            </a:endParaRPr>
          </a:p>
        </p:txBody>
      </p:sp>
      <p:grpSp>
        <p:nvGrpSpPr>
          <p:cNvPr id="7" name="Group 6"/>
          <p:cNvGrpSpPr/>
          <p:nvPr/>
        </p:nvGrpSpPr>
        <p:grpSpPr>
          <a:xfrm>
            <a:off x="4525812" y="2959108"/>
            <a:ext cx="2948860" cy="344077"/>
            <a:chOff x="5145023" y="2246080"/>
            <a:chExt cx="2087864" cy="386986"/>
          </a:xfrm>
        </p:grpSpPr>
        <p:sp>
          <p:nvSpPr>
            <p:cNvPr id="88" name="Rounded Rectangle 87"/>
            <p:cNvSpPr/>
            <p:nvPr/>
          </p:nvSpPr>
          <p:spPr bwMode="auto">
            <a:xfrm>
              <a:off x="5145023" y="2246080"/>
              <a:ext cx="989676" cy="386986"/>
            </a:xfrm>
            <a:prstGeom prst="roundRect">
              <a:avLst/>
            </a:prstGeom>
            <a:solidFill>
              <a:srgbClr val="0098CC"/>
            </a:solidFill>
            <a:ln w="25400" cap="flat" cmpd="sng" algn="ctr">
              <a:noFill/>
              <a:prstDash val="soli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ysClr val="window" lastClr="FFFFFF"/>
                  </a:solidFill>
                  <a:effectLst/>
                  <a:uLnTx/>
                  <a:uFillTx/>
                  <a:latin typeface="Calibri" pitchFamily="34" charset="0"/>
                  <a:ea typeface="+mn-ea"/>
                  <a:cs typeface="+mn-cs"/>
                </a:rPr>
                <a:t>Sales Incentive</a:t>
              </a:r>
              <a:r>
                <a:rPr lang="en-US" sz="1050" b="1" kern="0" dirty="0">
                  <a:solidFill>
                    <a:sysClr val="window" lastClr="FFFFFF"/>
                  </a:solidFill>
                  <a:latin typeface="Calibri" pitchFamily="34" charset="0"/>
                  <a:cs typeface="+mn-cs"/>
                </a:rPr>
                <a:t> </a:t>
              </a:r>
              <a:r>
                <a:rPr lang="en-US" sz="1050" b="1" kern="0" dirty="0" smtClean="0">
                  <a:solidFill>
                    <a:sysClr val="window" lastClr="FFFFFF"/>
                  </a:solidFill>
                  <a:latin typeface="Calibri" pitchFamily="34" charset="0"/>
                  <a:cs typeface="+mn-cs"/>
                </a:rPr>
                <a:t>Plans</a:t>
              </a:r>
              <a:endParaRPr kumimoji="0" lang="en-US" sz="1050" b="1" i="0" u="none" strike="noStrike" kern="0" cap="none" spc="0" normalizeH="0" baseline="0" noProof="0" dirty="0" smtClean="0">
                <a:ln>
                  <a:noFill/>
                </a:ln>
                <a:solidFill>
                  <a:sysClr val="window" lastClr="FFFFFF"/>
                </a:solidFill>
                <a:effectLst/>
                <a:uLnTx/>
                <a:uFillTx/>
                <a:latin typeface="Calibri" pitchFamily="34" charset="0"/>
                <a:ea typeface="+mn-ea"/>
                <a:cs typeface="+mn-cs"/>
              </a:endParaRPr>
            </a:p>
          </p:txBody>
        </p:sp>
        <p:sp>
          <p:nvSpPr>
            <p:cNvPr id="89" name="Rounded Rectangle 88"/>
            <p:cNvSpPr/>
            <p:nvPr/>
          </p:nvSpPr>
          <p:spPr bwMode="auto">
            <a:xfrm>
              <a:off x="6243211" y="2246080"/>
              <a:ext cx="989676" cy="386986"/>
            </a:xfrm>
            <a:prstGeom prst="roundRect">
              <a:avLst/>
            </a:prstGeom>
            <a:solidFill>
              <a:srgbClr val="0098CC"/>
            </a:solidFill>
            <a:ln w="25400" cap="flat" cmpd="sng" algn="ctr">
              <a:noFill/>
              <a:prstDash val="soli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ysClr val="window" lastClr="FFFFFF"/>
                  </a:solidFill>
                  <a:effectLst/>
                  <a:uLnTx/>
                  <a:uFillTx/>
                  <a:latin typeface="Calibri" pitchFamily="34" charset="0"/>
                  <a:ea typeface="+mn-ea"/>
                  <a:cs typeface="+mn-cs"/>
                </a:rPr>
                <a:t>Splits &amp; Payouts</a:t>
              </a:r>
              <a:endParaRPr kumimoji="0" lang="en-US" sz="1050" b="1" i="0" u="none" strike="noStrike" kern="0" cap="none" spc="0" normalizeH="0" baseline="0" noProof="0" dirty="0">
                <a:ln>
                  <a:noFill/>
                </a:ln>
                <a:solidFill>
                  <a:sysClr val="window" lastClr="FFFFFF"/>
                </a:solidFill>
                <a:effectLst/>
                <a:uLnTx/>
                <a:uFillTx/>
                <a:latin typeface="Calibri" pitchFamily="34" charset="0"/>
                <a:ea typeface="+mn-ea"/>
                <a:cs typeface="+mn-cs"/>
              </a:endParaRPr>
            </a:p>
          </p:txBody>
        </p:sp>
      </p:grpSp>
      <p:sp>
        <p:nvSpPr>
          <p:cNvPr id="90" name="Round Same Side Corner Rectangle 89"/>
          <p:cNvSpPr/>
          <p:nvPr/>
        </p:nvSpPr>
        <p:spPr bwMode="auto">
          <a:xfrm>
            <a:off x="4525812" y="2564218"/>
            <a:ext cx="2948860" cy="353943"/>
          </a:xfrm>
          <a:prstGeom prst="round2SameRect">
            <a:avLst>
              <a:gd name="adj1" fmla="val 39543"/>
              <a:gd name="adj2" fmla="val 0"/>
            </a:avLst>
          </a:prstGeom>
          <a:solidFill>
            <a:srgbClr val="00234B"/>
          </a:solidFill>
          <a:ln w="6350" cap="flat" cmpd="sng" algn="ctr">
            <a:solidFill>
              <a:srgbClr val="00234B"/>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hangingPunct="0">
              <a:lnSpc>
                <a:spcPct val="85000"/>
              </a:lnSpc>
            </a:pPr>
            <a:r>
              <a:rPr lang="en-US" sz="1600" b="1" kern="0" dirty="0" smtClean="0">
                <a:solidFill>
                  <a:sysClr val="window" lastClr="FFFFFF"/>
                </a:solidFill>
                <a:latin typeface="Calibri" pitchFamily="34" charset="0"/>
                <a:cs typeface="Arial" charset="0"/>
              </a:rPr>
              <a:t>Oracle SPM Cloud</a:t>
            </a:r>
            <a:endParaRPr lang="en-US" sz="1600" b="1" kern="0" dirty="0">
              <a:solidFill>
                <a:sysClr val="window" lastClr="FFFFFF"/>
              </a:solidFill>
              <a:latin typeface="Calibri" pitchFamily="34" charset="0"/>
              <a:cs typeface="Arial" charset="0"/>
            </a:endParaRPr>
          </a:p>
        </p:txBody>
      </p:sp>
      <p:sp>
        <p:nvSpPr>
          <p:cNvPr id="91" name="Content Placeholder 2"/>
          <p:cNvSpPr>
            <a:spLocks noGrp="1"/>
          </p:cNvSpPr>
          <p:nvPr>
            <p:ph idx="4294967295"/>
          </p:nvPr>
        </p:nvSpPr>
        <p:spPr>
          <a:xfrm>
            <a:off x="298516" y="3785787"/>
            <a:ext cx="8455608" cy="2495370"/>
          </a:xfrm>
          <a:prstGeom prst="rect">
            <a:avLst/>
          </a:prstGeom>
        </p:spPr>
        <p:txBody>
          <a:bodyPr>
            <a:normAutofit/>
          </a:bodyPr>
          <a:lstStyle/>
          <a:p>
            <a:r>
              <a:rPr lang="en-US" dirty="0" smtClean="0">
                <a:latin typeface="Candara" pitchFamily="34" charset="0"/>
              </a:rPr>
              <a:t>Stabilizing Oracle SPM Cloud scheduled for January 2017 Go Live</a:t>
            </a:r>
          </a:p>
          <a:p>
            <a:endParaRPr lang="en-US" dirty="0" smtClean="0">
              <a:latin typeface="Candara" pitchFamily="34" charset="0"/>
            </a:endParaRPr>
          </a:p>
          <a:p>
            <a:r>
              <a:rPr lang="en-US" dirty="0" smtClean="0">
                <a:latin typeface="Candara" pitchFamily="34" charset="0"/>
              </a:rPr>
              <a:t>Monitoring deployed Sales Cloud and CPQ Cloud Applications</a:t>
            </a:r>
          </a:p>
          <a:p>
            <a:endParaRPr lang="en-US" dirty="0" smtClean="0">
              <a:latin typeface="Candara" pitchFamily="34" charset="0"/>
            </a:endParaRPr>
          </a:p>
          <a:p>
            <a:r>
              <a:rPr lang="en-US" dirty="0" smtClean="0">
                <a:latin typeface="Candara" pitchFamily="34" charset="0"/>
              </a:rPr>
              <a:t>Evaluating Production issues and working with business to forge fixes</a:t>
            </a:r>
          </a:p>
          <a:p>
            <a:endParaRPr lang="en-US" dirty="0">
              <a:latin typeface="Candara" pitchFamily="34" charset="0"/>
            </a:endParaRPr>
          </a:p>
          <a:p>
            <a:r>
              <a:rPr lang="en-US" dirty="0" smtClean="0">
                <a:latin typeface="Candara" pitchFamily="34" charset="0"/>
              </a:rPr>
              <a:t>Planning and Delivering Enhancements/Change Requests in a suitable timeframe</a:t>
            </a:r>
          </a:p>
        </p:txBody>
      </p:sp>
    </p:spTree>
    <p:extLst>
      <p:ext uri="{BB962C8B-B14F-4D97-AF65-F5344CB8AC3E}">
        <p14:creationId xmlns:p14="http://schemas.microsoft.com/office/powerpoint/2010/main" val="247902691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00000"/>
              </a:lnSpc>
            </a:pPr>
            <a:r>
              <a:rPr lang="en-US" sz="2400" dirty="0" smtClean="0"/>
              <a:t>CRM Delivery Model – Quarterly Releases</a:t>
            </a:r>
            <a:endParaRPr lang="en-US" sz="2400" b="1" dirty="0">
              <a:solidFill>
                <a:srgbClr val="0070C0"/>
              </a:solidFill>
            </a:endParaRPr>
          </a:p>
        </p:txBody>
      </p:sp>
      <p:graphicFrame>
        <p:nvGraphicFramePr>
          <p:cNvPr id="4" name="Group 717"/>
          <p:cNvGraphicFramePr>
            <a:graphicFrameLocks noGrp="1"/>
          </p:cNvGraphicFramePr>
          <p:nvPr>
            <p:extLst>
              <p:ext uri="{D42A27DB-BD31-4B8C-83A1-F6EECF244321}">
                <p14:modId xmlns:p14="http://schemas.microsoft.com/office/powerpoint/2010/main" val="2850136001"/>
              </p:ext>
            </p:extLst>
          </p:nvPr>
        </p:nvGraphicFramePr>
        <p:xfrm>
          <a:off x="94652" y="1500296"/>
          <a:ext cx="8874272" cy="3624720"/>
        </p:xfrm>
        <a:graphic>
          <a:graphicData uri="http://schemas.openxmlformats.org/drawingml/2006/table">
            <a:tbl>
              <a:tblPr/>
              <a:tblGrid>
                <a:gridCol w="1868057"/>
                <a:gridCol w="1045507"/>
                <a:gridCol w="484436"/>
                <a:gridCol w="456356"/>
                <a:gridCol w="456356"/>
                <a:gridCol w="456356"/>
                <a:gridCol w="456356"/>
                <a:gridCol w="456356"/>
                <a:gridCol w="456356"/>
                <a:gridCol w="456356"/>
                <a:gridCol w="456356"/>
                <a:gridCol w="456356"/>
                <a:gridCol w="456356"/>
                <a:gridCol w="456356"/>
                <a:gridCol w="456356"/>
              </a:tblGrid>
              <a:tr h="200176">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cap="none" normalizeH="0" baseline="0" dirty="0" smtClean="0">
                          <a:ln>
                            <a:noFill/>
                          </a:ln>
                          <a:solidFill>
                            <a:schemeClr val="bg1"/>
                          </a:solidFill>
                          <a:effectLst/>
                          <a:latin typeface="Arial" charset="0"/>
                        </a:rPr>
                        <a:t>Project Schedule</a:t>
                      </a:r>
                    </a:p>
                  </a:txBody>
                  <a:tcPr marL="84406" marR="84406" anchor="ctr" horzOverflow="overflow">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rgbClr val="2E3192"/>
                    </a:solid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dirty="0" err="1" smtClean="0">
                          <a:ln>
                            <a:noFill/>
                          </a:ln>
                          <a:solidFill>
                            <a:schemeClr val="bg1"/>
                          </a:solidFill>
                          <a:effectLst/>
                          <a:latin typeface="Arial" charset="0"/>
                        </a:rPr>
                        <a:t>Wk</a:t>
                      </a:r>
                      <a:r>
                        <a:rPr kumimoji="0" lang="en-US" sz="1100" b="1" i="0" u="none" strike="noStrike" cap="none" normalizeH="0" baseline="0" dirty="0" smtClean="0">
                          <a:ln>
                            <a:noFill/>
                          </a:ln>
                          <a:solidFill>
                            <a:schemeClr val="bg1"/>
                          </a:solidFill>
                          <a:effectLst/>
                          <a:latin typeface="Arial" charset="0"/>
                        </a:rPr>
                        <a:t> 1</a:t>
                      </a:r>
                    </a:p>
                  </a:txBody>
                  <a:tcPr marL="67525" marR="0" anchor="ctr"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rgbClr val="2E319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cap="none" normalizeH="0" baseline="0" dirty="0" err="1" smtClean="0">
                          <a:ln>
                            <a:noFill/>
                          </a:ln>
                          <a:solidFill>
                            <a:schemeClr val="bg1"/>
                          </a:solidFill>
                          <a:effectLst/>
                          <a:latin typeface="Arial" charset="0"/>
                        </a:rPr>
                        <a:t>Wk</a:t>
                      </a:r>
                      <a:r>
                        <a:rPr kumimoji="0" lang="en-US" sz="1100" b="1" i="0" u="none" strike="noStrike" cap="none" normalizeH="0" baseline="0" dirty="0" smtClean="0">
                          <a:ln>
                            <a:noFill/>
                          </a:ln>
                          <a:solidFill>
                            <a:schemeClr val="bg1"/>
                          </a:solidFill>
                          <a:effectLst/>
                          <a:latin typeface="Arial" charset="0"/>
                        </a:rPr>
                        <a:t> 2</a:t>
                      </a:r>
                    </a:p>
                  </a:txBody>
                  <a:tcPr marL="67525" marR="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rgbClr val="2E319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cap="none" normalizeH="0" baseline="0" dirty="0" err="1" smtClean="0">
                          <a:ln>
                            <a:noFill/>
                          </a:ln>
                          <a:solidFill>
                            <a:schemeClr val="bg1"/>
                          </a:solidFill>
                          <a:effectLst/>
                          <a:latin typeface="Arial" charset="0"/>
                        </a:rPr>
                        <a:t>Wk</a:t>
                      </a:r>
                      <a:r>
                        <a:rPr kumimoji="0" lang="en-US" sz="1100" b="1" i="0" u="none" strike="noStrike" cap="none" normalizeH="0" baseline="0" dirty="0" smtClean="0">
                          <a:ln>
                            <a:noFill/>
                          </a:ln>
                          <a:solidFill>
                            <a:schemeClr val="bg1"/>
                          </a:solidFill>
                          <a:effectLst/>
                          <a:latin typeface="Arial" charset="0"/>
                        </a:rPr>
                        <a:t> 3</a:t>
                      </a:r>
                    </a:p>
                  </a:txBody>
                  <a:tcPr marL="67525" marR="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rgbClr val="2E319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cap="none" normalizeH="0" baseline="0" dirty="0" err="1" smtClean="0">
                          <a:ln>
                            <a:noFill/>
                          </a:ln>
                          <a:solidFill>
                            <a:schemeClr val="bg1"/>
                          </a:solidFill>
                          <a:effectLst/>
                          <a:latin typeface="Arial" charset="0"/>
                        </a:rPr>
                        <a:t>Wk</a:t>
                      </a:r>
                      <a:r>
                        <a:rPr kumimoji="0" lang="en-US" sz="1100" b="1" i="0" u="none" strike="noStrike" cap="none" normalizeH="0" baseline="0" dirty="0" smtClean="0">
                          <a:ln>
                            <a:noFill/>
                          </a:ln>
                          <a:solidFill>
                            <a:schemeClr val="bg1"/>
                          </a:solidFill>
                          <a:effectLst/>
                          <a:latin typeface="Arial" charset="0"/>
                        </a:rPr>
                        <a:t> 4</a:t>
                      </a:r>
                    </a:p>
                  </a:txBody>
                  <a:tcPr marL="67525" marR="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rgbClr val="2E319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cap="none" normalizeH="0" baseline="0" dirty="0" err="1" smtClean="0">
                          <a:ln>
                            <a:noFill/>
                          </a:ln>
                          <a:solidFill>
                            <a:schemeClr val="bg1"/>
                          </a:solidFill>
                          <a:effectLst/>
                          <a:latin typeface="Arial" charset="0"/>
                        </a:rPr>
                        <a:t>Wk</a:t>
                      </a:r>
                      <a:r>
                        <a:rPr kumimoji="0" lang="en-US" sz="1100" b="1" i="0" u="none" strike="noStrike" cap="none" normalizeH="0" baseline="0" dirty="0" smtClean="0">
                          <a:ln>
                            <a:noFill/>
                          </a:ln>
                          <a:solidFill>
                            <a:schemeClr val="bg1"/>
                          </a:solidFill>
                          <a:effectLst/>
                          <a:latin typeface="Arial" charset="0"/>
                        </a:rPr>
                        <a:t> 5</a:t>
                      </a:r>
                    </a:p>
                  </a:txBody>
                  <a:tcPr marL="67525" marR="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rgbClr val="2E319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cap="none" normalizeH="0" baseline="0" dirty="0" err="1" smtClean="0">
                          <a:ln>
                            <a:noFill/>
                          </a:ln>
                          <a:solidFill>
                            <a:schemeClr val="bg1"/>
                          </a:solidFill>
                          <a:effectLst/>
                          <a:latin typeface="Arial" charset="0"/>
                        </a:rPr>
                        <a:t>Wk</a:t>
                      </a:r>
                      <a:r>
                        <a:rPr kumimoji="0" lang="en-US" sz="1100" b="1" i="0" u="none" strike="noStrike" cap="none" normalizeH="0" baseline="0" dirty="0" smtClean="0">
                          <a:ln>
                            <a:noFill/>
                          </a:ln>
                          <a:solidFill>
                            <a:schemeClr val="bg1"/>
                          </a:solidFill>
                          <a:effectLst/>
                          <a:latin typeface="Arial" charset="0"/>
                        </a:rPr>
                        <a:t> 6</a:t>
                      </a:r>
                    </a:p>
                  </a:txBody>
                  <a:tcPr marL="67525" marR="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rgbClr val="2E319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cap="none" normalizeH="0" baseline="0" dirty="0" err="1" smtClean="0">
                          <a:ln>
                            <a:noFill/>
                          </a:ln>
                          <a:solidFill>
                            <a:schemeClr val="bg1"/>
                          </a:solidFill>
                          <a:effectLst/>
                          <a:latin typeface="Arial" charset="0"/>
                        </a:rPr>
                        <a:t>Wk</a:t>
                      </a:r>
                      <a:r>
                        <a:rPr kumimoji="0" lang="en-US" sz="1100" b="1" i="0" u="none" strike="noStrike" cap="none" normalizeH="0" baseline="0" dirty="0" smtClean="0">
                          <a:ln>
                            <a:noFill/>
                          </a:ln>
                          <a:solidFill>
                            <a:schemeClr val="bg1"/>
                          </a:solidFill>
                          <a:effectLst/>
                          <a:latin typeface="Arial" charset="0"/>
                        </a:rPr>
                        <a:t> 7</a:t>
                      </a:r>
                    </a:p>
                  </a:txBody>
                  <a:tcPr marL="67525" marR="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rgbClr val="2E319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cap="none" normalizeH="0" baseline="0" dirty="0" err="1" smtClean="0">
                          <a:ln>
                            <a:noFill/>
                          </a:ln>
                          <a:solidFill>
                            <a:schemeClr val="bg1"/>
                          </a:solidFill>
                          <a:effectLst/>
                          <a:latin typeface="Arial" charset="0"/>
                        </a:rPr>
                        <a:t>Wk</a:t>
                      </a:r>
                      <a:r>
                        <a:rPr kumimoji="0" lang="en-US" sz="1100" b="1" i="0" u="none" strike="noStrike" cap="none" normalizeH="0" baseline="0" dirty="0" smtClean="0">
                          <a:ln>
                            <a:noFill/>
                          </a:ln>
                          <a:solidFill>
                            <a:schemeClr val="bg1"/>
                          </a:solidFill>
                          <a:effectLst/>
                          <a:latin typeface="Arial" charset="0"/>
                        </a:rPr>
                        <a:t> 8</a:t>
                      </a:r>
                    </a:p>
                  </a:txBody>
                  <a:tcPr marL="67525" marR="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rgbClr val="2E319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cap="none" normalizeH="0" baseline="0" dirty="0" err="1" smtClean="0">
                          <a:ln>
                            <a:noFill/>
                          </a:ln>
                          <a:solidFill>
                            <a:schemeClr val="bg1"/>
                          </a:solidFill>
                          <a:effectLst/>
                          <a:latin typeface="Arial" charset="0"/>
                        </a:rPr>
                        <a:t>Wk</a:t>
                      </a:r>
                      <a:r>
                        <a:rPr kumimoji="0" lang="en-US" sz="1100" b="1" i="0" u="none" strike="noStrike" cap="none" normalizeH="0" baseline="0" dirty="0" smtClean="0">
                          <a:ln>
                            <a:noFill/>
                          </a:ln>
                          <a:solidFill>
                            <a:schemeClr val="bg1"/>
                          </a:solidFill>
                          <a:effectLst/>
                          <a:latin typeface="Arial" charset="0"/>
                        </a:rPr>
                        <a:t> 9</a:t>
                      </a:r>
                    </a:p>
                  </a:txBody>
                  <a:tcPr marL="67525" marR="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rgbClr val="2E319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cap="none" normalizeH="0" baseline="0" dirty="0" err="1" smtClean="0">
                          <a:ln>
                            <a:noFill/>
                          </a:ln>
                          <a:solidFill>
                            <a:schemeClr val="bg1"/>
                          </a:solidFill>
                          <a:effectLst/>
                          <a:latin typeface="Arial" charset="0"/>
                        </a:rPr>
                        <a:t>Wk</a:t>
                      </a:r>
                      <a:r>
                        <a:rPr kumimoji="0" lang="en-US" sz="1100" b="1" i="0" u="none" strike="noStrike" cap="none" normalizeH="0" baseline="0" dirty="0" smtClean="0">
                          <a:ln>
                            <a:noFill/>
                          </a:ln>
                          <a:solidFill>
                            <a:schemeClr val="bg1"/>
                          </a:solidFill>
                          <a:effectLst/>
                          <a:latin typeface="Arial" charset="0"/>
                        </a:rPr>
                        <a:t> 10</a:t>
                      </a:r>
                    </a:p>
                  </a:txBody>
                  <a:tcPr marL="67525" marR="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rgbClr val="2E319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cap="none" normalizeH="0" baseline="0" dirty="0" err="1" smtClean="0">
                          <a:ln>
                            <a:noFill/>
                          </a:ln>
                          <a:solidFill>
                            <a:schemeClr val="bg1"/>
                          </a:solidFill>
                          <a:effectLst/>
                          <a:latin typeface="Arial" charset="0"/>
                        </a:rPr>
                        <a:t>Wk</a:t>
                      </a:r>
                      <a:r>
                        <a:rPr kumimoji="0" lang="en-US" sz="1100" b="1" i="0" u="none" strike="noStrike" cap="none" normalizeH="0" baseline="0" dirty="0" smtClean="0">
                          <a:ln>
                            <a:noFill/>
                          </a:ln>
                          <a:solidFill>
                            <a:schemeClr val="bg1"/>
                          </a:solidFill>
                          <a:effectLst/>
                          <a:latin typeface="Arial" charset="0"/>
                        </a:rPr>
                        <a:t> 11</a:t>
                      </a:r>
                    </a:p>
                  </a:txBody>
                  <a:tcPr marL="67525" marR="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rgbClr val="2E319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cap="none" normalizeH="0" baseline="0" dirty="0" err="1" smtClean="0">
                          <a:ln>
                            <a:noFill/>
                          </a:ln>
                          <a:solidFill>
                            <a:schemeClr val="bg1"/>
                          </a:solidFill>
                          <a:effectLst/>
                          <a:latin typeface="Arial" charset="0"/>
                        </a:rPr>
                        <a:t>Wk</a:t>
                      </a:r>
                      <a:r>
                        <a:rPr kumimoji="0" lang="en-US" sz="1100" b="1" i="0" u="none" strike="noStrike" cap="none" normalizeH="0" baseline="0" dirty="0" smtClean="0">
                          <a:ln>
                            <a:noFill/>
                          </a:ln>
                          <a:solidFill>
                            <a:schemeClr val="bg1"/>
                          </a:solidFill>
                          <a:effectLst/>
                          <a:latin typeface="Arial" charset="0"/>
                        </a:rPr>
                        <a:t> 12</a:t>
                      </a:r>
                    </a:p>
                  </a:txBody>
                  <a:tcPr marL="67525" marR="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rgbClr val="2E319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cap="none" normalizeH="0" baseline="0" dirty="0" err="1" smtClean="0">
                          <a:ln>
                            <a:noFill/>
                          </a:ln>
                          <a:solidFill>
                            <a:schemeClr val="bg1"/>
                          </a:solidFill>
                          <a:effectLst/>
                          <a:latin typeface="Arial" charset="0"/>
                        </a:rPr>
                        <a:t>Wk</a:t>
                      </a:r>
                      <a:r>
                        <a:rPr kumimoji="0" lang="en-US" sz="1100" b="1" i="0" u="none" strike="noStrike" cap="none" normalizeH="0" baseline="0" dirty="0" smtClean="0">
                          <a:ln>
                            <a:noFill/>
                          </a:ln>
                          <a:solidFill>
                            <a:schemeClr val="bg1"/>
                          </a:solidFill>
                          <a:effectLst/>
                          <a:latin typeface="Arial" charset="0"/>
                        </a:rPr>
                        <a:t> 13</a:t>
                      </a:r>
                    </a:p>
                  </a:txBody>
                  <a:tcPr marL="67525" marR="0" anchor="ctr"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rgbClr val="2E3192"/>
                    </a:solidFill>
                  </a:tcPr>
                </a:tc>
              </a:tr>
              <a:tr h="201949">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rPr>
                        <a:t>Analysis</a:t>
                      </a:r>
                    </a:p>
                  </a:txBody>
                  <a:tcPr marL="83077" marR="83077" marT="46800" marB="46800" horzOverflow="overflow">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h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38100" cap="flat" cmpd="sng" algn="ctr">
                      <a:solidFill>
                        <a:schemeClr val="tx1"/>
                      </a:solidFill>
                      <a:prstDash val="solid"/>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r>
              <a:tr h="201949">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rPr>
                        <a:t>Design</a:t>
                      </a:r>
                    </a:p>
                  </a:txBody>
                  <a:tcPr marL="83077" marR="83077" marT="46800" marB="46800" horzOverflow="overflow">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h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38100" cap="flat" cmpd="sng" algn="ctr">
                      <a:solidFill>
                        <a:schemeClr val="tx1"/>
                      </a:solidFill>
                      <a:prstDash val="solid"/>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r>
              <a:tr h="201949">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cap="none" normalizeH="0" baseline="0" dirty="0" smtClean="0">
                          <a:ln>
                            <a:noFill/>
                          </a:ln>
                          <a:solidFill>
                            <a:schemeClr val="tx1"/>
                          </a:solidFill>
                          <a:effectLst/>
                          <a:latin typeface="Arial" charset="0"/>
                        </a:rPr>
                        <a:t>Configure &amp; Test</a:t>
                      </a:r>
                    </a:p>
                  </a:txBody>
                  <a:tcPr marL="83077" marR="83077" marT="46800" marB="46800" horzOverflow="overflow">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h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38100" cap="flat" cmpd="sng" algn="ctr">
                      <a:solidFill>
                        <a:schemeClr val="tx1"/>
                      </a:solidFill>
                      <a:prstDash val="solid"/>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r>
              <a:tr h="201949">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cap="none" normalizeH="0" baseline="0" dirty="0" smtClean="0">
                          <a:ln>
                            <a:noFill/>
                          </a:ln>
                          <a:solidFill>
                            <a:schemeClr val="tx1"/>
                          </a:solidFill>
                          <a:effectLst/>
                          <a:latin typeface="Arial" charset="0"/>
                        </a:rPr>
                        <a:t>UAT Support &amp; Go Live Readiness</a:t>
                      </a:r>
                    </a:p>
                  </a:txBody>
                  <a:tcPr marL="83077" marR="83077" marT="46800" marB="46800" horzOverflow="overflow">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h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38100" cap="flat" cmpd="sng" algn="ctr">
                      <a:solidFill>
                        <a:schemeClr val="tx1"/>
                      </a:solidFill>
                      <a:prstDash val="solid"/>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r>
              <a:tr h="201949">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cap="none" normalizeH="0" baseline="0" dirty="0" smtClean="0">
                          <a:ln>
                            <a:noFill/>
                          </a:ln>
                          <a:solidFill>
                            <a:schemeClr val="tx1"/>
                          </a:solidFill>
                          <a:effectLst/>
                          <a:latin typeface="Arial" charset="0"/>
                        </a:rPr>
                        <a:t>Deploy And </a:t>
                      </a:r>
                      <a:r>
                        <a:rPr kumimoji="0" lang="en-US" sz="1000" b="1" i="0" u="none" strike="noStrike" cap="none" normalizeH="0" baseline="0" dirty="0" err="1" smtClean="0">
                          <a:ln>
                            <a:noFill/>
                          </a:ln>
                          <a:solidFill>
                            <a:schemeClr val="tx1"/>
                          </a:solidFill>
                          <a:effectLst/>
                          <a:latin typeface="Arial" charset="0"/>
                        </a:rPr>
                        <a:t>Hypercare</a:t>
                      </a:r>
                      <a:endParaRPr kumimoji="0" lang="en-US" sz="1000" b="1" i="0" u="none" strike="noStrike" cap="none" normalizeH="0" baseline="0" dirty="0" smtClean="0">
                        <a:ln>
                          <a:noFill/>
                        </a:ln>
                        <a:solidFill>
                          <a:schemeClr val="tx1"/>
                        </a:solidFill>
                        <a:effectLst/>
                        <a:latin typeface="Arial" charset="0"/>
                      </a:endParaRPr>
                    </a:p>
                  </a:txBody>
                  <a:tcPr marL="83077" marR="83077" marT="46800" marB="46800" horzOverflow="overflow">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h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38100" cap="flat" cmpd="sng" algn="ctr">
                      <a:solidFill>
                        <a:schemeClr val="tx1"/>
                      </a:solidFill>
                      <a:prstDash val="solid"/>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r>
              <a:tr h="201949">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bg1"/>
                          </a:solidFill>
                          <a:effectLst/>
                          <a:latin typeface="Arial" charset="0"/>
                        </a:rPr>
                        <a:t>Capgemini Resources (Indicative)</a:t>
                      </a:r>
                    </a:p>
                  </a:txBody>
                  <a:tcPr marL="83077" marR="83077" marT="46800" marB="46800" horzOverflow="overflow">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2E3192"/>
                    </a:solidFill>
                  </a:tcPr>
                </a:tc>
                <a:tc h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dirty="0" smtClean="0">
                        <a:ln>
                          <a:noFill/>
                        </a:ln>
                        <a:solidFill>
                          <a:schemeClr val="tx1"/>
                        </a:solidFill>
                        <a:effectLst/>
                        <a:latin typeface="Arial" charset="0"/>
                      </a:endParaRPr>
                    </a:p>
                  </a:txBody>
                  <a:tcPr marL="90000" marR="90000" marT="46800" marB="46800" horzOverflow="overflow">
                    <a:lnL w="12700" cap="flat" cmpd="sng" algn="ctr">
                      <a:solidFill>
                        <a:schemeClr val="accent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2">
                        <a:lumMod val="85000"/>
                      </a:schemeClr>
                    </a:solidFill>
                  </a:tcPr>
                </a:tc>
                <a:tc gridSpan="1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bg1"/>
                        </a:solidFill>
                        <a:effectLst/>
                        <a:latin typeface="Arial" charset="0"/>
                      </a:endParaRPr>
                    </a:p>
                  </a:txBody>
                  <a:tcPr marL="83077" marR="83077" marT="46800" marB="46800" horzOverflow="overflow">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2E319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90000" marR="90000"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bg1"/>
                        </a:solidFill>
                        <a:effectLst/>
                        <a:latin typeface="Arial" charset="0"/>
                      </a:endParaRPr>
                    </a:p>
                  </a:txBody>
                  <a:tcPr marL="83077" marR="83077" marT="46800" marB="46800" horzOverflow="overflow">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2E319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bg1"/>
                        </a:solidFill>
                        <a:effectLst/>
                        <a:latin typeface="Arial" charset="0"/>
                      </a:endParaRPr>
                    </a:p>
                  </a:txBody>
                  <a:tcPr marL="83077" marR="83077" marT="46800" marB="46800" horzOverflow="overflow">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2E3192"/>
                    </a:solidFill>
                  </a:tcPr>
                </a:tc>
              </a:tr>
              <a:tr h="201949">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Functional /Test Analyst</a:t>
                      </a:r>
                    </a:p>
                  </a:txBody>
                  <a:tcPr marL="83077" marR="83077" marT="46800" marB="46800" horzOverflow="overflow">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h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90000" marR="90000" marT="46800" marB="46800" horzOverflow="overflow">
                    <a:lnL w="12700" cap="flat" cmpd="sng" algn="ctr">
                      <a:solidFill>
                        <a:schemeClr val="accent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38100" cap="flat" cmpd="sng" algn="ctr">
                      <a:solidFill>
                        <a:schemeClr val="tx1"/>
                      </a:solidFill>
                      <a:prstDash val="solid"/>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r>
              <a:tr h="201949">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Technical / Configuration Specialist</a:t>
                      </a:r>
                    </a:p>
                  </a:txBody>
                  <a:tcPr marL="83077" marR="83077" marT="46800" marB="46800" horzOverflow="overflow">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h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90000" marR="90000" marT="46800" marB="46800" horzOverflow="overflow">
                    <a:lnL w="12700" cap="flat" cmpd="sng" algn="ctr">
                      <a:solidFill>
                        <a:schemeClr val="accent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38100" cap="flat" cmpd="sng" algn="ctr">
                      <a:solidFill>
                        <a:schemeClr val="tx1"/>
                      </a:solidFill>
                      <a:prstDash val="solid"/>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r>
              <a:tr h="201949">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Data Analyst</a:t>
                      </a:r>
                    </a:p>
                  </a:txBody>
                  <a:tcPr marL="83077" marR="83077" marT="46800" marB="46800" horzOverflow="overflow">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h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38100" cap="flat" cmpd="sng" algn="ctr">
                      <a:solidFill>
                        <a:schemeClr val="tx1"/>
                      </a:solidFill>
                      <a:prstDash val="solid"/>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r>
              <a:tr h="20194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bg1"/>
                          </a:solidFill>
                          <a:effectLst/>
                          <a:latin typeface="Arial" charset="0"/>
                        </a:rPr>
                        <a:t>Client Resources</a:t>
                      </a:r>
                    </a:p>
                  </a:txBody>
                  <a:tcPr marL="83077" marR="83077" marT="46800" marB="46800" horzOverflow="overflow">
                    <a:lnL w="38100" cap="flat" cmpd="sng" algn="ctr">
                      <a:solidFill>
                        <a:schemeClr val="tx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2E319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bg1"/>
                          </a:solidFill>
                          <a:effectLst/>
                          <a:latin typeface="Arial" charset="0"/>
                        </a:rPr>
                        <a:t>Area</a:t>
                      </a:r>
                    </a:p>
                  </a:txBody>
                  <a:tcPr marL="83077" marR="83077" marT="46800" marB="46800" horzOverflow="overflow">
                    <a:lnL w="12700" cap="flat" cmpd="sng" algn="ctr">
                      <a:solidFill>
                        <a:schemeClr val="accent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2E3192"/>
                    </a:solidFill>
                  </a:tcPr>
                </a:tc>
                <a:tc gridSpan="1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bg1"/>
                        </a:solidFill>
                        <a:effectLst/>
                        <a:latin typeface="Arial" charset="0"/>
                      </a:endParaRPr>
                    </a:p>
                  </a:txBody>
                  <a:tcPr marL="83077" marR="83077" marT="46800" marB="46800" horzOverflow="overflow">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2E3192"/>
                    </a:solidFill>
                  </a:tcPr>
                </a:tc>
                <a:tc hMerge="1">
                  <a:txBody>
                    <a:bodyPr/>
                    <a:lstStyle/>
                    <a:p>
                      <a:endParaRPr lang="en-US"/>
                    </a:p>
                  </a:txBody>
                  <a:tcPr/>
                </a:tc>
                <a:tc h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90000" marR="90000"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lumMod val="85000"/>
                      </a:schemeClr>
                    </a:solidFill>
                  </a:tcPr>
                </a:tc>
                <a:tc h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90000" marR="90000"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lumMod val="85000"/>
                      </a:schemeClr>
                    </a:solidFill>
                  </a:tcPr>
                </a:tc>
                <a:tc h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90000" marR="90000"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lumMod val="85000"/>
                      </a:schemeClr>
                    </a:solidFill>
                  </a:tcPr>
                </a:tc>
                <a:tc h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90000" marR="90000"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lumMod val="85000"/>
                      </a:schemeClr>
                    </a:solidFill>
                  </a:tcPr>
                </a:tc>
                <a:tc h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90000" marR="90000"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lumMod val="85000"/>
                      </a:schemeClr>
                    </a:solidFill>
                  </a:tcPr>
                </a:tc>
                <a:tc h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90000" marR="90000"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lumMod val="85000"/>
                      </a:schemeClr>
                    </a:solidFill>
                  </a:tcPr>
                </a:tc>
                <a:tc h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90000" marR="90000"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lumMod val="85000"/>
                      </a:schemeClr>
                    </a:solidFill>
                  </a:tcPr>
                </a:tc>
                <a:tc hMerge="1">
                  <a:txBody>
                    <a:bodyPr/>
                    <a:lstStyle/>
                    <a:p>
                      <a:endParaRPr lang="en-US"/>
                    </a:p>
                  </a:txBody>
                  <a:tcPr/>
                </a:tc>
                <a:tc h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90000" marR="90000" marT="46800" marB="46800" horzOverflow="overflow">
                    <a:lnL w="12700" cap="flat" cmpd="sng" algn="ctr">
                      <a:solidFill>
                        <a:schemeClr val="tx2">
                          <a:lumMod val="40000"/>
                          <a:lumOff val="60000"/>
                        </a:schemeClr>
                      </a:solidFill>
                      <a:prstDash val="dash"/>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bg1"/>
                        </a:solidFill>
                        <a:effectLst/>
                        <a:latin typeface="Arial" charset="0"/>
                      </a:endParaRPr>
                    </a:p>
                  </a:txBody>
                  <a:tcPr marL="83077" marR="83077" marT="46800" marB="46800" horzOverflow="overflow">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2E319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bg1"/>
                        </a:solidFill>
                        <a:effectLst/>
                        <a:latin typeface="Arial" charset="0"/>
                      </a:endParaRPr>
                    </a:p>
                  </a:txBody>
                  <a:tcPr marL="83077" marR="83077" marT="46800" marB="46800" horzOverflow="overflow">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2E3192"/>
                    </a:solidFill>
                  </a:tcPr>
                </a:tc>
              </a:tr>
              <a:tr h="20194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roject Manager</a:t>
                      </a:r>
                    </a:p>
                  </a:txBody>
                  <a:tcPr marL="83077" marR="83077" marT="46800" marB="46800" horzOverflow="overflow">
                    <a:lnL w="38100" cap="flat" cmpd="sng" algn="ctr">
                      <a:solidFill>
                        <a:schemeClr val="tx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IT</a:t>
                      </a:r>
                    </a:p>
                  </a:txBody>
                  <a:tcPr marL="83077" marR="83077" marT="46800" marB="46800" horzOverflow="overflow">
                    <a:lnL w="12700" cap="flat" cmpd="sng" algn="ctr">
                      <a:solidFill>
                        <a:schemeClr val="accent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38100" cap="flat" cmpd="sng" algn="ctr">
                      <a:solidFill>
                        <a:schemeClr val="tx1"/>
                      </a:solidFill>
                      <a:prstDash val="solid"/>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r>
              <a:tr h="20194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Business Analyst</a:t>
                      </a:r>
                    </a:p>
                  </a:txBody>
                  <a:tcPr marL="83077" marR="83077" marT="46800" marB="46800" horzOverflow="overflow">
                    <a:lnL w="38100" cap="flat" cmpd="sng" algn="ctr">
                      <a:solidFill>
                        <a:schemeClr val="tx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cap="none" normalizeH="0" baseline="0" dirty="0" smtClean="0">
                          <a:ln>
                            <a:noFill/>
                          </a:ln>
                          <a:solidFill>
                            <a:schemeClr val="tx1"/>
                          </a:solidFill>
                          <a:effectLst/>
                          <a:latin typeface="Arial" charset="0"/>
                        </a:rPr>
                        <a:t>IT</a:t>
                      </a:r>
                    </a:p>
                  </a:txBody>
                  <a:tcPr marL="83077" marR="83077" marT="46800" marB="46800" horzOverflow="overflow">
                    <a:lnL w="12700" cap="flat" cmpd="sng" algn="ctr">
                      <a:solidFill>
                        <a:schemeClr val="accent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38100" cap="flat" cmpd="sng" algn="ctr">
                      <a:solidFill>
                        <a:schemeClr val="tx1"/>
                      </a:solidFill>
                      <a:prstDash val="solid"/>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r>
              <a:tr h="20194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Sales Representative</a:t>
                      </a:r>
                    </a:p>
                  </a:txBody>
                  <a:tcPr marL="83077" marR="83077" marT="46800" marB="46800" horzOverflow="overflow">
                    <a:lnL w="38100" cap="flat" cmpd="sng" algn="ctr">
                      <a:solidFill>
                        <a:schemeClr val="tx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cap="none" normalizeH="0" baseline="0" dirty="0" smtClean="0">
                          <a:ln>
                            <a:noFill/>
                          </a:ln>
                          <a:solidFill>
                            <a:schemeClr val="tx1"/>
                          </a:solidFill>
                          <a:effectLst/>
                          <a:latin typeface="Arial" charset="0"/>
                        </a:rPr>
                        <a:t>Business</a:t>
                      </a:r>
                    </a:p>
                  </a:txBody>
                  <a:tcPr marL="83077" marR="83077" marT="46800" marB="46800" horzOverflow="overflow">
                    <a:lnL w="12700" cap="flat" cmpd="sng" algn="ctr">
                      <a:solidFill>
                        <a:schemeClr val="accent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38100" cap="flat" cmpd="sng" algn="ctr">
                      <a:solidFill>
                        <a:schemeClr val="tx1"/>
                      </a:solidFill>
                      <a:prstDash val="solid"/>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rPr>
                        <a:t>PT</a:t>
                      </a: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12700" cap="flat" cmpd="sng" algn="ctr">
                      <a:solidFill>
                        <a:schemeClr val="tx2">
                          <a:lumMod val="40000"/>
                          <a:lumOff val="60000"/>
                        </a:schemeClr>
                      </a:solidFill>
                      <a:prstDash val="dash"/>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a:txBody>
                  <a:tcPr marL="83077" marR="83077" marT="46800" marB="46800" horzOverflow="overflow">
                    <a:lnL w="12700" cap="flat" cmpd="sng" algn="ctr">
                      <a:solidFill>
                        <a:schemeClr val="tx2">
                          <a:lumMod val="40000"/>
                          <a:lumOff val="60000"/>
                        </a:schemeClr>
                      </a:solidFill>
                      <a:prstDash val="dash"/>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r>
            </a:tbl>
          </a:graphicData>
        </a:graphic>
      </p:graphicFrame>
      <p:sp>
        <p:nvSpPr>
          <p:cNvPr id="6" name="Right Arrow 5"/>
          <p:cNvSpPr/>
          <p:nvPr/>
        </p:nvSpPr>
        <p:spPr>
          <a:xfrm>
            <a:off x="3017128" y="1969972"/>
            <a:ext cx="706209" cy="137160"/>
          </a:xfrm>
          <a:prstGeom prst="rightArrow">
            <a:avLst>
              <a:gd name="adj1" fmla="val 74935"/>
              <a:gd name="adj2" fmla="val 56234"/>
            </a:avLst>
          </a:prstGeom>
          <a:solidFill>
            <a:srgbClr val="0096CC"/>
          </a:solidFill>
          <a:ln>
            <a:solidFill>
              <a:schemeClr val="accent1"/>
            </a:solidFill>
          </a:ln>
          <a:effectLst>
            <a:outerShdw blurRad="50800" dist="38100" dir="5400000" algn="t"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800" b="1" dirty="0" smtClean="0">
              <a:solidFill>
                <a:schemeClr val="tx1"/>
              </a:solidFill>
            </a:endParaRPr>
          </a:p>
        </p:txBody>
      </p:sp>
      <p:sp>
        <p:nvSpPr>
          <p:cNvPr id="7" name="Right Arrow 6"/>
          <p:cNvSpPr/>
          <p:nvPr/>
        </p:nvSpPr>
        <p:spPr>
          <a:xfrm>
            <a:off x="4409631" y="2459735"/>
            <a:ext cx="3163259" cy="137160"/>
          </a:xfrm>
          <a:prstGeom prst="rightArrow">
            <a:avLst>
              <a:gd name="adj1" fmla="val 74935"/>
              <a:gd name="adj2" fmla="val 56234"/>
            </a:avLst>
          </a:prstGeom>
          <a:solidFill>
            <a:srgbClr val="0096CC"/>
          </a:solidFill>
          <a:ln>
            <a:solidFill>
              <a:schemeClr val="accent1"/>
            </a:solidFill>
          </a:ln>
          <a:effectLst>
            <a:outerShdw blurRad="50800" dist="38100" dir="5400000" algn="t"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800" b="1" dirty="0" smtClean="0">
              <a:solidFill>
                <a:schemeClr val="tx1"/>
              </a:solidFill>
            </a:endParaRPr>
          </a:p>
        </p:txBody>
      </p:sp>
      <p:sp>
        <p:nvSpPr>
          <p:cNvPr id="8" name="Right Arrow 7"/>
          <p:cNvSpPr/>
          <p:nvPr/>
        </p:nvSpPr>
        <p:spPr>
          <a:xfrm>
            <a:off x="8525341" y="2953710"/>
            <a:ext cx="464234" cy="137160"/>
          </a:xfrm>
          <a:prstGeom prst="rightArrow">
            <a:avLst>
              <a:gd name="adj1" fmla="val 74935"/>
              <a:gd name="adj2" fmla="val 56234"/>
            </a:avLst>
          </a:prstGeom>
          <a:solidFill>
            <a:srgbClr val="0096CC"/>
          </a:solidFill>
          <a:ln>
            <a:solidFill>
              <a:schemeClr val="accent1"/>
            </a:solidFill>
          </a:ln>
          <a:effectLst>
            <a:outerShdw blurRad="50800" dist="38100" dir="5400000" algn="t"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800" b="1" dirty="0" smtClean="0">
              <a:solidFill>
                <a:schemeClr val="tx1"/>
              </a:solidFill>
            </a:endParaRPr>
          </a:p>
        </p:txBody>
      </p:sp>
      <p:sp>
        <p:nvSpPr>
          <p:cNvPr id="11" name="Right Arrow 10"/>
          <p:cNvSpPr/>
          <p:nvPr/>
        </p:nvSpPr>
        <p:spPr>
          <a:xfrm>
            <a:off x="3486685" y="2234089"/>
            <a:ext cx="1396252" cy="137160"/>
          </a:xfrm>
          <a:prstGeom prst="rightArrow">
            <a:avLst>
              <a:gd name="adj1" fmla="val 74935"/>
              <a:gd name="adj2" fmla="val 56234"/>
            </a:avLst>
          </a:prstGeom>
          <a:solidFill>
            <a:srgbClr val="0096CC"/>
          </a:solidFill>
          <a:ln>
            <a:solidFill>
              <a:schemeClr val="accent1"/>
            </a:solidFill>
          </a:ln>
          <a:effectLst>
            <a:outerShdw blurRad="50800" dist="38100" dir="5400000" algn="t"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800" b="1" dirty="0" smtClean="0">
              <a:solidFill>
                <a:schemeClr val="tx1"/>
              </a:solidFill>
            </a:endParaRPr>
          </a:p>
        </p:txBody>
      </p:sp>
      <p:sp>
        <p:nvSpPr>
          <p:cNvPr id="13" name="Right Arrow 12"/>
          <p:cNvSpPr/>
          <p:nvPr/>
        </p:nvSpPr>
        <p:spPr>
          <a:xfrm>
            <a:off x="7572889" y="2703364"/>
            <a:ext cx="931218" cy="137160"/>
          </a:xfrm>
          <a:prstGeom prst="rightArrow">
            <a:avLst>
              <a:gd name="adj1" fmla="val 74935"/>
              <a:gd name="adj2" fmla="val 56234"/>
            </a:avLst>
          </a:prstGeom>
          <a:solidFill>
            <a:srgbClr val="0096CC"/>
          </a:solidFill>
          <a:ln>
            <a:solidFill>
              <a:schemeClr val="accent1"/>
            </a:solidFill>
          </a:ln>
          <a:effectLst>
            <a:outerShdw blurRad="50800" dist="38100" dir="5400000" algn="t"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800" b="1" dirty="0" smtClean="0">
              <a:solidFill>
                <a:schemeClr val="tx1"/>
              </a:solidFill>
            </a:endParaRPr>
          </a:p>
        </p:txBody>
      </p:sp>
      <p:sp>
        <p:nvSpPr>
          <p:cNvPr id="15" name="6-Point Star 14"/>
          <p:cNvSpPr/>
          <p:nvPr/>
        </p:nvSpPr>
        <p:spPr>
          <a:xfrm>
            <a:off x="8401556" y="2571045"/>
            <a:ext cx="211015" cy="228600"/>
          </a:xfrm>
          <a:prstGeom prst="star6">
            <a:avLst/>
          </a:prstGeom>
          <a:solidFill>
            <a:srgbClr val="FF0000"/>
          </a:solidFill>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800" b="1" dirty="0">
              <a:solidFill>
                <a:schemeClr val="tx1"/>
              </a:solidFill>
              <a:latin typeface="Arial" pitchFamily="34" charset="0"/>
              <a:cs typeface="Arial" pitchFamily="34" charset="0"/>
            </a:endParaRPr>
          </a:p>
        </p:txBody>
      </p:sp>
      <p:sp>
        <p:nvSpPr>
          <p:cNvPr id="16" name="Rectangle 15"/>
          <p:cNvSpPr/>
          <p:nvPr/>
        </p:nvSpPr>
        <p:spPr>
          <a:xfrm>
            <a:off x="3103665" y="3371563"/>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17" name="Rectangle 16"/>
          <p:cNvSpPr/>
          <p:nvPr/>
        </p:nvSpPr>
        <p:spPr>
          <a:xfrm>
            <a:off x="3539418" y="3371563"/>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18" name="Rectangle 17"/>
          <p:cNvSpPr/>
          <p:nvPr/>
        </p:nvSpPr>
        <p:spPr>
          <a:xfrm>
            <a:off x="3987751" y="3373139"/>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19" name="Rectangle 18"/>
          <p:cNvSpPr/>
          <p:nvPr/>
        </p:nvSpPr>
        <p:spPr>
          <a:xfrm>
            <a:off x="4468957" y="3381685"/>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20" name="Rectangle 19"/>
          <p:cNvSpPr/>
          <p:nvPr/>
        </p:nvSpPr>
        <p:spPr>
          <a:xfrm>
            <a:off x="3066333" y="4597062"/>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21" name="Rectangle 20"/>
          <p:cNvSpPr/>
          <p:nvPr/>
        </p:nvSpPr>
        <p:spPr>
          <a:xfrm>
            <a:off x="3563381" y="4592974"/>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23" name="Rectangle 22"/>
          <p:cNvSpPr/>
          <p:nvPr/>
        </p:nvSpPr>
        <p:spPr>
          <a:xfrm>
            <a:off x="3995937" y="4608638"/>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24" name="Rectangle 23"/>
          <p:cNvSpPr/>
          <p:nvPr/>
        </p:nvSpPr>
        <p:spPr>
          <a:xfrm>
            <a:off x="4461365" y="4600092"/>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25" name="Rectangle 24"/>
          <p:cNvSpPr/>
          <p:nvPr/>
        </p:nvSpPr>
        <p:spPr>
          <a:xfrm>
            <a:off x="7229312" y="4859709"/>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27" name="Rectangle 26"/>
          <p:cNvSpPr/>
          <p:nvPr/>
        </p:nvSpPr>
        <p:spPr>
          <a:xfrm>
            <a:off x="7661868" y="4849735"/>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28" name="Rectangle 27"/>
          <p:cNvSpPr/>
          <p:nvPr/>
        </p:nvSpPr>
        <p:spPr>
          <a:xfrm>
            <a:off x="8127296" y="4858281"/>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22" name="Rectangle 21"/>
          <p:cNvSpPr/>
          <p:nvPr/>
        </p:nvSpPr>
        <p:spPr>
          <a:xfrm>
            <a:off x="4892212" y="3368555"/>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29" name="Rectangle 28"/>
          <p:cNvSpPr/>
          <p:nvPr/>
        </p:nvSpPr>
        <p:spPr>
          <a:xfrm>
            <a:off x="3541145" y="3594299"/>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30" name="Rectangle 29"/>
          <p:cNvSpPr/>
          <p:nvPr/>
        </p:nvSpPr>
        <p:spPr>
          <a:xfrm>
            <a:off x="4004898" y="3594299"/>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31" name="Rectangle 30"/>
          <p:cNvSpPr/>
          <p:nvPr/>
        </p:nvSpPr>
        <p:spPr>
          <a:xfrm>
            <a:off x="4468652" y="3584251"/>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32" name="Rectangle 31"/>
          <p:cNvSpPr/>
          <p:nvPr/>
        </p:nvSpPr>
        <p:spPr>
          <a:xfrm>
            <a:off x="4915407" y="3595979"/>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33" name="Rectangle 32"/>
          <p:cNvSpPr/>
          <p:nvPr/>
        </p:nvSpPr>
        <p:spPr>
          <a:xfrm>
            <a:off x="5377378" y="3603990"/>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34" name="Rectangle 33"/>
          <p:cNvSpPr/>
          <p:nvPr/>
        </p:nvSpPr>
        <p:spPr>
          <a:xfrm>
            <a:off x="5874426" y="3599902"/>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35" name="Rectangle 34"/>
          <p:cNvSpPr/>
          <p:nvPr/>
        </p:nvSpPr>
        <p:spPr>
          <a:xfrm>
            <a:off x="6306982" y="3615566"/>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36" name="Rectangle 35"/>
          <p:cNvSpPr/>
          <p:nvPr/>
        </p:nvSpPr>
        <p:spPr>
          <a:xfrm>
            <a:off x="6772410" y="3607020"/>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37" name="Rectangle 36"/>
          <p:cNvSpPr/>
          <p:nvPr/>
        </p:nvSpPr>
        <p:spPr>
          <a:xfrm>
            <a:off x="7169019" y="3605670"/>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38" name="Rectangle 37"/>
          <p:cNvSpPr/>
          <p:nvPr/>
        </p:nvSpPr>
        <p:spPr>
          <a:xfrm>
            <a:off x="7666067" y="3601582"/>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39" name="Rectangle 38"/>
          <p:cNvSpPr/>
          <p:nvPr/>
        </p:nvSpPr>
        <p:spPr>
          <a:xfrm>
            <a:off x="8098623" y="3617246"/>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40" name="Rectangle 39"/>
          <p:cNvSpPr/>
          <p:nvPr/>
        </p:nvSpPr>
        <p:spPr>
          <a:xfrm>
            <a:off x="8564051" y="3608700"/>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41" name="Rectangle 40"/>
          <p:cNvSpPr/>
          <p:nvPr/>
        </p:nvSpPr>
        <p:spPr>
          <a:xfrm>
            <a:off x="7124194" y="3366198"/>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42" name="Rectangle 41"/>
          <p:cNvSpPr/>
          <p:nvPr/>
        </p:nvSpPr>
        <p:spPr>
          <a:xfrm>
            <a:off x="7621242" y="3362110"/>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43" name="Rectangle 42"/>
          <p:cNvSpPr/>
          <p:nvPr/>
        </p:nvSpPr>
        <p:spPr>
          <a:xfrm>
            <a:off x="8053798" y="3377774"/>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44" name="Rectangle 43"/>
          <p:cNvSpPr/>
          <p:nvPr/>
        </p:nvSpPr>
        <p:spPr>
          <a:xfrm>
            <a:off x="8519226" y="3369228"/>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45" name="Rectangle 44"/>
          <p:cNvSpPr/>
          <p:nvPr/>
        </p:nvSpPr>
        <p:spPr>
          <a:xfrm>
            <a:off x="4013942" y="3845142"/>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46" name="Rectangle 45"/>
          <p:cNvSpPr/>
          <p:nvPr/>
        </p:nvSpPr>
        <p:spPr>
          <a:xfrm>
            <a:off x="4510990" y="3841054"/>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47" name="Rectangle 46"/>
          <p:cNvSpPr/>
          <p:nvPr/>
        </p:nvSpPr>
        <p:spPr>
          <a:xfrm>
            <a:off x="6325532" y="3856718"/>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48" name="Rectangle 47"/>
          <p:cNvSpPr/>
          <p:nvPr/>
        </p:nvSpPr>
        <p:spPr>
          <a:xfrm>
            <a:off x="6790961" y="3848172"/>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49" name="Rectangle 48"/>
          <p:cNvSpPr/>
          <p:nvPr/>
        </p:nvSpPr>
        <p:spPr>
          <a:xfrm>
            <a:off x="7209890" y="3869948"/>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50" name="Rectangle 49"/>
          <p:cNvSpPr/>
          <p:nvPr/>
        </p:nvSpPr>
        <p:spPr>
          <a:xfrm>
            <a:off x="8109572" y="3839804"/>
            <a:ext cx="346570" cy="338554"/>
          </a:xfrm>
          <a:prstGeom prst="rect">
            <a:avLst/>
          </a:prstGeom>
        </p:spPr>
        <p:txBody>
          <a:bodyPr wrap="none">
            <a:spAutoFit/>
          </a:bodyPr>
          <a:lstStyle/>
          <a:p>
            <a:r>
              <a:rPr lang="en-US" sz="1600" dirty="0" smtClean="0">
                <a:latin typeface="Arial" charset="0"/>
                <a:sym typeface="Wingdings" pitchFamily="2" charset="2"/>
              </a:rPr>
              <a:t></a:t>
            </a:r>
            <a:endParaRPr lang="en-US" sz="1600" dirty="0"/>
          </a:p>
        </p:txBody>
      </p:sp>
      <p:sp>
        <p:nvSpPr>
          <p:cNvPr id="3" name="TextBox 2"/>
          <p:cNvSpPr txBox="1"/>
          <p:nvPr/>
        </p:nvSpPr>
        <p:spPr>
          <a:xfrm>
            <a:off x="8344656" y="2379795"/>
            <a:ext cx="696793" cy="261610"/>
          </a:xfrm>
          <a:prstGeom prst="rect">
            <a:avLst/>
          </a:prstGeom>
          <a:noFill/>
        </p:spPr>
        <p:txBody>
          <a:bodyPr wrap="square" rtlCol="0">
            <a:spAutoFit/>
          </a:bodyPr>
          <a:lstStyle/>
          <a:p>
            <a:r>
              <a:rPr lang="en-US" sz="1100" b="1" dirty="0" smtClean="0">
                <a:solidFill>
                  <a:schemeClr val="tx2">
                    <a:lumMod val="50000"/>
                  </a:schemeClr>
                </a:solidFill>
              </a:rPr>
              <a:t>Go Live</a:t>
            </a:r>
          </a:p>
        </p:txBody>
      </p:sp>
    </p:spTree>
    <p:extLst>
      <p:ext uri="{BB962C8B-B14F-4D97-AF65-F5344CB8AC3E}">
        <p14:creationId xmlns:p14="http://schemas.microsoft.com/office/powerpoint/2010/main" val="126116007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00000"/>
              </a:lnSpc>
            </a:pPr>
            <a:r>
              <a:rPr lang="en-US" sz="2400" dirty="0" smtClean="0"/>
              <a:t>Key Targeted </a:t>
            </a:r>
            <a:r>
              <a:rPr lang="en-US" sz="2400" dirty="0" smtClean="0"/>
              <a:t>Focus Areas</a:t>
            </a:r>
            <a:endParaRPr lang="en-US" sz="2400" b="1" dirty="0">
              <a:solidFill>
                <a:srgbClr val="0070C0"/>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4271793228"/>
              </p:ext>
            </p:extLst>
          </p:nvPr>
        </p:nvGraphicFramePr>
        <p:xfrm>
          <a:off x="291873" y="1055525"/>
          <a:ext cx="8684537" cy="5455920"/>
        </p:xfrm>
        <a:graphic>
          <a:graphicData uri="http://schemas.openxmlformats.org/drawingml/2006/table">
            <a:tbl>
              <a:tblPr firstRow="1" bandRow="1">
                <a:tableStyleId>{93296810-A885-4BE3-A3E7-6D5BEEA58F35}</a:tableStyleId>
              </a:tblPr>
              <a:tblGrid>
                <a:gridCol w="3242142"/>
                <a:gridCol w="5442395"/>
              </a:tblGrid>
              <a:tr h="332920">
                <a:tc>
                  <a:txBody>
                    <a:bodyPr/>
                    <a:lstStyle/>
                    <a:p>
                      <a:pPr>
                        <a:lnSpc>
                          <a:spcPct val="100000"/>
                        </a:lnSpc>
                        <a:spcAft>
                          <a:spcPts val="0"/>
                        </a:spcAft>
                      </a:pPr>
                      <a:r>
                        <a:rPr lang="en-US" sz="1800" dirty="0" smtClean="0">
                          <a:latin typeface="Candara" pitchFamily="34" charset="0"/>
                        </a:rPr>
                        <a:t>Pain Points</a:t>
                      </a:r>
                      <a:endParaRPr lang="en-US" sz="1800" dirty="0">
                        <a:latin typeface="Candara" pitchFamily="34" charset="0"/>
                      </a:endParaRPr>
                    </a:p>
                  </a:txBody>
                  <a:tcPr marT="91440" marB="91440" anchor="ctr"/>
                </a:tc>
                <a:tc>
                  <a:txBody>
                    <a:bodyPr/>
                    <a:lstStyle/>
                    <a:p>
                      <a:pPr>
                        <a:lnSpc>
                          <a:spcPct val="100000"/>
                        </a:lnSpc>
                        <a:spcAft>
                          <a:spcPts val="0"/>
                        </a:spcAft>
                      </a:pPr>
                      <a:r>
                        <a:rPr lang="en-US" sz="1800" dirty="0" smtClean="0">
                          <a:latin typeface="Candara" pitchFamily="34" charset="0"/>
                        </a:rPr>
                        <a:t>Initial</a:t>
                      </a:r>
                      <a:r>
                        <a:rPr lang="en-US" sz="1800" baseline="0" dirty="0" smtClean="0">
                          <a:latin typeface="Candara" pitchFamily="34" charset="0"/>
                        </a:rPr>
                        <a:t> Action Plan</a:t>
                      </a:r>
                      <a:endParaRPr lang="en-US" sz="1800" dirty="0">
                        <a:latin typeface="Candara" pitchFamily="34" charset="0"/>
                      </a:endParaRPr>
                    </a:p>
                  </a:txBody>
                  <a:tcPr marT="91440" marB="91440" anchor="ctr"/>
                </a:tc>
              </a:tr>
              <a:tr h="491017">
                <a:tc>
                  <a:txBody>
                    <a:bodyPr/>
                    <a:lstStyle/>
                    <a:p>
                      <a:pPr marL="0" indent="0" algn="l" defTabSz="914239" rtl="0" eaLnBrk="1" latinLnBrk="0" hangingPunct="1">
                        <a:lnSpc>
                          <a:spcPct val="100000"/>
                        </a:lnSpc>
                        <a:spcAft>
                          <a:spcPts val="0"/>
                        </a:spcAft>
                        <a:buClr>
                          <a:schemeClr val="accent2"/>
                        </a:buClr>
                        <a:buFont typeface="Wingdings" pitchFamily="2" charset="2"/>
                        <a:buNone/>
                      </a:pPr>
                      <a:r>
                        <a:rPr lang="en-US" sz="1600" kern="1200" dirty="0" smtClean="0">
                          <a:solidFill>
                            <a:schemeClr val="dk1"/>
                          </a:solidFill>
                          <a:latin typeface="Candara" pitchFamily="34" charset="0"/>
                          <a:ea typeface="+mn-ea"/>
                          <a:cs typeface="+mn-cs"/>
                        </a:rPr>
                        <a:t>CPQ </a:t>
                      </a:r>
                      <a:r>
                        <a:rPr lang="en-US" sz="1600" kern="1200" dirty="0" err="1" smtClean="0">
                          <a:solidFill>
                            <a:schemeClr val="dk1"/>
                          </a:solidFill>
                          <a:latin typeface="Candara" pitchFamily="34" charset="0"/>
                          <a:ea typeface="+mn-ea"/>
                          <a:cs typeface="+mn-cs"/>
                        </a:rPr>
                        <a:t>Azerity</a:t>
                      </a:r>
                      <a:r>
                        <a:rPr lang="en-US" sz="1600" kern="1200" dirty="0" smtClean="0">
                          <a:solidFill>
                            <a:schemeClr val="dk1"/>
                          </a:solidFill>
                          <a:latin typeface="Candara" pitchFamily="34" charset="0"/>
                          <a:ea typeface="+mn-ea"/>
                          <a:cs typeface="+mn-cs"/>
                        </a:rPr>
                        <a:t> Interface</a:t>
                      </a:r>
                    </a:p>
                  </a:txBody>
                  <a:tcPr marT="91440" marB="91440" anchor="ctr"/>
                </a:tc>
                <a:tc>
                  <a:txBody>
                    <a:bodyPr/>
                    <a:lstStyle/>
                    <a:p>
                      <a:pPr marL="228600" marR="0" lvl="0" indent="-228600" algn="l" defTabSz="914239" rtl="0" eaLnBrk="1" fontAlgn="auto" latinLnBrk="0" hangingPunct="1">
                        <a:lnSpc>
                          <a:spcPct val="100000"/>
                        </a:lnSpc>
                        <a:spcBef>
                          <a:spcPts val="0"/>
                        </a:spcBef>
                        <a:spcAft>
                          <a:spcPts val="0"/>
                        </a:spcAft>
                        <a:buClr>
                          <a:schemeClr val="accent2"/>
                        </a:buClr>
                        <a:buSzTx/>
                        <a:buFont typeface="Wingdings" pitchFamily="2" charset="2"/>
                        <a:buChar char="§"/>
                        <a:tabLst/>
                        <a:defRPr/>
                      </a:pPr>
                      <a:r>
                        <a:rPr lang="en-US" sz="1400" kern="1200" dirty="0" smtClean="0">
                          <a:solidFill>
                            <a:schemeClr val="dk1"/>
                          </a:solidFill>
                          <a:latin typeface="Candara" pitchFamily="34" charset="0"/>
                          <a:ea typeface="+mn-ea"/>
                          <a:cs typeface="+mn-cs"/>
                        </a:rPr>
                        <a:t>Review the existing manual process to identify trend of failures</a:t>
                      </a:r>
                    </a:p>
                    <a:p>
                      <a:pPr marL="228600" marR="0" lvl="0" indent="-228600" algn="l" defTabSz="914239" rtl="0" eaLnBrk="1" fontAlgn="auto" latinLnBrk="0" hangingPunct="1">
                        <a:lnSpc>
                          <a:spcPct val="100000"/>
                        </a:lnSpc>
                        <a:spcBef>
                          <a:spcPts val="0"/>
                        </a:spcBef>
                        <a:spcAft>
                          <a:spcPts val="0"/>
                        </a:spcAft>
                        <a:buClr>
                          <a:schemeClr val="accent2"/>
                        </a:buClr>
                        <a:buSzTx/>
                        <a:buFont typeface="Wingdings" pitchFamily="2" charset="2"/>
                        <a:buChar char="§"/>
                        <a:tabLst/>
                        <a:defRPr/>
                      </a:pPr>
                      <a:r>
                        <a:rPr lang="en-US" sz="1400" kern="1200" dirty="0" smtClean="0">
                          <a:solidFill>
                            <a:schemeClr val="dk1"/>
                          </a:solidFill>
                          <a:latin typeface="Candara" pitchFamily="34" charset="0"/>
                          <a:ea typeface="+mn-ea"/>
                          <a:cs typeface="+mn-cs"/>
                        </a:rPr>
                        <a:t>Work with business/IT to recognize the desired outcome of the interface</a:t>
                      </a:r>
                    </a:p>
                    <a:p>
                      <a:pPr marL="228600" marR="0" lvl="0" indent="-228600" algn="l" defTabSz="914239" rtl="0" eaLnBrk="1" fontAlgn="auto" latinLnBrk="0" hangingPunct="1">
                        <a:lnSpc>
                          <a:spcPct val="100000"/>
                        </a:lnSpc>
                        <a:spcBef>
                          <a:spcPts val="0"/>
                        </a:spcBef>
                        <a:spcAft>
                          <a:spcPts val="0"/>
                        </a:spcAft>
                        <a:buClr>
                          <a:schemeClr val="accent2"/>
                        </a:buClr>
                        <a:buSzTx/>
                        <a:buFont typeface="Wingdings" pitchFamily="2" charset="2"/>
                        <a:buChar char="§"/>
                        <a:tabLst/>
                        <a:defRPr/>
                      </a:pPr>
                      <a:r>
                        <a:rPr lang="en-US" sz="1400" kern="1200" dirty="0" smtClean="0">
                          <a:solidFill>
                            <a:schemeClr val="dk1"/>
                          </a:solidFill>
                          <a:latin typeface="Candara" pitchFamily="34" charset="0"/>
                          <a:ea typeface="+mn-ea"/>
                          <a:cs typeface="+mn-cs"/>
                        </a:rPr>
                        <a:t>Engage with </a:t>
                      </a:r>
                      <a:r>
                        <a:rPr lang="en-US" sz="1400" kern="1200" dirty="0" err="1" smtClean="0">
                          <a:solidFill>
                            <a:schemeClr val="dk1"/>
                          </a:solidFill>
                          <a:latin typeface="Candara" pitchFamily="34" charset="0"/>
                          <a:ea typeface="+mn-ea"/>
                          <a:cs typeface="+mn-cs"/>
                        </a:rPr>
                        <a:t>Azerity</a:t>
                      </a:r>
                      <a:r>
                        <a:rPr lang="en-US" sz="1400" kern="1200" dirty="0" smtClean="0">
                          <a:solidFill>
                            <a:schemeClr val="dk1"/>
                          </a:solidFill>
                          <a:latin typeface="Candara" pitchFamily="34" charset="0"/>
                          <a:ea typeface="+mn-ea"/>
                          <a:cs typeface="+mn-cs"/>
                        </a:rPr>
                        <a:t> team to formulate a revised design (involve Oracle as necessary)</a:t>
                      </a:r>
                    </a:p>
                  </a:txBody>
                  <a:tcPr marT="91440" marB="91440" anchor="ctr"/>
                </a:tc>
              </a:tr>
              <a:tr h="649475">
                <a:tc>
                  <a:txBody>
                    <a:bodyPr/>
                    <a:lstStyle/>
                    <a:p>
                      <a:pPr marL="0" indent="0" algn="l" defTabSz="914239" rtl="0" eaLnBrk="1" latinLnBrk="0" hangingPunct="1">
                        <a:lnSpc>
                          <a:spcPct val="100000"/>
                        </a:lnSpc>
                        <a:spcAft>
                          <a:spcPts val="0"/>
                        </a:spcAft>
                        <a:buClr>
                          <a:schemeClr val="accent2"/>
                        </a:buClr>
                        <a:buFont typeface="Wingdings" pitchFamily="2" charset="2"/>
                        <a:buNone/>
                      </a:pPr>
                      <a:r>
                        <a:rPr lang="en-US" sz="1600" kern="1200" dirty="0" smtClean="0">
                          <a:solidFill>
                            <a:schemeClr val="dk1"/>
                          </a:solidFill>
                          <a:latin typeface="Candara" pitchFamily="34" charset="0"/>
                          <a:ea typeface="+mn-ea"/>
                          <a:cs typeface="+mn-cs"/>
                        </a:rPr>
                        <a:t>Territory</a:t>
                      </a:r>
                      <a:r>
                        <a:rPr lang="en-US" sz="1600" kern="1200" baseline="0" dirty="0" smtClean="0">
                          <a:solidFill>
                            <a:schemeClr val="dk1"/>
                          </a:solidFill>
                          <a:latin typeface="Candara" pitchFamily="34" charset="0"/>
                          <a:ea typeface="+mn-ea"/>
                          <a:cs typeface="+mn-cs"/>
                        </a:rPr>
                        <a:t> Management </a:t>
                      </a:r>
                      <a:endParaRPr lang="en-US" sz="1600" kern="1200" dirty="0" smtClean="0">
                        <a:solidFill>
                          <a:schemeClr val="dk1"/>
                        </a:solidFill>
                        <a:latin typeface="Candara" pitchFamily="34" charset="0"/>
                        <a:ea typeface="+mn-ea"/>
                        <a:cs typeface="+mn-cs"/>
                      </a:endParaRPr>
                    </a:p>
                  </a:txBody>
                  <a:tcPr marT="91440" marB="91440" anchor="ctr"/>
                </a:tc>
                <a:tc>
                  <a:txBody>
                    <a:bodyPr/>
                    <a:lstStyle/>
                    <a:p>
                      <a:pPr marL="171450" marR="0" indent="-171450" algn="l" defTabSz="914239" rtl="0" eaLnBrk="1" fontAlgn="auto" latinLnBrk="0" hangingPunct="1">
                        <a:lnSpc>
                          <a:spcPct val="100000"/>
                        </a:lnSpc>
                        <a:spcBef>
                          <a:spcPts val="0"/>
                        </a:spcBef>
                        <a:spcAft>
                          <a:spcPts val="0"/>
                        </a:spcAft>
                        <a:buClr>
                          <a:schemeClr val="accent2"/>
                        </a:buClr>
                        <a:buSzTx/>
                        <a:buFont typeface="Wingdings" pitchFamily="2" charset="2"/>
                        <a:buChar char="§"/>
                        <a:tabLst/>
                        <a:defRPr/>
                      </a:pPr>
                      <a:r>
                        <a:rPr lang="en-US" sz="1400" kern="1200" dirty="0" smtClean="0">
                          <a:solidFill>
                            <a:schemeClr val="dk1"/>
                          </a:solidFill>
                          <a:latin typeface="Candara" pitchFamily="34" charset="0"/>
                          <a:ea typeface="+mn-ea"/>
                          <a:cs typeface="+mn-cs"/>
                        </a:rPr>
                        <a:t>Review the current territory setup to understand fragmentation</a:t>
                      </a:r>
                    </a:p>
                    <a:p>
                      <a:pPr marL="171450" marR="0" indent="-171450" algn="l" defTabSz="914239" rtl="0" eaLnBrk="1" fontAlgn="auto" latinLnBrk="0" hangingPunct="1">
                        <a:lnSpc>
                          <a:spcPct val="100000"/>
                        </a:lnSpc>
                        <a:spcBef>
                          <a:spcPts val="0"/>
                        </a:spcBef>
                        <a:spcAft>
                          <a:spcPts val="0"/>
                        </a:spcAft>
                        <a:buClr>
                          <a:schemeClr val="accent2"/>
                        </a:buClr>
                        <a:buSzTx/>
                        <a:buFont typeface="Wingdings" pitchFamily="2" charset="2"/>
                        <a:buChar char="§"/>
                        <a:tabLst/>
                        <a:defRPr/>
                      </a:pPr>
                      <a:r>
                        <a:rPr lang="en-US" sz="1400" kern="1200" dirty="0" smtClean="0">
                          <a:solidFill>
                            <a:schemeClr val="dk1"/>
                          </a:solidFill>
                          <a:latin typeface="Candara" pitchFamily="34" charset="0"/>
                          <a:ea typeface="+mn-ea"/>
                          <a:cs typeface="+mn-cs"/>
                        </a:rPr>
                        <a:t>Breakdown the entire structure to identify overlaps and gaps</a:t>
                      </a:r>
                    </a:p>
                    <a:p>
                      <a:pPr marL="171450" marR="0" indent="-171450" algn="l" defTabSz="914239" rtl="0" eaLnBrk="1" fontAlgn="auto" latinLnBrk="0" hangingPunct="1">
                        <a:lnSpc>
                          <a:spcPct val="100000"/>
                        </a:lnSpc>
                        <a:spcBef>
                          <a:spcPts val="0"/>
                        </a:spcBef>
                        <a:spcAft>
                          <a:spcPts val="0"/>
                        </a:spcAft>
                        <a:buClr>
                          <a:schemeClr val="accent2"/>
                        </a:buClr>
                        <a:buSzTx/>
                        <a:buFont typeface="Wingdings" pitchFamily="2" charset="2"/>
                        <a:buChar char="§"/>
                        <a:tabLst/>
                        <a:defRPr/>
                      </a:pPr>
                      <a:r>
                        <a:rPr lang="en-US" sz="1400" kern="1200" dirty="0" smtClean="0">
                          <a:solidFill>
                            <a:schemeClr val="dk1"/>
                          </a:solidFill>
                          <a:latin typeface="Candara" pitchFamily="34" charset="0"/>
                          <a:ea typeface="+mn-ea"/>
                          <a:cs typeface="+mn-cs"/>
                        </a:rPr>
                        <a:t>Conceptualize Proposed Territory Structure by re-identifying Dimensions</a:t>
                      </a:r>
                    </a:p>
                    <a:p>
                      <a:pPr marL="171450" marR="0" indent="-171450" algn="l" defTabSz="914239" rtl="0" eaLnBrk="1" fontAlgn="auto" latinLnBrk="0" hangingPunct="1">
                        <a:lnSpc>
                          <a:spcPct val="100000"/>
                        </a:lnSpc>
                        <a:spcBef>
                          <a:spcPts val="0"/>
                        </a:spcBef>
                        <a:spcAft>
                          <a:spcPts val="0"/>
                        </a:spcAft>
                        <a:buClr>
                          <a:schemeClr val="accent2"/>
                        </a:buClr>
                        <a:buSzTx/>
                        <a:buFont typeface="Wingdings" pitchFamily="2" charset="2"/>
                        <a:buChar char="§"/>
                        <a:tabLst/>
                        <a:defRPr/>
                      </a:pPr>
                      <a:r>
                        <a:rPr lang="en-US" sz="1400" kern="1200" dirty="0" smtClean="0">
                          <a:solidFill>
                            <a:schemeClr val="dk1"/>
                          </a:solidFill>
                          <a:latin typeface="Candara" pitchFamily="34" charset="0"/>
                          <a:ea typeface="+mn-ea"/>
                          <a:cs typeface="+mn-cs"/>
                        </a:rPr>
                        <a:t>Review with Business and work towards implementation</a:t>
                      </a:r>
                    </a:p>
                  </a:txBody>
                  <a:tcPr marT="91440" marB="91440" anchor="ctr"/>
                </a:tc>
              </a:tr>
              <a:tr h="512747">
                <a:tc>
                  <a:txBody>
                    <a:bodyPr/>
                    <a:lstStyle/>
                    <a:p>
                      <a:pPr>
                        <a:lnSpc>
                          <a:spcPct val="100000"/>
                        </a:lnSpc>
                        <a:spcAft>
                          <a:spcPts val="0"/>
                        </a:spcAft>
                      </a:pPr>
                      <a:r>
                        <a:rPr lang="en-US" sz="1600" b="0" dirty="0" smtClean="0">
                          <a:latin typeface="Candara" pitchFamily="34" charset="0"/>
                        </a:rPr>
                        <a:t>CRM</a:t>
                      </a:r>
                      <a:r>
                        <a:rPr lang="en-US" sz="1600" b="0" baseline="0" dirty="0" smtClean="0">
                          <a:latin typeface="Candara" pitchFamily="34" charset="0"/>
                        </a:rPr>
                        <a:t> EBS Interface</a:t>
                      </a:r>
                      <a:endParaRPr lang="en-US" sz="1600" b="0" dirty="0">
                        <a:latin typeface="Candara" pitchFamily="34" charset="0"/>
                      </a:endParaRPr>
                    </a:p>
                  </a:txBody>
                  <a:tcPr marT="91440" marB="91440" anchor="ctr"/>
                </a:tc>
                <a:tc>
                  <a:txBody>
                    <a:bodyPr/>
                    <a:lstStyle/>
                    <a:p>
                      <a:pPr marL="171450" marR="0" indent="-171450" algn="l" defTabSz="914239" rtl="0" eaLnBrk="1" fontAlgn="auto" latinLnBrk="0" hangingPunct="1">
                        <a:lnSpc>
                          <a:spcPct val="100000"/>
                        </a:lnSpc>
                        <a:spcBef>
                          <a:spcPts val="0"/>
                        </a:spcBef>
                        <a:spcAft>
                          <a:spcPts val="0"/>
                        </a:spcAft>
                        <a:buClr>
                          <a:schemeClr val="accent2"/>
                        </a:buClr>
                        <a:buSzTx/>
                        <a:buFont typeface="Wingdings" pitchFamily="2" charset="2"/>
                        <a:buChar char="§"/>
                        <a:tabLst/>
                        <a:defRPr/>
                      </a:pPr>
                      <a:r>
                        <a:rPr lang="en-US" sz="1400" kern="1200" dirty="0" smtClean="0">
                          <a:solidFill>
                            <a:schemeClr val="dk1"/>
                          </a:solidFill>
                          <a:latin typeface="Candara" pitchFamily="34" charset="0"/>
                          <a:ea typeface="+mn-ea"/>
                          <a:cs typeface="+mn-cs"/>
                        </a:rPr>
                        <a:t>Work with the On-Going ERP team to identify issues/manual activities</a:t>
                      </a:r>
                    </a:p>
                    <a:p>
                      <a:pPr marL="171450" marR="0" indent="-171450" algn="l" defTabSz="914239" rtl="0" eaLnBrk="1" fontAlgn="auto" latinLnBrk="0" hangingPunct="1">
                        <a:lnSpc>
                          <a:spcPct val="100000"/>
                        </a:lnSpc>
                        <a:spcBef>
                          <a:spcPts val="0"/>
                        </a:spcBef>
                        <a:spcAft>
                          <a:spcPts val="0"/>
                        </a:spcAft>
                        <a:buClr>
                          <a:schemeClr val="accent2"/>
                        </a:buClr>
                        <a:buSzTx/>
                        <a:buFont typeface="Wingdings" pitchFamily="2" charset="2"/>
                        <a:buChar char="§"/>
                        <a:tabLst/>
                        <a:defRPr/>
                      </a:pPr>
                      <a:r>
                        <a:rPr lang="en-US" sz="1400" kern="1200" dirty="0" smtClean="0">
                          <a:solidFill>
                            <a:schemeClr val="dk1"/>
                          </a:solidFill>
                          <a:latin typeface="Candara" pitchFamily="34" charset="0"/>
                          <a:ea typeface="+mn-ea"/>
                          <a:cs typeface="+mn-cs"/>
                        </a:rPr>
                        <a:t>Plan/devise a strategy to root out issues and improve customer experience</a:t>
                      </a:r>
                    </a:p>
                  </a:txBody>
                  <a:tcPr marT="91440" marB="91440" anchor="ctr"/>
                </a:tc>
              </a:tr>
              <a:tr h="512747">
                <a:tc>
                  <a:txBody>
                    <a:bodyPr/>
                    <a:lstStyle/>
                    <a:p>
                      <a:pPr>
                        <a:lnSpc>
                          <a:spcPct val="100000"/>
                        </a:lnSpc>
                        <a:spcAft>
                          <a:spcPts val="0"/>
                        </a:spcAft>
                      </a:pPr>
                      <a:r>
                        <a:rPr lang="en-US" sz="1600" b="0" dirty="0" smtClean="0">
                          <a:latin typeface="Candara" pitchFamily="34" charset="0"/>
                        </a:rPr>
                        <a:t>Split</a:t>
                      </a:r>
                      <a:r>
                        <a:rPr lang="en-US" sz="1600" b="0" baseline="0" dirty="0" smtClean="0">
                          <a:latin typeface="Candara" pitchFamily="34" charset="0"/>
                        </a:rPr>
                        <a:t> Process &amp; Reconciliation</a:t>
                      </a:r>
                      <a:endParaRPr lang="en-US" sz="1600" b="0" dirty="0">
                        <a:latin typeface="Candara" pitchFamily="34" charset="0"/>
                      </a:endParaRPr>
                    </a:p>
                  </a:txBody>
                  <a:tcPr marT="91440" marB="91440" anchor="ctr"/>
                </a:tc>
                <a:tc>
                  <a:txBody>
                    <a:bodyPr/>
                    <a:lstStyle/>
                    <a:p>
                      <a:pPr marL="171450" marR="0" indent="-171450" algn="l" defTabSz="914239" rtl="0" eaLnBrk="1" fontAlgn="auto" latinLnBrk="0" hangingPunct="1">
                        <a:lnSpc>
                          <a:spcPct val="100000"/>
                        </a:lnSpc>
                        <a:spcBef>
                          <a:spcPts val="0"/>
                        </a:spcBef>
                        <a:spcAft>
                          <a:spcPts val="0"/>
                        </a:spcAft>
                        <a:buClr>
                          <a:schemeClr val="accent2"/>
                        </a:buClr>
                        <a:buSzTx/>
                        <a:buFont typeface="Wingdings" pitchFamily="2" charset="2"/>
                        <a:buChar char="§"/>
                        <a:tabLst/>
                        <a:defRPr/>
                      </a:pPr>
                      <a:r>
                        <a:rPr lang="en-US" sz="1400" kern="1200" dirty="0" smtClean="0">
                          <a:solidFill>
                            <a:schemeClr val="dk1"/>
                          </a:solidFill>
                          <a:latin typeface="Candara" pitchFamily="34" charset="0"/>
                          <a:ea typeface="+mn-ea"/>
                          <a:cs typeface="+mn-cs"/>
                        </a:rPr>
                        <a:t>Keep a close monitoring of the Split process post Go Live of SPM module</a:t>
                      </a:r>
                    </a:p>
                    <a:p>
                      <a:pPr marL="171450" marR="0" indent="-171450" algn="l" defTabSz="914239" rtl="0" eaLnBrk="1" fontAlgn="auto" latinLnBrk="0" hangingPunct="1">
                        <a:lnSpc>
                          <a:spcPct val="100000"/>
                        </a:lnSpc>
                        <a:spcBef>
                          <a:spcPts val="0"/>
                        </a:spcBef>
                        <a:spcAft>
                          <a:spcPts val="0"/>
                        </a:spcAft>
                        <a:buClr>
                          <a:schemeClr val="accent2"/>
                        </a:buClr>
                        <a:buSzTx/>
                        <a:buFont typeface="Wingdings" pitchFamily="2" charset="2"/>
                        <a:buChar char="§"/>
                        <a:tabLst/>
                        <a:defRPr/>
                      </a:pPr>
                      <a:r>
                        <a:rPr lang="en-US" sz="1400" kern="1200" dirty="0" smtClean="0">
                          <a:solidFill>
                            <a:schemeClr val="dk1"/>
                          </a:solidFill>
                          <a:latin typeface="Candara" pitchFamily="34" charset="0"/>
                          <a:ea typeface="+mn-ea"/>
                          <a:cs typeface="+mn-cs"/>
                        </a:rPr>
                        <a:t>Work with business in</a:t>
                      </a:r>
                      <a:r>
                        <a:rPr lang="en-US" sz="1400" kern="1200" baseline="0" dirty="0" smtClean="0">
                          <a:solidFill>
                            <a:schemeClr val="dk1"/>
                          </a:solidFill>
                          <a:latin typeface="Candara" pitchFamily="34" charset="0"/>
                          <a:ea typeface="+mn-ea"/>
                          <a:cs typeface="+mn-cs"/>
                        </a:rPr>
                        <a:t> identifying if the functionality is working as expected</a:t>
                      </a:r>
                    </a:p>
                    <a:p>
                      <a:pPr marL="171450" marR="0" indent="-171450" algn="l" defTabSz="914239" rtl="0" eaLnBrk="1" fontAlgn="auto" latinLnBrk="0" hangingPunct="1">
                        <a:lnSpc>
                          <a:spcPct val="100000"/>
                        </a:lnSpc>
                        <a:spcBef>
                          <a:spcPts val="0"/>
                        </a:spcBef>
                        <a:spcAft>
                          <a:spcPts val="0"/>
                        </a:spcAft>
                        <a:buClr>
                          <a:schemeClr val="accent2"/>
                        </a:buClr>
                        <a:buSzTx/>
                        <a:buFont typeface="Wingdings" pitchFamily="2" charset="2"/>
                        <a:buChar char="§"/>
                        <a:tabLst/>
                        <a:defRPr/>
                      </a:pPr>
                      <a:r>
                        <a:rPr lang="en-US" sz="1400" kern="1200" dirty="0" smtClean="0">
                          <a:solidFill>
                            <a:schemeClr val="dk1"/>
                          </a:solidFill>
                          <a:latin typeface="Candara" pitchFamily="34" charset="0"/>
                          <a:ea typeface="+mn-ea"/>
                          <a:cs typeface="+mn-cs"/>
                        </a:rPr>
                        <a:t>In</a:t>
                      </a:r>
                      <a:r>
                        <a:rPr lang="en-US" sz="1400" kern="1200" baseline="0" dirty="0" smtClean="0">
                          <a:solidFill>
                            <a:schemeClr val="dk1"/>
                          </a:solidFill>
                          <a:latin typeface="Candara" pitchFamily="34" charset="0"/>
                          <a:ea typeface="+mn-ea"/>
                          <a:cs typeface="+mn-cs"/>
                        </a:rPr>
                        <a:t> case of a break in functionality, identify a roadmap and deliver quick fix as well as a long term solution </a:t>
                      </a:r>
                      <a:endParaRPr lang="en-US" sz="1400" kern="1200" dirty="0" smtClean="0">
                        <a:solidFill>
                          <a:schemeClr val="dk1"/>
                        </a:solidFill>
                        <a:latin typeface="Candara" pitchFamily="34" charset="0"/>
                        <a:ea typeface="+mn-ea"/>
                        <a:cs typeface="+mn-cs"/>
                      </a:endParaRPr>
                    </a:p>
                  </a:txBody>
                  <a:tcPr marT="91440" marB="91440" anchor="ctr"/>
                </a:tc>
              </a:tr>
            </a:tbl>
          </a:graphicData>
        </a:graphic>
      </p:graphicFrame>
    </p:spTree>
    <p:extLst>
      <p:ext uri="{BB962C8B-B14F-4D97-AF65-F5344CB8AC3E}">
        <p14:creationId xmlns:p14="http://schemas.microsoft.com/office/powerpoint/2010/main" val="257570848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noFill/>
          <a:ln w="9525" algn="ctr">
            <a:noFill/>
            <a:miter lim="800000"/>
            <a:headEnd/>
            <a:tailEnd/>
          </a:ln>
          <a:effectLst/>
        </p:spPr>
        <p:txBody>
          <a:bodyPr vert="horz" wrap="square" lIns="274320" tIns="36576" rIns="0" bIns="0" numCol="1" anchor="ctr" anchorCtr="0" compatLnSpc="1">
            <a:prstTxWarp prst="textNoShape">
              <a:avLst/>
            </a:prstTxWarp>
          </a:bodyPr>
          <a:lstStyle/>
          <a:p>
            <a:r>
              <a:rPr lang="en-US" b="0" dirty="0" smtClean="0">
                <a:solidFill>
                  <a:srgbClr val="0098C7"/>
                </a:solidFill>
              </a:rPr>
              <a:t>CRM and Other Apps – </a:t>
            </a:r>
            <a:r>
              <a:rPr lang="en-US" b="0" dirty="0">
                <a:solidFill>
                  <a:srgbClr val="0098C7"/>
                </a:solidFill>
              </a:rPr>
              <a:t>Staffing Plan</a:t>
            </a:r>
          </a:p>
        </p:txBody>
      </p:sp>
      <p:graphicFrame>
        <p:nvGraphicFramePr>
          <p:cNvPr id="4" name="Table 3"/>
          <p:cNvGraphicFramePr>
            <a:graphicFrameLocks noGrp="1"/>
          </p:cNvGraphicFramePr>
          <p:nvPr>
            <p:extLst>
              <p:ext uri="{D42A27DB-BD31-4B8C-83A1-F6EECF244321}">
                <p14:modId xmlns:p14="http://schemas.microsoft.com/office/powerpoint/2010/main" val="3763480331"/>
              </p:ext>
            </p:extLst>
          </p:nvPr>
        </p:nvGraphicFramePr>
        <p:xfrm>
          <a:off x="297474" y="1142479"/>
          <a:ext cx="8623603" cy="3908625"/>
        </p:xfrm>
        <a:graphic>
          <a:graphicData uri="http://schemas.openxmlformats.org/drawingml/2006/table">
            <a:tbl>
              <a:tblPr firstRow="1">
                <a:tableStyleId>{BDBED569-4797-4DF1-A0F4-6AAB3CD982D8}</a:tableStyleId>
              </a:tblPr>
              <a:tblGrid>
                <a:gridCol w="1181686"/>
                <a:gridCol w="469244"/>
                <a:gridCol w="469244"/>
                <a:gridCol w="469244"/>
                <a:gridCol w="469244"/>
                <a:gridCol w="469244"/>
                <a:gridCol w="469244"/>
                <a:gridCol w="469244"/>
                <a:gridCol w="469244"/>
                <a:gridCol w="469244"/>
                <a:gridCol w="469244"/>
                <a:gridCol w="469244"/>
                <a:gridCol w="469244"/>
                <a:gridCol w="469244"/>
                <a:gridCol w="469244"/>
                <a:gridCol w="469244"/>
                <a:gridCol w="403257"/>
              </a:tblGrid>
              <a:tr h="261555">
                <a:tc>
                  <a:txBody>
                    <a:bodyPr/>
                    <a:lstStyle/>
                    <a:p>
                      <a:pPr algn="ctr" fontAlgn="ctr"/>
                      <a:r>
                        <a:rPr lang="en-US" sz="1100" u="none" strike="noStrike" dirty="0">
                          <a:solidFill>
                            <a:schemeClr val="bg1"/>
                          </a:solidFill>
                          <a:effectLst/>
                          <a:latin typeface="Calibri" panose="020F0502020204030204" pitchFamily="34" charset="0"/>
                        </a:rPr>
                        <a:t>Role</a:t>
                      </a:r>
                      <a:endParaRPr lang="en-US" sz="1100" b="1"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c>
                  <a:txBody>
                    <a:bodyPr/>
                    <a:lstStyle/>
                    <a:p>
                      <a:pPr algn="ctr" fontAlgn="b"/>
                      <a:r>
                        <a:rPr lang="en-US" sz="1100" u="none" strike="noStrike" dirty="0">
                          <a:solidFill>
                            <a:schemeClr val="bg1"/>
                          </a:solidFill>
                          <a:effectLst/>
                          <a:latin typeface="Calibri" panose="020F0502020204030204" pitchFamily="34" charset="0"/>
                        </a:rPr>
                        <a:t>Jan-17</a:t>
                      </a:r>
                      <a:endParaRPr lang="en-US" sz="1100" b="0"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c>
                  <a:txBody>
                    <a:bodyPr/>
                    <a:lstStyle/>
                    <a:p>
                      <a:pPr algn="ctr" fontAlgn="b"/>
                      <a:r>
                        <a:rPr lang="en-US" sz="1100" u="none" strike="noStrike" dirty="0">
                          <a:solidFill>
                            <a:schemeClr val="bg1"/>
                          </a:solidFill>
                          <a:effectLst/>
                          <a:latin typeface="Calibri" panose="020F0502020204030204" pitchFamily="34" charset="0"/>
                        </a:rPr>
                        <a:t>Feb-17</a:t>
                      </a:r>
                      <a:endParaRPr lang="en-US" sz="1100" b="0"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c>
                  <a:txBody>
                    <a:bodyPr/>
                    <a:lstStyle/>
                    <a:p>
                      <a:pPr algn="ctr" fontAlgn="b"/>
                      <a:r>
                        <a:rPr lang="en-US" sz="1100" u="none" strike="noStrike" dirty="0">
                          <a:solidFill>
                            <a:schemeClr val="bg1"/>
                          </a:solidFill>
                          <a:effectLst/>
                          <a:latin typeface="Calibri" panose="020F0502020204030204" pitchFamily="34" charset="0"/>
                        </a:rPr>
                        <a:t>Mar-17</a:t>
                      </a:r>
                      <a:endParaRPr lang="en-US" sz="1100" b="0"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c>
                  <a:txBody>
                    <a:bodyPr/>
                    <a:lstStyle/>
                    <a:p>
                      <a:pPr algn="ctr" fontAlgn="b"/>
                      <a:r>
                        <a:rPr lang="en-US" sz="1100" u="none" strike="noStrike" dirty="0">
                          <a:solidFill>
                            <a:schemeClr val="bg1"/>
                          </a:solidFill>
                          <a:effectLst/>
                          <a:latin typeface="Calibri" panose="020F0502020204030204" pitchFamily="34" charset="0"/>
                        </a:rPr>
                        <a:t>Apr-17</a:t>
                      </a:r>
                      <a:endParaRPr lang="en-US" sz="1100" b="0"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c>
                  <a:txBody>
                    <a:bodyPr/>
                    <a:lstStyle/>
                    <a:p>
                      <a:pPr algn="ctr" fontAlgn="b"/>
                      <a:r>
                        <a:rPr lang="en-US" sz="1100" u="none" strike="noStrike" dirty="0">
                          <a:solidFill>
                            <a:schemeClr val="bg1"/>
                          </a:solidFill>
                          <a:effectLst/>
                          <a:latin typeface="Calibri" panose="020F0502020204030204" pitchFamily="34" charset="0"/>
                        </a:rPr>
                        <a:t>May-17</a:t>
                      </a:r>
                      <a:endParaRPr lang="en-US" sz="1100" b="0"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c>
                  <a:txBody>
                    <a:bodyPr/>
                    <a:lstStyle/>
                    <a:p>
                      <a:pPr algn="ctr" fontAlgn="b"/>
                      <a:r>
                        <a:rPr lang="en-US" sz="1100" u="none" strike="noStrike" dirty="0">
                          <a:solidFill>
                            <a:schemeClr val="bg1"/>
                          </a:solidFill>
                          <a:effectLst/>
                          <a:latin typeface="Calibri" panose="020F0502020204030204" pitchFamily="34" charset="0"/>
                        </a:rPr>
                        <a:t>Jun-17</a:t>
                      </a:r>
                      <a:endParaRPr lang="en-US" sz="1100" b="0"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c>
                  <a:txBody>
                    <a:bodyPr/>
                    <a:lstStyle/>
                    <a:p>
                      <a:pPr algn="ctr" fontAlgn="b"/>
                      <a:r>
                        <a:rPr lang="en-US" sz="1100" u="none" strike="noStrike" dirty="0">
                          <a:solidFill>
                            <a:schemeClr val="bg1"/>
                          </a:solidFill>
                          <a:effectLst/>
                          <a:latin typeface="Calibri" panose="020F0502020204030204" pitchFamily="34" charset="0"/>
                        </a:rPr>
                        <a:t>Jul-17</a:t>
                      </a:r>
                      <a:endParaRPr lang="en-US" sz="1100" b="0"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c>
                  <a:txBody>
                    <a:bodyPr/>
                    <a:lstStyle/>
                    <a:p>
                      <a:pPr algn="ctr" fontAlgn="b"/>
                      <a:r>
                        <a:rPr lang="en-US" sz="1100" u="none" strike="noStrike" dirty="0">
                          <a:solidFill>
                            <a:schemeClr val="bg1"/>
                          </a:solidFill>
                          <a:effectLst/>
                          <a:latin typeface="Calibri" panose="020F0502020204030204" pitchFamily="34" charset="0"/>
                        </a:rPr>
                        <a:t>Aug-17</a:t>
                      </a:r>
                      <a:endParaRPr lang="en-US" sz="1100" b="0"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c>
                  <a:txBody>
                    <a:bodyPr/>
                    <a:lstStyle/>
                    <a:p>
                      <a:pPr algn="ctr" fontAlgn="b"/>
                      <a:r>
                        <a:rPr lang="en-US" sz="1100" u="none" strike="noStrike" dirty="0">
                          <a:solidFill>
                            <a:schemeClr val="bg1"/>
                          </a:solidFill>
                          <a:effectLst/>
                          <a:latin typeface="Calibri" panose="020F0502020204030204" pitchFamily="34" charset="0"/>
                        </a:rPr>
                        <a:t>Sep-17</a:t>
                      </a:r>
                      <a:endParaRPr lang="en-US" sz="1100" b="0"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c>
                  <a:txBody>
                    <a:bodyPr/>
                    <a:lstStyle/>
                    <a:p>
                      <a:pPr algn="ctr" fontAlgn="b"/>
                      <a:r>
                        <a:rPr lang="en-US" sz="1100" u="none" strike="noStrike" dirty="0">
                          <a:solidFill>
                            <a:schemeClr val="bg1"/>
                          </a:solidFill>
                          <a:effectLst/>
                          <a:latin typeface="Calibri" panose="020F0502020204030204" pitchFamily="34" charset="0"/>
                        </a:rPr>
                        <a:t>Oct-17</a:t>
                      </a:r>
                      <a:endParaRPr lang="en-US" sz="1100" b="0"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c>
                  <a:txBody>
                    <a:bodyPr/>
                    <a:lstStyle/>
                    <a:p>
                      <a:pPr algn="ctr" fontAlgn="b"/>
                      <a:r>
                        <a:rPr lang="en-US" sz="1100" u="none" strike="noStrike" dirty="0">
                          <a:solidFill>
                            <a:schemeClr val="bg1"/>
                          </a:solidFill>
                          <a:effectLst/>
                          <a:latin typeface="Calibri" panose="020F0502020204030204" pitchFamily="34" charset="0"/>
                        </a:rPr>
                        <a:t>Nov-17</a:t>
                      </a:r>
                      <a:endParaRPr lang="en-US" sz="1100" b="0"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c>
                  <a:txBody>
                    <a:bodyPr/>
                    <a:lstStyle/>
                    <a:p>
                      <a:pPr algn="ctr" fontAlgn="b"/>
                      <a:r>
                        <a:rPr lang="en-US" sz="1100" u="none" strike="noStrike" dirty="0">
                          <a:solidFill>
                            <a:schemeClr val="bg1"/>
                          </a:solidFill>
                          <a:effectLst/>
                          <a:latin typeface="Calibri" panose="020F0502020204030204" pitchFamily="34" charset="0"/>
                        </a:rPr>
                        <a:t>Dec-17</a:t>
                      </a:r>
                      <a:endParaRPr lang="en-US" sz="1100" b="0"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c>
                  <a:txBody>
                    <a:bodyPr/>
                    <a:lstStyle/>
                    <a:p>
                      <a:pPr algn="ctr" fontAlgn="b"/>
                      <a:r>
                        <a:rPr lang="en-US" sz="1100" u="none" strike="noStrike" dirty="0">
                          <a:solidFill>
                            <a:schemeClr val="bg1"/>
                          </a:solidFill>
                          <a:effectLst/>
                          <a:latin typeface="Calibri" panose="020F0502020204030204" pitchFamily="34" charset="0"/>
                        </a:rPr>
                        <a:t>Jan-18</a:t>
                      </a:r>
                      <a:endParaRPr lang="en-US" sz="1100" b="0"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c>
                  <a:txBody>
                    <a:bodyPr/>
                    <a:lstStyle/>
                    <a:p>
                      <a:pPr algn="ctr" fontAlgn="b"/>
                      <a:r>
                        <a:rPr lang="en-US" sz="1100" u="none" strike="noStrike" dirty="0">
                          <a:solidFill>
                            <a:schemeClr val="bg1"/>
                          </a:solidFill>
                          <a:effectLst/>
                          <a:latin typeface="Calibri" panose="020F0502020204030204" pitchFamily="34" charset="0"/>
                        </a:rPr>
                        <a:t>Feb-18</a:t>
                      </a:r>
                      <a:endParaRPr lang="en-US" sz="1100" b="0"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c>
                  <a:txBody>
                    <a:bodyPr/>
                    <a:lstStyle/>
                    <a:p>
                      <a:pPr algn="ctr" fontAlgn="b"/>
                      <a:r>
                        <a:rPr lang="en-US" sz="1100" u="none" strike="noStrike" dirty="0">
                          <a:solidFill>
                            <a:schemeClr val="bg1"/>
                          </a:solidFill>
                          <a:effectLst/>
                          <a:latin typeface="Calibri" panose="020F0502020204030204" pitchFamily="34" charset="0"/>
                        </a:rPr>
                        <a:t>Mar-18</a:t>
                      </a:r>
                      <a:endParaRPr lang="en-US" sz="1100" b="0"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c>
                  <a:txBody>
                    <a:bodyPr/>
                    <a:lstStyle/>
                    <a:p>
                      <a:pPr algn="ctr" fontAlgn="b"/>
                      <a:r>
                        <a:rPr lang="en-US" sz="1100" u="none" strike="noStrike" dirty="0" smtClean="0">
                          <a:solidFill>
                            <a:schemeClr val="bg1"/>
                          </a:solidFill>
                          <a:effectLst/>
                          <a:latin typeface="Calibri" panose="020F0502020204030204" pitchFamily="34" charset="0"/>
                        </a:rPr>
                        <a:t>Year 2</a:t>
                      </a:r>
                      <a:endParaRPr lang="en-US" sz="1100" b="0"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r>
              <a:tr h="168646">
                <a:tc gridSpan="17">
                  <a:txBody>
                    <a:bodyPr/>
                    <a:lstStyle/>
                    <a:p>
                      <a:pPr algn="ctr" fontAlgn="b"/>
                      <a:r>
                        <a:rPr lang="en-US" sz="1400" b="1" u="none" strike="noStrike" dirty="0" smtClean="0">
                          <a:solidFill>
                            <a:schemeClr val="tx1">
                              <a:lumMod val="60000"/>
                              <a:lumOff val="40000"/>
                            </a:schemeClr>
                          </a:solidFill>
                          <a:effectLst/>
                          <a:latin typeface="Calibri" panose="020F0502020204030204" pitchFamily="34" charset="0"/>
                        </a:rPr>
                        <a:t>CRM</a:t>
                      </a:r>
                      <a:endParaRPr lang="en-US" sz="1400" b="1" i="0" u="none" strike="noStrike" dirty="0">
                        <a:solidFill>
                          <a:schemeClr val="tx1">
                            <a:lumMod val="60000"/>
                            <a:lumOff val="40000"/>
                          </a:schemeClr>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61555">
                <a:tc>
                  <a:txBody>
                    <a:bodyPr/>
                    <a:lstStyle/>
                    <a:p>
                      <a:pPr algn="l" fontAlgn="b"/>
                      <a:r>
                        <a:rPr lang="en-US" sz="1100" u="none" strike="noStrike" dirty="0" smtClean="0">
                          <a:solidFill>
                            <a:srgbClr val="376092"/>
                          </a:solidFill>
                          <a:effectLst/>
                          <a:latin typeface="Calibri" panose="020F0502020204030204" pitchFamily="34" charset="0"/>
                        </a:rPr>
                        <a:t>Onshore</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3 + 1</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3 + 1</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3 + 1</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3 + 1</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3 + 1</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3 + 1</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3 + 1</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3 + 1</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3 + 1</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3 + 1</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3 + 1</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3 + 1</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3 + 1</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3 + 1</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b="0" i="0" u="none" strike="noStrike" dirty="0" smtClean="0">
                          <a:solidFill>
                            <a:srgbClr val="376092"/>
                          </a:solidFill>
                          <a:effectLst/>
                          <a:latin typeface="Calibri" panose="020F0502020204030204" pitchFamily="34" charset="0"/>
                        </a:rPr>
                        <a:t>2+1</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r>
              <a:tr h="261555">
                <a:tc>
                  <a:txBody>
                    <a:bodyPr/>
                    <a:lstStyle/>
                    <a:p>
                      <a:pPr algn="l" fontAlgn="b"/>
                      <a:r>
                        <a:rPr lang="en-US" sz="1100" u="none" strike="noStrike" dirty="0" smtClean="0">
                          <a:solidFill>
                            <a:srgbClr val="376092"/>
                          </a:solidFill>
                          <a:effectLst/>
                          <a:latin typeface="Calibri" panose="020F0502020204030204" pitchFamily="34" charset="0"/>
                        </a:rPr>
                        <a:t>Offshore</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a:solidFill>
                            <a:srgbClr val="376092"/>
                          </a:solidFill>
                          <a:effectLst/>
                          <a:latin typeface="Calibri" panose="020F0502020204030204" pitchFamily="34" charset="0"/>
                        </a:rPr>
                        <a:t> </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5 + 1</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5 + 1</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5 + 1</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5 + 1</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5 + 1</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5 + 1</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5 + 1</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5 + 1</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5 + 1</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5 + 1</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5 + 1</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5 + 1</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5 + 1</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5 + 1</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b="0" i="0" u="none" strike="noStrike" dirty="0" smtClean="0">
                          <a:solidFill>
                            <a:srgbClr val="376092"/>
                          </a:solidFill>
                          <a:effectLst/>
                          <a:latin typeface="Calibri" panose="020F0502020204030204" pitchFamily="34" charset="0"/>
                        </a:rPr>
                        <a:t>5+1</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r>
              <a:tr h="133806">
                <a:tc>
                  <a:txBody>
                    <a:bodyPr/>
                    <a:lstStyle/>
                    <a:p>
                      <a:pPr algn="l" fontAlgn="b"/>
                      <a:r>
                        <a:rPr lang="en-US" sz="1100" u="none" strike="noStrike" dirty="0" smtClean="0">
                          <a:solidFill>
                            <a:schemeClr val="accent2">
                              <a:lumMod val="50000"/>
                            </a:schemeClr>
                          </a:solidFill>
                          <a:effectLst/>
                          <a:latin typeface="Calibri" panose="020F0502020204030204" pitchFamily="34" charset="0"/>
                        </a:rPr>
                        <a:t>TOTAL</a:t>
                      </a:r>
                      <a:endParaRPr lang="en-US" sz="1100" b="0"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b="0" i="0" u="none" strike="noStrike" dirty="0" smtClean="0">
                          <a:solidFill>
                            <a:schemeClr val="accent2">
                              <a:lumMod val="50000"/>
                            </a:schemeClr>
                          </a:solidFill>
                          <a:effectLst/>
                          <a:latin typeface="Calibri" panose="020F0502020204030204" pitchFamily="34" charset="0"/>
                        </a:rPr>
                        <a:t>8 + 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b="0" i="0" u="none" strike="noStrike" dirty="0" smtClean="0">
                          <a:solidFill>
                            <a:schemeClr val="accent2">
                              <a:lumMod val="50000"/>
                            </a:schemeClr>
                          </a:solidFill>
                          <a:effectLst/>
                          <a:latin typeface="Calibri" panose="020F0502020204030204" pitchFamily="34" charset="0"/>
                        </a:rPr>
                        <a:t>8 + 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b="0" i="0" u="none" strike="noStrike" dirty="0" smtClean="0">
                          <a:solidFill>
                            <a:schemeClr val="accent2">
                              <a:lumMod val="50000"/>
                            </a:schemeClr>
                          </a:solidFill>
                          <a:effectLst/>
                          <a:latin typeface="Calibri" panose="020F0502020204030204" pitchFamily="34" charset="0"/>
                        </a:rPr>
                        <a:t>8 + 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b="0" i="0" u="none" strike="noStrike" dirty="0" smtClean="0">
                          <a:solidFill>
                            <a:schemeClr val="accent2">
                              <a:lumMod val="50000"/>
                            </a:schemeClr>
                          </a:solidFill>
                          <a:effectLst/>
                          <a:latin typeface="Calibri" panose="020F0502020204030204" pitchFamily="34" charset="0"/>
                        </a:rPr>
                        <a:t>8 + 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b="0" i="0" u="none" strike="noStrike" dirty="0" smtClean="0">
                          <a:solidFill>
                            <a:schemeClr val="accent2">
                              <a:lumMod val="50000"/>
                            </a:schemeClr>
                          </a:solidFill>
                          <a:effectLst/>
                          <a:latin typeface="Calibri" panose="020F0502020204030204" pitchFamily="34" charset="0"/>
                        </a:rPr>
                        <a:t>8 + 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b="0" i="0" u="none" strike="noStrike" dirty="0" smtClean="0">
                          <a:solidFill>
                            <a:schemeClr val="accent2">
                              <a:lumMod val="50000"/>
                            </a:schemeClr>
                          </a:solidFill>
                          <a:effectLst/>
                          <a:latin typeface="Calibri" panose="020F0502020204030204" pitchFamily="34" charset="0"/>
                        </a:rPr>
                        <a:t>8 + 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b="0" i="0" u="none" strike="noStrike" dirty="0" smtClean="0">
                          <a:solidFill>
                            <a:schemeClr val="accent2">
                              <a:lumMod val="50000"/>
                            </a:schemeClr>
                          </a:solidFill>
                          <a:effectLst/>
                          <a:latin typeface="Calibri" panose="020F0502020204030204" pitchFamily="34" charset="0"/>
                        </a:rPr>
                        <a:t>8 + 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b="0" i="0" u="none" strike="noStrike" dirty="0" smtClean="0">
                          <a:solidFill>
                            <a:schemeClr val="accent2">
                              <a:lumMod val="50000"/>
                            </a:schemeClr>
                          </a:solidFill>
                          <a:effectLst/>
                          <a:latin typeface="Calibri" panose="020F0502020204030204" pitchFamily="34" charset="0"/>
                        </a:rPr>
                        <a:t>8 + 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b="0" i="0" u="none" strike="noStrike" dirty="0" smtClean="0">
                          <a:solidFill>
                            <a:schemeClr val="accent2">
                              <a:lumMod val="50000"/>
                            </a:schemeClr>
                          </a:solidFill>
                          <a:effectLst/>
                          <a:latin typeface="Calibri" panose="020F0502020204030204" pitchFamily="34" charset="0"/>
                        </a:rPr>
                        <a:t>8 + 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b="0" i="0" u="none" strike="noStrike" dirty="0" smtClean="0">
                          <a:solidFill>
                            <a:schemeClr val="accent2">
                              <a:lumMod val="50000"/>
                            </a:schemeClr>
                          </a:solidFill>
                          <a:effectLst/>
                          <a:latin typeface="Calibri" panose="020F0502020204030204" pitchFamily="34" charset="0"/>
                        </a:rPr>
                        <a:t>8 + 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b="0" i="0" u="none" strike="noStrike" dirty="0" smtClean="0">
                          <a:solidFill>
                            <a:schemeClr val="accent2">
                              <a:lumMod val="50000"/>
                            </a:schemeClr>
                          </a:solidFill>
                          <a:effectLst/>
                          <a:latin typeface="Calibri" panose="020F0502020204030204" pitchFamily="34" charset="0"/>
                        </a:rPr>
                        <a:t>8 + 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b="0" i="0" u="none" strike="noStrike" dirty="0" smtClean="0">
                          <a:solidFill>
                            <a:schemeClr val="accent2">
                              <a:lumMod val="50000"/>
                            </a:schemeClr>
                          </a:solidFill>
                          <a:effectLst/>
                          <a:latin typeface="Calibri" panose="020F0502020204030204" pitchFamily="34" charset="0"/>
                        </a:rPr>
                        <a:t>8 + 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b="0" i="0" u="none" strike="noStrike" dirty="0" smtClean="0">
                          <a:solidFill>
                            <a:schemeClr val="accent2">
                              <a:lumMod val="50000"/>
                            </a:schemeClr>
                          </a:solidFill>
                          <a:effectLst/>
                          <a:latin typeface="Calibri" panose="020F0502020204030204" pitchFamily="34" charset="0"/>
                        </a:rPr>
                        <a:t>8 + 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b="0" i="0" u="none" strike="noStrike" dirty="0" smtClean="0">
                          <a:solidFill>
                            <a:schemeClr val="accent2">
                              <a:lumMod val="50000"/>
                            </a:schemeClr>
                          </a:solidFill>
                          <a:effectLst/>
                          <a:latin typeface="Calibri" panose="020F0502020204030204" pitchFamily="34" charset="0"/>
                        </a:rPr>
                        <a:t>8 + 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b="1" i="0" u="none" strike="noStrike" dirty="0" smtClean="0">
                          <a:solidFill>
                            <a:schemeClr val="accent2">
                              <a:lumMod val="50000"/>
                            </a:schemeClr>
                          </a:solidFill>
                          <a:effectLst/>
                          <a:latin typeface="Calibri" panose="020F0502020204030204" pitchFamily="34" charset="0"/>
                        </a:rPr>
                        <a:t>7+1</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r>
              <a:tr h="168646">
                <a:tc gridSpan="17">
                  <a:txBody>
                    <a:bodyPr/>
                    <a:lstStyle/>
                    <a:p>
                      <a:pPr algn="ctr" fontAlgn="b"/>
                      <a:r>
                        <a:rPr lang="en-US" sz="1400" b="1" u="none" strike="noStrike" dirty="0" smtClean="0">
                          <a:solidFill>
                            <a:schemeClr val="tx1">
                              <a:lumMod val="60000"/>
                              <a:lumOff val="40000"/>
                            </a:schemeClr>
                          </a:solidFill>
                          <a:effectLst/>
                          <a:latin typeface="Calibri" panose="020F0502020204030204" pitchFamily="34" charset="0"/>
                        </a:rPr>
                        <a:t>Other Apps – </a:t>
                      </a:r>
                      <a:r>
                        <a:rPr lang="en-US" sz="1400" b="1" u="none" strike="noStrike" dirty="0" err="1" smtClean="0">
                          <a:solidFill>
                            <a:schemeClr val="tx1">
                              <a:lumMod val="60000"/>
                              <a:lumOff val="40000"/>
                            </a:schemeClr>
                          </a:solidFill>
                          <a:effectLst/>
                          <a:latin typeface="Calibri" panose="020F0502020204030204" pitchFamily="34" charset="0"/>
                        </a:rPr>
                        <a:t>Lite</a:t>
                      </a:r>
                      <a:r>
                        <a:rPr lang="en-US" sz="1400" b="1" u="none" strike="noStrike" dirty="0" smtClean="0">
                          <a:solidFill>
                            <a:schemeClr val="tx1">
                              <a:lumMod val="60000"/>
                              <a:lumOff val="40000"/>
                            </a:schemeClr>
                          </a:solidFill>
                          <a:effectLst/>
                          <a:latin typeface="Calibri" panose="020F0502020204030204" pitchFamily="34" charset="0"/>
                        </a:rPr>
                        <a:t> </a:t>
                      </a:r>
                      <a:endParaRPr lang="en-US" sz="1400" b="1" i="0" u="none" strike="noStrike" dirty="0">
                        <a:solidFill>
                          <a:schemeClr val="tx1">
                            <a:lumMod val="60000"/>
                            <a:lumOff val="4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33806">
                <a:tc>
                  <a:txBody>
                    <a:bodyPr/>
                    <a:lstStyle/>
                    <a:p>
                      <a:pPr algn="l" fontAlgn="b"/>
                      <a:r>
                        <a:rPr lang="en-US" sz="1100" u="none" strike="noStrike" dirty="0" smtClean="0">
                          <a:solidFill>
                            <a:srgbClr val="376092"/>
                          </a:solidFill>
                          <a:effectLst/>
                          <a:latin typeface="Calibri" panose="020F0502020204030204" pitchFamily="34" charset="0"/>
                        </a:rPr>
                        <a:t>Onshore</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a:solidFill>
                            <a:srgbClr val="376092"/>
                          </a:solidFill>
                          <a:effectLst/>
                          <a:latin typeface="Calibri" panose="020F0502020204030204" pitchFamily="34" charset="0"/>
                        </a:rPr>
                        <a:t> </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b="0" i="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r>
              <a:tr h="133806">
                <a:tc>
                  <a:txBody>
                    <a:bodyPr/>
                    <a:lstStyle/>
                    <a:p>
                      <a:pPr algn="l" fontAlgn="b"/>
                      <a:r>
                        <a:rPr lang="en-US" sz="1100" u="none" strike="noStrike" dirty="0" smtClean="0">
                          <a:solidFill>
                            <a:srgbClr val="376092"/>
                          </a:solidFill>
                          <a:effectLst/>
                          <a:latin typeface="Calibri" panose="020F0502020204030204" pitchFamily="34" charset="0"/>
                        </a:rPr>
                        <a:t>Offshore</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a:solidFill>
                            <a:srgbClr val="376092"/>
                          </a:solidFill>
                          <a:effectLst/>
                          <a:latin typeface="Calibri" panose="020F0502020204030204" pitchFamily="34" charset="0"/>
                        </a:rPr>
                        <a:t> </a:t>
                      </a:r>
                      <a:endParaRPr lang="en-US" sz="1100" b="0" i="0" u="none" strike="noStrike">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7</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7</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7</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7</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7</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7</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7</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7</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7</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7</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7</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7</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7</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7</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b="0" i="0" u="none" strike="noStrike" dirty="0" smtClean="0">
                          <a:solidFill>
                            <a:srgbClr val="376092"/>
                          </a:solidFill>
                          <a:effectLst/>
                          <a:latin typeface="Calibri" panose="020F0502020204030204" pitchFamily="34" charset="0"/>
                        </a:rPr>
                        <a:t>6</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r>
              <a:tr h="133806">
                <a:tc>
                  <a:txBody>
                    <a:bodyPr/>
                    <a:lstStyle/>
                    <a:p>
                      <a:pPr algn="l" fontAlgn="b"/>
                      <a:r>
                        <a:rPr lang="en-US" sz="1100" u="none" strike="noStrike" dirty="0" smtClean="0">
                          <a:solidFill>
                            <a:schemeClr val="accent2">
                              <a:lumMod val="50000"/>
                            </a:schemeClr>
                          </a:solidFill>
                          <a:effectLst/>
                          <a:latin typeface="Calibri" panose="020F0502020204030204" pitchFamily="34" charset="0"/>
                        </a:rPr>
                        <a:t>TOTAL</a:t>
                      </a:r>
                      <a:endParaRPr lang="en-US" sz="1100" b="0"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9</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smtClean="0">
                          <a:solidFill>
                            <a:schemeClr val="accent2">
                              <a:lumMod val="50000"/>
                            </a:schemeClr>
                          </a:solidFill>
                          <a:effectLst/>
                          <a:latin typeface="Calibri" panose="020F0502020204030204" pitchFamily="34" charset="0"/>
                        </a:rPr>
                        <a:t>9</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smtClean="0">
                          <a:solidFill>
                            <a:schemeClr val="accent2">
                              <a:lumMod val="50000"/>
                            </a:schemeClr>
                          </a:solidFill>
                          <a:effectLst/>
                          <a:latin typeface="Calibri" panose="020F0502020204030204" pitchFamily="34" charset="0"/>
                        </a:rPr>
                        <a:t>9</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smtClean="0">
                          <a:solidFill>
                            <a:schemeClr val="accent2">
                              <a:lumMod val="50000"/>
                            </a:schemeClr>
                          </a:solidFill>
                          <a:effectLst/>
                          <a:latin typeface="Calibri" panose="020F0502020204030204" pitchFamily="34" charset="0"/>
                        </a:rPr>
                        <a:t>9</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smtClean="0">
                          <a:solidFill>
                            <a:schemeClr val="accent2">
                              <a:lumMod val="50000"/>
                            </a:schemeClr>
                          </a:solidFill>
                          <a:effectLst/>
                          <a:latin typeface="Calibri" panose="020F0502020204030204" pitchFamily="34" charset="0"/>
                        </a:rPr>
                        <a:t>9</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smtClean="0">
                          <a:solidFill>
                            <a:schemeClr val="accent2">
                              <a:lumMod val="50000"/>
                            </a:schemeClr>
                          </a:solidFill>
                          <a:effectLst/>
                          <a:latin typeface="Calibri" panose="020F0502020204030204" pitchFamily="34" charset="0"/>
                        </a:rPr>
                        <a:t>9</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smtClean="0">
                          <a:solidFill>
                            <a:schemeClr val="accent2">
                              <a:lumMod val="50000"/>
                            </a:schemeClr>
                          </a:solidFill>
                          <a:effectLst/>
                          <a:latin typeface="Calibri" panose="020F0502020204030204" pitchFamily="34" charset="0"/>
                        </a:rPr>
                        <a:t>9</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smtClean="0">
                          <a:solidFill>
                            <a:schemeClr val="accent2">
                              <a:lumMod val="50000"/>
                            </a:schemeClr>
                          </a:solidFill>
                          <a:effectLst/>
                          <a:latin typeface="Calibri" panose="020F0502020204030204" pitchFamily="34" charset="0"/>
                        </a:rPr>
                        <a:t>9</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smtClean="0">
                          <a:solidFill>
                            <a:schemeClr val="accent2">
                              <a:lumMod val="50000"/>
                            </a:schemeClr>
                          </a:solidFill>
                          <a:effectLst/>
                          <a:latin typeface="Calibri" panose="020F0502020204030204" pitchFamily="34" charset="0"/>
                        </a:rPr>
                        <a:t>9</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smtClean="0">
                          <a:solidFill>
                            <a:schemeClr val="accent2">
                              <a:lumMod val="50000"/>
                            </a:schemeClr>
                          </a:solidFill>
                          <a:effectLst/>
                          <a:latin typeface="Calibri" panose="020F0502020204030204" pitchFamily="34" charset="0"/>
                        </a:rPr>
                        <a:t>9</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smtClean="0">
                          <a:solidFill>
                            <a:schemeClr val="accent2">
                              <a:lumMod val="50000"/>
                            </a:schemeClr>
                          </a:solidFill>
                          <a:effectLst/>
                          <a:latin typeface="Calibri" panose="020F0502020204030204" pitchFamily="34" charset="0"/>
                        </a:rPr>
                        <a:t>9</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smtClean="0">
                          <a:solidFill>
                            <a:schemeClr val="accent2">
                              <a:lumMod val="50000"/>
                            </a:schemeClr>
                          </a:solidFill>
                          <a:effectLst/>
                          <a:latin typeface="Calibri" panose="020F0502020204030204" pitchFamily="34" charset="0"/>
                        </a:rPr>
                        <a:t>9</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smtClean="0">
                          <a:solidFill>
                            <a:schemeClr val="accent2">
                              <a:lumMod val="50000"/>
                            </a:schemeClr>
                          </a:solidFill>
                          <a:effectLst/>
                          <a:latin typeface="Calibri" panose="020F0502020204030204" pitchFamily="34" charset="0"/>
                        </a:rPr>
                        <a:t>9</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smtClean="0">
                          <a:solidFill>
                            <a:schemeClr val="accent2">
                              <a:lumMod val="50000"/>
                            </a:schemeClr>
                          </a:solidFill>
                          <a:effectLst/>
                          <a:latin typeface="Calibri" panose="020F0502020204030204" pitchFamily="34" charset="0"/>
                        </a:rPr>
                        <a:t>9</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b="1" i="0" u="none" strike="noStrike" dirty="0" smtClean="0">
                          <a:solidFill>
                            <a:schemeClr val="accent2">
                              <a:lumMod val="50000"/>
                            </a:schemeClr>
                          </a:solidFill>
                          <a:effectLst/>
                          <a:latin typeface="Calibri" panose="020F0502020204030204" pitchFamily="34" charset="0"/>
                        </a:rPr>
                        <a:t>8</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r>
              <a:tr h="168646">
                <a:tc gridSpan="17">
                  <a:txBody>
                    <a:bodyPr/>
                    <a:lstStyle/>
                    <a:p>
                      <a:pPr algn="ctr" fontAlgn="b"/>
                      <a:r>
                        <a:rPr lang="en-US" sz="1400" b="1" u="none" strike="noStrike" dirty="0" smtClean="0">
                          <a:solidFill>
                            <a:schemeClr val="tx1">
                              <a:lumMod val="60000"/>
                              <a:lumOff val="40000"/>
                            </a:schemeClr>
                          </a:solidFill>
                          <a:effectLst/>
                          <a:latin typeface="Calibri" panose="020F0502020204030204" pitchFamily="34" charset="0"/>
                        </a:rPr>
                        <a:t>Other Apps – Plus</a:t>
                      </a:r>
                      <a:endParaRPr lang="en-US" sz="1400" b="1" i="0" u="none" strike="noStrike" dirty="0">
                        <a:solidFill>
                          <a:schemeClr val="tx1">
                            <a:lumMod val="60000"/>
                            <a:lumOff val="4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61555">
                <a:tc>
                  <a:txBody>
                    <a:bodyPr/>
                    <a:lstStyle/>
                    <a:p>
                      <a:pPr algn="l" fontAlgn="b"/>
                      <a:r>
                        <a:rPr lang="en-US" sz="1100" u="none" strike="noStrike" dirty="0" smtClean="0">
                          <a:solidFill>
                            <a:srgbClr val="376092"/>
                          </a:solidFill>
                          <a:effectLst/>
                          <a:latin typeface="Calibri" panose="020F0502020204030204" pitchFamily="34" charset="0"/>
                        </a:rPr>
                        <a:t>Onshore</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a:solidFill>
                            <a:srgbClr val="376092"/>
                          </a:solidFill>
                          <a:effectLst/>
                          <a:latin typeface="Calibri" panose="020F0502020204030204" pitchFamily="34" charset="0"/>
                        </a:rPr>
                        <a:t> </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3</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3</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3</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3</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3</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3</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3</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3</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3</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3</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3</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3</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3</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3</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b="0" i="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r>
              <a:tr h="133806">
                <a:tc>
                  <a:txBody>
                    <a:bodyPr/>
                    <a:lstStyle/>
                    <a:p>
                      <a:pPr algn="l" fontAlgn="b"/>
                      <a:r>
                        <a:rPr lang="en-US" sz="1100" u="none" strike="noStrike" dirty="0" smtClean="0">
                          <a:solidFill>
                            <a:srgbClr val="376092"/>
                          </a:solidFill>
                          <a:effectLst/>
                          <a:latin typeface="Calibri" panose="020F0502020204030204" pitchFamily="34" charset="0"/>
                        </a:rPr>
                        <a:t>Offshore</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a:solidFill>
                            <a:srgbClr val="376092"/>
                          </a:solidFill>
                          <a:effectLst/>
                          <a:latin typeface="Calibri" panose="020F0502020204030204" pitchFamily="34" charset="0"/>
                        </a:rPr>
                        <a:t> </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10</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10</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10</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10</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10</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10</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10</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10</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10</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10</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10</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10</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10</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u="none" strike="noStrike" dirty="0" smtClean="0">
                          <a:solidFill>
                            <a:srgbClr val="376092"/>
                          </a:solidFill>
                          <a:effectLst/>
                          <a:latin typeface="Calibri" panose="020F0502020204030204" pitchFamily="34" charset="0"/>
                        </a:rPr>
                        <a:t>10</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b="0" i="0" u="none" strike="noStrike" dirty="0" smtClean="0">
                          <a:solidFill>
                            <a:srgbClr val="376092"/>
                          </a:solidFill>
                          <a:effectLst/>
                          <a:latin typeface="Calibri" panose="020F0502020204030204" pitchFamily="34" charset="0"/>
                        </a:rPr>
                        <a:t>9</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r>
              <a:tr h="133806">
                <a:tc>
                  <a:txBody>
                    <a:bodyPr/>
                    <a:lstStyle/>
                    <a:p>
                      <a:pPr algn="l" fontAlgn="b"/>
                      <a:r>
                        <a:rPr lang="en-US" sz="1100" u="none" strike="noStrike" dirty="0" smtClean="0">
                          <a:solidFill>
                            <a:schemeClr val="accent2">
                              <a:lumMod val="50000"/>
                            </a:schemeClr>
                          </a:solidFill>
                          <a:effectLst/>
                          <a:latin typeface="Calibri" panose="020F0502020204030204" pitchFamily="34" charset="0"/>
                        </a:rPr>
                        <a:t>TOTAL</a:t>
                      </a:r>
                      <a:endParaRPr lang="en-US" sz="1100" b="0"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13</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13</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13</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13</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13</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13</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13</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13</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13</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13</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13</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13</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13</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13</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b="1" i="0" u="none" strike="noStrike" dirty="0" smtClean="0">
                          <a:solidFill>
                            <a:schemeClr val="accent2">
                              <a:lumMod val="50000"/>
                            </a:schemeClr>
                          </a:solidFill>
                          <a:effectLst/>
                          <a:latin typeface="Calibri" panose="020F0502020204030204" pitchFamily="34" charset="0"/>
                        </a:rPr>
                        <a:t>11</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r>
              <a:tr h="133806">
                <a:tc gridSpan="17">
                  <a:txBody>
                    <a:bodyPr/>
                    <a:lstStyle/>
                    <a:p>
                      <a:pPr algn="ctr" fontAlgn="b"/>
                      <a:r>
                        <a:rPr lang="en-US" sz="1400" b="1" u="none" strike="noStrike" dirty="0" smtClean="0">
                          <a:solidFill>
                            <a:schemeClr val="tx1">
                              <a:lumMod val="60000"/>
                              <a:lumOff val="40000"/>
                            </a:schemeClr>
                          </a:solidFill>
                          <a:effectLst/>
                          <a:latin typeface="Calibri" panose="020F0502020204030204" pitchFamily="34" charset="0"/>
                        </a:rPr>
                        <a:t>L1 incremental staffing</a:t>
                      </a:r>
                      <a:endParaRPr lang="en-US" sz="1400" b="1" i="0" u="none" strike="noStrike" dirty="0">
                        <a:solidFill>
                          <a:schemeClr val="tx1">
                            <a:lumMod val="60000"/>
                            <a:lumOff val="4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lumMod val="20000"/>
                        <a:lumOff val="80000"/>
                      </a:schemeClr>
                    </a:solidFill>
                  </a:tcPr>
                </a:tc>
                <a:tc hMerge="1">
                  <a:txBody>
                    <a:bodyPr/>
                    <a:lstStyle/>
                    <a:p>
                      <a:endParaRPr lang="en-US"/>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hMerge="1">
                  <a:txBody>
                    <a:bodyPr/>
                    <a:lstStyle/>
                    <a:p>
                      <a:endParaRPr lang="en-US"/>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hMerge="1">
                  <a:txBody>
                    <a:bodyPr/>
                    <a:lstStyle/>
                    <a:p>
                      <a:endParaRPr lang="en-US"/>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hMerge="1">
                  <a:txBody>
                    <a:bodyPr/>
                    <a:lstStyle/>
                    <a:p>
                      <a:endParaRPr lang="en-US"/>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hMerge="1">
                  <a:txBody>
                    <a:bodyPr/>
                    <a:lstStyle/>
                    <a:p>
                      <a:endParaRPr lang="en-US"/>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hMerge="1">
                  <a:txBody>
                    <a:bodyPr/>
                    <a:lstStyle/>
                    <a:p>
                      <a:endParaRPr lang="en-US"/>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hMerge="1">
                  <a:txBody>
                    <a:bodyPr/>
                    <a:lstStyle/>
                    <a:p>
                      <a:endParaRPr lang="en-US"/>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hMerge="1">
                  <a:txBody>
                    <a:bodyPr/>
                    <a:lstStyle/>
                    <a:p>
                      <a:endParaRPr lang="en-US"/>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hMerge="1">
                  <a:txBody>
                    <a:bodyPr/>
                    <a:lstStyle/>
                    <a:p>
                      <a:endParaRPr lang="en-US"/>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hMerge="1">
                  <a:txBody>
                    <a:bodyPr/>
                    <a:lstStyle/>
                    <a:p>
                      <a:endParaRPr lang="en-US"/>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hMerge="1">
                  <a:txBody>
                    <a:bodyPr/>
                    <a:lstStyle/>
                    <a:p>
                      <a:endParaRPr lang="en-US"/>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hMerge="1">
                  <a:txBody>
                    <a:bodyPr/>
                    <a:lstStyle/>
                    <a:p>
                      <a:endParaRPr lang="en-US"/>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hMerge="1">
                  <a:txBody>
                    <a:bodyPr/>
                    <a:lstStyle/>
                    <a:p>
                      <a:endParaRPr lang="en-US"/>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hMerge="1">
                  <a:txBody>
                    <a:bodyPr/>
                    <a:lstStyle/>
                    <a:p>
                      <a:endParaRPr lang="en-US"/>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hMerge="1">
                  <a:txBody>
                    <a:bodyPr/>
                    <a:lstStyle/>
                    <a:p>
                      <a:endParaRPr lang="en-US"/>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hMerge="1">
                  <a:txBody>
                    <a:bodyPr/>
                    <a:lstStyle/>
                    <a:p>
                      <a:endParaRPr lang="en-US"/>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r>
              <a:tr h="133806">
                <a:tc>
                  <a:txBody>
                    <a:bodyPr/>
                    <a:lstStyle/>
                    <a:p>
                      <a:pPr algn="l" fontAlgn="b"/>
                      <a:r>
                        <a:rPr lang="en-US" sz="1100" u="none" strike="noStrike" dirty="0" smtClean="0">
                          <a:solidFill>
                            <a:srgbClr val="376092"/>
                          </a:solidFill>
                          <a:effectLst/>
                          <a:latin typeface="Calibri" panose="020F0502020204030204" pitchFamily="34" charset="0"/>
                        </a:rPr>
                        <a:t>Offshore</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fontAlgn="b"/>
                      <a:r>
                        <a:rPr lang="en-US" sz="1100" u="none" strike="noStrike" dirty="0">
                          <a:solidFill>
                            <a:srgbClr val="376092"/>
                          </a:solidFill>
                          <a:effectLst/>
                          <a:latin typeface="Calibri" panose="020F0502020204030204" pitchFamily="34" charset="0"/>
                        </a:rPr>
                        <a:t> </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fontAlgn="b"/>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r>
              <a:tr h="133806">
                <a:tc>
                  <a:txBody>
                    <a:bodyPr/>
                    <a:lstStyle/>
                    <a:p>
                      <a:pPr algn="l" fontAlgn="b"/>
                      <a:r>
                        <a:rPr lang="en-US" sz="1100" u="none" strike="noStrike" dirty="0" smtClean="0">
                          <a:solidFill>
                            <a:schemeClr val="accent2">
                              <a:lumMod val="50000"/>
                            </a:schemeClr>
                          </a:solidFill>
                          <a:effectLst/>
                          <a:latin typeface="Calibri" panose="020F0502020204030204" pitchFamily="34" charset="0"/>
                        </a:rPr>
                        <a:t>TOTAL</a:t>
                      </a:r>
                      <a:endParaRPr lang="en-US" sz="1100" b="0"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r>
              <a:tr h="133806">
                <a:tc gridSpan="17">
                  <a:txBody>
                    <a:bodyPr/>
                    <a:lstStyle/>
                    <a:p>
                      <a:pPr algn="ctr" fontAlgn="b"/>
                      <a:r>
                        <a:rPr lang="en-US" sz="1400" b="1" i="0" u="none" strike="noStrike" dirty="0" smtClean="0">
                          <a:solidFill>
                            <a:schemeClr val="tx1">
                              <a:lumMod val="60000"/>
                              <a:lumOff val="40000"/>
                            </a:schemeClr>
                          </a:solidFill>
                          <a:effectLst/>
                          <a:latin typeface="Calibri" panose="020F0502020204030204" pitchFamily="34" charset="0"/>
                        </a:rPr>
                        <a:t>CRM</a:t>
                      </a:r>
                      <a:r>
                        <a:rPr lang="en-US" sz="1400" b="1" i="0" u="none" strike="noStrike" baseline="0" dirty="0" smtClean="0">
                          <a:solidFill>
                            <a:schemeClr val="tx1">
                              <a:lumMod val="60000"/>
                              <a:lumOff val="40000"/>
                            </a:schemeClr>
                          </a:solidFill>
                          <a:effectLst/>
                          <a:latin typeface="Calibri" panose="020F0502020204030204" pitchFamily="34" charset="0"/>
                        </a:rPr>
                        <a:t> Enhancements</a:t>
                      </a:r>
                      <a:endParaRPr lang="en-US" sz="1400" b="1" i="0" u="none" strike="noStrike" dirty="0">
                        <a:solidFill>
                          <a:schemeClr val="tx1">
                            <a:lumMod val="60000"/>
                            <a:lumOff val="4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lumMod val="20000"/>
                        <a:lumOff val="80000"/>
                      </a:schemeClr>
                    </a:solidFill>
                  </a:tcPr>
                </a:tc>
                <a:tc hMerge="1">
                  <a:txBody>
                    <a:bodyPr/>
                    <a:lstStyle/>
                    <a:p>
                      <a:endParaRPr lang="en-US"/>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hMerge="1">
                  <a:txBody>
                    <a:bodyPr/>
                    <a:lstStyle/>
                    <a:p>
                      <a:endParaRPr lang="en-US"/>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hMerge="1">
                  <a:txBody>
                    <a:bodyPr/>
                    <a:lstStyle/>
                    <a:p>
                      <a:endParaRPr lang="en-US"/>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hMerge="1">
                  <a:txBody>
                    <a:bodyPr/>
                    <a:lstStyle/>
                    <a:p>
                      <a:endParaRPr lang="en-US"/>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hMerge="1">
                  <a:txBody>
                    <a:bodyPr/>
                    <a:lstStyle/>
                    <a:p>
                      <a:endParaRPr lang="en-US"/>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hMerge="1">
                  <a:txBody>
                    <a:bodyPr/>
                    <a:lstStyle/>
                    <a:p>
                      <a:endParaRPr lang="en-US"/>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hMerge="1">
                  <a:txBody>
                    <a:bodyPr/>
                    <a:lstStyle/>
                    <a:p>
                      <a:endParaRPr lang="en-US"/>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hMerge="1">
                  <a:txBody>
                    <a:bodyPr/>
                    <a:lstStyle/>
                    <a:p>
                      <a:endParaRPr lang="en-US"/>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hMerge="1">
                  <a:txBody>
                    <a:bodyPr/>
                    <a:lstStyle/>
                    <a:p>
                      <a:endParaRPr lang="en-US"/>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hMerge="1">
                  <a:txBody>
                    <a:bodyPr/>
                    <a:lstStyle/>
                    <a:p>
                      <a:endParaRPr lang="en-US"/>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hMerge="1">
                  <a:txBody>
                    <a:bodyPr/>
                    <a:lstStyle/>
                    <a:p>
                      <a:endParaRPr lang="en-US"/>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hMerge="1">
                  <a:txBody>
                    <a:bodyPr/>
                    <a:lstStyle/>
                    <a:p>
                      <a:endParaRPr lang="en-US"/>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hMerge="1">
                  <a:txBody>
                    <a:bodyPr/>
                    <a:lstStyle/>
                    <a:p>
                      <a:endParaRPr lang="en-US"/>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hMerge="1">
                  <a:txBody>
                    <a:bodyPr/>
                    <a:lstStyle/>
                    <a:p>
                      <a:endParaRPr lang="en-US"/>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hMerge="1">
                  <a:txBody>
                    <a:bodyPr/>
                    <a:lstStyle/>
                    <a:p>
                      <a:endParaRPr lang="en-US"/>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hMerge="1">
                  <a:txBody>
                    <a:bodyPr/>
                    <a:lstStyle/>
                    <a:p>
                      <a:endParaRPr lang="en-US"/>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r>
              <a:tr h="133806">
                <a:tc>
                  <a:txBody>
                    <a:bodyPr/>
                    <a:lstStyle/>
                    <a:p>
                      <a:pPr algn="l" fontAlgn="b"/>
                      <a:r>
                        <a:rPr lang="en-US" sz="1100" u="none" strike="noStrike" dirty="0" smtClean="0">
                          <a:solidFill>
                            <a:srgbClr val="376092"/>
                          </a:solidFill>
                          <a:effectLst/>
                          <a:latin typeface="Calibri" panose="020F0502020204030204" pitchFamily="34" charset="0"/>
                        </a:rPr>
                        <a:t>Offshore</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fontAlgn="b"/>
                      <a:r>
                        <a:rPr lang="en-US" sz="1100" u="none" strike="noStrike" dirty="0">
                          <a:solidFill>
                            <a:srgbClr val="376092"/>
                          </a:solidFill>
                          <a:effectLst/>
                          <a:latin typeface="Calibri" panose="020F0502020204030204" pitchFamily="34" charset="0"/>
                        </a:rPr>
                        <a:t> </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fontAlgn="b"/>
                      <a:r>
                        <a:rPr lang="en-US" sz="110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fontAlgn="b"/>
                      <a:r>
                        <a:rPr lang="en-US" sz="1100" b="0" i="0" u="none" strike="noStrike" dirty="0" smtClean="0">
                          <a:solidFill>
                            <a:srgbClr val="376092"/>
                          </a:solidFill>
                          <a:effectLst/>
                          <a:latin typeface="Calibri" panose="020F0502020204030204" pitchFamily="34" charset="0"/>
                        </a:rPr>
                        <a:t>2</a:t>
                      </a:r>
                      <a:endParaRPr lang="en-US" sz="1100" b="0" i="0" u="none" strike="noStrike" dirty="0">
                        <a:solidFill>
                          <a:srgbClr val="376092"/>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r>
              <a:tr h="133806">
                <a:tc>
                  <a:txBody>
                    <a:bodyPr/>
                    <a:lstStyle/>
                    <a:p>
                      <a:pPr algn="l" fontAlgn="b"/>
                      <a:r>
                        <a:rPr lang="en-US" sz="1100" u="none" strike="noStrike" dirty="0" smtClean="0">
                          <a:solidFill>
                            <a:schemeClr val="accent2">
                              <a:lumMod val="50000"/>
                            </a:schemeClr>
                          </a:solidFill>
                          <a:effectLst/>
                          <a:latin typeface="Calibri" panose="020F0502020204030204" pitchFamily="34" charset="0"/>
                        </a:rPr>
                        <a:t>TOTAL</a:t>
                      </a:r>
                      <a:endParaRPr lang="en-US" sz="1100" b="0"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u="none" strike="noStrike" dirty="0" smtClean="0">
                          <a:solidFill>
                            <a:schemeClr val="accent2">
                              <a:lumMod val="50000"/>
                            </a:schemeClr>
                          </a:solidFill>
                          <a:effectLst/>
                          <a:latin typeface="Calibri" panose="020F0502020204030204" pitchFamily="34" charset="0"/>
                        </a:rPr>
                        <a:t>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c>
                  <a:txBody>
                    <a:bodyPr/>
                    <a:lstStyle/>
                    <a:p>
                      <a:pPr algn="ctr" fontAlgn="b"/>
                      <a:r>
                        <a:rPr lang="en-US" sz="1100" b="1" i="0" u="none" strike="noStrike" dirty="0" smtClean="0">
                          <a:solidFill>
                            <a:schemeClr val="accent2">
                              <a:lumMod val="50000"/>
                            </a:schemeClr>
                          </a:solidFill>
                          <a:effectLst/>
                          <a:latin typeface="Calibri" panose="020F0502020204030204" pitchFamily="34" charset="0"/>
                        </a:rPr>
                        <a:t>2</a:t>
                      </a:r>
                      <a:endParaRPr lang="en-US" sz="1100" b="1" i="0" u="none" strike="noStrike" dirty="0">
                        <a:solidFill>
                          <a:schemeClr val="accent2">
                            <a:lumMod val="50000"/>
                          </a:schemeClr>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6">
                        <a:lumMod val="60000"/>
                        <a:lumOff val="40000"/>
                      </a:schemeClr>
                    </a:solidFill>
                  </a:tcPr>
                </a:tc>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995505082"/>
              </p:ext>
            </p:extLst>
          </p:nvPr>
        </p:nvGraphicFramePr>
        <p:xfrm>
          <a:off x="298938" y="5307616"/>
          <a:ext cx="8623603" cy="928389"/>
        </p:xfrm>
        <a:graphic>
          <a:graphicData uri="http://schemas.openxmlformats.org/drawingml/2006/table">
            <a:tbl>
              <a:tblPr>
                <a:tableStyleId>{BDBED569-4797-4DF1-A0F4-6AAB3CD982D8}</a:tableStyleId>
              </a:tblPr>
              <a:tblGrid>
                <a:gridCol w="1181686"/>
                <a:gridCol w="469244"/>
                <a:gridCol w="469244"/>
                <a:gridCol w="469244"/>
                <a:gridCol w="469244"/>
                <a:gridCol w="469244"/>
                <a:gridCol w="469244"/>
                <a:gridCol w="469244"/>
                <a:gridCol w="469244"/>
                <a:gridCol w="469244"/>
                <a:gridCol w="469244"/>
                <a:gridCol w="469244"/>
                <a:gridCol w="469244"/>
                <a:gridCol w="469244"/>
                <a:gridCol w="469244"/>
                <a:gridCol w="469244"/>
                <a:gridCol w="403257"/>
              </a:tblGrid>
              <a:tr h="174845">
                <a:tc>
                  <a:txBody>
                    <a:bodyPr/>
                    <a:lstStyle/>
                    <a:p>
                      <a:pPr algn="ctr" fontAlgn="ctr"/>
                      <a:r>
                        <a:rPr lang="en-US" sz="1100" u="none" strike="noStrike" dirty="0">
                          <a:solidFill>
                            <a:schemeClr val="bg1"/>
                          </a:solidFill>
                          <a:effectLst/>
                          <a:latin typeface="Calibri" panose="020F0502020204030204" pitchFamily="34" charset="0"/>
                        </a:rPr>
                        <a:t>Role</a:t>
                      </a:r>
                      <a:endParaRPr lang="en-US" sz="1100" b="1"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c>
                  <a:txBody>
                    <a:bodyPr/>
                    <a:lstStyle/>
                    <a:p>
                      <a:pPr algn="ctr" fontAlgn="b"/>
                      <a:r>
                        <a:rPr lang="en-US" sz="1100" u="none" strike="noStrike" dirty="0">
                          <a:solidFill>
                            <a:schemeClr val="bg1"/>
                          </a:solidFill>
                          <a:effectLst/>
                          <a:latin typeface="Calibri" panose="020F0502020204030204" pitchFamily="34" charset="0"/>
                        </a:rPr>
                        <a:t>Jan-17</a:t>
                      </a:r>
                      <a:endParaRPr lang="en-US" sz="1100" b="0"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c>
                  <a:txBody>
                    <a:bodyPr/>
                    <a:lstStyle/>
                    <a:p>
                      <a:pPr algn="ctr" fontAlgn="b"/>
                      <a:r>
                        <a:rPr lang="en-US" sz="1100" u="none" strike="noStrike" dirty="0">
                          <a:solidFill>
                            <a:schemeClr val="bg1"/>
                          </a:solidFill>
                          <a:effectLst/>
                          <a:latin typeface="Calibri" panose="020F0502020204030204" pitchFamily="34" charset="0"/>
                        </a:rPr>
                        <a:t>Feb-17</a:t>
                      </a:r>
                      <a:endParaRPr lang="en-US" sz="1100" b="0"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c>
                  <a:txBody>
                    <a:bodyPr/>
                    <a:lstStyle/>
                    <a:p>
                      <a:pPr algn="ctr" fontAlgn="b"/>
                      <a:r>
                        <a:rPr lang="en-US" sz="1100" u="none" strike="noStrike" dirty="0">
                          <a:solidFill>
                            <a:schemeClr val="bg1"/>
                          </a:solidFill>
                          <a:effectLst/>
                          <a:latin typeface="Calibri" panose="020F0502020204030204" pitchFamily="34" charset="0"/>
                        </a:rPr>
                        <a:t>Mar-17</a:t>
                      </a:r>
                      <a:endParaRPr lang="en-US" sz="1100" b="0"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c>
                  <a:txBody>
                    <a:bodyPr/>
                    <a:lstStyle/>
                    <a:p>
                      <a:pPr algn="ctr" fontAlgn="b"/>
                      <a:r>
                        <a:rPr lang="en-US" sz="1100" u="none" strike="noStrike" dirty="0">
                          <a:solidFill>
                            <a:schemeClr val="bg1"/>
                          </a:solidFill>
                          <a:effectLst/>
                          <a:latin typeface="Calibri" panose="020F0502020204030204" pitchFamily="34" charset="0"/>
                        </a:rPr>
                        <a:t>Apr-17</a:t>
                      </a:r>
                      <a:endParaRPr lang="en-US" sz="1100" b="0"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c>
                  <a:txBody>
                    <a:bodyPr/>
                    <a:lstStyle/>
                    <a:p>
                      <a:pPr algn="ctr" fontAlgn="b"/>
                      <a:r>
                        <a:rPr lang="en-US" sz="1100" u="none" strike="noStrike" dirty="0">
                          <a:solidFill>
                            <a:schemeClr val="bg1"/>
                          </a:solidFill>
                          <a:effectLst/>
                          <a:latin typeface="Calibri" panose="020F0502020204030204" pitchFamily="34" charset="0"/>
                        </a:rPr>
                        <a:t>May-17</a:t>
                      </a:r>
                      <a:endParaRPr lang="en-US" sz="1100" b="0"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c>
                  <a:txBody>
                    <a:bodyPr/>
                    <a:lstStyle/>
                    <a:p>
                      <a:pPr algn="ctr" fontAlgn="b"/>
                      <a:r>
                        <a:rPr lang="en-US" sz="1100" u="none" strike="noStrike" dirty="0">
                          <a:solidFill>
                            <a:schemeClr val="bg1"/>
                          </a:solidFill>
                          <a:effectLst/>
                          <a:latin typeface="Calibri" panose="020F0502020204030204" pitchFamily="34" charset="0"/>
                        </a:rPr>
                        <a:t>Jun-17</a:t>
                      </a:r>
                      <a:endParaRPr lang="en-US" sz="1100" b="0"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c>
                  <a:txBody>
                    <a:bodyPr/>
                    <a:lstStyle/>
                    <a:p>
                      <a:pPr algn="ctr" fontAlgn="b"/>
                      <a:r>
                        <a:rPr lang="en-US" sz="1100" u="none" strike="noStrike" dirty="0">
                          <a:solidFill>
                            <a:schemeClr val="bg1"/>
                          </a:solidFill>
                          <a:effectLst/>
                          <a:latin typeface="Calibri" panose="020F0502020204030204" pitchFamily="34" charset="0"/>
                        </a:rPr>
                        <a:t>Jul-17</a:t>
                      </a:r>
                      <a:endParaRPr lang="en-US" sz="1100" b="0"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c>
                  <a:txBody>
                    <a:bodyPr/>
                    <a:lstStyle/>
                    <a:p>
                      <a:pPr algn="ctr" fontAlgn="b"/>
                      <a:r>
                        <a:rPr lang="en-US" sz="1100" u="none" strike="noStrike" dirty="0">
                          <a:solidFill>
                            <a:schemeClr val="bg1"/>
                          </a:solidFill>
                          <a:effectLst/>
                          <a:latin typeface="Calibri" panose="020F0502020204030204" pitchFamily="34" charset="0"/>
                        </a:rPr>
                        <a:t>Aug-17</a:t>
                      </a:r>
                      <a:endParaRPr lang="en-US" sz="1100" b="0"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c>
                  <a:txBody>
                    <a:bodyPr/>
                    <a:lstStyle/>
                    <a:p>
                      <a:pPr algn="ctr" fontAlgn="b"/>
                      <a:r>
                        <a:rPr lang="en-US" sz="1100" u="none" strike="noStrike" dirty="0">
                          <a:solidFill>
                            <a:schemeClr val="bg1"/>
                          </a:solidFill>
                          <a:effectLst/>
                          <a:latin typeface="Calibri" panose="020F0502020204030204" pitchFamily="34" charset="0"/>
                        </a:rPr>
                        <a:t>Sep-17</a:t>
                      </a:r>
                      <a:endParaRPr lang="en-US" sz="1100" b="0"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c>
                  <a:txBody>
                    <a:bodyPr/>
                    <a:lstStyle/>
                    <a:p>
                      <a:pPr algn="ctr" fontAlgn="b"/>
                      <a:r>
                        <a:rPr lang="en-US" sz="1100" u="none" strike="noStrike" dirty="0">
                          <a:solidFill>
                            <a:schemeClr val="bg1"/>
                          </a:solidFill>
                          <a:effectLst/>
                          <a:latin typeface="Calibri" panose="020F0502020204030204" pitchFamily="34" charset="0"/>
                        </a:rPr>
                        <a:t>Oct-17</a:t>
                      </a:r>
                      <a:endParaRPr lang="en-US" sz="1100" b="0"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c>
                  <a:txBody>
                    <a:bodyPr/>
                    <a:lstStyle/>
                    <a:p>
                      <a:pPr algn="ctr" fontAlgn="b"/>
                      <a:r>
                        <a:rPr lang="en-US" sz="1100" u="none" strike="noStrike" dirty="0">
                          <a:solidFill>
                            <a:schemeClr val="bg1"/>
                          </a:solidFill>
                          <a:effectLst/>
                          <a:latin typeface="Calibri" panose="020F0502020204030204" pitchFamily="34" charset="0"/>
                        </a:rPr>
                        <a:t>Nov-17</a:t>
                      </a:r>
                      <a:endParaRPr lang="en-US" sz="1100" b="0"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c>
                  <a:txBody>
                    <a:bodyPr/>
                    <a:lstStyle/>
                    <a:p>
                      <a:pPr algn="ctr" fontAlgn="b"/>
                      <a:r>
                        <a:rPr lang="en-US" sz="1100" u="none" strike="noStrike" dirty="0">
                          <a:solidFill>
                            <a:schemeClr val="bg1"/>
                          </a:solidFill>
                          <a:effectLst/>
                          <a:latin typeface="Calibri" panose="020F0502020204030204" pitchFamily="34" charset="0"/>
                        </a:rPr>
                        <a:t>Dec-17</a:t>
                      </a:r>
                      <a:endParaRPr lang="en-US" sz="1100" b="0"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c>
                  <a:txBody>
                    <a:bodyPr/>
                    <a:lstStyle/>
                    <a:p>
                      <a:pPr algn="ctr" fontAlgn="b"/>
                      <a:r>
                        <a:rPr lang="en-US" sz="1100" u="none" strike="noStrike" dirty="0">
                          <a:solidFill>
                            <a:schemeClr val="bg1"/>
                          </a:solidFill>
                          <a:effectLst/>
                          <a:latin typeface="Calibri" panose="020F0502020204030204" pitchFamily="34" charset="0"/>
                        </a:rPr>
                        <a:t>Jan-18</a:t>
                      </a:r>
                      <a:endParaRPr lang="en-US" sz="1100" b="0"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c>
                  <a:txBody>
                    <a:bodyPr/>
                    <a:lstStyle/>
                    <a:p>
                      <a:pPr algn="ctr" fontAlgn="b"/>
                      <a:r>
                        <a:rPr lang="en-US" sz="1100" u="none" strike="noStrike" dirty="0">
                          <a:solidFill>
                            <a:schemeClr val="bg1"/>
                          </a:solidFill>
                          <a:effectLst/>
                          <a:latin typeface="Calibri" panose="020F0502020204030204" pitchFamily="34" charset="0"/>
                        </a:rPr>
                        <a:t>Feb-18</a:t>
                      </a:r>
                      <a:endParaRPr lang="en-US" sz="1100" b="0"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c>
                  <a:txBody>
                    <a:bodyPr/>
                    <a:lstStyle/>
                    <a:p>
                      <a:pPr algn="ctr" fontAlgn="b"/>
                      <a:r>
                        <a:rPr lang="en-US" sz="1100" u="none" strike="noStrike" dirty="0">
                          <a:solidFill>
                            <a:schemeClr val="bg1"/>
                          </a:solidFill>
                          <a:effectLst/>
                          <a:latin typeface="Calibri" panose="020F0502020204030204" pitchFamily="34" charset="0"/>
                        </a:rPr>
                        <a:t>Mar-18</a:t>
                      </a:r>
                      <a:endParaRPr lang="en-US" sz="1100" b="0"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c>
                  <a:txBody>
                    <a:bodyPr/>
                    <a:lstStyle/>
                    <a:p>
                      <a:pPr algn="ctr" fontAlgn="b"/>
                      <a:r>
                        <a:rPr lang="en-US" sz="1100" u="none" strike="noStrike" dirty="0" smtClean="0">
                          <a:solidFill>
                            <a:schemeClr val="bg1"/>
                          </a:solidFill>
                          <a:effectLst/>
                          <a:latin typeface="Calibri" panose="020F0502020204030204" pitchFamily="34" charset="0"/>
                        </a:rPr>
                        <a:t>Year 2</a:t>
                      </a:r>
                      <a:endParaRPr lang="en-US" sz="1100" b="0" i="0" u="none" strike="noStrike" dirty="0">
                        <a:solidFill>
                          <a:schemeClr val="bg1"/>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solidFill>
                  </a:tcPr>
                </a:tc>
              </a:tr>
              <a:tr h="0">
                <a:tc gridSpan="17">
                  <a:txBody>
                    <a:bodyPr/>
                    <a:lstStyle/>
                    <a:p>
                      <a:pPr algn="ctr" fontAlgn="b"/>
                      <a:r>
                        <a:rPr lang="en-US" sz="1400" b="1" u="none" strike="noStrike" dirty="0" smtClean="0">
                          <a:solidFill>
                            <a:schemeClr val="tx1">
                              <a:lumMod val="60000"/>
                              <a:lumOff val="40000"/>
                            </a:schemeClr>
                          </a:solidFill>
                          <a:effectLst/>
                          <a:latin typeface="Calibri" panose="020F0502020204030204" pitchFamily="34" charset="0"/>
                        </a:rPr>
                        <a:t>Support Ticket Capacity Summary</a:t>
                      </a:r>
                      <a:endParaRPr lang="en-US" sz="1400" b="1" i="0" u="none" strike="noStrike" dirty="0">
                        <a:solidFill>
                          <a:schemeClr val="tx1">
                            <a:lumMod val="60000"/>
                            <a:lumOff val="40000"/>
                          </a:schemeClr>
                        </a:solidFill>
                        <a:effectLst/>
                        <a:latin typeface="Calibri" panose="020F0502020204030204" pitchFamily="34" charset="0"/>
                      </a:endParaRPr>
                    </a:p>
                  </a:txBody>
                  <a:tcPr marL="7336" marR="7336" marT="7947"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74845">
                <a:tc>
                  <a:txBody>
                    <a:bodyPr/>
                    <a:lstStyle/>
                    <a:p>
                      <a:pPr algn="l" fontAlgn="b"/>
                      <a:r>
                        <a:rPr lang="en-US" sz="1100" u="none" strike="noStrike" dirty="0" smtClean="0">
                          <a:effectLst/>
                          <a:latin typeface="Calibri" panose="020F0502020204030204" pitchFamily="34" charset="0"/>
                        </a:rPr>
                        <a:t>CRM Tickets</a:t>
                      </a:r>
                      <a:endParaRPr lang="en-US" sz="1100" b="0" i="0" u="none" strike="noStrike" dirty="0">
                        <a:solidFill>
                          <a:srgbClr val="000000"/>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b="0" i="0" u="none" strike="noStrike" dirty="0" smtClean="0">
                          <a:solidFill>
                            <a:srgbClr val="000000"/>
                          </a:solidFill>
                          <a:effectLst/>
                          <a:latin typeface="Calibri" panose="020F0502020204030204" pitchFamily="34" charset="0"/>
                        </a:rPr>
                        <a:t>340</a:t>
                      </a:r>
                      <a:endParaRPr lang="en-US" sz="1100" b="0" i="0" u="none" strike="noStrike" dirty="0">
                        <a:solidFill>
                          <a:srgbClr val="000000"/>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b="0" i="0" u="none" strike="noStrike" smtClean="0">
                          <a:solidFill>
                            <a:srgbClr val="000000"/>
                          </a:solidFill>
                          <a:effectLst/>
                          <a:latin typeface="Calibri" panose="020F0502020204030204" pitchFamily="34" charset="0"/>
                        </a:rPr>
                        <a:t>340</a:t>
                      </a:r>
                      <a:endParaRPr lang="en-US" sz="1100" b="0" i="0" u="none" strike="noStrike" dirty="0">
                        <a:solidFill>
                          <a:srgbClr val="000000"/>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b="0" i="0" u="none" strike="noStrike" smtClean="0">
                          <a:solidFill>
                            <a:srgbClr val="000000"/>
                          </a:solidFill>
                          <a:effectLst/>
                          <a:latin typeface="Calibri" panose="020F0502020204030204" pitchFamily="34" charset="0"/>
                        </a:rPr>
                        <a:t>340</a:t>
                      </a:r>
                      <a:endParaRPr lang="en-US" sz="1100" b="0" i="0" u="none" strike="noStrike" dirty="0">
                        <a:solidFill>
                          <a:srgbClr val="000000"/>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b="0" i="0" u="none" strike="noStrike" smtClean="0">
                          <a:solidFill>
                            <a:srgbClr val="000000"/>
                          </a:solidFill>
                          <a:effectLst/>
                          <a:latin typeface="Calibri" panose="020F0502020204030204" pitchFamily="34" charset="0"/>
                        </a:rPr>
                        <a:t>340</a:t>
                      </a:r>
                      <a:endParaRPr lang="en-US" sz="1100" b="0" i="0" u="none" strike="noStrike" dirty="0">
                        <a:solidFill>
                          <a:srgbClr val="000000"/>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r>
                        <a:rPr lang="en-US" sz="1100" b="0" i="0" u="none" strike="noStrike" smtClean="0">
                          <a:solidFill>
                            <a:srgbClr val="000000"/>
                          </a:solidFill>
                          <a:effectLst/>
                          <a:latin typeface="Calibri" panose="020F0502020204030204" pitchFamily="34" charset="0"/>
                        </a:rPr>
                        <a:t>340</a:t>
                      </a:r>
                      <a:endParaRPr lang="en-US" sz="1100" b="0" i="0" u="none" strike="noStrike" dirty="0">
                        <a:solidFill>
                          <a:srgbClr val="000000"/>
                        </a:solidFill>
                        <a:effectLst/>
                        <a:latin typeface="Book Antiqua" panose="02040602050305030304" pitchFamily="18"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r>
                        <a:rPr lang="en-US" sz="1100" b="0" i="0" u="none" strike="noStrike" smtClean="0">
                          <a:solidFill>
                            <a:srgbClr val="000000"/>
                          </a:solidFill>
                          <a:effectLst/>
                          <a:latin typeface="Calibri" panose="020F0502020204030204" pitchFamily="34" charset="0"/>
                        </a:rPr>
                        <a:t>340</a:t>
                      </a:r>
                      <a:endParaRPr lang="en-US" sz="1100" b="0" i="0" u="none" strike="noStrike" dirty="0">
                        <a:solidFill>
                          <a:srgbClr val="000000"/>
                        </a:solidFill>
                        <a:effectLst/>
                        <a:latin typeface="Book Antiqua" panose="02040602050305030304" pitchFamily="18"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r>
                        <a:rPr lang="en-US" sz="1100" b="0" i="0" u="none" strike="noStrike" dirty="0" smtClean="0">
                          <a:solidFill>
                            <a:srgbClr val="000000"/>
                          </a:solidFill>
                          <a:effectLst/>
                          <a:latin typeface="Calibri" panose="020F0502020204030204" pitchFamily="34" charset="0"/>
                        </a:rPr>
                        <a:t>340</a:t>
                      </a:r>
                      <a:endParaRPr lang="en-US" sz="1100" b="0" i="0" u="none" strike="noStrike" dirty="0">
                        <a:solidFill>
                          <a:srgbClr val="000000"/>
                        </a:solidFill>
                        <a:effectLst/>
                        <a:latin typeface="Book Antiqua" panose="02040602050305030304" pitchFamily="18"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r>
                        <a:rPr lang="en-US" sz="1100" b="0" i="0" u="none" strike="noStrike" smtClean="0">
                          <a:solidFill>
                            <a:srgbClr val="000000"/>
                          </a:solidFill>
                          <a:effectLst/>
                          <a:latin typeface="Calibri" panose="020F0502020204030204" pitchFamily="34" charset="0"/>
                        </a:rPr>
                        <a:t>340</a:t>
                      </a:r>
                      <a:endParaRPr lang="en-US" sz="1100" b="0" i="0" u="none" strike="noStrike" dirty="0">
                        <a:solidFill>
                          <a:srgbClr val="000000"/>
                        </a:solidFill>
                        <a:effectLst/>
                        <a:latin typeface="Book Antiqua" panose="02040602050305030304" pitchFamily="18"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r>
                        <a:rPr lang="en-US" sz="1100" b="0" i="0" u="none" strike="noStrike" smtClean="0">
                          <a:solidFill>
                            <a:srgbClr val="000000"/>
                          </a:solidFill>
                          <a:effectLst/>
                          <a:latin typeface="Calibri" panose="020F0502020204030204" pitchFamily="34" charset="0"/>
                        </a:rPr>
                        <a:t>340</a:t>
                      </a:r>
                      <a:endParaRPr lang="en-US" sz="1100" b="0" i="0" u="none" strike="noStrike" dirty="0">
                        <a:solidFill>
                          <a:srgbClr val="000000"/>
                        </a:solidFill>
                        <a:effectLst/>
                        <a:latin typeface="Calibri" panose="020F0502020204030204" pitchFamily="34"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r>
                        <a:rPr lang="en-US" sz="1100" b="0" i="0" u="none" strike="noStrike" smtClean="0">
                          <a:solidFill>
                            <a:srgbClr val="000000"/>
                          </a:solidFill>
                          <a:effectLst/>
                          <a:latin typeface="Calibri" panose="020F0502020204030204" pitchFamily="34" charset="0"/>
                        </a:rPr>
                        <a:t>340</a:t>
                      </a:r>
                      <a:endParaRPr lang="en-US" sz="1100" b="0" i="0" u="none" strike="noStrike" dirty="0">
                        <a:solidFill>
                          <a:srgbClr val="000000"/>
                        </a:solidFill>
                        <a:effectLst/>
                        <a:latin typeface="Calibri" panose="020F0502020204030204" pitchFamily="34"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r>
                        <a:rPr lang="en-US" sz="1100" b="0" i="0" u="none" strike="noStrike" smtClean="0">
                          <a:solidFill>
                            <a:srgbClr val="000000"/>
                          </a:solidFill>
                          <a:effectLst/>
                          <a:latin typeface="Calibri" panose="020F0502020204030204" pitchFamily="34" charset="0"/>
                        </a:rPr>
                        <a:t>340</a:t>
                      </a:r>
                      <a:endParaRPr lang="en-US" sz="1100" b="0" i="0" u="none" strike="noStrike" dirty="0">
                        <a:solidFill>
                          <a:srgbClr val="000000"/>
                        </a:solidFill>
                        <a:effectLst/>
                        <a:latin typeface="Calibri" panose="020F0502020204030204" pitchFamily="34"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r>
                        <a:rPr lang="en-US" sz="1100" b="0" i="0" u="none" strike="noStrike" smtClean="0">
                          <a:solidFill>
                            <a:srgbClr val="000000"/>
                          </a:solidFill>
                          <a:effectLst/>
                          <a:latin typeface="Calibri" panose="020F0502020204030204" pitchFamily="34" charset="0"/>
                        </a:rPr>
                        <a:t>340</a:t>
                      </a:r>
                      <a:endParaRPr lang="en-US" sz="1100" b="0" i="0" u="none" strike="noStrike" dirty="0">
                        <a:solidFill>
                          <a:srgbClr val="000000"/>
                        </a:solidFill>
                        <a:effectLst/>
                        <a:latin typeface="Calibri" panose="020F0502020204030204" pitchFamily="34"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r>
                        <a:rPr lang="en-US" sz="1100" b="0" i="0" u="none" strike="noStrike" smtClean="0">
                          <a:solidFill>
                            <a:srgbClr val="000000"/>
                          </a:solidFill>
                          <a:effectLst/>
                          <a:latin typeface="Calibri" panose="020F0502020204030204" pitchFamily="34" charset="0"/>
                        </a:rPr>
                        <a:t>340</a:t>
                      </a:r>
                      <a:endParaRPr lang="en-US" sz="1100" b="0" i="0" u="none" strike="noStrike" dirty="0">
                        <a:solidFill>
                          <a:srgbClr val="000000"/>
                        </a:solidFill>
                        <a:effectLst/>
                        <a:latin typeface="Calibri" panose="020F0502020204030204" pitchFamily="34"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r>
                        <a:rPr lang="en-US" sz="1100" b="0" i="0" u="none" strike="noStrike" dirty="0" smtClean="0">
                          <a:solidFill>
                            <a:srgbClr val="000000"/>
                          </a:solidFill>
                          <a:effectLst/>
                          <a:latin typeface="Calibri" panose="020F0502020204030204" pitchFamily="34" charset="0"/>
                        </a:rPr>
                        <a:t>340</a:t>
                      </a:r>
                      <a:endParaRPr lang="en-US" sz="1100" b="0" i="0" u="none" strike="noStrike" dirty="0">
                        <a:solidFill>
                          <a:srgbClr val="000000"/>
                        </a:solidFill>
                        <a:effectLst/>
                        <a:latin typeface="Calibri" panose="020F0502020204030204" pitchFamily="34"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endParaRPr lang="en-US" sz="1100" b="0" i="0" u="none" strike="noStrike" dirty="0">
                        <a:solidFill>
                          <a:srgbClr val="000000"/>
                        </a:solidFill>
                        <a:effectLst/>
                        <a:latin typeface="Calibri" panose="020F0502020204030204" pitchFamily="34"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r>
              <a:tr h="174845">
                <a:tc>
                  <a:txBody>
                    <a:bodyPr/>
                    <a:lstStyle/>
                    <a:p>
                      <a:pPr algn="l" fontAlgn="b"/>
                      <a:r>
                        <a:rPr lang="en-US" sz="1100" b="0" i="0" u="none" strike="noStrike" dirty="0" smtClean="0">
                          <a:solidFill>
                            <a:schemeClr val="tx1"/>
                          </a:solidFill>
                          <a:effectLst/>
                          <a:latin typeface="Calibri" panose="020F0502020204030204" pitchFamily="34" charset="0"/>
                        </a:rPr>
                        <a:t>Other Apps - Lite</a:t>
                      </a:r>
                      <a:endParaRPr lang="en-US" sz="1100" b="0" i="0" u="none" strike="noStrike" dirty="0">
                        <a:solidFill>
                          <a:srgbClr val="000000"/>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endParaRPr lang="en-US" sz="1100" b="0" i="0" u="none" strike="noStrike">
                        <a:solidFill>
                          <a:srgbClr val="000000"/>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b="0" i="0" u="none" strike="noStrike" dirty="0" smtClean="0">
                          <a:solidFill>
                            <a:srgbClr val="000000"/>
                          </a:solidFill>
                          <a:effectLst/>
                          <a:latin typeface="Calibri" panose="020F0502020204030204" pitchFamily="34" charset="0"/>
                        </a:rPr>
                        <a:t>195</a:t>
                      </a:r>
                      <a:endParaRPr lang="en-US" sz="1100" b="0" i="0" u="none" strike="noStrike" dirty="0">
                        <a:solidFill>
                          <a:srgbClr val="000000"/>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b="0" i="0" u="none" strike="noStrike" smtClean="0">
                          <a:solidFill>
                            <a:srgbClr val="000000"/>
                          </a:solidFill>
                          <a:effectLst/>
                          <a:latin typeface="Calibri" panose="020F0502020204030204" pitchFamily="34" charset="0"/>
                        </a:rPr>
                        <a:t>195</a:t>
                      </a:r>
                      <a:endParaRPr lang="en-US" sz="1100" b="0" i="0" u="none" strike="noStrike" dirty="0">
                        <a:solidFill>
                          <a:srgbClr val="000000"/>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b="0" i="0" u="none" strike="noStrike" smtClean="0">
                          <a:solidFill>
                            <a:srgbClr val="000000"/>
                          </a:solidFill>
                          <a:effectLst/>
                          <a:latin typeface="Calibri" panose="020F0502020204030204" pitchFamily="34" charset="0"/>
                        </a:rPr>
                        <a:t>195</a:t>
                      </a:r>
                      <a:endParaRPr lang="en-US" sz="1100" b="0" i="0" u="none" strike="noStrike" dirty="0">
                        <a:solidFill>
                          <a:srgbClr val="000000"/>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b="0" i="0" u="none" strike="noStrike" smtClean="0">
                          <a:solidFill>
                            <a:srgbClr val="000000"/>
                          </a:solidFill>
                          <a:effectLst/>
                          <a:latin typeface="Calibri" panose="020F0502020204030204" pitchFamily="34" charset="0"/>
                        </a:rPr>
                        <a:t>195</a:t>
                      </a:r>
                      <a:endParaRPr lang="en-US" sz="1100" b="0" i="0" u="none" strike="noStrike" dirty="0">
                        <a:solidFill>
                          <a:srgbClr val="000000"/>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r>
                        <a:rPr lang="en-US" sz="1100" b="0" i="0" u="none" strike="noStrike" smtClean="0">
                          <a:solidFill>
                            <a:srgbClr val="000000"/>
                          </a:solidFill>
                          <a:effectLst/>
                          <a:latin typeface="Calibri" panose="020F0502020204030204" pitchFamily="34" charset="0"/>
                        </a:rPr>
                        <a:t>195</a:t>
                      </a:r>
                      <a:endParaRPr lang="en-US" sz="1100" b="0" i="0" u="none" strike="noStrike" dirty="0">
                        <a:solidFill>
                          <a:srgbClr val="000000"/>
                        </a:solidFill>
                        <a:effectLst/>
                        <a:latin typeface="Calibri" panose="020F0502020204030204" pitchFamily="34"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r>
                        <a:rPr lang="en-US" sz="1100" b="0" i="0" u="none" strike="noStrike" smtClean="0">
                          <a:solidFill>
                            <a:srgbClr val="000000"/>
                          </a:solidFill>
                          <a:effectLst/>
                          <a:latin typeface="Calibri" panose="020F0502020204030204" pitchFamily="34" charset="0"/>
                        </a:rPr>
                        <a:t>195</a:t>
                      </a:r>
                      <a:endParaRPr lang="en-US" sz="1100" b="0" i="0" u="none" strike="noStrike" dirty="0">
                        <a:solidFill>
                          <a:srgbClr val="000000"/>
                        </a:solidFill>
                        <a:effectLst/>
                        <a:latin typeface="Calibri" panose="020F0502020204030204" pitchFamily="34"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r>
                        <a:rPr lang="en-US" sz="1100" b="0" i="0" u="none" strike="noStrike" smtClean="0">
                          <a:solidFill>
                            <a:srgbClr val="000000"/>
                          </a:solidFill>
                          <a:effectLst/>
                          <a:latin typeface="Calibri" panose="020F0502020204030204" pitchFamily="34" charset="0"/>
                        </a:rPr>
                        <a:t>195</a:t>
                      </a:r>
                      <a:endParaRPr lang="en-US" sz="1100" b="0" i="0" u="none" strike="noStrike" dirty="0">
                        <a:solidFill>
                          <a:srgbClr val="000000"/>
                        </a:solidFill>
                        <a:effectLst/>
                        <a:latin typeface="Calibri" panose="020F0502020204030204" pitchFamily="34"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r>
                        <a:rPr lang="en-US" sz="1100" b="0" i="0" u="none" strike="noStrike" smtClean="0">
                          <a:solidFill>
                            <a:srgbClr val="000000"/>
                          </a:solidFill>
                          <a:effectLst/>
                          <a:latin typeface="Calibri" panose="020F0502020204030204" pitchFamily="34" charset="0"/>
                        </a:rPr>
                        <a:t>195</a:t>
                      </a:r>
                      <a:endParaRPr lang="en-US" sz="1100" b="0" i="0" u="none" strike="noStrike" dirty="0">
                        <a:solidFill>
                          <a:srgbClr val="000000"/>
                        </a:solidFill>
                        <a:effectLst/>
                        <a:latin typeface="Calibri" panose="020F0502020204030204" pitchFamily="34"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r>
                        <a:rPr lang="en-US" sz="1100" b="0" i="0" u="none" strike="noStrike" smtClean="0">
                          <a:solidFill>
                            <a:srgbClr val="000000"/>
                          </a:solidFill>
                          <a:effectLst/>
                          <a:latin typeface="Calibri" panose="020F0502020204030204" pitchFamily="34" charset="0"/>
                        </a:rPr>
                        <a:t>195</a:t>
                      </a:r>
                      <a:endParaRPr lang="en-US" sz="1100" b="0" i="0" u="none" strike="noStrike" dirty="0">
                        <a:solidFill>
                          <a:srgbClr val="000000"/>
                        </a:solidFill>
                        <a:effectLst/>
                        <a:latin typeface="Calibri" panose="020F0502020204030204" pitchFamily="34"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r>
                        <a:rPr lang="en-US" sz="1100" b="0" i="0" u="none" strike="noStrike" smtClean="0">
                          <a:solidFill>
                            <a:srgbClr val="000000"/>
                          </a:solidFill>
                          <a:effectLst/>
                          <a:latin typeface="Calibri" panose="020F0502020204030204" pitchFamily="34" charset="0"/>
                        </a:rPr>
                        <a:t>195</a:t>
                      </a:r>
                      <a:endParaRPr lang="en-US" sz="1100" b="0" i="0" u="none" strike="noStrike" dirty="0">
                        <a:solidFill>
                          <a:srgbClr val="000000"/>
                        </a:solidFill>
                        <a:effectLst/>
                        <a:latin typeface="Calibri" panose="020F0502020204030204" pitchFamily="34"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r>
                        <a:rPr lang="en-US" sz="1100" b="0" i="0" u="none" strike="noStrike" smtClean="0">
                          <a:solidFill>
                            <a:srgbClr val="000000"/>
                          </a:solidFill>
                          <a:effectLst/>
                          <a:latin typeface="Calibri" panose="020F0502020204030204" pitchFamily="34" charset="0"/>
                        </a:rPr>
                        <a:t>195</a:t>
                      </a:r>
                      <a:endParaRPr lang="en-US" sz="1100" b="0" i="0" u="none" strike="noStrike" dirty="0">
                        <a:solidFill>
                          <a:srgbClr val="000000"/>
                        </a:solidFill>
                        <a:effectLst/>
                        <a:latin typeface="Calibri" panose="020F0502020204030204" pitchFamily="34"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r>
                        <a:rPr lang="en-US" sz="1100" b="0" i="0" u="none" strike="noStrike" smtClean="0">
                          <a:solidFill>
                            <a:srgbClr val="000000"/>
                          </a:solidFill>
                          <a:effectLst/>
                          <a:latin typeface="Calibri" panose="020F0502020204030204" pitchFamily="34" charset="0"/>
                        </a:rPr>
                        <a:t>195</a:t>
                      </a:r>
                      <a:endParaRPr lang="en-US" sz="1100" b="0" i="0" u="none" strike="noStrike" dirty="0">
                        <a:solidFill>
                          <a:srgbClr val="000000"/>
                        </a:solidFill>
                        <a:effectLst/>
                        <a:latin typeface="Calibri" panose="020F0502020204030204" pitchFamily="34"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r>
                        <a:rPr lang="en-US" sz="1100" b="0" i="0" u="none" strike="noStrike" smtClean="0">
                          <a:solidFill>
                            <a:srgbClr val="000000"/>
                          </a:solidFill>
                          <a:effectLst/>
                          <a:latin typeface="Calibri" panose="020F0502020204030204" pitchFamily="34" charset="0"/>
                        </a:rPr>
                        <a:t>195</a:t>
                      </a:r>
                      <a:endParaRPr lang="en-US" sz="1100" b="0" i="0" u="none" strike="noStrike" dirty="0">
                        <a:solidFill>
                          <a:srgbClr val="000000"/>
                        </a:solidFill>
                        <a:effectLst/>
                        <a:latin typeface="Calibri" panose="020F0502020204030204" pitchFamily="34"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r>
                        <a:rPr lang="en-US" sz="1100" b="0" i="0" u="none" strike="noStrike" dirty="0" smtClean="0">
                          <a:solidFill>
                            <a:srgbClr val="000000"/>
                          </a:solidFill>
                          <a:effectLst/>
                          <a:latin typeface="Calibri" panose="020F0502020204030204" pitchFamily="34" charset="0"/>
                        </a:rPr>
                        <a:t>195</a:t>
                      </a:r>
                      <a:endParaRPr lang="en-US" sz="1100" b="0" i="0" u="none" strike="noStrike" dirty="0">
                        <a:solidFill>
                          <a:srgbClr val="000000"/>
                        </a:solidFill>
                        <a:effectLst/>
                        <a:latin typeface="Calibri" panose="020F0502020204030204" pitchFamily="34"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endParaRPr lang="en-US" sz="1100" b="0" i="0" u="none" strike="noStrike" dirty="0">
                        <a:solidFill>
                          <a:srgbClr val="000000"/>
                        </a:solidFill>
                        <a:effectLst/>
                        <a:latin typeface="Calibri" panose="020F0502020204030204" pitchFamily="34"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r>
              <a:tr h="174845">
                <a:tc>
                  <a:txBody>
                    <a:bodyPr/>
                    <a:lstStyle/>
                    <a:p>
                      <a:pPr algn="l" fontAlgn="b"/>
                      <a:r>
                        <a:rPr lang="en-US" sz="1100" b="0" i="0" u="none" strike="noStrike" dirty="0" smtClean="0">
                          <a:solidFill>
                            <a:srgbClr val="000000"/>
                          </a:solidFill>
                          <a:effectLst/>
                          <a:latin typeface="Calibri" panose="020F0502020204030204" pitchFamily="34" charset="0"/>
                        </a:rPr>
                        <a:t>Other Apps - Plus</a:t>
                      </a:r>
                      <a:endParaRPr lang="en-US" sz="1100" b="0" i="0" u="none" strike="noStrike" dirty="0">
                        <a:solidFill>
                          <a:srgbClr val="000000"/>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endParaRPr lang="en-US" sz="1100" b="0" i="0" u="none" strike="noStrike">
                        <a:solidFill>
                          <a:srgbClr val="000000"/>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b="0" i="0" u="none" strike="noStrike" dirty="0" smtClean="0">
                          <a:solidFill>
                            <a:srgbClr val="000000"/>
                          </a:solidFill>
                          <a:effectLst/>
                          <a:latin typeface="Calibri" panose="020F0502020204030204" pitchFamily="34" charset="0"/>
                        </a:rPr>
                        <a:t>585</a:t>
                      </a:r>
                      <a:endParaRPr lang="en-US" sz="1100" b="0" i="0" u="none" strike="noStrike" dirty="0">
                        <a:solidFill>
                          <a:srgbClr val="000000"/>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b="0" i="0" u="none" strike="noStrike" smtClean="0">
                          <a:solidFill>
                            <a:srgbClr val="000000"/>
                          </a:solidFill>
                          <a:effectLst/>
                          <a:latin typeface="Calibri" panose="020F0502020204030204" pitchFamily="34" charset="0"/>
                        </a:rPr>
                        <a:t>585</a:t>
                      </a:r>
                      <a:endParaRPr lang="en-US" sz="1100" b="0" i="0" u="none" strike="noStrike" dirty="0">
                        <a:solidFill>
                          <a:srgbClr val="000000"/>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b="0" i="0" u="none" strike="noStrike" smtClean="0">
                          <a:solidFill>
                            <a:srgbClr val="000000"/>
                          </a:solidFill>
                          <a:effectLst/>
                          <a:latin typeface="Calibri" panose="020F0502020204030204" pitchFamily="34" charset="0"/>
                        </a:rPr>
                        <a:t>585</a:t>
                      </a:r>
                      <a:endParaRPr lang="en-US" sz="1100" b="0" i="0" u="none" strike="noStrike" dirty="0">
                        <a:solidFill>
                          <a:srgbClr val="000000"/>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ctr" fontAlgn="b"/>
                      <a:r>
                        <a:rPr lang="en-US" sz="1100" b="0" i="0" u="none" strike="noStrike" smtClean="0">
                          <a:solidFill>
                            <a:srgbClr val="000000"/>
                          </a:solidFill>
                          <a:effectLst/>
                          <a:latin typeface="Calibri" panose="020F0502020204030204" pitchFamily="34" charset="0"/>
                        </a:rPr>
                        <a:t>585</a:t>
                      </a:r>
                      <a:endParaRPr lang="en-US" sz="1100" b="0" i="0" u="none" strike="noStrike" dirty="0">
                        <a:solidFill>
                          <a:srgbClr val="000000"/>
                        </a:solidFill>
                        <a:effectLst/>
                        <a:latin typeface="Calibri" panose="020F0502020204030204" pitchFamily="34" charset="0"/>
                      </a:endParaRPr>
                    </a:p>
                  </a:txBody>
                  <a:tcPr marL="7336" marR="7336" marT="7947"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r>
                        <a:rPr lang="en-US" sz="1100" b="0" i="0" u="none" strike="noStrike" smtClean="0">
                          <a:solidFill>
                            <a:srgbClr val="000000"/>
                          </a:solidFill>
                          <a:effectLst/>
                          <a:latin typeface="Calibri" panose="020F0502020204030204" pitchFamily="34" charset="0"/>
                        </a:rPr>
                        <a:t>585</a:t>
                      </a:r>
                      <a:endParaRPr lang="en-US" sz="1100" b="0" i="0" u="none" strike="noStrike" dirty="0">
                        <a:solidFill>
                          <a:srgbClr val="000000"/>
                        </a:solidFill>
                        <a:effectLst/>
                        <a:latin typeface="Calibri" panose="020F0502020204030204" pitchFamily="34"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r>
                        <a:rPr lang="en-US" sz="1100" b="0" i="0" u="none" strike="noStrike" smtClean="0">
                          <a:solidFill>
                            <a:srgbClr val="000000"/>
                          </a:solidFill>
                          <a:effectLst/>
                          <a:latin typeface="Calibri" panose="020F0502020204030204" pitchFamily="34" charset="0"/>
                        </a:rPr>
                        <a:t>585</a:t>
                      </a:r>
                      <a:endParaRPr lang="en-US" sz="1100" b="0" i="0" u="none" strike="noStrike" dirty="0">
                        <a:solidFill>
                          <a:srgbClr val="000000"/>
                        </a:solidFill>
                        <a:effectLst/>
                        <a:latin typeface="Calibri" panose="020F0502020204030204" pitchFamily="34"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r>
                        <a:rPr lang="en-US" sz="1100" b="0" i="0" u="none" strike="noStrike" smtClean="0">
                          <a:solidFill>
                            <a:srgbClr val="000000"/>
                          </a:solidFill>
                          <a:effectLst/>
                          <a:latin typeface="Calibri" panose="020F0502020204030204" pitchFamily="34" charset="0"/>
                        </a:rPr>
                        <a:t>585</a:t>
                      </a:r>
                      <a:endParaRPr lang="en-US" sz="1100" b="0" i="0" u="none" strike="noStrike" dirty="0">
                        <a:solidFill>
                          <a:srgbClr val="000000"/>
                        </a:solidFill>
                        <a:effectLst/>
                        <a:latin typeface="Calibri" panose="020F0502020204030204" pitchFamily="34"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r>
                        <a:rPr lang="en-US" sz="1100" b="0" i="0" u="none" strike="noStrike" smtClean="0">
                          <a:solidFill>
                            <a:srgbClr val="000000"/>
                          </a:solidFill>
                          <a:effectLst/>
                          <a:latin typeface="Calibri" panose="020F0502020204030204" pitchFamily="34" charset="0"/>
                        </a:rPr>
                        <a:t>585</a:t>
                      </a:r>
                      <a:endParaRPr lang="en-US" sz="1100" b="0" i="0" u="none" strike="noStrike" dirty="0">
                        <a:solidFill>
                          <a:srgbClr val="000000"/>
                        </a:solidFill>
                        <a:effectLst/>
                        <a:latin typeface="Calibri" panose="020F0502020204030204" pitchFamily="34"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r>
                        <a:rPr lang="en-US" sz="1100" b="0" i="0" u="none" strike="noStrike" smtClean="0">
                          <a:solidFill>
                            <a:srgbClr val="000000"/>
                          </a:solidFill>
                          <a:effectLst/>
                          <a:latin typeface="Calibri" panose="020F0502020204030204" pitchFamily="34" charset="0"/>
                        </a:rPr>
                        <a:t>585</a:t>
                      </a:r>
                      <a:endParaRPr lang="en-US" sz="1100" b="0" i="0" u="none" strike="noStrike" dirty="0">
                        <a:solidFill>
                          <a:srgbClr val="000000"/>
                        </a:solidFill>
                        <a:effectLst/>
                        <a:latin typeface="Calibri" panose="020F0502020204030204" pitchFamily="34"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r>
                        <a:rPr lang="en-US" sz="1100" b="0" i="0" u="none" strike="noStrike" dirty="0" smtClean="0">
                          <a:solidFill>
                            <a:srgbClr val="000000"/>
                          </a:solidFill>
                          <a:effectLst/>
                          <a:latin typeface="Calibri" panose="020F0502020204030204" pitchFamily="34" charset="0"/>
                        </a:rPr>
                        <a:t>585</a:t>
                      </a:r>
                      <a:endParaRPr lang="en-US" sz="1100" b="0" i="0" u="none" strike="noStrike" dirty="0">
                        <a:solidFill>
                          <a:srgbClr val="000000"/>
                        </a:solidFill>
                        <a:effectLst/>
                        <a:latin typeface="Calibri" panose="020F0502020204030204" pitchFamily="34"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r>
                        <a:rPr lang="en-US" sz="1100" b="0" i="0" u="none" strike="noStrike" smtClean="0">
                          <a:solidFill>
                            <a:srgbClr val="000000"/>
                          </a:solidFill>
                          <a:effectLst/>
                          <a:latin typeface="Calibri" panose="020F0502020204030204" pitchFamily="34" charset="0"/>
                        </a:rPr>
                        <a:t>585</a:t>
                      </a:r>
                      <a:endParaRPr lang="en-US" sz="1100" b="0" i="0" u="none" strike="noStrike" dirty="0">
                        <a:solidFill>
                          <a:srgbClr val="000000"/>
                        </a:solidFill>
                        <a:effectLst/>
                        <a:latin typeface="Calibri" panose="020F0502020204030204" pitchFamily="34"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r>
                        <a:rPr lang="en-US" sz="1100" b="0" i="0" u="none" strike="noStrike" smtClean="0">
                          <a:solidFill>
                            <a:srgbClr val="000000"/>
                          </a:solidFill>
                          <a:effectLst/>
                          <a:latin typeface="Calibri" panose="020F0502020204030204" pitchFamily="34" charset="0"/>
                        </a:rPr>
                        <a:t>585</a:t>
                      </a:r>
                      <a:endParaRPr lang="en-US" sz="1100" b="0" i="0" u="none" strike="noStrike" dirty="0">
                        <a:solidFill>
                          <a:srgbClr val="000000"/>
                        </a:solidFill>
                        <a:effectLst/>
                        <a:latin typeface="Calibri" panose="020F0502020204030204" pitchFamily="34"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r>
                        <a:rPr lang="en-US" sz="1100" b="0" i="0" u="none" strike="noStrike" smtClean="0">
                          <a:solidFill>
                            <a:srgbClr val="000000"/>
                          </a:solidFill>
                          <a:effectLst/>
                          <a:latin typeface="Calibri" panose="020F0502020204030204" pitchFamily="34" charset="0"/>
                        </a:rPr>
                        <a:t>585</a:t>
                      </a:r>
                      <a:endParaRPr lang="en-US" sz="1100" b="0" i="0" u="none" strike="noStrike" dirty="0">
                        <a:solidFill>
                          <a:srgbClr val="000000"/>
                        </a:solidFill>
                        <a:effectLst/>
                        <a:latin typeface="Calibri" panose="020F0502020204030204" pitchFamily="34"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r>
                        <a:rPr lang="en-US" sz="1100" b="0" i="0" u="none" strike="noStrike" dirty="0" smtClean="0">
                          <a:solidFill>
                            <a:srgbClr val="000000"/>
                          </a:solidFill>
                          <a:effectLst/>
                          <a:latin typeface="Calibri" panose="020F0502020204030204" pitchFamily="34" charset="0"/>
                        </a:rPr>
                        <a:t>585</a:t>
                      </a:r>
                      <a:endParaRPr lang="en-US" sz="1100" b="0" i="0" u="none" strike="noStrike" dirty="0">
                        <a:solidFill>
                          <a:srgbClr val="000000"/>
                        </a:solidFill>
                        <a:effectLst/>
                        <a:latin typeface="Calibri" panose="020F0502020204030204" pitchFamily="34"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r" fontAlgn="b"/>
                      <a:endParaRPr lang="en-US" sz="1100" b="0" i="0" u="none" strike="noStrike" dirty="0">
                        <a:solidFill>
                          <a:srgbClr val="000000"/>
                        </a:solidFill>
                        <a:effectLst/>
                        <a:latin typeface="Calibri" panose="020F0502020204030204" pitchFamily="34" charset="0"/>
                      </a:endParaRPr>
                    </a:p>
                  </a:txBody>
                  <a:tcPr marL="8792" marR="8792" marT="9525"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r>
            </a:tbl>
          </a:graphicData>
        </a:graphic>
      </p:graphicFrame>
    </p:spTree>
    <p:extLst>
      <p:ext uri="{BB962C8B-B14F-4D97-AF65-F5344CB8AC3E}">
        <p14:creationId xmlns:p14="http://schemas.microsoft.com/office/powerpoint/2010/main" val="8445789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umptions</a:t>
            </a:r>
            <a:endParaRPr lang="en-US" dirty="0"/>
          </a:p>
        </p:txBody>
      </p:sp>
      <p:graphicFrame>
        <p:nvGraphicFramePr>
          <p:cNvPr id="6" name="Content Placeholder 3"/>
          <p:cNvGraphicFramePr>
            <a:graphicFrameLocks/>
          </p:cNvGraphicFramePr>
          <p:nvPr/>
        </p:nvGraphicFramePr>
        <p:xfrm>
          <a:off x="244549" y="1125814"/>
          <a:ext cx="8484781" cy="5186313"/>
        </p:xfrm>
        <a:graphic>
          <a:graphicData uri="http://schemas.openxmlformats.org/drawingml/2006/table">
            <a:tbl>
              <a:tblPr firstRow="1" firstCol="1">
                <a:tableStyleId>{21E4AEA4-8DFA-4A89-87EB-49C32662AFE0}</a:tableStyleId>
              </a:tblPr>
              <a:tblGrid>
                <a:gridCol w="1038952"/>
                <a:gridCol w="7445829"/>
              </a:tblGrid>
              <a:tr h="318633">
                <a:tc>
                  <a:txBody>
                    <a:bodyPr/>
                    <a:lstStyle/>
                    <a:p>
                      <a:pPr algn="ctr" fontAlgn="b"/>
                      <a:r>
                        <a:rPr lang="en-US" sz="1050" u="none" strike="noStrike" dirty="0" err="1">
                          <a:latin typeface="Calibri" pitchFamily="34" charset="0"/>
                        </a:rPr>
                        <a:t>S.no</a:t>
                      </a:r>
                      <a:endParaRPr lang="en-US" sz="1050" b="1" i="0" u="none" strike="noStrike" dirty="0">
                        <a:solidFill>
                          <a:srgbClr val="FFFFFF"/>
                        </a:solidFill>
                        <a:latin typeface="Calibri" pitchFamily="34" charset="0"/>
                      </a:endParaRPr>
                    </a:p>
                  </a:txBody>
                  <a:tcPr marL="3994" marR="3994" marT="3994" marB="0" anchor="b"/>
                </a:tc>
                <a:tc>
                  <a:txBody>
                    <a:bodyPr/>
                    <a:lstStyle/>
                    <a:p>
                      <a:pPr algn="ctr" fontAlgn="b"/>
                      <a:r>
                        <a:rPr lang="en-US" sz="1050" u="none" strike="noStrike" dirty="0">
                          <a:latin typeface="Calibri" pitchFamily="34" charset="0"/>
                        </a:rPr>
                        <a:t>Assumptions</a:t>
                      </a:r>
                      <a:endParaRPr lang="en-US" sz="1050" b="1" i="0" u="none" strike="noStrike" dirty="0">
                        <a:solidFill>
                          <a:srgbClr val="FFFFFF"/>
                        </a:solidFill>
                        <a:latin typeface="Calibri" pitchFamily="34" charset="0"/>
                      </a:endParaRPr>
                    </a:p>
                  </a:txBody>
                  <a:tcPr marL="3994" marR="3994" marT="3994" marB="0" anchor="b"/>
                </a:tc>
              </a:tr>
              <a:tr h="213444">
                <a:tc>
                  <a:txBody>
                    <a:bodyPr/>
                    <a:lstStyle/>
                    <a:p>
                      <a:pPr algn="ctr" fontAlgn="b"/>
                      <a:r>
                        <a:rPr lang="en-US" sz="1050" b="0" i="0" u="none" strike="noStrike" dirty="0" smtClean="0">
                          <a:solidFill>
                            <a:schemeClr val="bg1"/>
                          </a:solidFill>
                          <a:latin typeface="Calibri" pitchFamily="34" charset="0"/>
                        </a:rPr>
                        <a:t>1</a:t>
                      </a:r>
                      <a:endParaRPr lang="en-US" sz="1050" b="0" i="0" u="none" strike="noStrike" dirty="0">
                        <a:solidFill>
                          <a:schemeClr val="bg1"/>
                        </a:solidFill>
                        <a:latin typeface="Calibri" pitchFamily="34" charset="0"/>
                      </a:endParaRPr>
                    </a:p>
                  </a:txBody>
                  <a:tcPr marL="3994" marR="3994" marT="3994" marB="0" anchor="b"/>
                </a:tc>
                <a:tc>
                  <a:txBody>
                    <a:bodyPr/>
                    <a:lstStyle/>
                    <a:p>
                      <a:pPr algn="l" fontAlgn="b"/>
                      <a:r>
                        <a:rPr lang="en-US" sz="1050" b="0" i="0" u="none" strike="noStrike" dirty="0" smtClean="0">
                          <a:solidFill>
                            <a:srgbClr val="000000"/>
                          </a:solidFill>
                          <a:latin typeface="Calibri" pitchFamily="34" charset="0"/>
                        </a:rPr>
                        <a:t>Other Apps </a:t>
                      </a:r>
                      <a:r>
                        <a:rPr lang="en-US" sz="1050" b="0" i="0" u="none" strike="noStrike" dirty="0" err="1" smtClean="0">
                          <a:solidFill>
                            <a:srgbClr val="000000"/>
                          </a:solidFill>
                          <a:latin typeface="Calibri" pitchFamily="34" charset="0"/>
                        </a:rPr>
                        <a:t>Lite</a:t>
                      </a:r>
                      <a:r>
                        <a:rPr lang="en-US" sz="1050" b="0" i="0" u="none" strike="noStrike" dirty="0" smtClean="0">
                          <a:solidFill>
                            <a:srgbClr val="000000"/>
                          </a:solidFill>
                          <a:latin typeface="Calibri" pitchFamily="34" charset="0"/>
                        </a:rPr>
                        <a:t>: Assumed</a:t>
                      </a:r>
                      <a:r>
                        <a:rPr lang="en-US" sz="1050" b="0" i="0" u="none" strike="noStrike" baseline="0" dirty="0" smtClean="0">
                          <a:solidFill>
                            <a:srgbClr val="000000"/>
                          </a:solidFill>
                          <a:latin typeface="Calibri" pitchFamily="34" charset="0"/>
                        </a:rPr>
                        <a:t> 5 incidents/month/application</a:t>
                      </a:r>
                    </a:p>
                    <a:p>
                      <a:pPr algn="l" fontAlgn="b"/>
                      <a:r>
                        <a:rPr lang="en-US" sz="1050" b="0" i="0" u="none" strike="noStrike" baseline="0" dirty="0" smtClean="0">
                          <a:solidFill>
                            <a:srgbClr val="000000"/>
                          </a:solidFill>
                          <a:latin typeface="Calibri" pitchFamily="34" charset="0"/>
                        </a:rPr>
                        <a:t>Other Apps Plus: Assumed 15 incidents/month/application</a:t>
                      </a:r>
                      <a:endParaRPr lang="en-US" sz="1050" b="0" i="0" u="none" strike="noStrike" dirty="0">
                        <a:solidFill>
                          <a:srgbClr val="000000"/>
                        </a:solidFill>
                        <a:latin typeface="Calibri" pitchFamily="34" charset="0"/>
                      </a:endParaRPr>
                    </a:p>
                  </a:txBody>
                  <a:tcPr marL="3994" marR="3994" marT="3994" marB="0" anchor="b"/>
                </a:tc>
              </a:tr>
              <a:tr h="308182">
                <a:tc>
                  <a:txBody>
                    <a:bodyPr/>
                    <a:lstStyle/>
                    <a:p>
                      <a:pPr algn="ctr" fontAlgn="b"/>
                      <a:r>
                        <a:rPr lang="en-US" sz="1050" b="0" i="0" u="none" strike="noStrike" dirty="0" smtClean="0">
                          <a:solidFill>
                            <a:schemeClr val="bg1"/>
                          </a:solidFill>
                          <a:latin typeface="Calibri" pitchFamily="34" charset="0"/>
                        </a:rPr>
                        <a:t>2</a:t>
                      </a:r>
                      <a:endParaRPr lang="en-US" sz="1050" b="0" i="0" u="none" strike="noStrike" dirty="0">
                        <a:solidFill>
                          <a:schemeClr val="bg1"/>
                        </a:solidFill>
                        <a:latin typeface="Calibri" pitchFamily="34" charset="0"/>
                      </a:endParaRPr>
                    </a:p>
                  </a:txBody>
                  <a:tcPr marL="3994" marR="3994" marT="3994" marB="0" anchor="b"/>
                </a:tc>
                <a:tc>
                  <a:txBody>
                    <a:bodyPr/>
                    <a:lstStyle/>
                    <a:p>
                      <a:pPr algn="l" fontAlgn="b"/>
                      <a:r>
                        <a:rPr lang="en-US" sz="1050" u="none" strike="noStrike" dirty="0" smtClean="0">
                          <a:latin typeface="Calibri" pitchFamily="34" charset="0"/>
                        </a:rPr>
                        <a:t>The </a:t>
                      </a:r>
                      <a:r>
                        <a:rPr lang="en-US" sz="1050" u="none" strike="noStrike" dirty="0">
                          <a:latin typeface="Calibri" pitchFamily="34" charset="0"/>
                        </a:rPr>
                        <a:t>proposed solution assumes number of P1+ P2 tickets at </a:t>
                      </a:r>
                      <a:r>
                        <a:rPr lang="en-US" sz="1050" u="none" strike="noStrike" baseline="0" dirty="0" smtClean="0">
                          <a:latin typeface="Calibri" pitchFamily="34" charset="0"/>
                        </a:rPr>
                        <a:t> 5</a:t>
                      </a:r>
                      <a:r>
                        <a:rPr lang="en-US" sz="1050" u="none" strike="noStrike" dirty="0" smtClean="0">
                          <a:latin typeface="Calibri" pitchFamily="34" charset="0"/>
                        </a:rPr>
                        <a:t>% </a:t>
                      </a:r>
                      <a:r>
                        <a:rPr lang="en-US" sz="1050" u="none" strike="noStrike" dirty="0">
                          <a:latin typeface="Calibri" pitchFamily="34" charset="0"/>
                        </a:rPr>
                        <a:t>of monthly ticket volume</a:t>
                      </a:r>
                      <a:endParaRPr lang="en-US" sz="1050" b="0" i="0" u="none" strike="noStrike" dirty="0">
                        <a:solidFill>
                          <a:srgbClr val="000000"/>
                        </a:solidFill>
                        <a:latin typeface="Calibri" pitchFamily="34" charset="0"/>
                      </a:endParaRPr>
                    </a:p>
                  </a:txBody>
                  <a:tcPr marL="3994" marR="3994" marT="3994" marB="0" anchor="b"/>
                </a:tc>
              </a:tr>
              <a:tr h="318633">
                <a:tc>
                  <a:txBody>
                    <a:bodyPr/>
                    <a:lstStyle/>
                    <a:p>
                      <a:pPr algn="ctr" fontAlgn="b"/>
                      <a:r>
                        <a:rPr lang="en-US" sz="1050" b="1" i="0" u="none" strike="noStrike" dirty="0" smtClean="0">
                          <a:solidFill>
                            <a:schemeClr val="lt1"/>
                          </a:solidFill>
                          <a:latin typeface="Calibri" pitchFamily="34" charset="0"/>
                        </a:rPr>
                        <a:t>3</a:t>
                      </a:r>
                      <a:endParaRPr lang="en-US" sz="1050" b="0" i="0" u="none" strike="noStrike" dirty="0">
                        <a:solidFill>
                          <a:srgbClr val="000000"/>
                        </a:solidFill>
                        <a:latin typeface="Calibri" pitchFamily="34" charset="0"/>
                      </a:endParaRPr>
                    </a:p>
                  </a:txBody>
                  <a:tcPr marL="3994" marR="3994" marT="3994" marB="0" anchor="b"/>
                </a:tc>
                <a:tc>
                  <a:txBody>
                    <a:bodyPr/>
                    <a:lstStyle/>
                    <a:p>
                      <a:pPr algn="l" fontAlgn="b"/>
                      <a:r>
                        <a:rPr lang="en-US" sz="1050" u="none" strike="noStrike" dirty="0" smtClean="0">
                          <a:latin typeface="Calibri" pitchFamily="34" charset="0"/>
                        </a:rPr>
                        <a:t>20</a:t>
                      </a:r>
                      <a:r>
                        <a:rPr lang="en-US" sz="1050" u="none" strike="noStrike" dirty="0">
                          <a:latin typeface="Calibri" pitchFamily="34" charset="0"/>
                        </a:rPr>
                        <a:t>% of tickets are raised through emails </a:t>
                      </a:r>
                      <a:r>
                        <a:rPr lang="en-US" sz="1050" u="none" strike="noStrike" dirty="0" smtClean="0">
                          <a:latin typeface="Calibri" pitchFamily="34" charset="0"/>
                        </a:rPr>
                        <a:t>in addition</a:t>
                      </a:r>
                      <a:r>
                        <a:rPr lang="en-US" sz="1050" u="none" strike="noStrike" baseline="0" dirty="0" smtClean="0">
                          <a:latin typeface="Calibri" pitchFamily="34" charset="0"/>
                        </a:rPr>
                        <a:t> to </a:t>
                      </a:r>
                      <a:r>
                        <a:rPr lang="en-US" sz="1050" u="none" strike="noStrike" dirty="0" smtClean="0">
                          <a:latin typeface="Calibri" pitchFamily="34" charset="0"/>
                        </a:rPr>
                        <a:t>the </a:t>
                      </a:r>
                      <a:r>
                        <a:rPr lang="en-US" sz="1050" u="none" strike="noStrike" dirty="0">
                          <a:latin typeface="Calibri" pitchFamily="34" charset="0"/>
                        </a:rPr>
                        <a:t>tickets raised in the </a:t>
                      </a:r>
                      <a:r>
                        <a:rPr lang="en-US" sz="1050" u="none" strike="noStrike" dirty="0" smtClean="0">
                          <a:latin typeface="Calibri" pitchFamily="34" charset="0"/>
                        </a:rPr>
                        <a:t>SNOW; The response and resolutions</a:t>
                      </a:r>
                      <a:r>
                        <a:rPr lang="en-US" sz="1050" u="none" strike="noStrike" baseline="0" dirty="0" smtClean="0">
                          <a:latin typeface="Calibri" pitchFamily="34" charset="0"/>
                        </a:rPr>
                        <a:t> SLAs will not be applicable for incidents reported through any other channel.</a:t>
                      </a:r>
                      <a:endParaRPr lang="en-US" sz="1050" b="0" i="0" u="none" strike="noStrike" dirty="0">
                        <a:solidFill>
                          <a:srgbClr val="000000"/>
                        </a:solidFill>
                        <a:latin typeface="Calibri" pitchFamily="34" charset="0"/>
                      </a:endParaRPr>
                    </a:p>
                  </a:txBody>
                  <a:tcPr marL="3994" marR="3994" marT="3994" marB="0" anchor="b"/>
                </a:tc>
              </a:tr>
              <a:tr h="461293">
                <a:tc>
                  <a:txBody>
                    <a:bodyPr/>
                    <a:lstStyle/>
                    <a:p>
                      <a:pPr marL="0" algn="ctr" defTabSz="914400" rtl="0" eaLnBrk="1" fontAlgn="b" latinLnBrk="0" hangingPunct="1"/>
                      <a:r>
                        <a:rPr lang="en-US" sz="1050" b="1" i="0" u="none" strike="noStrike" kern="1200" dirty="0" smtClean="0">
                          <a:solidFill>
                            <a:schemeClr val="lt1"/>
                          </a:solidFill>
                          <a:latin typeface="Calibri" pitchFamily="34" charset="0"/>
                          <a:ea typeface="+mn-ea"/>
                          <a:cs typeface="+mn-cs"/>
                        </a:rPr>
                        <a:t>4</a:t>
                      </a:r>
                      <a:endParaRPr lang="en-US" sz="1050" b="1" i="0" u="none" strike="noStrike" kern="1200" dirty="0">
                        <a:solidFill>
                          <a:schemeClr val="lt1"/>
                        </a:solidFill>
                        <a:latin typeface="Calibri" pitchFamily="34" charset="0"/>
                        <a:ea typeface="+mn-ea"/>
                        <a:cs typeface="+mn-cs"/>
                      </a:endParaRPr>
                    </a:p>
                  </a:txBody>
                  <a:tcPr marL="3994" marR="3994" marT="3994" marB="0" anchor="b"/>
                </a:tc>
                <a:tc>
                  <a:txBody>
                    <a:bodyPr/>
                    <a:lstStyle/>
                    <a:p>
                      <a:pPr algn="l" fontAlgn="b"/>
                      <a:r>
                        <a:rPr lang="en-US" sz="1050" dirty="0" err="1" smtClean="0">
                          <a:solidFill>
                            <a:prstClr val="black"/>
                          </a:solidFill>
                          <a:latin typeface="Calibri" pitchFamily="34" charset="0"/>
                        </a:rPr>
                        <a:t>Capgemini</a:t>
                      </a:r>
                      <a:r>
                        <a:rPr lang="en-US" sz="1050" dirty="0" smtClean="0">
                          <a:solidFill>
                            <a:prstClr val="black"/>
                          </a:solidFill>
                          <a:latin typeface="Calibri" pitchFamily="34" charset="0"/>
                        </a:rPr>
                        <a:t> standard SLA's will be followed .There will be a 3 month </a:t>
                      </a:r>
                      <a:r>
                        <a:rPr lang="en-US" sz="1050" dirty="0" err="1" smtClean="0">
                          <a:solidFill>
                            <a:prstClr val="black"/>
                          </a:solidFill>
                          <a:latin typeface="Calibri" pitchFamily="34" charset="0"/>
                        </a:rPr>
                        <a:t>Baselining</a:t>
                      </a:r>
                      <a:r>
                        <a:rPr lang="en-US" sz="1050" dirty="0" smtClean="0">
                          <a:solidFill>
                            <a:prstClr val="black"/>
                          </a:solidFill>
                          <a:latin typeface="Calibri" pitchFamily="34" charset="0"/>
                        </a:rPr>
                        <a:t> period (from the end of the Transition period) when no penalties/service credits would be applicable. </a:t>
                      </a:r>
                      <a:r>
                        <a:rPr lang="en-US" sz="1050" dirty="0" err="1" smtClean="0">
                          <a:solidFill>
                            <a:prstClr val="black"/>
                          </a:solidFill>
                          <a:latin typeface="Calibri" pitchFamily="34" charset="0"/>
                        </a:rPr>
                        <a:t>Capgemini</a:t>
                      </a:r>
                      <a:r>
                        <a:rPr lang="en-US" sz="1050" dirty="0" smtClean="0">
                          <a:solidFill>
                            <a:prstClr val="black"/>
                          </a:solidFill>
                          <a:latin typeface="Calibri" pitchFamily="34" charset="0"/>
                        </a:rPr>
                        <a:t> and Lattice will revisit the SLA’s post 3 months baseline period to validate the initial estimates</a:t>
                      </a:r>
                      <a:endParaRPr lang="en-US" sz="1050" b="0" i="0" u="none" strike="noStrike" dirty="0">
                        <a:solidFill>
                          <a:srgbClr val="000000"/>
                        </a:solidFill>
                        <a:latin typeface="Calibri" pitchFamily="34" charset="0"/>
                      </a:endParaRPr>
                    </a:p>
                  </a:txBody>
                  <a:tcPr marL="3994" marR="3994" marT="3994" marB="0" anchor="b"/>
                </a:tc>
              </a:tr>
              <a:tr h="649744">
                <a:tc>
                  <a:txBody>
                    <a:bodyPr/>
                    <a:lstStyle/>
                    <a:p>
                      <a:pPr marL="0" algn="ctr" defTabSz="914400" rtl="0" eaLnBrk="1" fontAlgn="b" latinLnBrk="0" hangingPunct="1"/>
                      <a:r>
                        <a:rPr lang="en-US" sz="1050" b="1" i="0" u="none" strike="noStrike" kern="1200" dirty="0" smtClean="0">
                          <a:solidFill>
                            <a:schemeClr val="lt1"/>
                          </a:solidFill>
                          <a:latin typeface="Calibri" pitchFamily="34" charset="0"/>
                          <a:ea typeface="+mn-ea"/>
                          <a:cs typeface="+mn-cs"/>
                        </a:rPr>
                        <a:t>5</a:t>
                      </a:r>
                      <a:endParaRPr lang="en-US" sz="1050" b="1" i="0" u="none" strike="noStrike" kern="1200" dirty="0">
                        <a:solidFill>
                          <a:schemeClr val="lt1"/>
                        </a:solidFill>
                        <a:latin typeface="Calibri" pitchFamily="34" charset="0"/>
                        <a:ea typeface="+mn-ea"/>
                        <a:cs typeface="+mn-cs"/>
                      </a:endParaRPr>
                    </a:p>
                  </a:txBody>
                  <a:tcPr marL="3994" marR="3994" marT="3994" marB="0" anchor="b"/>
                </a:tc>
                <a:tc>
                  <a:txBody>
                    <a:bodyPr/>
                    <a:lstStyle/>
                    <a:p>
                      <a:pPr algn="l" rtl="0" fontAlgn="b"/>
                      <a:r>
                        <a:rPr lang="en-US" sz="1050" b="0" i="0" u="none" strike="noStrike" dirty="0" smtClean="0">
                          <a:solidFill>
                            <a:srgbClr val="000000"/>
                          </a:solidFill>
                          <a:latin typeface="Calibri" pitchFamily="34" charset="0"/>
                        </a:rPr>
                        <a:t>Lattice </a:t>
                      </a:r>
                      <a:r>
                        <a:rPr lang="en-US" sz="1050" b="0" i="0" u="none" strike="noStrike" dirty="0">
                          <a:solidFill>
                            <a:srgbClr val="000000"/>
                          </a:solidFill>
                          <a:latin typeface="Calibri" pitchFamily="34" charset="0"/>
                        </a:rPr>
                        <a:t>will take care of any licensing, extension of software/hardware requirements and will extend </a:t>
                      </a:r>
                      <a:r>
                        <a:rPr lang="en-US" sz="1050" b="0" i="0" u="none" strike="noStrike" dirty="0" err="1">
                          <a:solidFill>
                            <a:srgbClr val="000000"/>
                          </a:solidFill>
                          <a:latin typeface="Calibri" pitchFamily="34" charset="0"/>
                        </a:rPr>
                        <a:t>Capgemini</a:t>
                      </a:r>
                      <a:r>
                        <a:rPr lang="en-US" sz="1050" b="0" i="0" u="none" strike="noStrike" dirty="0">
                          <a:solidFill>
                            <a:srgbClr val="000000"/>
                          </a:solidFill>
                          <a:latin typeface="Calibri" pitchFamily="34" charset="0"/>
                        </a:rPr>
                        <a:t> all tools currently used for service delivery. Use of the </a:t>
                      </a:r>
                      <a:r>
                        <a:rPr lang="en-US" sz="1050" b="0" i="0" u="none" strike="noStrike" dirty="0" smtClean="0">
                          <a:solidFill>
                            <a:srgbClr val="000000"/>
                          </a:solidFill>
                          <a:latin typeface="Calibri" pitchFamily="34" charset="0"/>
                        </a:rPr>
                        <a:t>Lattice</a:t>
                      </a:r>
                      <a:r>
                        <a:rPr lang="en-US" sz="1050" b="0" i="0" u="none" strike="noStrike" baseline="0" dirty="0" smtClean="0">
                          <a:solidFill>
                            <a:srgbClr val="000000"/>
                          </a:solidFill>
                          <a:latin typeface="Calibri" pitchFamily="34" charset="0"/>
                        </a:rPr>
                        <a:t> </a:t>
                      </a:r>
                      <a:r>
                        <a:rPr lang="en-US" sz="1050" b="0" i="0" u="none" strike="noStrike" dirty="0" smtClean="0">
                          <a:solidFill>
                            <a:srgbClr val="000000"/>
                          </a:solidFill>
                          <a:latin typeface="Calibri" pitchFamily="34" charset="0"/>
                        </a:rPr>
                        <a:t>Ticket </a:t>
                      </a:r>
                      <a:r>
                        <a:rPr lang="en-US" sz="1050" b="0" i="0" u="none" strike="noStrike" dirty="0">
                          <a:solidFill>
                            <a:srgbClr val="000000"/>
                          </a:solidFill>
                          <a:latin typeface="Calibri" pitchFamily="34" charset="0"/>
                        </a:rPr>
                        <a:t>Management, Change Management, Problem Management, IT Service Management Tools will not require additional license costs. If any, </a:t>
                      </a:r>
                      <a:r>
                        <a:rPr lang="en-US" sz="1050" b="0" i="0" u="none" strike="noStrike" dirty="0" smtClean="0">
                          <a:solidFill>
                            <a:srgbClr val="000000"/>
                          </a:solidFill>
                          <a:latin typeface="Calibri" pitchFamily="34" charset="0"/>
                        </a:rPr>
                        <a:t>Lattice </a:t>
                      </a:r>
                      <a:r>
                        <a:rPr lang="en-US" sz="1050" b="0" i="0" u="none" strike="noStrike" dirty="0">
                          <a:solidFill>
                            <a:srgbClr val="000000"/>
                          </a:solidFill>
                          <a:latin typeface="Calibri" pitchFamily="34" charset="0"/>
                        </a:rPr>
                        <a:t>will cover additional license costs </a:t>
                      </a:r>
                    </a:p>
                  </a:txBody>
                  <a:tcPr marL="9525" marR="9525" marT="9525" marB="0" anchor="b"/>
                </a:tc>
              </a:tr>
              <a:tr h="329636">
                <a:tc>
                  <a:txBody>
                    <a:bodyPr/>
                    <a:lstStyle/>
                    <a:p>
                      <a:pPr marL="0" algn="ctr" defTabSz="914400" rtl="0" eaLnBrk="1" fontAlgn="b" latinLnBrk="0" hangingPunct="1"/>
                      <a:r>
                        <a:rPr lang="en-US" sz="1050" b="1" i="0" u="none" strike="noStrike" kern="1200" dirty="0" smtClean="0">
                          <a:solidFill>
                            <a:schemeClr val="lt1"/>
                          </a:solidFill>
                          <a:latin typeface="Calibri" pitchFamily="34" charset="0"/>
                          <a:ea typeface="+mn-ea"/>
                          <a:cs typeface="+mn-cs"/>
                        </a:rPr>
                        <a:t>6</a:t>
                      </a:r>
                      <a:endParaRPr lang="en-US" sz="1050" b="1" i="0" u="none" strike="noStrike" kern="1200" dirty="0">
                        <a:solidFill>
                          <a:schemeClr val="lt1"/>
                        </a:solidFill>
                        <a:latin typeface="Calibri" pitchFamily="34" charset="0"/>
                        <a:ea typeface="+mn-ea"/>
                        <a:cs typeface="+mn-cs"/>
                      </a:endParaRPr>
                    </a:p>
                  </a:txBody>
                  <a:tcPr marL="3994" marR="3994" marT="3994" marB="0" anchor="b"/>
                </a:tc>
                <a:tc>
                  <a:txBody>
                    <a:bodyPr/>
                    <a:lstStyle/>
                    <a:p>
                      <a:pPr algn="l" rtl="0" fontAlgn="b"/>
                      <a:r>
                        <a:rPr lang="en-US" sz="1050" b="0" i="0" u="none" strike="noStrike" dirty="0" smtClean="0">
                          <a:solidFill>
                            <a:srgbClr val="000000"/>
                          </a:solidFill>
                          <a:latin typeface="Calibri" pitchFamily="34" charset="0"/>
                        </a:rPr>
                        <a:t>Application monitoring will be performed only during the support window.</a:t>
                      </a:r>
                      <a:r>
                        <a:rPr lang="en-US" sz="1050" b="0" i="0" u="none" strike="noStrike" baseline="0" dirty="0" smtClean="0">
                          <a:solidFill>
                            <a:srgbClr val="000000"/>
                          </a:solidFill>
                          <a:latin typeface="Calibri" pitchFamily="34" charset="0"/>
                        </a:rPr>
                        <a:t> Lattice to confirm if the needs are different</a:t>
                      </a:r>
                      <a:endParaRPr lang="en-US" sz="1050" b="0" i="0" u="none" strike="noStrike" dirty="0">
                        <a:solidFill>
                          <a:srgbClr val="000000"/>
                        </a:solidFill>
                        <a:latin typeface="Calibri" pitchFamily="34" charset="0"/>
                      </a:endParaRPr>
                    </a:p>
                  </a:txBody>
                  <a:tcPr marL="9525" marR="9525" marT="9525" marB="0" anchor="b"/>
                </a:tc>
              </a:tr>
              <a:tr h="329636">
                <a:tc>
                  <a:txBody>
                    <a:bodyPr/>
                    <a:lstStyle/>
                    <a:p>
                      <a:pPr marL="0" algn="ctr" defTabSz="914400" rtl="0" eaLnBrk="1" fontAlgn="b" latinLnBrk="0" hangingPunct="1"/>
                      <a:r>
                        <a:rPr lang="en-US" sz="1050" b="1" i="0" u="none" strike="noStrike" kern="1200" dirty="0" smtClean="0">
                          <a:solidFill>
                            <a:schemeClr val="lt1"/>
                          </a:solidFill>
                          <a:latin typeface="Calibri" pitchFamily="34" charset="0"/>
                          <a:ea typeface="+mn-ea"/>
                          <a:cs typeface="+mn-cs"/>
                        </a:rPr>
                        <a:t>7</a:t>
                      </a:r>
                      <a:endParaRPr lang="en-US" sz="1050" b="1" i="0" u="none" strike="noStrike" kern="1200" dirty="0">
                        <a:solidFill>
                          <a:schemeClr val="lt1"/>
                        </a:solidFill>
                        <a:latin typeface="Calibri" pitchFamily="34" charset="0"/>
                        <a:ea typeface="+mn-ea"/>
                        <a:cs typeface="+mn-cs"/>
                      </a:endParaRPr>
                    </a:p>
                  </a:txBody>
                  <a:tcPr marL="3994" marR="3994" marT="3994" marB="0" anchor="b"/>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50" b="0" i="0" u="none" strike="noStrike" kern="1200" dirty="0" smtClean="0">
                          <a:solidFill>
                            <a:srgbClr val="000000"/>
                          </a:solidFill>
                          <a:latin typeface="Calibri" pitchFamily="34" charset="0"/>
                          <a:ea typeface="+mn-ea"/>
                          <a:cs typeface="+mn-cs"/>
                        </a:rPr>
                        <a:t>For SPM , 2 FTEs per month are allocated for provide application support. </a:t>
                      </a:r>
                    </a:p>
                    <a:p>
                      <a:pPr algn="l" rtl="0" fontAlgn="b"/>
                      <a:endParaRPr lang="en-US" sz="1050" b="0" i="0" u="none" strike="noStrike" dirty="0">
                        <a:solidFill>
                          <a:srgbClr val="000000"/>
                        </a:solidFill>
                        <a:latin typeface="Calibri" pitchFamily="34" charset="0"/>
                      </a:endParaRPr>
                    </a:p>
                  </a:txBody>
                  <a:tcPr marL="9525" marR="9525" marT="9525" marB="0" anchor="b"/>
                </a:tc>
              </a:tr>
              <a:tr h="329636">
                <a:tc>
                  <a:txBody>
                    <a:bodyPr/>
                    <a:lstStyle/>
                    <a:p>
                      <a:pPr marL="0" algn="ctr" defTabSz="914400" rtl="0" eaLnBrk="1" fontAlgn="b" latinLnBrk="0" hangingPunct="1"/>
                      <a:r>
                        <a:rPr lang="en-US" sz="1050" b="1" i="0" u="none" strike="noStrike" kern="1200" dirty="0" smtClean="0">
                          <a:solidFill>
                            <a:schemeClr val="lt1"/>
                          </a:solidFill>
                          <a:latin typeface="Calibri" pitchFamily="34" charset="0"/>
                          <a:ea typeface="+mn-ea"/>
                          <a:cs typeface="+mn-cs"/>
                        </a:rPr>
                        <a:t>8</a:t>
                      </a:r>
                      <a:endParaRPr lang="en-US" sz="1050" b="1" i="0" u="none" strike="noStrike" kern="1200" dirty="0">
                        <a:solidFill>
                          <a:schemeClr val="lt1"/>
                        </a:solidFill>
                        <a:latin typeface="Calibri" pitchFamily="34" charset="0"/>
                        <a:ea typeface="+mn-ea"/>
                        <a:cs typeface="+mn-cs"/>
                      </a:endParaRPr>
                    </a:p>
                  </a:txBody>
                  <a:tcPr marL="3994" marR="3994" marT="3994" marB="0" anchor="b"/>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50" b="0" i="0" u="none" strike="noStrike" kern="1200" dirty="0" smtClean="0">
                          <a:solidFill>
                            <a:srgbClr val="000000"/>
                          </a:solidFill>
                          <a:latin typeface="Calibri" pitchFamily="34" charset="0"/>
                          <a:ea typeface="+mn-ea"/>
                          <a:cs typeface="+mn-cs"/>
                        </a:rPr>
                        <a:t>The scope for legacy applications is considered to be L2/L3 and Vendor coordination activities . The list of applications, scope and technology of the legacy applications needs to be validated with Lattice. The solution</a:t>
                      </a:r>
                      <a:r>
                        <a:rPr lang="en-US" sz="1050" b="0" i="0" u="none" strike="noStrike" kern="1200" baseline="0" dirty="0" smtClean="0">
                          <a:solidFill>
                            <a:srgbClr val="000000"/>
                          </a:solidFill>
                          <a:latin typeface="Calibri" pitchFamily="34" charset="0"/>
                          <a:ea typeface="+mn-ea"/>
                          <a:cs typeface="+mn-cs"/>
                        </a:rPr>
                        <a:t> might undergo changes based on the further information received from Lattice</a:t>
                      </a:r>
                      <a:endParaRPr lang="en-US" sz="1050" b="0" i="0" u="none" strike="noStrike" kern="1200" dirty="0" smtClean="0">
                        <a:solidFill>
                          <a:srgbClr val="000000"/>
                        </a:solidFill>
                        <a:latin typeface="Calibri" pitchFamily="34" charset="0"/>
                        <a:ea typeface="+mn-ea"/>
                        <a:cs typeface="+mn-cs"/>
                      </a:endParaRPr>
                    </a:p>
                    <a:p>
                      <a:pPr algn="l" rtl="0" fontAlgn="b"/>
                      <a:endParaRPr lang="en-US" sz="1050" b="0" i="0" u="none" strike="noStrike" dirty="0">
                        <a:solidFill>
                          <a:srgbClr val="000000"/>
                        </a:solidFill>
                        <a:latin typeface="Calibri" pitchFamily="34" charset="0"/>
                      </a:endParaRPr>
                    </a:p>
                  </a:txBody>
                  <a:tcPr marL="9525" marR="9525" marT="9525" marB="0" anchor="b"/>
                </a:tc>
              </a:tr>
              <a:tr h="329636">
                <a:tc>
                  <a:txBody>
                    <a:bodyPr/>
                    <a:lstStyle/>
                    <a:p>
                      <a:pPr marL="0" algn="ctr" defTabSz="914400" rtl="0" eaLnBrk="1" fontAlgn="b" latinLnBrk="0" hangingPunct="1"/>
                      <a:r>
                        <a:rPr lang="en-US" sz="1050" b="1" i="0" u="none" strike="noStrike" kern="1200" dirty="0" smtClean="0">
                          <a:solidFill>
                            <a:schemeClr val="lt1"/>
                          </a:solidFill>
                          <a:latin typeface="Calibri" pitchFamily="34" charset="0"/>
                          <a:ea typeface="+mn-ea"/>
                          <a:cs typeface="+mn-cs"/>
                        </a:rPr>
                        <a:t>9</a:t>
                      </a:r>
                      <a:endParaRPr lang="en-US" sz="1050" b="1" i="0" u="none" strike="noStrike" kern="1200" dirty="0">
                        <a:solidFill>
                          <a:schemeClr val="lt1"/>
                        </a:solidFill>
                        <a:latin typeface="Calibri" pitchFamily="34" charset="0"/>
                        <a:ea typeface="+mn-ea"/>
                        <a:cs typeface="+mn-cs"/>
                      </a:endParaRPr>
                    </a:p>
                  </a:txBody>
                  <a:tcPr marL="3994" marR="3994" marT="3994" marB="0" anchor="b"/>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50" b="0" i="0" u="none" strike="noStrike" kern="1200" dirty="0" smtClean="0">
                          <a:solidFill>
                            <a:srgbClr val="000000"/>
                          </a:solidFill>
                          <a:latin typeface="Calibri" pitchFamily="34" charset="0"/>
                          <a:ea typeface="+mn-ea"/>
                          <a:cs typeface="+mn-cs"/>
                        </a:rPr>
                        <a:t>For incidents raised against 3</a:t>
                      </a:r>
                      <a:r>
                        <a:rPr lang="en-US" sz="1050" b="0" i="0" u="none" strike="noStrike" kern="1200" baseline="30000" dirty="0" smtClean="0">
                          <a:solidFill>
                            <a:srgbClr val="000000"/>
                          </a:solidFill>
                          <a:latin typeface="Calibri" pitchFamily="34" charset="0"/>
                          <a:ea typeface="+mn-ea"/>
                          <a:cs typeface="+mn-cs"/>
                        </a:rPr>
                        <a:t>rd</a:t>
                      </a:r>
                      <a:r>
                        <a:rPr lang="en-US" sz="1050" b="0" i="0" u="none" strike="noStrike" kern="1200" baseline="0" dirty="0" smtClean="0">
                          <a:solidFill>
                            <a:srgbClr val="000000"/>
                          </a:solidFill>
                          <a:latin typeface="Calibri" pitchFamily="34" charset="0"/>
                          <a:ea typeface="+mn-ea"/>
                          <a:cs typeface="+mn-cs"/>
                        </a:rPr>
                        <a:t> part applications, Capgemini will not responsible for response and resolution SLAs.  However Capgemini will provide vendor management function under the existing contract between Lattice and 3</a:t>
                      </a:r>
                      <a:r>
                        <a:rPr lang="en-US" sz="1050" b="0" i="0" u="none" strike="noStrike" kern="1200" baseline="30000" dirty="0" smtClean="0">
                          <a:solidFill>
                            <a:srgbClr val="000000"/>
                          </a:solidFill>
                          <a:latin typeface="Calibri" pitchFamily="34" charset="0"/>
                          <a:ea typeface="+mn-ea"/>
                          <a:cs typeface="+mn-cs"/>
                        </a:rPr>
                        <a:t>rd</a:t>
                      </a:r>
                      <a:r>
                        <a:rPr lang="en-US" sz="1050" b="0" i="0" u="none" strike="noStrike" kern="1200" baseline="0" dirty="0" smtClean="0">
                          <a:solidFill>
                            <a:srgbClr val="000000"/>
                          </a:solidFill>
                          <a:latin typeface="Calibri" pitchFamily="34" charset="0"/>
                          <a:ea typeface="+mn-ea"/>
                          <a:cs typeface="+mn-cs"/>
                        </a:rPr>
                        <a:t> parties.</a:t>
                      </a:r>
                      <a:endParaRPr lang="en-US" sz="1050" b="0" i="0" u="none" strike="noStrike" kern="1200" dirty="0" smtClean="0">
                        <a:solidFill>
                          <a:srgbClr val="000000"/>
                        </a:solidFill>
                        <a:latin typeface="Calibri" pitchFamily="34" charset="0"/>
                        <a:ea typeface="+mn-ea"/>
                        <a:cs typeface="+mn-cs"/>
                      </a:endParaRPr>
                    </a:p>
                    <a:p>
                      <a:pPr algn="l" rtl="0" fontAlgn="b"/>
                      <a:endParaRPr lang="en-US" sz="1050" b="0" i="0" u="none" strike="noStrike" dirty="0">
                        <a:solidFill>
                          <a:srgbClr val="000000"/>
                        </a:solidFill>
                        <a:latin typeface="Calibri" pitchFamily="34" charset="0"/>
                      </a:endParaRPr>
                    </a:p>
                  </a:txBody>
                  <a:tcPr marL="9525" marR="9525" marT="9525" marB="0" anchor="b"/>
                </a:tc>
              </a:tr>
              <a:tr h="329636">
                <a:tc>
                  <a:txBody>
                    <a:bodyPr/>
                    <a:lstStyle/>
                    <a:p>
                      <a:pPr marL="0" algn="ctr" defTabSz="914400" rtl="0" eaLnBrk="1" fontAlgn="b" latinLnBrk="0" hangingPunct="1"/>
                      <a:r>
                        <a:rPr lang="en-US" sz="1050" b="1" i="0" u="none" strike="noStrike" kern="1200" dirty="0" smtClean="0">
                          <a:solidFill>
                            <a:schemeClr val="lt1"/>
                          </a:solidFill>
                          <a:latin typeface="Calibri" pitchFamily="34" charset="0"/>
                          <a:ea typeface="+mn-ea"/>
                          <a:cs typeface="+mn-cs"/>
                        </a:rPr>
                        <a:t>10</a:t>
                      </a:r>
                      <a:endParaRPr lang="en-US" sz="1050" b="1" i="0" u="none" strike="noStrike" kern="1200" dirty="0">
                        <a:solidFill>
                          <a:schemeClr val="lt1"/>
                        </a:solidFill>
                        <a:latin typeface="Calibri" pitchFamily="34" charset="0"/>
                        <a:ea typeface="+mn-ea"/>
                        <a:cs typeface="+mn-cs"/>
                      </a:endParaRPr>
                    </a:p>
                  </a:txBody>
                  <a:tcPr marL="3994" marR="3994" marT="3994" marB="0" anchor="b"/>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50" b="0" i="0" u="none" strike="noStrike" kern="1200" dirty="0" smtClean="0">
                          <a:solidFill>
                            <a:schemeClr val="tx1"/>
                          </a:solidFill>
                          <a:latin typeface="Calibri" pitchFamily="34" charset="0"/>
                          <a:ea typeface="+mn-ea"/>
                          <a:cs typeface="+mn-cs"/>
                        </a:rPr>
                        <a:t>The proposed AM team  for CRM (Sales cloud and CPQ) has a capacity to handle 340</a:t>
                      </a:r>
                      <a:r>
                        <a:rPr lang="en-US" sz="1050" dirty="0" smtClean="0">
                          <a:solidFill>
                            <a:schemeClr val="tx1"/>
                          </a:solidFill>
                          <a:latin typeface="Calibri" pitchFamily="34" charset="0"/>
                        </a:rPr>
                        <a:t> </a:t>
                      </a:r>
                      <a:r>
                        <a:rPr lang="en-US" sz="1050" b="0" i="0" u="none" strike="noStrike" kern="1200" dirty="0" smtClean="0">
                          <a:solidFill>
                            <a:schemeClr val="tx1"/>
                          </a:solidFill>
                          <a:latin typeface="Calibri" pitchFamily="34" charset="0"/>
                          <a:ea typeface="+mn-ea"/>
                          <a:cs typeface="+mn-cs"/>
                        </a:rPr>
                        <a:t>incidents/month with a deviation of +/- 10%. If the ticket volumes are observed to be beyond this threshold for 3 consecutive months, solution would be re estimated </a:t>
                      </a:r>
                    </a:p>
                    <a:p>
                      <a:pPr algn="l" rtl="0" fontAlgn="b"/>
                      <a:endParaRPr lang="en-US" sz="1050" b="0" i="0" u="none" strike="noStrike" dirty="0">
                        <a:solidFill>
                          <a:srgbClr val="000000"/>
                        </a:solidFill>
                        <a:latin typeface="Calibri" pitchFamily="34" charset="0"/>
                      </a:endParaRPr>
                    </a:p>
                  </a:txBody>
                  <a:tcPr marL="9525" marR="9525" marT="9525" marB="0" anchor="b"/>
                </a:tc>
              </a:tr>
              <a:tr h="329636">
                <a:tc>
                  <a:txBody>
                    <a:bodyPr/>
                    <a:lstStyle/>
                    <a:p>
                      <a:pPr marL="0" algn="ctr" defTabSz="914400" rtl="0" eaLnBrk="1" fontAlgn="b" latinLnBrk="0" hangingPunct="1"/>
                      <a:r>
                        <a:rPr lang="en-US" sz="1050" b="1" i="0" u="none" strike="noStrike" kern="1200" dirty="0" smtClean="0">
                          <a:solidFill>
                            <a:schemeClr val="lt1"/>
                          </a:solidFill>
                          <a:latin typeface="Calibri" pitchFamily="34" charset="0"/>
                          <a:ea typeface="+mn-ea"/>
                          <a:cs typeface="+mn-cs"/>
                        </a:rPr>
                        <a:t>11</a:t>
                      </a:r>
                      <a:endParaRPr lang="en-US" sz="1050" b="1" i="0" u="none" strike="noStrike" kern="1200" dirty="0">
                        <a:solidFill>
                          <a:schemeClr val="lt1"/>
                        </a:solidFill>
                        <a:latin typeface="Calibri" pitchFamily="34" charset="0"/>
                        <a:ea typeface="+mn-ea"/>
                        <a:cs typeface="+mn-cs"/>
                      </a:endParaRPr>
                    </a:p>
                  </a:txBody>
                  <a:tcPr marL="3994" marR="3994" marT="3994" marB="0" anchor="b"/>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050" b="0" i="0" u="none" strike="noStrike" kern="1200" dirty="0" smtClean="0">
                          <a:solidFill>
                            <a:srgbClr val="000000"/>
                          </a:solidFill>
                          <a:latin typeface="Calibri" pitchFamily="34" charset="0"/>
                          <a:ea typeface="+mn-ea"/>
                          <a:cs typeface="+mn-cs"/>
                        </a:rPr>
                        <a:t>The</a:t>
                      </a:r>
                      <a:r>
                        <a:rPr lang="en-US" sz="1050" b="0" i="0" u="none" strike="noStrike" kern="1200" baseline="0" dirty="0" smtClean="0">
                          <a:solidFill>
                            <a:srgbClr val="000000"/>
                          </a:solidFill>
                          <a:latin typeface="Calibri" pitchFamily="34" charset="0"/>
                          <a:ea typeface="+mn-ea"/>
                          <a:cs typeface="+mn-cs"/>
                        </a:rPr>
                        <a:t> </a:t>
                      </a:r>
                      <a:r>
                        <a:rPr lang="en-US" sz="1050" b="0" i="0" u="none" strike="noStrike" kern="1200" dirty="0" smtClean="0">
                          <a:solidFill>
                            <a:srgbClr val="000000"/>
                          </a:solidFill>
                          <a:latin typeface="Calibri" pitchFamily="34" charset="0"/>
                          <a:ea typeface="+mn-ea"/>
                          <a:cs typeface="+mn-cs"/>
                        </a:rPr>
                        <a:t>proposed team can handle 80  hrs of minor enhancements. This capacity is to be consumed within the month and cannot be carried forward. Minor enhancements are defined as any enhancements requiring less than 40hrs of efforts. Efforts beyond this will be handled on rate card </a:t>
                      </a:r>
                      <a:endParaRPr lang="en-US" sz="1050" b="0" i="0" u="none" strike="noStrike" dirty="0">
                        <a:solidFill>
                          <a:srgbClr val="000000"/>
                        </a:solidFill>
                        <a:latin typeface="Calibri" pitchFamily="34" charset="0"/>
                      </a:endParaRPr>
                    </a:p>
                  </a:txBody>
                  <a:tcPr marL="9525" marR="9525" marT="9525" marB="0" anchor="b"/>
                </a:tc>
              </a:tr>
            </a:tbl>
          </a:graphicData>
        </a:graphic>
      </p:graphicFrame>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w="9525" algn="ctr">
            <a:noFill/>
            <a:miter lim="800000"/>
            <a:headEnd/>
            <a:tailEnd/>
          </a:ln>
          <a:effectLst/>
        </p:spPr>
        <p:txBody>
          <a:bodyPr vert="horz" wrap="square" lIns="274320" tIns="36576" rIns="0" bIns="0" numCol="1" anchor="ctr" anchorCtr="0" compatLnSpc="1">
            <a:prstTxWarp prst="textNoShape">
              <a:avLst/>
            </a:prstTxWarp>
          </a:bodyPr>
          <a:lstStyle/>
          <a:p>
            <a:r>
              <a:rPr lang="en-US" b="0" dirty="0" smtClean="0">
                <a:solidFill>
                  <a:srgbClr val="0098C7"/>
                </a:solidFill>
              </a:rPr>
              <a:t>Data Points Analyzed</a:t>
            </a:r>
            <a:endParaRPr lang="en-US" b="0" dirty="0">
              <a:solidFill>
                <a:srgbClr val="0098C7"/>
              </a:solidFill>
            </a:endParaRPr>
          </a:p>
        </p:txBody>
      </p:sp>
      <p:sp>
        <p:nvSpPr>
          <p:cNvPr id="4" name="Rectangle 3"/>
          <p:cNvSpPr/>
          <p:nvPr/>
        </p:nvSpPr>
        <p:spPr>
          <a:xfrm>
            <a:off x="475752" y="2174681"/>
            <a:ext cx="1566407" cy="675861"/>
          </a:xfrm>
          <a:prstGeom prst="rect">
            <a:avLst/>
          </a:prstGeom>
          <a:solidFill>
            <a:schemeClr val="accent6">
              <a:lumMod val="20000"/>
              <a:lumOff val="80000"/>
            </a:schemeClr>
          </a:solidFill>
          <a:ln w="3175">
            <a:prstDash val="sysDot"/>
          </a:ln>
        </p:spPr>
        <p:style>
          <a:lnRef idx="2">
            <a:schemeClr val="accent4"/>
          </a:lnRef>
          <a:fillRef idx="1">
            <a:schemeClr val="lt1"/>
          </a:fillRef>
          <a:effectRef idx="0">
            <a:schemeClr val="accent4"/>
          </a:effectRef>
          <a:fontRef idx="minor">
            <a:schemeClr val="dk1"/>
          </a:fontRef>
        </p:style>
        <p:txBody>
          <a:bodyPr rtlCol="0" anchor="ctr"/>
          <a:lstStyle/>
          <a:p>
            <a:pPr algn="r"/>
            <a:r>
              <a:rPr lang="en-US" sz="1200" i="1" dirty="0" smtClean="0">
                <a:latin typeface="Arial" pitchFamily="34" charset="0"/>
                <a:cs typeface="Arial" pitchFamily="34" charset="0"/>
              </a:rPr>
              <a:t>CRM</a:t>
            </a:r>
            <a:endParaRPr lang="en-US" sz="1200" i="1" dirty="0">
              <a:latin typeface="Arial" pitchFamily="34" charset="0"/>
              <a:cs typeface="Arial" pitchFamily="34" charset="0"/>
            </a:endParaRPr>
          </a:p>
        </p:txBody>
      </p:sp>
      <p:sp>
        <p:nvSpPr>
          <p:cNvPr id="5" name="Rectangle 4"/>
          <p:cNvSpPr/>
          <p:nvPr/>
        </p:nvSpPr>
        <p:spPr>
          <a:xfrm>
            <a:off x="475752" y="3307079"/>
            <a:ext cx="1566407" cy="675861"/>
          </a:xfrm>
          <a:prstGeom prst="rect">
            <a:avLst/>
          </a:prstGeom>
          <a:solidFill>
            <a:schemeClr val="accent6">
              <a:lumMod val="20000"/>
              <a:lumOff val="80000"/>
            </a:schemeClr>
          </a:solidFill>
          <a:ln w="3175">
            <a:prstDash val="sysDot"/>
          </a:ln>
        </p:spPr>
        <p:style>
          <a:lnRef idx="2">
            <a:schemeClr val="accent4"/>
          </a:lnRef>
          <a:fillRef idx="1">
            <a:schemeClr val="lt1"/>
          </a:fillRef>
          <a:effectRef idx="0">
            <a:schemeClr val="accent4"/>
          </a:effectRef>
          <a:fontRef idx="minor">
            <a:schemeClr val="dk1"/>
          </a:fontRef>
        </p:style>
        <p:txBody>
          <a:bodyPr rtlCol="0" anchor="ctr"/>
          <a:lstStyle/>
          <a:p>
            <a:pPr algn="r"/>
            <a:r>
              <a:rPr lang="en-US" sz="1200" i="1" dirty="0" smtClean="0">
                <a:latin typeface="Arial" pitchFamily="34" charset="0"/>
                <a:cs typeface="Arial" pitchFamily="34" charset="0"/>
              </a:rPr>
              <a:t>ERP</a:t>
            </a:r>
            <a:endParaRPr lang="en-US" sz="1200" i="1" dirty="0">
              <a:latin typeface="Arial" pitchFamily="34" charset="0"/>
              <a:cs typeface="Arial" pitchFamily="34" charset="0"/>
            </a:endParaRPr>
          </a:p>
        </p:txBody>
      </p:sp>
      <p:sp>
        <p:nvSpPr>
          <p:cNvPr id="6" name="Rectangle 5"/>
          <p:cNvSpPr/>
          <p:nvPr/>
        </p:nvSpPr>
        <p:spPr>
          <a:xfrm>
            <a:off x="475752" y="4439477"/>
            <a:ext cx="1566407" cy="675861"/>
          </a:xfrm>
          <a:prstGeom prst="rect">
            <a:avLst/>
          </a:prstGeom>
          <a:solidFill>
            <a:schemeClr val="accent6">
              <a:lumMod val="20000"/>
              <a:lumOff val="80000"/>
            </a:schemeClr>
          </a:solidFill>
          <a:ln w="3175">
            <a:prstDash val="sysDot"/>
          </a:ln>
        </p:spPr>
        <p:style>
          <a:lnRef idx="2">
            <a:schemeClr val="accent4"/>
          </a:lnRef>
          <a:fillRef idx="1">
            <a:schemeClr val="lt1"/>
          </a:fillRef>
          <a:effectRef idx="0">
            <a:schemeClr val="accent4"/>
          </a:effectRef>
          <a:fontRef idx="minor">
            <a:schemeClr val="dk1"/>
          </a:fontRef>
        </p:style>
        <p:txBody>
          <a:bodyPr rtlCol="0" anchor="ctr"/>
          <a:lstStyle/>
          <a:p>
            <a:pPr algn="r"/>
            <a:r>
              <a:rPr lang="en-US" sz="1200" i="1" dirty="0" smtClean="0">
                <a:latin typeface="Arial" pitchFamily="34" charset="0"/>
                <a:cs typeface="Arial" pitchFamily="34" charset="0"/>
              </a:rPr>
              <a:t>Other Apps</a:t>
            </a:r>
            <a:endParaRPr lang="en-US" sz="1200" i="1" dirty="0">
              <a:latin typeface="Arial" pitchFamily="34" charset="0"/>
              <a:cs typeface="Arial" pitchFamily="34" charset="0"/>
            </a:endParaRPr>
          </a:p>
        </p:txBody>
      </p:sp>
      <p:sp>
        <p:nvSpPr>
          <p:cNvPr id="7" name="Rectangle 6"/>
          <p:cNvSpPr/>
          <p:nvPr/>
        </p:nvSpPr>
        <p:spPr>
          <a:xfrm>
            <a:off x="2321781" y="1415332"/>
            <a:ext cx="1005840" cy="526102"/>
          </a:xfrm>
          <a:prstGeom prst="rect">
            <a:avLst/>
          </a:prstGeom>
          <a:solidFill>
            <a:schemeClr val="accent6">
              <a:lumMod val="20000"/>
              <a:lumOff val="80000"/>
            </a:schemeClr>
          </a:solidFill>
          <a:ln w="3175">
            <a:solidFill>
              <a:srgbClr val="ACB7B2"/>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i="1" dirty="0" smtClean="0">
                <a:latin typeface="Arial" pitchFamily="34" charset="0"/>
                <a:cs typeface="Arial" pitchFamily="34" charset="0"/>
              </a:rPr>
              <a:t>Ticket Data</a:t>
            </a:r>
            <a:endParaRPr lang="en-US" sz="1200" i="1" dirty="0">
              <a:latin typeface="Arial" pitchFamily="34" charset="0"/>
              <a:cs typeface="Arial" pitchFamily="34" charset="0"/>
            </a:endParaRPr>
          </a:p>
        </p:txBody>
      </p:sp>
      <p:sp>
        <p:nvSpPr>
          <p:cNvPr id="8" name="Rectangle 7"/>
          <p:cNvSpPr/>
          <p:nvPr/>
        </p:nvSpPr>
        <p:spPr>
          <a:xfrm>
            <a:off x="3652962" y="1415332"/>
            <a:ext cx="1005840" cy="526102"/>
          </a:xfrm>
          <a:prstGeom prst="rect">
            <a:avLst/>
          </a:prstGeom>
          <a:solidFill>
            <a:schemeClr val="accent6">
              <a:lumMod val="20000"/>
              <a:lumOff val="80000"/>
            </a:schemeClr>
          </a:solidFill>
          <a:ln w="3175">
            <a:solidFill>
              <a:srgbClr val="ACB7B2"/>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i="1" dirty="0" smtClean="0">
                <a:latin typeface="Arial" pitchFamily="34" charset="0"/>
                <a:cs typeface="Arial" pitchFamily="34" charset="0"/>
              </a:rPr>
              <a:t>Technology Skillset</a:t>
            </a:r>
            <a:endParaRPr lang="en-US" sz="1200" i="1" dirty="0">
              <a:latin typeface="Arial" pitchFamily="34" charset="0"/>
              <a:cs typeface="Arial" pitchFamily="34" charset="0"/>
            </a:endParaRPr>
          </a:p>
        </p:txBody>
      </p:sp>
      <p:sp>
        <p:nvSpPr>
          <p:cNvPr id="9" name="Rectangle 8"/>
          <p:cNvSpPr/>
          <p:nvPr/>
        </p:nvSpPr>
        <p:spPr>
          <a:xfrm>
            <a:off x="4984143" y="1425272"/>
            <a:ext cx="1005840" cy="526102"/>
          </a:xfrm>
          <a:prstGeom prst="rect">
            <a:avLst/>
          </a:prstGeom>
          <a:solidFill>
            <a:schemeClr val="accent6">
              <a:lumMod val="20000"/>
              <a:lumOff val="80000"/>
            </a:schemeClr>
          </a:solidFill>
          <a:ln w="3175">
            <a:solidFill>
              <a:srgbClr val="ACB7B2"/>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i="1" dirty="0" smtClean="0">
                <a:latin typeface="Arial" pitchFamily="34" charset="0"/>
                <a:cs typeface="Arial" pitchFamily="34" charset="0"/>
              </a:rPr>
              <a:t>System Stability</a:t>
            </a:r>
            <a:endParaRPr lang="en-US" sz="1200" i="1" dirty="0">
              <a:latin typeface="Arial" pitchFamily="34" charset="0"/>
              <a:cs typeface="Arial" pitchFamily="34" charset="0"/>
            </a:endParaRPr>
          </a:p>
        </p:txBody>
      </p:sp>
      <p:sp>
        <p:nvSpPr>
          <p:cNvPr id="10" name="Rectangle 9"/>
          <p:cNvSpPr/>
          <p:nvPr/>
        </p:nvSpPr>
        <p:spPr>
          <a:xfrm>
            <a:off x="6315324" y="1425272"/>
            <a:ext cx="1005840" cy="526102"/>
          </a:xfrm>
          <a:prstGeom prst="rect">
            <a:avLst/>
          </a:prstGeom>
          <a:solidFill>
            <a:schemeClr val="accent6">
              <a:lumMod val="20000"/>
              <a:lumOff val="80000"/>
            </a:schemeClr>
          </a:solidFill>
          <a:ln w="3175">
            <a:solidFill>
              <a:srgbClr val="ACB7B2"/>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i="1" dirty="0" smtClean="0">
                <a:latin typeface="Arial" pitchFamily="34" charset="0"/>
                <a:cs typeface="Arial" pitchFamily="34" charset="0"/>
              </a:rPr>
              <a:t>Transition Risk</a:t>
            </a:r>
            <a:endParaRPr lang="en-US" sz="1200" i="1" dirty="0">
              <a:latin typeface="Arial" pitchFamily="34" charset="0"/>
              <a:cs typeface="Arial" pitchFamily="34" charset="0"/>
            </a:endParaRPr>
          </a:p>
        </p:txBody>
      </p:sp>
      <p:sp>
        <p:nvSpPr>
          <p:cNvPr id="11" name="Rectangle 10"/>
          <p:cNvSpPr/>
          <p:nvPr/>
        </p:nvSpPr>
        <p:spPr>
          <a:xfrm>
            <a:off x="7646505" y="1415332"/>
            <a:ext cx="1005840" cy="526102"/>
          </a:xfrm>
          <a:prstGeom prst="rect">
            <a:avLst/>
          </a:prstGeom>
          <a:solidFill>
            <a:schemeClr val="accent6">
              <a:lumMod val="20000"/>
              <a:lumOff val="80000"/>
            </a:schemeClr>
          </a:solidFill>
          <a:ln w="3175">
            <a:solidFill>
              <a:srgbClr val="ACB7B2"/>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i="1" dirty="0" smtClean="0">
                <a:latin typeface="Arial" pitchFamily="34" charset="0"/>
                <a:cs typeface="Arial" pitchFamily="34" charset="0"/>
              </a:rPr>
              <a:t>Rebadging Needs</a:t>
            </a:r>
            <a:endParaRPr lang="en-US" sz="1200" i="1" dirty="0">
              <a:latin typeface="Arial" pitchFamily="34" charset="0"/>
              <a:cs typeface="Arial" pitchFamily="34" charset="0"/>
            </a:endParaRPr>
          </a:p>
        </p:txBody>
      </p:sp>
      <p:cxnSp>
        <p:nvCxnSpPr>
          <p:cNvPr id="13" name="Straight Connector 12"/>
          <p:cNvCxnSpPr/>
          <p:nvPr/>
        </p:nvCxnSpPr>
        <p:spPr>
          <a:xfrm>
            <a:off x="475751" y="1983850"/>
            <a:ext cx="8285259"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75751" y="3111610"/>
            <a:ext cx="8285259"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75751" y="4239370"/>
            <a:ext cx="8285259"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75751" y="5367131"/>
            <a:ext cx="8285259"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
        <p:nvSpPr>
          <p:cNvPr id="18" name="Rounded Rectangle 17"/>
          <p:cNvSpPr/>
          <p:nvPr/>
        </p:nvSpPr>
        <p:spPr>
          <a:xfrm>
            <a:off x="2321782" y="2091193"/>
            <a:ext cx="1005840" cy="826936"/>
          </a:xfrm>
          <a:prstGeom prst="roundRect">
            <a:avLst/>
          </a:prstGeom>
          <a:solidFill>
            <a:srgbClr val="FFFF99"/>
          </a:solidFill>
          <a:ln w="3175">
            <a:solidFill>
              <a:srgbClr val="FFFF00"/>
            </a:solidFill>
          </a:ln>
          <a:effectLst>
            <a:innerShdw blurRad="63500" dist="50800" dir="5400000">
              <a:prstClr val="black">
                <a:alpha val="50000"/>
              </a:prstClr>
            </a:innerShdw>
            <a:softEdge rad="31750"/>
          </a:effectLst>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000" dirty="0">
                <a:latin typeface="Arial" pitchFamily="34" charset="0"/>
                <a:cs typeface="Arial" pitchFamily="34" charset="0"/>
              </a:rPr>
              <a:t>Available, but raises questions</a:t>
            </a:r>
          </a:p>
        </p:txBody>
      </p:sp>
      <p:sp>
        <p:nvSpPr>
          <p:cNvPr id="19" name="Rounded Rectangle 18"/>
          <p:cNvSpPr/>
          <p:nvPr/>
        </p:nvSpPr>
        <p:spPr>
          <a:xfrm>
            <a:off x="3652962" y="2091193"/>
            <a:ext cx="1005840" cy="826936"/>
          </a:xfrm>
          <a:prstGeom prst="roundRect">
            <a:avLst/>
          </a:prstGeom>
          <a:ln w="3175"/>
          <a:effectLst>
            <a:innerShdw blurRad="63500" dist="50800" dir="5400000">
              <a:prstClr val="black">
                <a:alpha val="50000"/>
              </a:prstClr>
            </a:innerShdw>
            <a:softEdge rad="31750"/>
          </a:effectLst>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000" dirty="0" smtClean="0">
                <a:latin typeface="Arial" pitchFamily="34" charset="0"/>
                <a:cs typeface="Arial" pitchFamily="34" charset="0"/>
              </a:rPr>
              <a:t>Standard</a:t>
            </a:r>
            <a:endParaRPr lang="en-US" sz="1000" dirty="0">
              <a:latin typeface="Arial" pitchFamily="34" charset="0"/>
              <a:cs typeface="Arial" pitchFamily="34" charset="0"/>
            </a:endParaRPr>
          </a:p>
        </p:txBody>
      </p:sp>
      <p:sp>
        <p:nvSpPr>
          <p:cNvPr id="20" name="Rounded Rectangle 19"/>
          <p:cNvSpPr/>
          <p:nvPr/>
        </p:nvSpPr>
        <p:spPr>
          <a:xfrm>
            <a:off x="4984143" y="2091192"/>
            <a:ext cx="1005840" cy="826936"/>
          </a:xfrm>
          <a:prstGeom prst="roundRect">
            <a:avLst/>
          </a:prstGeom>
          <a:solidFill>
            <a:srgbClr val="FFFF99"/>
          </a:solidFill>
          <a:ln w="3175">
            <a:solidFill>
              <a:srgbClr val="FFFF00"/>
            </a:solidFill>
          </a:ln>
          <a:effectLst>
            <a:innerShdw blurRad="63500" dist="50800" dir="5400000">
              <a:prstClr val="black">
                <a:alpha val="50000"/>
              </a:prstClr>
            </a:innerShdw>
            <a:softEdge rad="31750"/>
          </a:effectLst>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000" dirty="0" smtClean="0">
                <a:latin typeface="Arial" pitchFamily="34" charset="0"/>
                <a:cs typeface="Arial" pitchFamily="34" charset="0"/>
              </a:rPr>
              <a:t>Suspect due to ticket volumes</a:t>
            </a:r>
            <a:endParaRPr lang="en-US" sz="1000" dirty="0">
              <a:latin typeface="Arial" pitchFamily="34" charset="0"/>
              <a:cs typeface="Arial" pitchFamily="34" charset="0"/>
            </a:endParaRPr>
          </a:p>
        </p:txBody>
      </p:sp>
      <p:sp>
        <p:nvSpPr>
          <p:cNvPr id="21" name="Rounded Rectangle 20"/>
          <p:cNvSpPr/>
          <p:nvPr/>
        </p:nvSpPr>
        <p:spPr>
          <a:xfrm>
            <a:off x="6315324" y="2091191"/>
            <a:ext cx="1005840" cy="826936"/>
          </a:xfrm>
          <a:prstGeom prst="roundRect">
            <a:avLst/>
          </a:prstGeom>
          <a:ln w="3175"/>
          <a:effectLst>
            <a:innerShdw blurRad="63500" dist="50800" dir="5400000">
              <a:prstClr val="black">
                <a:alpha val="50000"/>
              </a:prstClr>
            </a:innerShdw>
            <a:softEdge rad="31750"/>
          </a:effectLst>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000" dirty="0" smtClean="0">
                <a:latin typeface="Arial" pitchFamily="34" charset="0"/>
                <a:cs typeface="Arial" pitchFamily="34" charset="0"/>
              </a:rPr>
              <a:t>Low</a:t>
            </a:r>
            <a:endParaRPr lang="en-US" sz="1000" dirty="0">
              <a:latin typeface="Arial" pitchFamily="34" charset="0"/>
              <a:cs typeface="Arial" pitchFamily="34" charset="0"/>
            </a:endParaRPr>
          </a:p>
        </p:txBody>
      </p:sp>
      <p:sp>
        <p:nvSpPr>
          <p:cNvPr id="22" name="Rounded Rectangle 21"/>
          <p:cNvSpPr/>
          <p:nvPr/>
        </p:nvSpPr>
        <p:spPr>
          <a:xfrm>
            <a:off x="7646505" y="2091193"/>
            <a:ext cx="1005840" cy="826936"/>
          </a:xfrm>
          <a:prstGeom prst="roundRect">
            <a:avLst/>
          </a:prstGeom>
          <a:ln w="3175"/>
          <a:effectLst>
            <a:innerShdw blurRad="63500" dist="50800" dir="5400000">
              <a:prstClr val="black">
                <a:alpha val="50000"/>
              </a:prstClr>
            </a:innerShdw>
            <a:softEdge rad="31750"/>
          </a:effectLst>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000" dirty="0" smtClean="0">
                <a:latin typeface="Arial" pitchFamily="34" charset="0"/>
                <a:cs typeface="Arial" pitchFamily="34" charset="0"/>
              </a:rPr>
              <a:t>None</a:t>
            </a:r>
            <a:endParaRPr lang="en-US" sz="1000" dirty="0">
              <a:latin typeface="Arial" pitchFamily="34" charset="0"/>
              <a:cs typeface="Arial" pitchFamily="34" charset="0"/>
            </a:endParaRPr>
          </a:p>
        </p:txBody>
      </p:sp>
      <p:sp>
        <p:nvSpPr>
          <p:cNvPr id="23" name="Rounded Rectangle 22"/>
          <p:cNvSpPr/>
          <p:nvPr/>
        </p:nvSpPr>
        <p:spPr>
          <a:xfrm>
            <a:off x="2321781" y="3223590"/>
            <a:ext cx="1005840" cy="826936"/>
          </a:xfrm>
          <a:prstGeom prst="roundRect">
            <a:avLst/>
          </a:prstGeom>
          <a:ln w="3175"/>
          <a:effectLst>
            <a:innerShdw blurRad="63500" dist="50800" dir="5400000">
              <a:prstClr val="black">
                <a:alpha val="50000"/>
              </a:prstClr>
            </a:innerShdw>
            <a:softEdge rad="31750"/>
          </a:effectLst>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000" dirty="0" smtClean="0">
                <a:latin typeface="Arial" pitchFamily="34" charset="0"/>
                <a:cs typeface="Arial" pitchFamily="34" charset="0"/>
              </a:rPr>
              <a:t>Unknown</a:t>
            </a:r>
            <a:endParaRPr lang="en-US" sz="1000" dirty="0">
              <a:latin typeface="Arial" pitchFamily="34" charset="0"/>
              <a:cs typeface="Arial" pitchFamily="34" charset="0"/>
            </a:endParaRPr>
          </a:p>
        </p:txBody>
      </p:sp>
      <p:sp>
        <p:nvSpPr>
          <p:cNvPr id="24" name="Rounded Rectangle 23"/>
          <p:cNvSpPr/>
          <p:nvPr/>
        </p:nvSpPr>
        <p:spPr>
          <a:xfrm>
            <a:off x="3652961" y="3223590"/>
            <a:ext cx="1005840" cy="826936"/>
          </a:xfrm>
          <a:prstGeom prst="roundRect">
            <a:avLst/>
          </a:prstGeom>
          <a:ln w="3175"/>
          <a:effectLst>
            <a:innerShdw blurRad="63500" dist="50800" dir="5400000">
              <a:prstClr val="black">
                <a:alpha val="50000"/>
              </a:prstClr>
            </a:innerShdw>
            <a:softEdge rad="31750"/>
          </a:effectLst>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000" dirty="0" smtClean="0">
                <a:latin typeface="Arial" pitchFamily="34" charset="0"/>
                <a:cs typeface="Arial" pitchFamily="34" charset="0"/>
              </a:rPr>
              <a:t>Standard</a:t>
            </a:r>
            <a:endParaRPr lang="en-US" sz="1000" dirty="0">
              <a:latin typeface="Arial" pitchFamily="34" charset="0"/>
              <a:cs typeface="Arial" pitchFamily="34" charset="0"/>
            </a:endParaRPr>
          </a:p>
        </p:txBody>
      </p:sp>
      <p:sp>
        <p:nvSpPr>
          <p:cNvPr id="25" name="Rounded Rectangle 24"/>
          <p:cNvSpPr/>
          <p:nvPr/>
        </p:nvSpPr>
        <p:spPr>
          <a:xfrm>
            <a:off x="4984142" y="3223589"/>
            <a:ext cx="1005840" cy="826936"/>
          </a:xfrm>
          <a:prstGeom prst="roundRect">
            <a:avLst/>
          </a:prstGeom>
          <a:ln w="3175"/>
          <a:effectLst>
            <a:innerShdw blurRad="63500" dist="50800" dir="5400000">
              <a:prstClr val="black">
                <a:alpha val="50000"/>
              </a:prstClr>
            </a:innerShdw>
            <a:softEdge rad="31750"/>
          </a:effectLst>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000" dirty="0" smtClean="0">
                <a:latin typeface="Arial" pitchFamily="34" charset="0"/>
                <a:cs typeface="Arial" pitchFamily="34" charset="0"/>
              </a:rPr>
              <a:t>Unknown</a:t>
            </a:r>
            <a:endParaRPr lang="en-US" sz="1000" dirty="0">
              <a:latin typeface="Arial" pitchFamily="34" charset="0"/>
              <a:cs typeface="Arial" pitchFamily="34" charset="0"/>
            </a:endParaRPr>
          </a:p>
        </p:txBody>
      </p:sp>
      <p:sp>
        <p:nvSpPr>
          <p:cNvPr id="26" name="Rounded Rectangle 25"/>
          <p:cNvSpPr/>
          <p:nvPr/>
        </p:nvSpPr>
        <p:spPr>
          <a:xfrm>
            <a:off x="6315323" y="3223588"/>
            <a:ext cx="1005840" cy="826936"/>
          </a:xfrm>
          <a:prstGeom prst="roundRect">
            <a:avLst/>
          </a:prstGeom>
          <a:ln w="3175"/>
          <a:effectLst>
            <a:innerShdw blurRad="63500" dist="50800" dir="5400000">
              <a:prstClr val="black">
                <a:alpha val="50000"/>
              </a:prstClr>
            </a:innerShdw>
            <a:softEdge rad="31750"/>
          </a:effectLst>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000" dirty="0" smtClean="0">
                <a:latin typeface="Arial" pitchFamily="34" charset="0"/>
                <a:cs typeface="Arial" pitchFamily="34" charset="0"/>
              </a:rPr>
              <a:t>Low</a:t>
            </a:r>
            <a:endParaRPr lang="en-US" sz="1000" dirty="0">
              <a:latin typeface="Arial" pitchFamily="34" charset="0"/>
              <a:cs typeface="Arial" pitchFamily="34" charset="0"/>
            </a:endParaRPr>
          </a:p>
        </p:txBody>
      </p:sp>
      <p:sp>
        <p:nvSpPr>
          <p:cNvPr id="27" name="Rounded Rectangle 26"/>
          <p:cNvSpPr/>
          <p:nvPr/>
        </p:nvSpPr>
        <p:spPr>
          <a:xfrm>
            <a:off x="7646504" y="3223590"/>
            <a:ext cx="1005840" cy="826936"/>
          </a:xfrm>
          <a:prstGeom prst="roundRect">
            <a:avLst/>
          </a:prstGeom>
          <a:ln w="3175"/>
          <a:effectLst>
            <a:innerShdw blurRad="63500" dist="50800" dir="5400000">
              <a:prstClr val="black">
                <a:alpha val="50000"/>
              </a:prstClr>
            </a:innerShdw>
            <a:softEdge rad="31750"/>
          </a:effectLst>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000" dirty="0" smtClean="0">
                <a:latin typeface="Arial" pitchFamily="34" charset="0"/>
                <a:cs typeface="Arial" pitchFamily="34" charset="0"/>
              </a:rPr>
              <a:t>None</a:t>
            </a:r>
            <a:endParaRPr lang="en-US" sz="1000" dirty="0">
              <a:latin typeface="Arial" pitchFamily="34" charset="0"/>
              <a:cs typeface="Arial" pitchFamily="34" charset="0"/>
            </a:endParaRPr>
          </a:p>
        </p:txBody>
      </p:sp>
      <p:sp>
        <p:nvSpPr>
          <p:cNvPr id="28" name="Rounded Rectangle 27"/>
          <p:cNvSpPr/>
          <p:nvPr/>
        </p:nvSpPr>
        <p:spPr>
          <a:xfrm>
            <a:off x="2321781" y="4355988"/>
            <a:ext cx="1005840" cy="826936"/>
          </a:xfrm>
          <a:prstGeom prst="roundRect">
            <a:avLst/>
          </a:prstGeom>
          <a:ln w="3175"/>
          <a:effectLst>
            <a:innerShdw blurRad="63500" dist="50800" dir="5400000">
              <a:prstClr val="black">
                <a:alpha val="50000"/>
              </a:prstClr>
            </a:innerShdw>
            <a:softEdge rad="31750"/>
          </a:effectLst>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000" dirty="0" smtClean="0">
                <a:latin typeface="Arial" pitchFamily="34" charset="0"/>
                <a:cs typeface="Arial" pitchFamily="34" charset="0"/>
              </a:rPr>
              <a:t>Need information</a:t>
            </a:r>
            <a:endParaRPr lang="en-US" sz="1000" dirty="0">
              <a:latin typeface="Arial" pitchFamily="34" charset="0"/>
              <a:cs typeface="Arial" pitchFamily="34" charset="0"/>
            </a:endParaRPr>
          </a:p>
        </p:txBody>
      </p:sp>
      <p:sp>
        <p:nvSpPr>
          <p:cNvPr id="29" name="Rounded Rectangle 28"/>
          <p:cNvSpPr/>
          <p:nvPr/>
        </p:nvSpPr>
        <p:spPr>
          <a:xfrm>
            <a:off x="3652961" y="4355988"/>
            <a:ext cx="1005840" cy="826936"/>
          </a:xfrm>
          <a:prstGeom prst="roundRect">
            <a:avLst/>
          </a:prstGeom>
          <a:ln w="3175"/>
          <a:effectLst>
            <a:innerShdw blurRad="63500" dist="50800" dir="5400000">
              <a:prstClr val="black">
                <a:alpha val="50000"/>
              </a:prstClr>
            </a:innerShdw>
            <a:softEdge rad="31750"/>
          </a:effectLst>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000" dirty="0" smtClean="0">
                <a:latin typeface="Arial" pitchFamily="34" charset="0"/>
                <a:cs typeface="Arial" pitchFamily="34" charset="0"/>
              </a:rPr>
              <a:t>Need information</a:t>
            </a:r>
            <a:endParaRPr lang="en-US" sz="1000" dirty="0">
              <a:latin typeface="Arial" pitchFamily="34" charset="0"/>
              <a:cs typeface="Arial" pitchFamily="34" charset="0"/>
            </a:endParaRPr>
          </a:p>
        </p:txBody>
      </p:sp>
      <p:sp>
        <p:nvSpPr>
          <p:cNvPr id="30" name="Rounded Rectangle 29"/>
          <p:cNvSpPr/>
          <p:nvPr/>
        </p:nvSpPr>
        <p:spPr>
          <a:xfrm>
            <a:off x="4984142" y="4355987"/>
            <a:ext cx="1005840" cy="826936"/>
          </a:xfrm>
          <a:prstGeom prst="roundRect">
            <a:avLst/>
          </a:prstGeom>
          <a:ln w="3175"/>
          <a:effectLst>
            <a:innerShdw blurRad="63500" dist="50800" dir="5400000">
              <a:prstClr val="black">
                <a:alpha val="50000"/>
              </a:prstClr>
            </a:innerShdw>
            <a:softEdge rad="31750"/>
          </a:effectLst>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000" dirty="0" smtClean="0">
                <a:latin typeface="Arial" pitchFamily="34" charset="0"/>
                <a:cs typeface="Arial" pitchFamily="34" charset="0"/>
              </a:rPr>
              <a:t>Stable?</a:t>
            </a:r>
            <a:endParaRPr lang="en-US" sz="1000" dirty="0">
              <a:latin typeface="Arial" pitchFamily="34" charset="0"/>
              <a:cs typeface="Arial" pitchFamily="34" charset="0"/>
            </a:endParaRPr>
          </a:p>
        </p:txBody>
      </p:sp>
      <p:sp>
        <p:nvSpPr>
          <p:cNvPr id="31" name="Rounded Rectangle 30"/>
          <p:cNvSpPr/>
          <p:nvPr/>
        </p:nvSpPr>
        <p:spPr>
          <a:xfrm>
            <a:off x="6315323" y="4355986"/>
            <a:ext cx="1005840" cy="826936"/>
          </a:xfrm>
          <a:prstGeom prst="roundRect">
            <a:avLst/>
          </a:prstGeom>
          <a:solidFill>
            <a:srgbClr val="FFFF99"/>
          </a:solidFill>
          <a:ln w="3175">
            <a:solidFill>
              <a:srgbClr val="FFFF00"/>
            </a:solidFill>
          </a:ln>
          <a:effectLst>
            <a:innerShdw blurRad="63500" dist="50800" dir="5400000">
              <a:prstClr val="black">
                <a:alpha val="50000"/>
              </a:prstClr>
            </a:innerShdw>
            <a:softEdge rad="31750"/>
          </a:effectLst>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000" dirty="0" smtClean="0">
                <a:latin typeface="Arial" pitchFamily="34" charset="0"/>
                <a:cs typeface="Arial" pitchFamily="34" charset="0"/>
              </a:rPr>
              <a:t>Medium</a:t>
            </a:r>
            <a:endParaRPr lang="en-US" sz="1000" dirty="0">
              <a:latin typeface="Arial" pitchFamily="34" charset="0"/>
              <a:cs typeface="Arial" pitchFamily="34" charset="0"/>
            </a:endParaRPr>
          </a:p>
        </p:txBody>
      </p:sp>
      <p:sp>
        <p:nvSpPr>
          <p:cNvPr id="32" name="Rounded Rectangle 31"/>
          <p:cNvSpPr/>
          <p:nvPr/>
        </p:nvSpPr>
        <p:spPr>
          <a:xfrm>
            <a:off x="7646504" y="4355988"/>
            <a:ext cx="1005840" cy="826936"/>
          </a:xfrm>
          <a:prstGeom prst="roundRect">
            <a:avLst/>
          </a:prstGeom>
          <a:ln w="3175"/>
          <a:effectLst>
            <a:innerShdw blurRad="63500" dist="50800" dir="5400000">
              <a:prstClr val="black">
                <a:alpha val="50000"/>
              </a:prstClr>
            </a:innerShdw>
            <a:softEdge rad="31750"/>
          </a:effectLst>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000" dirty="0" smtClean="0">
                <a:latin typeface="Arial" pitchFamily="34" charset="0"/>
                <a:cs typeface="Arial" pitchFamily="34" charset="0"/>
              </a:rPr>
              <a:t>Very likely</a:t>
            </a:r>
            <a:endParaRPr lang="en-US" sz="1000" dirty="0">
              <a:latin typeface="Arial" pitchFamily="34" charset="0"/>
              <a:cs typeface="Arial" pitchFamily="34" charset="0"/>
            </a:endParaRPr>
          </a:p>
        </p:txBody>
      </p:sp>
      <p:cxnSp>
        <p:nvCxnSpPr>
          <p:cNvPr id="34" name="Straight Connector 33"/>
          <p:cNvCxnSpPr/>
          <p:nvPr/>
        </p:nvCxnSpPr>
        <p:spPr>
          <a:xfrm>
            <a:off x="2161428" y="1983850"/>
            <a:ext cx="31806" cy="3383281"/>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3490621" y="1983850"/>
            <a:ext cx="31806" cy="3383281"/>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4811863" y="1983850"/>
            <a:ext cx="31806" cy="3383281"/>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6125154" y="1983850"/>
            <a:ext cx="31806" cy="3383281"/>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7446396" y="1983850"/>
            <a:ext cx="31806" cy="3383281"/>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8767637" y="1983850"/>
            <a:ext cx="31806" cy="3383281"/>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025988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w="9525" algn="ctr">
            <a:noFill/>
            <a:miter lim="800000"/>
            <a:headEnd/>
            <a:tailEnd/>
          </a:ln>
          <a:effectLst/>
        </p:spPr>
        <p:txBody>
          <a:bodyPr vert="horz" wrap="square" lIns="274320" tIns="36576" rIns="0" bIns="0" numCol="1" anchor="ctr" anchorCtr="0" compatLnSpc="1">
            <a:prstTxWarp prst="textNoShape">
              <a:avLst/>
            </a:prstTxWarp>
          </a:bodyPr>
          <a:lstStyle/>
          <a:p>
            <a:r>
              <a:rPr lang="en-US" b="0" dirty="0" smtClean="0">
                <a:solidFill>
                  <a:srgbClr val="0098C7"/>
                </a:solidFill>
              </a:rPr>
              <a:t>Key considerations for solution approach</a:t>
            </a:r>
            <a:endParaRPr lang="en-US" b="0" dirty="0">
              <a:solidFill>
                <a:srgbClr val="0098C7"/>
              </a:solidFill>
            </a:endParaRPr>
          </a:p>
        </p:txBody>
      </p:sp>
      <p:sp>
        <p:nvSpPr>
          <p:cNvPr id="7" name="Rectangle 6"/>
          <p:cNvSpPr/>
          <p:nvPr/>
        </p:nvSpPr>
        <p:spPr>
          <a:xfrm>
            <a:off x="475752" y="2174681"/>
            <a:ext cx="1566407" cy="675861"/>
          </a:xfrm>
          <a:prstGeom prst="rect">
            <a:avLst/>
          </a:prstGeom>
          <a:solidFill>
            <a:schemeClr val="accent6">
              <a:lumMod val="20000"/>
              <a:lumOff val="80000"/>
            </a:schemeClr>
          </a:solidFill>
          <a:ln w="3175">
            <a:prstDash val="sysDot"/>
          </a:ln>
        </p:spPr>
        <p:style>
          <a:lnRef idx="2">
            <a:schemeClr val="accent4"/>
          </a:lnRef>
          <a:fillRef idx="1">
            <a:schemeClr val="lt1"/>
          </a:fillRef>
          <a:effectRef idx="0">
            <a:schemeClr val="accent4"/>
          </a:effectRef>
          <a:fontRef idx="minor">
            <a:schemeClr val="dk1"/>
          </a:fontRef>
        </p:style>
        <p:txBody>
          <a:bodyPr rtlCol="0" anchor="ctr"/>
          <a:lstStyle/>
          <a:p>
            <a:pPr algn="r"/>
            <a:r>
              <a:rPr lang="en-US" sz="1200" i="1" dirty="0" smtClean="0">
                <a:latin typeface="Arial" pitchFamily="34" charset="0"/>
                <a:cs typeface="Arial" pitchFamily="34" charset="0"/>
              </a:rPr>
              <a:t>CRM</a:t>
            </a:r>
            <a:endParaRPr lang="en-US" sz="1200" i="1" dirty="0">
              <a:latin typeface="Arial" pitchFamily="34" charset="0"/>
              <a:cs typeface="Arial" pitchFamily="34" charset="0"/>
            </a:endParaRPr>
          </a:p>
        </p:txBody>
      </p:sp>
      <p:sp>
        <p:nvSpPr>
          <p:cNvPr id="8" name="Rectangle 7"/>
          <p:cNvSpPr/>
          <p:nvPr/>
        </p:nvSpPr>
        <p:spPr>
          <a:xfrm>
            <a:off x="475752" y="3307079"/>
            <a:ext cx="1566407" cy="675861"/>
          </a:xfrm>
          <a:prstGeom prst="rect">
            <a:avLst/>
          </a:prstGeom>
          <a:solidFill>
            <a:schemeClr val="accent6">
              <a:lumMod val="20000"/>
              <a:lumOff val="80000"/>
            </a:schemeClr>
          </a:solidFill>
          <a:ln w="3175">
            <a:prstDash val="sysDot"/>
          </a:ln>
        </p:spPr>
        <p:style>
          <a:lnRef idx="2">
            <a:schemeClr val="accent4"/>
          </a:lnRef>
          <a:fillRef idx="1">
            <a:schemeClr val="lt1"/>
          </a:fillRef>
          <a:effectRef idx="0">
            <a:schemeClr val="accent4"/>
          </a:effectRef>
          <a:fontRef idx="minor">
            <a:schemeClr val="dk1"/>
          </a:fontRef>
        </p:style>
        <p:txBody>
          <a:bodyPr rtlCol="0" anchor="ctr"/>
          <a:lstStyle/>
          <a:p>
            <a:pPr algn="r"/>
            <a:r>
              <a:rPr lang="en-US" sz="1200" i="1" dirty="0" smtClean="0">
                <a:latin typeface="Arial" pitchFamily="34" charset="0"/>
                <a:cs typeface="Arial" pitchFamily="34" charset="0"/>
              </a:rPr>
              <a:t>ERP</a:t>
            </a:r>
            <a:endParaRPr lang="en-US" sz="1200" i="1" dirty="0">
              <a:latin typeface="Arial" pitchFamily="34" charset="0"/>
              <a:cs typeface="Arial" pitchFamily="34" charset="0"/>
            </a:endParaRPr>
          </a:p>
        </p:txBody>
      </p:sp>
      <p:sp>
        <p:nvSpPr>
          <p:cNvPr id="9" name="Rectangle 8"/>
          <p:cNvSpPr/>
          <p:nvPr/>
        </p:nvSpPr>
        <p:spPr>
          <a:xfrm>
            <a:off x="475752" y="4439477"/>
            <a:ext cx="1566407" cy="675861"/>
          </a:xfrm>
          <a:prstGeom prst="rect">
            <a:avLst/>
          </a:prstGeom>
          <a:solidFill>
            <a:schemeClr val="accent6">
              <a:lumMod val="20000"/>
              <a:lumOff val="80000"/>
            </a:schemeClr>
          </a:solidFill>
          <a:ln w="3175">
            <a:prstDash val="sysDot"/>
          </a:ln>
        </p:spPr>
        <p:style>
          <a:lnRef idx="2">
            <a:schemeClr val="accent4"/>
          </a:lnRef>
          <a:fillRef idx="1">
            <a:schemeClr val="lt1"/>
          </a:fillRef>
          <a:effectRef idx="0">
            <a:schemeClr val="accent4"/>
          </a:effectRef>
          <a:fontRef idx="minor">
            <a:schemeClr val="dk1"/>
          </a:fontRef>
        </p:style>
        <p:txBody>
          <a:bodyPr rtlCol="0" anchor="ctr"/>
          <a:lstStyle/>
          <a:p>
            <a:pPr algn="r"/>
            <a:r>
              <a:rPr lang="en-US" sz="1200" i="1" dirty="0" smtClean="0">
                <a:latin typeface="Arial" pitchFamily="34" charset="0"/>
                <a:cs typeface="Arial" pitchFamily="34" charset="0"/>
              </a:rPr>
              <a:t>Other Apps</a:t>
            </a:r>
            <a:endParaRPr lang="en-US" sz="1200" i="1" dirty="0">
              <a:latin typeface="Arial" pitchFamily="34" charset="0"/>
              <a:cs typeface="Arial" pitchFamily="34" charset="0"/>
            </a:endParaRPr>
          </a:p>
        </p:txBody>
      </p:sp>
      <p:sp>
        <p:nvSpPr>
          <p:cNvPr id="10" name="Rectangle 9"/>
          <p:cNvSpPr/>
          <p:nvPr/>
        </p:nvSpPr>
        <p:spPr>
          <a:xfrm>
            <a:off x="3673503" y="1401418"/>
            <a:ext cx="1005840" cy="549956"/>
          </a:xfrm>
          <a:prstGeom prst="rect">
            <a:avLst/>
          </a:prstGeom>
          <a:solidFill>
            <a:schemeClr val="accent6">
              <a:lumMod val="20000"/>
              <a:lumOff val="80000"/>
            </a:schemeClr>
          </a:solidFill>
          <a:ln w="3175">
            <a:solidFill>
              <a:srgbClr val="ACB7B2"/>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i="1" dirty="0" smtClean="0">
                <a:latin typeface="Arial" pitchFamily="34" charset="0"/>
                <a:cs typeface="Arial" pitchFamily="34" charset="0"/>
              </a:rPr>
              <a:t>Asks from Lattice</a:t>
            </a:r>
            <a:endParaRPr lang="en-US" sz="1200" i="1" dirty="0">
              <a:latin typeface="Arial" pitchFamily="34" charset="0"/>
              <a:cs typeface="Arial" pitchFamily="34" charset="0"/>
            </a:endParaRPr>
          </a:p>
        </p:txBody>
      </p:sp>
      <p:sp>
        <p:nvSpPr>
          <p:cNvPr id="11" name="Rectangle 10"/>
          <p:cNvSpPr/>
          <p:nvPr/>
        </p:nvSpPr>
        <p:spPr>
          <a:xfrm>
            <a:off x="2348948" y="1391478"/>
            <a:ext cx="1005840" cy="549956"/>
          </a:xfrm>
          <a:prstGeom prst="rect">
            <a:avLst/>
          </a:prstGeom>
          <a:solidFill>
            <a:schemeClr val="accent6">
              <a:lumMod val="20000"/>
              <a:lumOff val="80000"/>
            </a:schemeClr>
          </a:solidFill>
          <a:ln w="3175">
            <a:solidFill>
              <a:srgbClr val="ACB7B2"/>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i="1" dirty="0" smtClean="0">
                <a:latin typeface="Arial" pitchFamily="34" charset="0"/>
                <a:cs typeface="Arial" pitchFamily="34" charset="0"/>
              </a:rPr>
              <a:t>Solution</a:t>
            </a:r>
            <a:endParaRPr lang="en-US" sz="1200" i="1" dirty="0">
              <a:latin typeface="Arial" pitchFamily="34" charset="0"/>
              <a:cs typeface="Arial" pitchFamily="34" charset="0"/>
            </a:endParaRPr>
          </a:p>
        </p:txBody>
      </p:sp>
      <p:sp>
        <p:nvSpPr>
          <p:cNvPr id="12" name="Rectangle 11"/>
          <p:cNvSpPr/>
          <p:nvPr/>
        </p:nvSpPr>
        <p:spPr>
          <a:xfrm>
            <a:off x="4984143" y="1401418"/>
            <a:ext cx="1005840" cy="549956"/>
          </a:xfrm>
          <a:prstGeom prst="rect">
            <a:avLst/>
          </a:prstGeom>
          <a:solidFill>
            <a:schemeClr val="accent6">
              <a:lumMod val="20000"/>
              <a:lumOff val="80000"/>
            </a:schemeClr>
          </a:solidFill>
          <a:ln w="3175">
            <a:solidFill>
              <a:srgbClr val="ACB7B2"/>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i="1" dirty="0" err="1" smtClean="0">
                <a:latin typeface="Arial" pitchFamily="34" charset="0"/>
                <a:cs typeface="Arial" pitchFamily="34" charset="0"/>
              </a:rPr>
              <a:t>Capgemini</a:t>
            </a:r>
            <a:r>
              <a:rPr lang="en-US" sz="1200" i="1" dirty="0" smtClean="0">
                <a:latin typeface="Arial" pitchFamily="34" charset="0"/>
                <a:cs typeface="Arial" pitchFamily="34" charset="0"/>
              </a:rPr>
              <a:t> Team Structure</a:t>
            </a:r>
            <a:endParaRPr lang="en-US" sz="1200" i="1" dirty="0">
              <a:latin typeface="Arial" pitchFamily="34" charset="0"/>
              <a:cs typeface="Arial" pitchFamily="34" charset="0"/>
            </a:endParaRPr>
          </a:p>
        </p:txBody>
      </p:sp>
      <p:sp>
        <p:nvSpPr>
          <p:cNvPr id="13" name="Rectangle 12"/>
          <p:cNvSpPr/>
          <p:nvPr/>
        </p:nvSpPr>
        <p:spPr>
          <a:xfrm>
            <a:off x="6315324" y="1401418"/>
            <a:ext cx="1005840" cy="549956"/>
          </a:xfrm>
          <a:prstGeom prst="rect">
            <a:avLst/>
          </a:prstGeom>
          <a:solidFill>
            <a:schemeClr val="accent6">
              <a:lumMod val="20000"/>
              <a:lumOff val="80000"/>
            </a:schemeClr>
          </a:solidFill>
          <a:ln w="3175">
            <a:solidFill>
              <a:srgbClr val="ACB7B2"/>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i="1" dirty="0" smtClean="0">
                <a:latin typeface="Arial" pitchFamily="34" charset="0"/>
                <a:cs typeface="Arial" pitchFamily="34" charset="0"/>
              </a:rPr>
              <a:t>SLA Activation Period</a:t>
            </a:r>
            <a:endParaRPr lang="en-US" sz="1200" i="1" dirty="0">
              <a:latin typeface="Arial" pitchFamily="34" charset="0"/>
              <a:cs typeface="Arial" pitchFamily="34" charset="0"/>
            </a:endParaRPr>
          </a:p>
        </p:txBody>
      </p:sp>
      <p:sp>
        <p:nvSpPr>
          <p:cNvPr id="14" name="Rectangle 13"/>
          <p:cNvSpPr/>
          <p:nvPr/>
        </p:nvSpPr>
        <p:spPr>
          <a:xfrm>
            <a:off x="7646505" y="1391478"/>
            <a:ext cx="1005840" cy="549956"/>
          </a:xfrm>
          <a:prstGeom prst="rect">
            <a:avLst/>
          </a:prstGeom>
          <a:solidFill>
            <a:schemeClr val="accent6">
              <a:lumMod val="20000"/>
              <a:lumOff val="80000"/>
            </a:schemeClr>
          </a:solidFill>
          <a:ln w="3175">
            <a:solidFill>
              <a:srgbClr val="ACB7B2"/>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i="1" dirty="0" smtClean="0">
                <a:latin typeface="Arial" pitchFamily="34" charset="0"/>
                <a:cs typeface="Arial" pitchFamily="34" charset="0"/>
              </a:rPr>
              <a:t>Rebadging Impact</a:t>
            </a:r>
            <a:endParaRPr lang="en-US" sz="1200" i="1" dirty="0">
              <a:latin typeface="Arial" pitchFamily="34" charset="0"/>
              <a:cs typeface="Arial" pitchFamily="34" charset="0"/>
            </a:endParaRPr>
          </a:p>
        </p:txBody>
      </p:sp>
      <p:cxnSp>
        <p:nvCxnSpPr>
          <p:cNvPr id="15" name="Straight Connector 14"/>
          <p:cNvCxnSpPr/>
          <p:nvPr/>
        </p:nvCxnSpPr>
        <p:spPr>
          <a:xfrm>
            <a:off x="475751" y="1983850"/>
            <a:ext cx="8285259"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75751" y="3111610"/>
            <a:ext cx="8285259"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75751" y="4239370"/>
            <a:ext cx="8285259"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75751" y="5367131"/>
            <a:ext cx="8285259"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
        <p:nvSpPr>
          <p:cNvPr id="19" name="Rounded Rectangle 18"/>
          <p:cNvSpPr/>
          <p:nvPr/>
        </p:nvSpPr>
        <p:spPr>
          <a:xfrm>
            <a:off x="3673504" y="2093182"/>
            <a:ext cx="1005840" cy="860067"/>
          </a:xfrm>
          <a:prstGeom prst="roundRect">
            <a:avLst/>
          </a:prstGeom>
          <a:solidFill>
            <a:schemeClr val="bg1">
              <a:lumMod val="95000"/>
            </a:schemeClr>
          </a:solidFill>
          <a:ln w="3175"/>
          <a:effectLst>
            <a:innerShdw blurRad="63500" dist="50800" dir="5400000">
              <a:prstClr val="black">
                <a:alpha val="50000"/>
              </a:prstClr>
            </a:innerShdw>
            <a:softEdge rad="31750"/>
          </a:effectLst>
        </p:spPr>
        <p:style>
          <a:lnRef idx="2">
            <a:schemeClr val="accent4"/>
          </a:lnRef>
          <a:fillRef idx="1">
            <a:schemeClr val="lt1"/>
          </a:fillRef>
          <a:effectRef idx="0">
            <a:schemeClr val="accent4"/>
          </a:effectRef>
          <a:fontRef idx="minor">
            <a:schemeClr val="dk1"/>
          </a:fontRef>
        </p:style>
        <p:txBody>
          <a:bodyPr rtlCol="0" anchor="ctr"/>
          <a:lstStyle/>
          <a:p>
            <a:pPr algn="ctr"/>
            <a:r>
              <a:rPr lang="en-US" sz="1000" dirty="0" smtClean="0">
                <a:latin typeface="Arial" pitchFamily="34" charset="0"/>
                <a:cs typeface="Arial" pitchFamily="34" charset="0"/>
              </a:rPr>
              <a:t>Documents,</a:t>
            </a:r>
          </a:p>
          <a:p>
            <a:pPr algn="ctr"/>
            <a:r>
              <a:rPr lang="en-US" sz="1000" dirty="0" smtClean="0">
                <a:latin typeface="Arial" pitchFamily="34" charset="0"/>
                <a:cs typeface="Arial" pitchFamily="34" charset="0"/>
              </a:rPr>
              <a:t>Transition</a:t>
            </a:r>
            <a:endParaRPr lang="en-US" sz="1000" dirty="0">
              <a:latin typeface="Arial" pitchFamily="34" charset="0"/>
              <a:cs typeface="Arial" pitchFamily="34" charset="0"/>
            </a:endParaRPr>
          </a:p>
        </p:txBody>
      </p:sp>
      <p:sp>
        <p:nvSpPr>
          <p:cNvPr id="20" name="Rounded Rectangle 19"/>
          <p:cNvSpPr/>
          <p:nvPr/>
        </p:nvSpPr>
        <p:spPr>
          <a:xfrm>
            <a:off x="2348948" y="2083242"/>
            <a:ext cx="1005840" cy="860067"/>
          </a:xfrm>
          <a:prstGeom prst="roundRect">
            <a:avLst/>
          </a:prstGeom>
          <a:solidFill>
            <a:schemeClr val="bg1">
              <a:lumMod val="95000"/>
            </a:schemeClr>
          </a:solidFill>
          <a:ln w="3175"/>
          <a:effectLst>
            <a:innerShdw blurRad="63500" dist="50800" dir="5400000">
              <a:prstClr val="black">
                <a:alpha val="50000"/>
              </a:prstClr>
            </a:innerShdw>
            <a:softEdge rad="31750"/>
          </a:effectLst>
        </p:spPr>
        <p:style>
          <a:lnRef idx="2">
            <a:schemeClr val="accent4"/>
          </a:lnRef>
          <a:fillRef idx="1">
            <a:schemeClr val="lt1"/>
          </a:fillRef>
          <a:effectRef idx="0">
            <a:schemeClr val="accent4"/>
          </a:effectRef>
          <a:fontRef idx="minor">
            <a:schemeClr val="dk1"/>
          </a:fontRef>
        </p:style>
        <p:txBody>
          <a:bodyPr rtlCol="0" anchor="ctr"/>
          <a:lstStyle/>
          <a:p>
            <a:pPr algn="ctr"/>
            <a:r>
              <a:rPr lang="en-US" sz="1000" dirty="0" smtClean="0">
                <a:latin typeface="Arial" pitchFamily="34" charset="0"/>
                <a:cs typeface="Arial" pitchFamily="34" charset="0"/>
              </a:rPr>
              <a:t>Support, Enhance</a:t>
            </a:r>
            <a:endParaRPr lang="en-US" sz="1000" dirty="0">
              <a:latin typeface="Arial" pitchFamily="34" charset="0"/>
              <a:cs typeface="Arial" pitchFamily="34" charset="0"/>
            </a:endParaRPr>
          </a:p>
        </p:txBody>
      </p:sp>
      <p:sp>
        <p:nvSpPr>
          <p:cNvPr id="21" name="Rounded Rectangle 20"/>
          <p:cNvSpPr/>
          <p:nvPr/>
        </p:nvSpPr>
        <p:spPr>
          <a:xfrm>
            <a:off x="4984143" y="2083241"/>
            <a:ext cx="1005840" cy="860067"/>
          </a:xfrm>
          <a:prstGeom prst="roundRect">
            <a:avLst/>
          </a:prstGeom>
          <a:solidFill>
            <a:schemeClr val="bg1">
              <a:lumMod val="95000"/>
            </a:schemeClr>
          </a:solidFill>
          <a:ln w="3175"/>
          <a:effectLst>
            <a:innerShdw blurRad="63500" dist="50800" dir="5400000">
              <a:prstClr val="black">
                <a:alpha val="50000"/>
              </a:prstClr>
            </a:innerShdw>
            <a:softEdge rad="31750"/>
          </a:effectLst>
        </p:spPr>
        <p:style>
          <a:lnRef idx="2">
            <a:schemeClr val="accent4"/>
          </a:lnRef>
          <a:fillRef idx="1">
            <a:schemeClr val="lt1"/>
          </a:fillRef>
          <a:effectRef idx="0">
            <a:schemeClr val="accent4"/>
          </a:effectRef>
          <a:fontRef idx="minor">
            <a:schemeClr val="dk1"/>
          </a:fontRef>
        </p:style>
        <p:txBody>
          <a:bodyPr rtlCol="0" anchor="ctr"/>
          <a:lstStyle/>
          <a:p>
            <a:pPr algn="ctr"/>
            <a:r>
              <a:rPr lang="en-US" sz="1000" dirty="0" smtClean="0">
                <a:latin typeface="Arial" pitchFamily="34" charset="0"/>
                <a:cs typeface="Arial" pitchFamily="34" charset="0"/>
              </a:rPr>
              <a:t>Fixed team</a:t>
            </a:r>
            <a:endParaRPr lang="en-US" sz="1000" dirty="0">
              <a:latin typeface="Arial" pitchFamily="34" charset="0"/>
              <a:cs typeface="Arial" pitchFamily="34" charset="0"/>
            </a:endParaRPr>
          </a:p>
        </p:txBody>
      </p:sp>
      <p:sp>
        <p:nvSpPr>
          <p:cNvPr id="22" name="Rounded Rectangle 21"/>
          <p:cNvSpPr/>
          <p:nvPr/>
        </p:nvSpPr>
        <p:spPr>
          <a:xfrm>
            <a:off x="6315324" y="2083240"/>
            <a:ext cx="1005840" cy="860067"/>
          </a:xfrm>
          <a:prstGeom prst="roundRect">
            <a:avLst/>
          </a:prstGeom>
          <a:solidFill>
            <a:schemeClr val="bg1">
              <a:lumMod val="95000"/>
            </a:schemeClr>
          </a:solidFill>
          <a:ln w="3175"/>
          <a:effectLst>
            <a:innerShdw blurRad="63500" dist="50800" dir="5400000">
              <a:prstClr val="black">
                <a:alpha val="50000"/>
              </a:prstClr>
            </a:innerShdw>
            <a:softEdge rad="31750"/>
          </a:effectLst>
        </p:spPr>
        <p:style>
          <a:lnRef idx="2">
            <a:schemeClr val="accent4"/>
          </a:lnRef>
          <a:fillRef idx="1">
            <a:schemeClr val="lt1"/>
          </a:fillRef>
          <a:effectRef idx="0">
            <a:schemeClr val="accent4"/>
          </a:effectRef>
          <a:fontRef idx="minor">
            <a:schemeClr val="dk1"/>
          </a:fontRef>
        </p:style>
        <p:txBody>
          <a:bodyPr rtlCol="0" anchor="ctr"/>
          <a:lstStyle/>
          <a:p>
            <a:pPr algn="ctr"/>
            <a:r>
              <a:rPr lang="en-US" sz="1000" dirty="0" smtClean="0">
                <a:latin typeface="Arial" pitchFamily="34" charset="0"/>
                <a:cs typeface="Arial" pitchFamily="34" charset="0"/>
              </a:rPr>
              <a:t>Month 3 onwards</a:t>
            </a:r>
            <a:endParaRPr lang="en-US" sz="1000" dirty="0">
              <a:latin typeface="Arial" pitchFamily="34" charset="0"/>
              <a:cs typeface="Arial" pitchFamily="34" charset="0"/>
            </a:endParaRPr>
          </a:p>
        </p:txBody>
      </p:sp>
      <p:sp>
        <p:nvSpPr>
          <p:cNvPr id="23" name="Rounded Rectangle 22"/>
          <p:cNvSpPr/>
          <p:nvPr/>
        </p:nvSpPr>
        <p:spPr>
          <a:xfrm>
            <a:off x="7646505" y="2083242"/>
            <a:ext cx="1005840" cy="860067"/>
          </a:xfrm>
          <a:prstGeom prst="roundRect">
            <a:avLst/>
          </a:prstGeom>
          <a:solidFill>
            <a:schemeClr val="bg1">
              <a:lumMod val="95000"/>
            </a:schemeClr>
          </a:solidFill>
          <a:ln w="3175"/>
          <a:effectLst>
            <a:innerShdw blurRad="63500" dist="50800" dir="5400000">
              <a:prstClr val="black">
                <a:alpha val="50000"/>
              </a:prstClr>
            </a:innerShdw>
            <a:softEdge rad="31750"/>
          </a:effectLst>
        </p:spPr>
        <p:style>
          <a:lnRef idx="2">
            <a:schemeClr val="accent4"/>
          </a:lnRef>
          <a:fillRef idx="1">
            <a:schemeClr val="lt1"/>
          </a:fillRef>
          <a:effectRef idx="0">
            <a:schemeClr val="accent4"/>
          </a:effectRef>
          <a:fontRef idx="minor">
            <a:schemeClr val="dk1"/>
          </a:fontRef>
        </p:style>
        <p:txBody>
          <a:bodyPr rtlCol="0" anchor="ctr"/>
          <a:lstStyle/>
          <a:p>
            <a:pPr algn="ctr"/>
            <a:r>
              <a:rPr lang="en-US" sz="1000" dirty="0" smtClean="0">
                <a:latin typeface="Arial" pitchFamily="34" charset="0"/>
                <a:cs typeface="Arial" pitchFamily="34" charset="0"/>
              </a:rPr>
              <a:t>None</a:t>
            </a:r>
            <a:endParaRPr lang="en-US" sz="1000" dirty="0">
              <a:latin typeface="Arial" pitchFamily="34" charset="0"/>
              <a:cs typeface="Arial" pitchFamily="34" charset="0"/>
            </a:endParaRPr>
          </a:p>
        </p:txBody>
      </p:sp>
      <p:sp>
        <p:nvSpPr>
          <p:cNvPr id="24" name="Rounded Rectangle 23"/>
          <p:cNvSpPr/>
          <p:nvPr/>
        </p:nvSpPr>
        <p:spPr>
          <a:xfrm>
            <a:off x="3673503" y="3225579"/>
            <a:ext cx="1005840" cy="860067"/>
          </a:xfrm>
          <a:prstGeom prst="roundRect">
            <a:avLst/>
          </a:prstGeom>
          <a:solidFill>
            <a:schemeClr val="bg1">
              <a:lumMod val="95000"/>
            </a:schemeClr>
          </a:solidFill>
          <a:ln w="3175"/>
          <a:effectLst>
            <a:innerShdw blurRad="63500" dist="50800" dir="5400000">
              <a:prstClr val="black">
                <a:alpha val="50000"/>
              </a:prstClr>
            </a:innerShdw>
            <a:softEdge rad="31750"/>
          </a:effectLst>
        </p:spPr>
        <p:style>
          <a:lnRef idx="2">
            <a:schemeClr val="accent4"/>
          </a:lnRef>
          <a:fillRef idx="1">
            <a:schemeClr val="lt1"/>
          </a:fillRef>
          <a:effectRef idx="0">
            <a:schemeClr val="accent4"/>
          </a:effectRef>
          <a:fontRef idx="minor">
            <a:schemeClr val="dk1"/>
          </a:fontRef>
        </p:style>
        <p:txBody>
          <a:bodyPr rtlCol="0" anchor="ctr"/>
          <a:lstStyle/>
          <a:p>
            <a:pPr algn="ctr"/>
            <a:r>
              <a:rPr lang="en-US" sz="1000" dirty="0" smtClean="0">
                <a:latin typeface="Arial" pitchFamily="34" charset="0"/>
                <a:cs typeface="Arial" pitchFamily="34" charset="0"/>
              </a:rPr>
              <a:t>Documents,</a:t>
            </a:r>
          </a:p>
          <a:p>
            <a:pPr algn="ctr"/>
            <a:r>
              <a:rPr lang="en-US" sz="1000" dirty="0" err="1" smtClean="0">
                <a:latin typeface="Arial" pitchFamily="34" charset="0"/>
                <a:cs typeface="Arial" pitchFamily="34" charset="0"/>
              </a:rPr>
              <a:t>Hypercare</a:t>
            </a:r>
            <a:r>
              <a:rPr lang="en-US" sz="1000" dirty="0" smtClean="0">
                <a:latin typeface="Arial" pitchFamily="34" charset="0"/>
                <a:cs typeface="Arial" pitchFamily="34" charset="0"/>
              </a:rPr>
              <a:t>,</a:t>
            </a:r>
          </a:p>
          <a:p>
            <a:pPr algn="ctr"/>
            <a:r>
              <a:rPr lang="en-US" sz="1000" dirty="0" smtClean="0">
                <a:latin typeface="Arial" pitchFamily="34" charset="0"/>
                <a:cs typeface="Arial" pitchFamily="34" charset="0"/>
              </a:rPr>
              <a:t>Transition</a:t>
            </a:r>
            <a:endParaRPr lang="en-US" sz="1000" dirty="0">
              <a:latin typeface="Arial" pitchFamily="34" charset="0"/>
              <a:cs typeface="Arial" pitchFamily="34" charset="0"/>
            </a:endParaRPr>
          </a:p>
        </p:txBody>
      </p:sp>
      <p:sp>
        <p:nvSpPr>
          <p:cNvPr id="25" name="Rounded Rectangle 24"/>
          <p:cNvSpPr/>
          <p:nvPr/>
        </p:nvSpPr>
        <p:spPr>
          <a:xfrm>
            <a:off x="2348947" y="3215639"/>
            <a:ext cx="1005840" cy="860067"/>
          </a:xfrm>
          <a:prstGeom prst="roundRect">
            <a:avLst/>
          </a:prstGeom>
          <a:solidFill>
            <a:schemeClr val="bg1">
              <a:lumMod val="95000"/>
            </a:schemeClr>
          </a:solidFill>
          <a:ln w="3175"/>
          <a:effectLst>
            <a:innerShdw blurRad="63500" dist="50800" dir="5400000">
              <a:prstClr val="black">
                <a:alpha val="50000"/>
              </a:prstClr>
            </a:innerShdw>
            <a:softEdge rad="31750"/>
          </a:effectLst>
        </p:spPr>
        <p:style>
          <a:lnRef idx="2">
            <a:schemeClr val="accent4"/>
          </a:lnRef>
          <a:fillRef idx="1">
            <a:schemeClr val="lt1"/>
          </a:fillRef>
          <a:effectRef idx="0">
            <a:schemeClr val="accent4"/>
          </a:effectRef>
          <a:fontRef idx="minor">
            <a:schemeClr val="dk1"/>
          </a:fontRef>
        </p:style>
        <p:txBody>
          <a:bodyPr rtlCol="0" anchor="ctr"/>
          <a:lstStyle/>
          <a:p>
            <a:pPr algn="ctr"/>
            <a:r>
              <a:rPr lang="en-US" sz="1000" dirty="0" smtClean="0">
                <a:latin typeface="Arial" pitchFamily="34" charset="0"/>
                <a:cs typeface="Arial" pitchFamily="34" charset="0"/>
              </a:rPr>
              <a:t>Stabilize,</a:t>
            </a:r>
          </a:p>
          <a:p>
            <a:pPr algn="ctr"/>
            <a:r>
              <a:rPr lang="en-US" sz="1000" dirty="0" smtClean="0">
                <a:latin typeface="Arial" pitchFamily="34" charset="0"/>
                <a:cs typeface="Arial" pitchFamily="34" charset="0"/>
              </a:rPr>
              <a:t>Support,</a:t>
            </a:r>
          </a:p>
          <a:p>
            <a:pPr algn="ctr"/>
            <a:r>
              <a:rPr lang="en-US" sz="1000" dirty="0" smtClean="0">
                <a:latin typeface="Arial" pitchFamily="34" charset="0"/>
                <a:cs typeface="Arial" pitchFamily="34" charset="0"/>
              </a:rPr>
              <a:t>Enhance</a:t>
            </a:r>
            <a:endParaRPr lang="en-US" sz="1000" dirty="0">
              <a:latin typeface="Arial" pitchFamily="34" charset="0"/>
              <a:cs typeface="Arial" pitchFamily="34" charset="0"/>
            </a:endParaRPr>
          </a:p>
        </p:txBody>
      </p:sp>
      <p:sp>
        <p:nvSpPr>
          <p:cNvPr id="26" name="Rounded Rectangle 25"/>
          <p:cNvSpPr/>
          <p:nvPr/>
        </p:nvSpPr>
        <p:spPr>
          <a:xfrm>
            <a:off x="4984142" y="3215638"/>
            <a:ext cx="1005840" cy="860067"/>
          </a:xfrm>
          <a:prstGeom prst="roundRect">
            <a:avLst/>
          </a:prstGeom>
          <a:solidFill>
            <a:schemeClr val="bg1">
              <a:lumMod val="95000"/>
            </a:schemeClr>
          </a:solidFill>
          <a:ln w="3175"/>
          <a:effectLst>
            <a:innerShdw blurRad="63500" dist="50800" dir="5400000">
              <a:prstClr val="black">
                <a:alpha val="50000"/>
              </a:prstClr>
            </a:innerShdw>
            <a:softEdge rad="31750"/>
          </a:effectLst>
        </p:spPr>
        <p:style>
          <a:lnRef idx="2">
            <a:schemeClr val="accent4"/>
          </a:lnRef>
          <a:fillRef idx="1">
            <a:schemeClr val="lt1"/>
          </a:fillRef>
          <a:effectRef idx="0">
            <a:schemeClr val="accent4"/>
          </a:effectRef>
          <a:fontRef idx="minor">
            <a:schemeClr val="dk1"/>
          </a:fontRef>
        </p:style>
        <p:txBody>
          <a:bodyPr rtlCol="0" anchor="ctr"/>
          <a:lstStyle/>
          <a:p>
            <a:pPr algn="ctr"/>
            <a:r>
              <a:rPr lang="en-US" sz="1000" dirty="0">
                <a:latin typeface="Arial" pitchFamily="34" charset="0"/>
                <a:cs typeface="Arial" pitchFamily="34" charset="0"/>
              </a:rPr>
              <a:t>Core &amp; Flex </a:t>
            </a:r>
            <a:r>
              <a:rPr lang="en-US" sz="1000" dirty="0" smtClean="0">
                <a:latin typeface="Arial" pitchFamily="34" charset="0"/>
                <a:cs typeface="Arial" pitchFamily="34" charset="0"/>
              </a:rPr>
              <a:t>team</a:t>
            </a:r>
            <a:endParaRPr lang="en-US" sz="1000" dirty="0">
              <a:latin typeface="Arial" pitchFamily="34" charset="0"/>
              <a:cs typeface="Arial" pitchFamily="34" charset="0"/>
            </a:endParaRPr>
          </a:p>
        </p:txBody>
      </p:sp>
      <p:sp>
        <p:nvSpPr>
          <p:cNvPr id="27" name="Rounded Rectangle 26"/>
          <p:cNvSpPr/>
          <p:nvPr/>
        </p:nvSpPr>
        <p:spPr>
          <a:xfrm>
            <a:off x="6315323" y="3215637"/>
            <a:ext cx="1005840" cy="860067"/>
          </a:xfrm>
          <a:prstGeom prst="roundRect">
            <a:avLst/>
          </a:prstGeom>
          <a:solidFill>
            <a:schemeClr val="bg1">
              <a:lumMod val="95000"/>
            </a:schemeClr>
          </a:solidFill>
          <a:ln w="3175"/>
          <a:effectLst>
            <a:innerShdw blurRad="63500" dist="50800" dir="5400000">
              <a:prstClr val="black">
                <a:alpha val="50000"/>
              </a:prstClr>
            </a:innerShdw>
            <a:softEdge rad="31750"/>
          </a:effectLst>
        </p:spPr>
        <p:style>
          <a:lnRef idx="2">
            <a:schemeClr val="accent4"/>
          </a:lnRef>
          <a:fillRef idx="1">
            <a:schemeClr val="lt1"/>
          </a:fillRef>
          <a:effectRef idx="0">
            <a:schemeClr val="accent4"/>
          </a:effectRef>
          <a:fontRef idx="minor">
            <a:schemeClr val="dk1"/>
          </a:fontRef>
        </p:style>
        <p:txBody>
          <a:bodyPr rtlCol="0" anchor="ctr"/>
          <a:lstStyle/>
          <a:p>
            <a:pPr algn="ctr"/>
            <a:r>
              <a:rPr lang="en-US" sz="1000" dirty="0" smtClean="0">
                <a:latin typeface="Arial" pitchFamily="34" charset="0"/>
                <a:cs typeface="Arial" pitchFamily="34" charset="0"/>
              </a:rPr>
              <a:t>Month 9 after deployment</a:t>
            </a:r>
            <a:endParaRPr lang="en-US" sz="1000" dirty="0">
              <a:latin typeface="Arial" pitchFamily="34" charset="0"/>
              <a:cs typeface="Arial" pitchFamily="34" charset="0"/>
            </a:endParaRPr>
          </a:p>
        </p:txBody>
      </p:sp>
      <p:sp>
        <p:nvSpPr>
          <p:cNvPr id="28" name="Rounded Rectangle 27"/>
          <p:cNvSpPr/>
          <p:nvPr/>
        </p:nvSpPr>
        <p:spPr>
          <a:xfrm>
            <a:off x="7646504" y="3215639"/>
            <a:ext cx="1005840" cy="860067"/>
          </a:xfrm>
          <a:prstGeom prst="roundRect">
            <a:avLst/>
          </a:prstGeom>
          <a:solidFill>
            <a:schemeClr val="bg1">
              <a:lumMod val="95000"/>
            </a:schemeClr>
          </a:solidFill>
          <a:ln w="3175"/>
          <a:effectLst>
            <a:innerShdw blurRad="63500" dist="50800" dir="5400000">
              <a:prstClr val="black">
                <a:alpha val="50000"/>
              </a:prstClr>
            </a:innerShdw>
            <a:softEdge rad="31750"/>
          </a:effectLst>
        </p:spPr>
        <p:style>
          <a:lnRef idx="2">
            <a:schemeClr val="accent4"/>
          </a:lnRef>
          <a:fillRef idx="1">
            <a:schemeClr val="lt1"/>
          </a:fillRef>
          <a:effectRef idx="0">
            <a:schemeClr val="accent4"/>
          </a:effectRef>
          <a:fontRef idx="minor">
            <a:schemeClr val="dk1"/>
          </a:fontRef>
        </p:style>
        <p:txBody>
          <a:bodyPr rtlCol="0" anchor="ctr"/>
          <a:lstStyle/>
          <a:p>
            <a:pPr algn="ctr"/>
            <a:r>
              <a:rPr lang="en-US" sz="1000" dirty="0" smtClean="0">
                <a:latin typeface="Arial" pitchFamily="34" charset="0"/>
                <a:cs typeface="Arial" pitchFamily="34" charset="0"/>
              </a:rPr>
              <a:t>1-2 Finance resources</a:t>
            </a:r>
            <a:endParaRPr lang="en-US" sz="1000" dirty="0">
              <a:latin typeface="Arial" pitchFamily="34" charset="0"/>
              <a:cs typeface="Arial" pitchFamily="34" charset="0"/>
            </a:endParaRPr>
          </a:p>
        </p:txBody>
      </p:sp>
      <p:sp>
        <p:nvSpPr>
          <p:cNvPr id="29" name="Rounded Rectangle 28"/>
          <p:cNvSpPr/>
          <p:nvPr/>
        </p:nvSpPr>
        <p:spPr>
          <a:xfrm>
            <a:off x="3673503" y="4357977"/>
            <a:ext cx="1005840" cy="860067"/>
          </a:xfrm>
          <a:prstGeom prst="roundRect">
            <a:avLst/>
          </a:prstGeom>
          <a:solidFill>
            <a:schemeClr val="bg1">
              <a:lumMod val="95000"/>
            </a:schemeClr>
          </a:solidFill>
          <a:ln w="3175"/>
          <a:effectLst>
            <a:innerShdw blurRad="63500" dist="50800" dir="5400000">
              <a:prstClr val="black">
                <a:alpha val="50000"/>
              </a:prstClr>
            </a:innerShdw>
            <a:softEdge rad="31750"/>
          </a:effectLst>
        </p:spPr>
        <p:style>
          <a:lnRef idx="2">
            <a:schemeClr val="accent4"/>
          </a:lnRef>
          <a:fillRef idx="1">
            <a:schemeClr val="lt1"/>
          </a:fillRef>
          <a:effectRef idx="0">
            <a:schemeClr val="accent4"/>
          </a:effectRef>
          <a:fontRef idx="minor">
            <a:schemeClr val="dk1"/>
          </a:fontRef>
        </p:style>
        <p:txBody>
          <a:bodyPr rtlCol="0" anchor="ctr"/>
          <a:lstStyle/>
          <a:p>
            <a:pPr algn="ctr"/>
            <a:r>
              <a:rPr lang="en-US" sz="1000" dirty="0" smtClean="0">
                <a:latin typeface="Arial" pitchFamily="34" charset="0"/>
                <a:cs typeface="Arial" pitchFamily="34" charset="0"/>
              </a:rPr>
              <a:t>Documents,</a:t>
            </a:r>
          </a:p>
          <a:p>
            <a:pPr algn="ctr"/>
            <a:r>
              <a:rPr lang="en-US" sz="1000" dirty="0" smtClean="0">
                <a:latin typeface="Arial" pitchFamily="34" charset="0"/>
                <a:cs typeface="Arial" pitchFamily="34" charset="0"/>
              </a:rPr>
              <a:t>Transition</a:t>
            </a:r>
            <a:endParaRPr lang="en-US" sz="1000" dirty="0">
              <a:latin typeface="Arial" pitchFamily="34" charset="0"/>
              <a:cs typeface="Arial" pitchFamily="34" charset="0"/>
            </a:endParaRPr>
          </a:p>
        </p:txBody>
      </p:sp>
      <p:sp>
        <p:nvSpPr>
          <p:cNvPr id="30" name="Rounded Rectangle 29"/>
          <p:cNvSpPr/>
          <p:nvPr/>
        </p:nvSpPr>
        <p:spPr>
          <a:xfrm>
            <a:off x="2348947" y="4348037"/>
            <a:ext cx="1005840" cy="860067"/>
          </a:xfrm>
          <a:prstGeom prst="roundRect">
            <a:avLst/>
          </a:prstGeom>
          <a:solidFill>
            <a:schemeClr val="bg1">
              <a:lumMod val="95000"/>
            </a:schemeClr>
          </a:solidFill>
          <a:ln w="3175"/>
          <a:effectLst>
            <a:innerShdw blurRad="63500" dist="50800" dir="5400000">
              <a:prstClr val="black">
                <a:alpha val="50000"/>
              </a:prstClr>
            </a:innerShdw>
            <a:softEdge rad="31750"/>
          </a:effectLst>
        </p:spPr>
        <p:style>
          <a:lnRef idx="2">
            <a:schemeClr val="accent4"/>
          </a:lnRef>
          <a:fillRef idx="1">
            <a:schemeClr val="lt1"/>
          </a:fillRef>
          <a:effectRef idx="0">
            <a:schemeClr val="accent4"/>
          </a:effectRef>
          <a:fontRef idx="minor">
            <a:schemeClr val="dk1"/>
          </a:fontRef>
        </p:style>
        <p:txBody>
          <a:bodyPr rtlCol="0" anchor="ctr"/>
          <a:lstStyle/>
          <a:p>
            <a:pPr algn="ctr"/>
            <a:r>
              <a:rPr lang="en-US" sz="1000" dirty="0" smtClean="0">
                <a:latin typeface="Arial" pitchFamily="34" charset="0"/>
                <a:cs typeface="Arial" pitchFamily="34" charset="0"/>
              </a:rPr>
              <a:t>Support</a:t>
            </a:r>
            <a:endParaRPr lang="en-US" sz="1000" dirty="0">
              <a:latin typeface="Arial" pitchFamily="34" charset="0"/>
              <a:cs typeface="Arial" pitchFamily="34" charset="0"/>
            </a:endParaRPr>
          </a:p>
        </p:txBody>
      </p:sp>
      <p:sp>
        <p:nvSpPr>
          <p:cNvPr id="31" name="Rounded Rectangle 30"/>
          <p:cNvSpPr/>
          <p:nvPr/>
        </p:nvSpPr>
        <p:spPr>
          <a:xfrm>
            <a:off x="4984142" y="4348036"/>
            <a:ext cx="1005840" cy="860067"/>
          </a:xfrm>
          <a:prstGeom prst="roundRect">
            <a:avLst/>
          </a:prstGeom>
          <a:solidFill>
            <a:schemeClr val="bg1">
              <a:lumMod val="95000"/>
            </a:schemeClr>
          </a:solidFill>
          <a:ln w="3175"/>
          <a:effectLst>
            <a:innerShdw blurRad="63500" dist="50800" dir="5400000">
              <a:prstClr val="black">
                <a:alpha val="50000"/>
              </a:prstClr>
            </a:innerShdw>
            <a:softEdge rad="31750"/>
          </a:effectLst>
        </p:spPr>
        <p:style>
          <a:lnRef idx="2">
            <a:schemeClr val="accent4"/>
          </a:lnRef>
          <a:fillRef idx="1">
            <a:schemeClr val="lt1"/>
          </a:fillRef>
          <a:effectRef idx="0">
            <a:schemeClr val="accent4"/>
          </a:effectRef>
          <a:fontRef idx="minor">
            <a:schemeClr val="dk1"/>
          </a:fontRef>
        </p:style>
        <p:txBody>
          <a:bodyPr rtlCol="0" anchor="ctr"/>
          <a:lstStyle/>
          <a:p>
            <a:pPr algn="ctr"/>
            <a:r>
              <a:rPr lang="en-US" sz="1000" dirty="0" smtClean="0">
                <a:latin typeface="Arial" pitchFamily="34" charset="0"/>
                <a:cs typeface="Arial" pitchFamily="34" charset="0"/>
              </a:rPr>
              <a:t>Fixed team</a:t>
            </a:r>
            <a:endParaRPr lang="en-US" sz="1000" dirty="0">
              <a:latin typeface="Arial" pitchFamily="34" charset="0"/>
              <a:cs typeface="Arial" pitchFamily="34" charset="0"/>
            </a:endParaRPr>
          </a:p>
        </p:txBody>
      </p:sp>
      <p:sp>
        <p:nvSpPr>
          <p:cNvPr id="32" name="Rounded Rectangle 31"/>
          <p:cNvSpPr/>
          <p:nvPr/>
        </p:nvSpPr>
        <p:spPr>
          <a:xfrm>
            <a:off x="6315323" y="4348035"/>
            <a:ext cx="1005840" cy="860067"/>
          </a:xfrm>
          <a:prstGeom prst="roundRect">
            <a:avLst/>
          </a:prstGeom>
          <a:solidFill>
            <a:schemeClr val="bg1">
              <a:lumMod val="95000"/>
            </a:schemeClr>
          </a:solidFill>
          <a:ln w="3175"/>
          <a:effectLst>
            <a:innerShdw blurRad="63500" dist="50800" dir="5400000">
              <a:prstClr val="black">
                <a:alpha val="50000"/>
              </a:prstClr>
            </a:innerShdw>
            <a:softEdge rad="31750"/>
          </a:effectLst>
        </p:spPr>
        <p:style>
          <a:lnRef idx="2">
            <a:schemeClr val="accent4"/>
          </a:lnRef>
          <a:fillRef idx="1">
            <a:schemeClr val="lt1"/>
          </a:fillRef>
          <a:effectRef idx="0">
            <a:schemeClr val="accent4"/>
          </a:effectRef>
          <a:fontRef idx="minor">
            <a:schemeClr val="dk1"/>
          </a:fontRef>
        </p:style>
        <p:txBody>
          <a:bodyPr rtlCol="0" anchor="ctr"/>
          <a:lstStyle/>
          <a:p>
            <a:pPr algn="ctr"/>
            <a:r>
              <a:rPr lang="en-US" sz="1000" dirty="0" smtClean="0">
                <a:latin typeface="Arial" pitchFamily="34" charset="0"/>
                <a:cs typeface="Arial" pitchFamily="34" charset="0"/>
              </a:rPr>
              <a:t>Month 3 onwards</a:t>
            </a:r>
            <a:endParaRPr lang="en-US" sz="1000" dirty="0">
              <a:latin typeface="Arial" pitchFamily="34" charset="0"/>
              <a:cs typeface="Arial" pitchFamily="34" charset="0"/>
            </a:endParaRPr>
          </a:p>
        </p:txBody>
      </p:sp>
      <p:sp>
        <p:nvSpPr>
          <p:cNvPr id="33" name="Rounded Rectangle 32"/>
          <p:cNvSpPr/>
          <p:nvPr/>
        </p:nvSpPr>
        <p:spPr>
          <a:xfrm>
            <a:off x="7646504" y="4348037"/>
            <a:ext cx="1005840" cy="860067"/>
          </a:xfrm>
          <a:prstGeom prst="roundRect">
            <a:avLst/>
          </a:prstGeom>
          <a:solidFill>
            <a:schemeClr val="bg1">
              <a:lumMod val="95000"/>
            </a:schemeClr>
          </a:solidFill>
          <a:ln w="3175"/>
          <a:effectLst>
            <a:innerShdw blurRad="63500" dist="50800" dir="5400000">
              <a:prstClr val="black">
                <a:alpha val="50000"/>
              </a:prstClr>
            </a:innerShdw>
            <a:softEdge rad="31750"/>
          </a:effectLst>
        </p:spPr>
        <p:style>
          <a:lnRef idx="2">
            <a:schemeClr val="accent4"/>
          </a:lnRef>
          <a:fillRef idx="1">
            <a:schemeClr val="lt1"/>
          </a:fillRef>
          <a:effectRef idx="0">
            <a:schemeClr val="accent4"/>
          </a:effectRef>
          <a:fontRef idx="minor">
            <a:schemeClr val="dk1"/>
          </a:fontRef>
        </p:style>
        <p:txBody>
          <a:bodyPr rtlCol="0" anchor="ctr"/>
          <a:lstStyle/>
          <a:p>
            <a:pPr algn="ctr"/>
            <a:r>
              <a:rPr lang="en-US" sz="1000" dirty="0" smtClean="0">
                <a:latin typeface="Arial" pitchFamily="34" charset="0"/>
                <a:cs typeface="Arial" pitchFamily="34" charset="0"/>
              </a:rPr>
              <a:t>1-2 resources</a:t>
            </a:r>
            <a:endParaRPr lang="en-US" sz="1000" dirty="0">
              <a:latin typeface="Arial" pitchFamily="34" charset="0"/>
              <a:cs typeface="Arial" pitchFamily="34" charset="0"/>
            </a:endParaRPr>
          </a:p>
        </p:txBody>
      </p:sp>
      <p:cxnSp>
        <p:nvCxnSpPr>
          <p:cNvPr id="34" name="Straight Connector 33"/>
          <p:cNvCxnSpPr/>
          <p:nvPr/>
        </p:nvCxnSpPr>
        <p:spPr>
          <a:xfrm>
            <a:off x="2161428" y="1983850"/>
            <a:ext cx="31806" cy="3383281"/>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3490621" y="1983850"/>
            <a:ext cx="31806" cy="3383281"/>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4811863" y="1983850"/>
            <a:ext cx="31806" cy="3383281"/>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6125154" y="1983850"/>
            <a:ext cx="31806" cy="3383281"/>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7446396" y="1983850"/>
            <a:ext cx="31806" cy="3383281"/>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8767637" y="1983850"/>
            <a:ext cx="31806" cy="3383281"/>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93052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noFill/>
          <a:ln w="9525" algn="ctr">
            <a:noFill/>
            <a:miter lim="800000"/>
            <a:headEnd/>
            <a:tailEnd/>
          </a:ln>
          <a:effectLst/>
        </p:spPr>
        <p:txBody>
          <a:bodyPr vert="horz" wrap="square" lIns="274320" tIns="36576" rIns="0" bIns="0" numCol="1" anchor="ctr" anchorCtr="0" compatLnSpc="1">
            <a:prstTxWarp prst="textNoShape">
              <a:avLst/>
            </a:prstTxWarp>
          </a:bodyPr>
          <a:lstStyle/>
          <a:p>
            <a:r>
              <a:rPr lang="en-US" b="0" dirty="0" smtClean="0">
                <a:solidFill>
                  <a:srgbClr val="0098C7"/>
                </a:solidFill>
              </a:rPr>
              <a:t>Approach </a:t>
            </a:r>
            <a:r>
              <a:rPr lang="en-US" b="0" dirty="0">
                <a:solidFill>
                  <a:srgbClr val="0098C7"/>
                </a:solidFill>
              </a:rPr>
              <a:t>to </a:t>
            </a:r>
            <a:r>
              <a:rPr lang="en-US" b="0" dirty="0" smtClean="0">
                <a:solidFill>
                  <a:srgbClr val="0098C7"/>
                </a:solidFill>
              </a:rPr>
              <a:t>Providing 16*5 Support Coverage</a:t>
            </a:r>
            <a:endParaRPr lang="en-US" b="0" dirty="0">
              <a:solidFill>
                <a:srgbClr val="0098C7"/>
              </a:solidFill>
            </a:endParaRPr>
          </a:p>
        </p:txBody>
      </p:sp>
      <p:grpSp>
        <p:nvGrpSpPr>
          <p:cNvPr id="2" name="Group 3"/>
          <p:cNvGrpSpPr>
            <a:grpSpLocks noChangeAspect="1"/>
          </p:cNvGrpSpPr>
          <p:nvPr/>
        </p:nvGrpSpPr>
        <p:grpSpPr bwMode="auto">
          <a:xfrm>
            <a:off x="339368" y="1122337"/>
            <a:ext cx="8804632" cy="3566160"/>
            <a:chOff x="263" y="573"/>
            <a:chExt cx="5300" cy="2433"/>
          </a:xfrm>
        </p:grpSpPr>
        <p:sp>
          <p:nvSpPr>
            <p:cNvPr id="82946" name="AutoShape 2"/>
            <p:cNvSpPr>
              <a:spLocks noChangeAspect="1" noChangeArrowheads="1" noTextEdit="1"/>
            </p:cNvSpPr>
            <p:nvPr/>
          </p:nvSpPr>
          <p:spPr bwMode="auto">
            <a:xfrm>
              <a:off x="263" y="573"/>
              <a:ext cx="5295" cy="242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4" name="Group 204"/>
            <p:cNvGrpSpPr>
              <a:grpSpLocks/>
            </p:cNvGrpSpPr>
            <p:nvPr/>
          </p:nvGrpSpPr>
          <p:grpSpPr bwMode="auto">
            <a:xfrm>
              <a:off x="263" y="573"/>
              <a:ext cx="5300" cy="2433"/>
              <a:chOff x="263" y="573"/>
              <a:chExt cx="5300" cy="2433"/>
            </a:xfrm>
          </p:grpSpPr>
          <p:pic>
            <p:nvPicPr>
              <p:cNvPr id="82948" name="Picture 4"/>
              <p:cNvPicPr>
                <a:picLocks noChangeAspect="1" noChangeArrowheads="1"/>
              </p:cNvPicPr>
              <p:nvPr/>
            </p:nvPicPr>
            <p:blipFill>
              <a:blip cstate="print"/>
              <a:srcRect/>
              <a:stretch>
                <a:fillRect/>
              </a:stretch>
            </p:blipFill>
            <p:spPr bwMode="auto">
              <a:xfrm>
                <a:off x="263" y="573"/>
                <a:ext cx="5300" cy="2433"/>
              </a:xfrm>
              <a:prstGeom prst="rect">
                <a:avLst/>
              </a:prstGeom>
              <a:noFill/>
              <a:ln w="9525">
                <a:noFill/>
                <a:miter lim="800000"/>
                <a:headEnd/>
                <a:tailEnd/>
              </a:ln>
            </p:spPr>
          </p:pic>
          <p:pic>
            <p:nvPicPr>
              <p:cNvPr id="82949" name="Picture 5"/>
              <p:cNvPicPr>
                <a:picLocks noChangeAspect="1" noChangeArrowheads="1"/>
              </p:cNvPicPr>
              <p:nvPr/>
            </p:nvPicPr>
            <p:blipFill>
              <a:blip r:embed="rId3" cstate="print"/>
              <a:srcRect/>
              <a:stretch>
                <a:fillRect/>
              </a:stretch>
            </p:blipFill>
            <p:spPr bwMode="auto">
              <a:xfrm>
                <a:off x="263" y="573"/>
                <a:ext cx="5300" cy="2433"/>
              </a:xfrm>
              <a:prstGeom prst="rect">
                <a:avLst/>
              </a:prstGeom>
              <a:noFill/>
              <a:ln w="9525">
                <a:noFill/>
                <a:miter lim="800000"/>
                <a:headEnd/>
                <a:tailEnd/>
              </a:ln>
            </p:spPr>
          </p:pic>
          <p:sp>
            <p:nvSpPr>
              <p:cNvPr id="82950" name="Freeform 6"/>
              <p:cNvSpPr>
                <a:spLocks/>
              </p:cNvSpPr>
              <p:nvPr/>
            </p:nvSpPr>
            <p:spPr bwMode="auto">
              <a:xfrm>
                <a:off x="284" y="589"/>
                <a:ext cx="5216" cy="2367"/>
              </a:xfrm>
              <a:custGeom>
                <a:avLst/>
                <a:gdLst/>
                <a:ahLst/>
                <a:cxnLst>
                  <a:cxn ang="0">
                    <a:pos x="0" y="291"/>
                  </a:cxn>
                  <a:cxn ang="0">
                    <a:pos x="291" y="0"/>
                  </a:cxn>
                  <a:cxn ang="0">
                    <a:pos x="291" y="0"/>
                  </a:cxn>
                  <a:cxn ang="0">
                    <a:pos x="291" y="0"/>
                  </a:cxn>
                  <a:cxn ang="0">
                    <a:pos x="17694" y="0"/>
                  </a:cxn>
                  <a:cxn ang="0">
                    <a:pos x="17694" y="0"/>
                  </a:cxn>
                  <a:cxn ang="0">
                    <a:pos x="17984" y="291"/>
                  </a:cxn>
                  <a:cxn ang="0">
                    <a:pos x="17984" y="291"/>
                  </a:cxn>
                  <a:cxn ang="0">
                    <a:pos x="17984" y="291"/>
                  </a:cxn>
                  <a:cxn ang="0">
                    <a:pos x="17984" y="10062"/>
                  </a:cxn>
                  <a:cxn ang="0">
                    <a:pos x="17984" y="10062"/>
                  </a:cxn>
                  <a:cxn ang="0">
                    <a:pos x="17694" y="10352"/>
                  </a:cxn>
                  <a:cxn ang="0">
                    <a:pos x="17694" y="10352"/>
                  </a:cxn>
                  <a:cxn ang="0">
                    <a:pos x="17694" y="10352"/>
                  </a:cxn>
                  <a:cxn ang="0">
                    <a:pos x="291" y="10352"/>
                  </a:cxn>
                  <a:cxn ang="0">
                    <a:pos x="291" y="10352"/>
                  </a:cxn>
                  <a:cxn ang="0">
                    <a:pos x="0" y="10062"/>
                  </a:cxn>
                  <a:cxn ang="0">
                    <a:pos x="0" y="10062"/>
                  </a:cxn>
                  <a:cxn ang="0">
                    <a:pos x="0" y="291"/>
                  </a:cxn>
                </a:cxnLst>
                <a:rect l="0" t="0" r="r" b="b"/>
                <a:pathLst>
                  <a:path w="17984" h="10352">
                    <a:moveTo>
                      <a:pt x="0" y="291"/>
                    </a:moveTo>
                    <a:cubicBezTo>
                      <a:pt x="0" y="131"/>
                      <a:pt x="131" y="0"/>
                      <a:pt x="291" y="0"/>
                    </a:cubicBezTo>
                    <a:cubicBezTo>
                      <a:pt x="291" y="0"/>
                      <a:pt x="291" y="0"/>
                      <a:pt x="291" y="0"/>
                    </a:cubicBezTo>
                    <a:lnTo>
                      <a:pt x="291" y="0"/>
                    </a:lnTo>
                    <a:lnTo>
                      <a:pt x="17694" y="0"/>
                    </a:lnTo>
                    <a:lnTo>
                      <a:pt x="17694" y="0"/>
                    </a:lnTo>
                    <a:cubicBezTo>
                      <a:pt x="17854" y="0"/>
                      <a:pt x="17984" y="131"/>
                      <a:pt x="17984" y="291"/>
                    </a:cubicBezTo>
                    <a:cubicBezTo>
                      <a:pt x="17984" y="291"/>
                      <a:pt x="17984" y="291"/>
                      <a:pt x="17984" y="291"/>
                    </a:cubicBezTo>
                    <a:lnTo>
                      <a:pt x="17984" y="291"/>
                    </a:lnTo>
                    <a:lnTo>
                      <a:pt x="17984" y="10062"/>
                    </a:lnTo>
                    <a:lnTo>
                      <a:pt x="17984" y="10062"/>
                    </a:lnTo>
                    <a:cubicBezTo>
                      <a:pt x="17984" y="10222"/>
                      <a:pt x="17854" y="10352"/>
                      <a:pt x="17694" y="10352"/>
                    </a:cubicBezTo>
                    <a:cubicBezTo>
                      <a:pt x="17694" y="10352"/>
                      <a:pt x="17694" y="10352"/>
                      <a:pt x="17694" y="10352"/>
                    </a:cubicBezTo>
                    <a:lnTo>
                      <a:pt x="17694" y="10352"/>
                    </a:lnTo>
                    <a:lnTo>
                      <a:pt x="291" y="10352"/>
                    </a:lnTo>
                    <a:lnTo>
                      <a:pt x="291" y="10352"/>
                    </a:lnTo>
                    <a:cubicBezTo>
                      <a:pt x="131" y="10352"/>
                      <a:pt x="0" y="10222"/>
                      <a:pt x="0" y="10062"/>
                    </a:cubicBezTo>
                    <a:cubicBezTo>
                      <a:pt x="0" y="10062"/>
                      <a:pt x="0" y="10062"/>
                      <a:pt x="0" y="10062"/>
                    </a:cubicBezTo>
                    <a:lnTo>
                      <a:pt x="0" y="291"/>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51" name="Freeform 7"/>
              <p:cNvSpPr>
                <a:spLocks noEditPoints="1"/>
              </p:cNvSpPr>
              <p:nvPr/>
            </p:nvSpPr>
            <p:spPr bwMode="auto">
              <a:xfrm>
                <a:off x="279" y="586"/>
                <a:ext cx="5226" cy="2374"/>
              </a:xfrm>
              <a:custGeom>
                <a:avLst/>
                <a:gdLst/>
                <a:ahLst/>
                <a:cxnLst>
                  <a:cxn ang="0">
                    <a:pos x="7" y="245"/>
                  </a:cxn>
                  <a:cxn ang="0">
                    <a:pos x="52" y="138"/>
                  </a:cxn>
                  <a:cxn ang="0">
                    <a:pos x="92" y="90"/>
                  </a:cxn>
                  <a:cxn ang="0">
                    <a:pos x="187" y="25"/>
                  </a:cxn>
                  <a:cxn ang="0">
                    <a:pos x="248" y="7"/>
                  </a:cxn>
                  <a:cxn ang="0">
                    <a:pos x="17770" y="7"/>
                  </a:cxn>
                  <a:cxn ang="0">
                    <a:pos x="17831" y="25"/>
                  </a:cxn>
                  <a:cxn ang="0">
                    <a:pos x="17926" y="90"/>
                  </a:cxn>
                  <a:cxn ang="0">
                    <a:pos x="17964" y="138"/>
                  </a:cxn>
                  <a:cxn ang="0">
                    <a:pos x="18010" y="245"/>
                  </a:cxn>
                  <a:cxn ang="0">
                    <a:pos x="18016" y="10078"/>
                  </a:cxn>
                  <a:cxn ang="0">
                    <a:pos x="17993" y="10196"/>
                  </a:cxn>
                  <a:cxn ang="0">
                    <a:pos x="17963" y="10251"/>
                  </a:cxn>
                  <a:cxn ang="0">
                    <a:pos x="17883" y="10331"/>
                  </a:cxn>
                  <a:cxn ang="0">
                    <a:pos x="17828" y="10361"/>
                  </a:cxn>
                  <a:cxn ang="0">
                    <a:pos x="17712" y="10384"/>
                  </a:cxn>
                  <a:cxn ang="0">
                    <a:pos x="245" y="10378"/>
                  </a:cxn>
                  <a:cxn ang="0">
                    <a:pos x="138" y="10332"/>
                  </a:cxn>
                  <a:cxn ang="0">
                    <a:pos x="90" y="10294"/>
                  </a:cxn>
                  <a:cxn ang="0">
                    <a:pos x="25" y="10199"/>
                  </a:cxn>
                  <a:cxn ang="0">
                    <a:pos x="7" y="10138"/>
                  </a:cxn>
                  <a:cxn ang="0">
                    <a:pos x="32" y="10077"/>
                  </a:cxn>
                  <a:cxn ang="0">
                    <a:pos x="55" y="10187"/>
                  </a:cxn>
                  <a:cxn ang="0">
                    <a:pos x="79" y="10230"/>
                  </a:cxn>
                  <a:cxn ang="0">
                    <a:pos x="156" y="10306"/>
                  </a:cxn>
                  <a:cxn ang="0">
                    <a:pos x="199" y="10330"/>
                  </a:cxn>
                  <a:cxn ang="0">
                    <a:pos x="307" y="10352"/>
                  </a:cxn>
                  <a:cxn ang="0">
                    <a:pos x="17764" y="10347"/>
                  </a:cxn>
                  <a:cxn ang="0">
                    <a:pos x="17865" y="10304"/>
                  </a:cxn>
                  <a:cxn ang="0">
                    <a:pos x="17903" y="10273"/>
                  </a:cxn>
                  <a:cxn ang="0">
                    <a:pos x="17963" y="10184"/>
                  </a:cxn>
                  <a:cxn ang="0">
                    <a:pos x="17979" y="10135"/>
                  </a:cxn>
                  <a:cxn ang="0">
                    <a:pos x="17979" y="251"/>
                  </a:cxn>
                  <a:cxn ang="0">
                    <a:pos x="17963" y="202"/>
                  </a:cxn>
                  <a:cxn ang="0">
                    <a:pos x="17903" y="113"/>
                  </a:cxn>
                  <a:cxn ang="0">
                    <a:pos x="17865" y="80"/>
                  </a:cxn>
                  <a:cxn ang="0">
                    <a:pos x="17764" y="38"/>
                  </a:cxn>
                  <a:cxn ang="0">
                    <a:pos x="309" y="32"/>
                  </a:cxn>
                  <a:cxn ang="0">
                    <a:pos x="199" y="55"/>
                  </a:cxn>
                  <a:cxn ang="0">
                    <a:pos x="156" y="79"/>
                  </a:cxn>
                  <a:cxn ang="0">
                    <a:pos x="79" y="156"/>
                  </a:cxn>
                  <a:cxn ang="0">
                    <a:pos x="55" y="199"/>
                  </a:cxn>
                  <a:cxn ang="0">
                    <a:pos x="32" y="307"/>
                  </a:cxn>
                </a:cxnLst>
                <a:rect l="0" t="0" r="r" b="b"/>
                <a:pathLst>
                  <a:path w="18016" h="10384">
                    <a:moveTo>
                      <a:pt x="0" y="307"/>
                    </a:moveTo>
                    <a:lnTo>
                      <a:pt x="7" y="248"/>
                    </a:lnTo>
                    <a:cubicBezTo>
                      <a:pt x="7" y="247"/>
                      <a:pt x="7" y="246"/>
                      <a:pt x="7" y="245"/>
                    </a:cubicBezTo>
                    <a:lnTo>
                      <a:pt x="24" y="190"/>
                    </a:lnTo>
                    <a:cubicBezTo>
                      <a:pt x="25" y="189"/>
                      <a:pt x="25" y="188"/>
                      <a:pt x="25" y="187"/>
                    </a:cubicBezTo>
                    <a:lnTo>
                      <a:pt x="52" y="138"/>
                    </a:lnTo>
                    <a:cubicBezTo>
                      <a:pt x="53" y="137"/>
                      <a:pt x="54" y="136"/>
                      <a:pt x="54" y="135"/>
                    </a:cubicBezTo>
                    <a:lnTo>
                      <a:pt x="90" y="92"/>
                    </a:lnTo>
                    <a:cubicBezTo>
                      <a:pt x="91" y="91"/>
                      <a:pt x="91" y="91"/>
                      <a:pt x="92" y="90"/>
                    </a:cubicBezTo>
                    <a:lnTo>
                      <a:pt x="135" y="54"/>
                    </a:lnTo>
                    <a:cubicBezTo>
                      <a:pt x="136" y="54"/>
                      <a:pt x="137" y="53"/>
                      <a:pt x="138" y="52"/>
                    </a:cubicBezTo>
                    <a:lnTo>
                      <a:pt x="187" y="25"/>
                    </a:lnTo>
                    <a:cubicBezTo>
                      <a:pt x="188" y="25"/>
                      <a:pt x="189" y="25"/>
                      <a:pt x="190" y="24"/>
                    </a:cubicBezTo>
                    <a:lnTo>
                      <a:pt x="245" y="7"/>
                    </a:lnTo>
                    <a:cubicBezTo>
                      <a:pt x="246" y="7"/>
                      <a:pt x="247" y="7"/>
                      <a:pt x="248" y="7"/>
                    </a:cubicBezTo>
                    <a:lnTo>
                      <a:pt x="306" y="1"/>
                    </a:lnTo>
                    <a:lnTo>
                      <a:pt x="17710" y="0"/>
                    </a:lnTo>
                    <a:lnTo>
                      <a:pt x="17770" y="7"/>
                    </a:lnTo>
                    <a:cubicBezTo>
                      <a:pt x="17771" y="7"/>
                      <a:pt x="17772" y="7"/>
                      <a:pt x="17773" y="7"/>
                    </a:cubicBezTo>
                    <a:lnTo>
                      <a:pt x="17828" y="24"/>
                    </a:lnTo>
                    <a:cubicBezTo>
                      <a:pt x="17829" y="25"/>
                      <a:pt x="17830" y="25"/>
                      <a:pt x="17831" y="25"/>
                    </a:cubicBezTo>
                    <a:lnTo>
                      <a:pt x="17880" y="52"/>
                    </a:lnTo>
                    <a:cubicBezTo>
                      <a:pt x="17881" y="53"/>
                      <a:pt x="17882" y="54"/>
                      <a:pt x="17883" y="54"/>
                    </a:cubicBezTo>
                    <a:lnTo>
                      <a:pt x="17926" y="90"/>
                    </a:lnTo>
                    <a:cubicBezTo>
                      <a:pt x="17927" y="91"/>
                      <a:pt x="17927" y="92"/>
                      <a:pt x="17928" y="92"/>
                    </a:cubicBezTo>
                    <a:lnTo>
                      <a:pt x="17963" y="135"/>
                    </a:lnTo>
                    <a:cubicBezTo>
                      <a:pt x="17963" y="136"/>
                      <a:pt x="17964" y="137"/>
                      <a:pt x="17964" y="138"/>
                    </a:cubicBezTo>
                    <a:lnTo>
                      <a:pt x="17991" y="187"/>
                    </a:lnTo>
                    <a:cubicBezTo>
                      <a:pt x="17992" y="188"/>
                      <a:pt x="17992" y="189"/>
                      <a:pt x="17993" y="190"/>
                    </a:cubicBezTo>
                    <a:lnTo>
                      <a:pt x="18010" y="245"/>
                    </a:lnTo>
                    <a:cubicBezTo>
                      <a:pt x="18010" y="246"/>
                      <a:pt x="18010" y="247"/>
                      <a:pt x="18010" y="248"/>
                    </a:cubicBezTo>
                    <a:lnTo>
                      <a:pt x="18016" y="306"/>
                    </a:lnTo>
                    <a:lnTo>
                      <a:pt x="18016" y="10078"/>
                    </a:lnTo>
                    <a:lnTo>
                      <a:pt x="18010" y="10138"/>
                    </a:lnTo>
                    <a:cubicBezTo>
                      <a:pt x="18010" y="10139"/>
                      <a:pt x="18010" y="10140"/>
                      <a:pt x="18010" y="10141"/>
                    </a:cubicBezTo>
                    <a:lnTo>
                      <a:pt x="17993" y="10196"/>
                    </a:lnTo>
                    <a:cubicBezTo>
                      <a:pt x="17992" y="10197"/>
                      <a:pt x="17992" y="10198"/>
                      <a:pt x="17991" y="10199"/>
                    </a:cubicBezTo>
                    <a:lnTo>
                      <a:pt x="17964" y="10248"/>
                    </a:lnTo>
                    <a:cubicBezTo>
                      <a:pt x="17964" y="10249"/>
                      <a:pt x="17963" y="10250"/>
                      <a:pt x="17963" y="10251"/>
                    </a:cubicBezTo>
                    <a:lnTo>
                      <a:pt x="17928" y="10294"/>
                    </a:lnTo>
                    <a:cubicBezTo>
                      <a:pt x="17927" y="10294"/>
                      <a:pt x="17926" y="10295"/>
                      <a:pt x="17926" y="10296"/>
                    </a:cubicBezTo>
                    <a:lnTo>
                      <a:pt x="17883" y="10331"/>
                    </a:lnTo>
                    <a:cubicBezTo>
                      <a:pt x="17882" y="10331"/>
                      <a:pt x="17881" y="10332"/>
                      <a:pt x="17880" y="10332"/>
                    </a:cubicBezTo>
                    <a:lnTo>
                      <a:pt x="17831" y="10359"/>
                    </a:lnTo>
                    <a:cubicBezTo>
                      <a:pt x="17830" y="10360"/>
                      <a:pt x="17829" y="10360"/>
                      <a:pt x="17828" y="10361"/>
                    </a:cubicBezTo>
                    <a:lnTo>
                      <a:pt x="17773" y="10378"/>
                    </a:lnTo>
                    <a:cubicBezTo>
                      <a:pt x="17772" y="10378"/>
                      <a:pt x="17771" y="10378"/>
                      <a:pt x="17770" y="10378"/>
                    </a:cubicBezTo>
                    <a:lnTo>
                      <a:pt x="17712" y="10384"/>
                    </a:lnTo>
                    <a:lnTo>
                      <a:pt x="307" y="10384"/>
                    </a:lnTo>
                    <a:lnTo>
                      <a:pt x="248" y="10378"/>
                    </a:lnTo>
                    <a:cubicBezTo>
                      <a:pt x="247" y="10378"/>
                      <a:pt x="246" y="10378"/>
                      <a:pt x="245" y="10378"/>
                    </a:cubicBezTo>
                    <a:lnTo>
                      <a:pt x="190" y="10361"/>
                    </a:lnTo>
                    <a:cubicBezTo>
                      <a:pt x="189" y="10360"/>
                      <a:pt x="188" y="10360"/>
                      <a:pt x="187" y="10359"/>
                    </a:cubicBezTo>
                    <a:lnTo>
                      <a:pt x="138" y="10332"/>
                    </a:lnTo>
                    <a:cubicBezTo>
                      <a:pt x="137" y="10332"/>
                      <a:pt x="136" y="10331"/>
                      <a:pt x="135" y="10331"/>
                    </a:cubicBezTo>
                    <a:lnTo>
                      <a:pt x="92" y="10296"/>
                    </a:lnTo>
                    <a:cubicBezTo>
                      <a:pt x="92" y="10295"/>
                      <a:pt x="91" y="10295"/>
                      <a:pt x="90" y="10294"/>
                    </a:cubicBezTo>
                    <a:lnTo>
                      <a:pt x="54" y="10251"/>
                    </a:lnTo>
                    <a:cubicBezTo>
                      <a:pt x="54" y="10250"/>
                      <a:pt x="53" y="10249"/>
                      <a:pt x="52" y="10248"/>
                    </a:cubicBezTo>
                    <a:lnTo>
                      <a:pt x="25" y="10199"/>
                    </a:lnTo>
                    <a:cubicBezTo>
                      <a:pt x="25" y="10198"/>
                      <a:pt x="25" y="10197"/>
                      <a:pt x="24" y="10196"/>
                    </a:cubicBezTo>
                    <a:lnTo>
                      <a:pt x="7" y="10141"/>
                    </a:lnTo>
                    <a:cubicBezTo>
                      <a:pt x="7" y="10140"/>
                      <a:pt x="7" y="10139"/>
                      <a:pt x="7" y="10138"/>
                    </a:cubicBezTo>
                    <a:lnTo>
                      <a:pt x="1" y="10080"/>
                    </a:lnTo>
                    <a:lnTo>
                      <a:pt x="0" y="307"/>
                    </a:lnTo>
                    <a:close/>
                    <a:moveTo>
                      <a:pt x="32" y="10077"/>
                    </a:moveTo>
                    <a:lnTo>
                      <a:pt x="38" y="10135"/>
                    </a:lnTo>
                    <a:lnTo>
                      <a:pt x="38" y="10132"/>
                    </a:lnTo>
                    <a:lnTo>
                      <a:pt x="55" y="10187"/>
                    </a:lnTo>
                    <a:lnTo>
                      <a:pt x="53" y="10184"/>
                    </a:lnTo>
                    <a:lnTo>
                      <a:pt x="80" y="10233"/>
                    </a:lnTo>
                    <a:lnTo>
                      <a:pt x="79" y="10230"/>
                    </a:lnTo>
                    <a:lnTo>
                      <a:pt x="115" y="10273"/>
                    </a:lnTo>
                    <a:lnTo>
                      <a:pt x="113" y="10271"/>
                    </a:lnTo>
                    <a:lnTo>
                      <a:pt x="156" y="10306"/>
                    </a:lnTo>
                    <a:lnTo>
                      <a:pt x="153" y="10304"/>
                    </a:lnTo>
                    <a:lnTo>
                      <a:pt x="202" y="10331"/>
                    </a:lnTo>
                    <a:lnTo>
                      <a:pt x="199" y="10330"/>
                    </a:lnTo>
                    <a:lnTo>
                      <a:pt x="254" y="10347"/>
                    </a:lnTo>
                    <a:lnTo>
                      <a:pt x="251" y="10347"/>
                    </a:lnTo>
                    <a:lnTo>
                      <a:pt x="307" y="10352"/>
                    </a:lnTo>
                    <a:lnTo>
                      <a:pt x="17709" y="10353"/>
                    </a:lnTo>
                    <a:lnTo>
                      <a:pt x="17767" y="10347"/>
                    </a:lnTo>
                    <a:lnTo>
                      <a:pt x="17764" y="10347"/>
                    </a:lnTo>
                    <a:lnTo>
                      <a:pt x="17819" y="10330"/>
                    </a:lnTo>
                    <a:lnTo>
                      <a:pt x="17816" y="10331"/>
                    </a:lnTo>
                    <a:lnTo>
                      <a:pt x="17865" y="10304"/>
                    </a:lnTo>
                    <a:lnTo>
                      <a:pt x="17862" y="10306"/>
                    </a:lnTo>
                    <a:lnTo>
                      <a:pt x="17905" y="10271"/>
                    </a:lnTo>
                    <a:lnTo>
                      <a:pt x="17903" y="10273"/>
                    </a:lnTo>
                    <a:lnTo>
                      <a:pt x="17938" y="10230"/>
                    </a:lnTo>
                    <a:lnTo>
                      <a:pt x="17936" y="10233"/>
                    </a:lnTo>
                    <a:lnTo>
                      <a:pt x="17963" y="10184"/>
                    </a:lnTo>
                    <a:lnTo>
                      <a:pt x="17962" y="10187"/>
                    </a:lnTo>
                    <a:lnTo>
                      <a:pt x="17979" y="10132"/>
                    </a:lnTo>
                    <a:lnTo>
                      <a:pt x="17979" y="10135"/>
                    </a:lnTo>
                    <a:lnTo>
                      <a:pt x="17984" y="10078"/>
                    </a:lnTo>
                    <a:lnTo>
                      <a:pt x="17985" y="309"/>
                    </a:lnTo>
                    <a:lnTo>
                      <a:pt x="17979" y="251"/>
                    </a:lnTo>
                    <a:lnTo>
                      <a:pt x="17979" y="254"/>
                    </a:lnTo>
                    <a:lnTo>
                      <a:pt x="17962" y="199"/>
                    </a:lnTo>
                    <a:lnTo>
                      <a:pt x="17963" y="202"/>
                    </a:lnTo>
                    <a:lnTo>
                      <a:pt x="17936" y="153"/>
                    </a:lnTo>
                    <a:lnTo>
                      <a:pt x="17938" y="156"/>
                    </a:lnTo>
                    <a:lnTo>
                      <a:pt x="17903" y="113"/>
                    </a:lnTo>
                    <a:lnTo>
                      <a:pt x="17905" y="115"/>
                    </a:lnTo>
                    <a:lnTo>
                      <a:pt x="17862" y="79"/>
                    </a:lnTo>
                    <a:lnTo>
                      <a:pt x="17865" y="80"/>
                    </a:lnTo>
                    <a:lnTo>
                      <a:pt x="17816" y="53"/>
                    </a:lnTo>
                    <a:lnTo>
                      <a:pt x="17819" y="55"/>
                    </a:lnTo>
                    <a:lnTo>
                      <a:pt x="17764" y="38"/>
                    </a:lnTo>
                    <a:lnTo>
                      <a:pt x="17767" y="38"/>
                    </a:lnTo>
                    <a:lnTo>
                      <a:pt x="17710" y="32"/>
                    </a:lnTo>
                    <a:lnTo>
                      <a:pt x="309" y="32"/>
                    </a:lnTo>
                    <a:lnTo>
                      <a:pt x="251" y="38"/>
                    </a:lnTo>
                    <a:lnTo>
                      <a:pt x="254" y="38"/>
                    </a:lnTo>
                    <a:lnTo>
                      <a:pt x="199" y="55"/>
                    </a:lnTo>
                    <a:lnTo>
                      <a:pt x="202" y="53"/>
                    </a:lnTo>
                    <a:lnTo>
                      <a:pt x="153" y="80"/>
                    </a:lnTo>
                    <a:lnTo>
                      <a:pt x="156" y="79"/>
                    </a:lnTo>
                    <a:lnTo>
                      <a:pt x="113" y="115"/>
                    </a:lnTo>
                    <a:lnTo>
                      <a:pt x="115" y="113"/>
                    </a:lnTo>
                    <a:lnTo>
                      <a:pt x="79" y="156"/>
                    </a:lnTo>
                    <a:lnTo>
                      <a:pt x="80" y="153"/>
                    </a:lnTo>
                    <a:lnTo>
                      <a:pt x="53" y="202"/>
                    </a:lnTo>
                    <a:lnTo>
                      <a:pt x="55" y="199"/>
                    </a:lnTo>
                    <a:lnTo>
                      <a:pt x="38" y="254"/>
                    </a:lnTo>
                    <a:lnTo>
                      <a:pt x="38" y="251"/>
                    </a:lnTo>
                    <a:lnTo>
                      <a:pt x="32" y="307"/>
                    </a:lnTo>
                    <a:lnTo>
                      <a:pt x="32" y="10077"/>
                    </a:lnTo>
                    <a:close/>
                  </a:path>
                </a:pathLst>
              </a:custGeom>
              <a:solidFill>
                <a:srgbClr val="009ACC"/>
              </a:solidFill>
              <a:ln w="0" cap="flat">
                <a:solidFill>
                  <a:srgbClr val="009AC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52" name="Freeform 8"/>
              <p:cNvSpPr>
                <a:spLocks/>
              </p:cNvSpPr>
              <p:nvPr/>
            </p:nvSpPr>
            <p:spPr bwMode="auto">
              <a:xfrm>
                <a:off x="3015" y="811"/>
                <a:ext cx="2385" cy="724"/>
              </a:xfrm>
              <a:custGeom>
                <a:avLst/>
                <a:gdLst/>
                <a:ahLst/>
                <a:cxnLst>
                  <a:cxn ang="0">
                    <a:pos x="39" y="455"/>
                  </a:cxn>
                  <a:cxn ang="0">
                    <a:pos x="126" y="396"/>
                  </a:cxn>
                  <a:cxn ang="0">
                    <a:pos x="125" y="234"/>
                  </a:cxn>
                  <a:cxn ang="0">
                    <a:pos x="227" y="216"/>
                  </a:cxn>
                  <a:cxn ang="0">
                    <a:pos x="251" y="335"/>
                  </a:cxn>
                  <a:cxn ang="0">
                    <a:pos x="282" y="296"/>
                  </a:cxn>
                  <a:cxn ang="0">
                    <a:pos x="355" y="256"/>
                  </a:cxn>
                  <a:cxn ang="0">
                    <a:pos x="549" y="219"/>
                  </a:cxn>
                  <a:cxn ang="0">
                    <a:pos x="692" y="224"/>
                  </a:cxn>
                  <a:cxn ang="0">
                    <a:pos x="695" y="126"/>
                  </a:cxn>
                  <a:cxn ang="0">
                    <a:pos x="747" y="249"/>
                  </a:cxn>
                  <a:cxn ang="0">
                    <a:pos x="778" y="224"/>
                  </a:cxn>
                  <a:cxn ang="0">
                    <a:pos x="811" y="224"/>
                  </a:cxn>
                  <a:cxn ang="0">
                    <a:pos x="776" y="163"/>
                  </a:cxn>
                  <a:cxn ang="0">
                    <a:pos x="889" y="158"/>
                  </a:cxn>
                  <a:cxn ang="0">
                    <a:pos x="937" y="102"/>
                  </a:cxn>
                  <a:cxn ang="0">
                    <a:pos x="1064" y="43"/>
                  </a:cxn>
                  <a:cxn ang="0">
                    <a:pos x="1140" y="18"/>
                  </a:cxn>
                  <a:cxn ang="0">
                    <a:pos x="1316" y="49"/>
                  </a:cxn>
                  <a:cxn ang="0">
                    <a:pos x="1212" y="119"/>
                  </a:cxn>
                  <a:cxn ang="0">
                    <a:pos x="1328" y="120"/>
                  </a:cxn>
                  <a:cxn ang="0">
                    <a:pos x="1449" y="105"/>
                  </a:cxn>
                  <a:cxn ang="0">
                    <a:pos x="1620" y="158"/>
                  </a:cxn>
                  <a:cxn ang="0">
                    <a:pos x="1807" y="157"/>
                  </a:cxn>
                  <a:cxn ang="0">
                    <a:pos x="1995" y="203"/>
                  </a:cxn>
                  <a:cxn ang="0">
                    <a:pos x="2110" y="196"/>
                  </a:cxn>
                  <a:cxn ang="0">
                    <a:pos x="2335" y="268"/>
                  </a:cxn>
                  <a:cxn ang="0">
                    <a:pos x="2324" y="321"/>
                  </a:cxn>
                  <a:cxn ang="0">
                    <a:pos x="2250" y="280"/>
                  </a:cxn>
                  <a:cxn ang="0">
                    <a:pos x="2228" y="363"/>
                  </a:cxn>
                  <a:cxn ang="0">
                    <a:pos x="2047" y="400"/>
                  </a:cxn>
                  <a:cxn ang="0">
                    <a:pos x="1993" y="481"/>
                  </a:cxn>
                  <a:cxn ang="0">
                    <a:pos x="1918" y="579"/>
                  </a:cxn>
                  <a:cxn ang="0">
                    <a:pos x="2020" y="367"/>
                  </a:cxn>
                  <a:cxn ang="0">
                    <a:pos x="1880" y="413"/>
                  </a:cxn>
                  <a:cxn ang="0">
                    <a:pos x="1719" y="427"/>
                  </a:cxn>
                  <a:cxn ang="0">
                    <a:pos x="1659" y="532"/>
                  </a:cxn>
                  <a:cxn ang="0">
                    <a:pos x="1689" y="581"/>
                  </a:cxn>
                  <a:cxn ang="0">
                    <a:pos x="1560" y="703"/>
                  </a:cxn>
                  <a:cxn ang="0">
                    <a:pos x="1482" y="542"/>
                  </a:cxn>
                  <a:cxn ang="0">
                    <a:pos x="1325" y="590"/>
                  </a:cxn>
                  <a:cxn ang="0">
                    <a:pos x="1092" y="594"/>
                  </a:cxn>
                  <a:cxn ang="0">
                    <a:pos x="843" y="593"/>
                  </a:cxn>
                  <a:cxn ang="0">
                    <a:pos x="731" y="539"/>
                  </a:cxn>
                  <a:cxn ang="0">
                    <a:pos x="594" y="501"/>
                  </a:cxn>
                  <a:cxn ang="0">
                    <a:pos x="500" y="518"/>
                  </a:cxn>
                  <a:cxn ang="0">
                    <a:pos x="521" y="579"/>
                  </a:cxn>
                  <a:cxn ang="0">
                    <a:pos x="456" y="573"/>
                  </a:cxn>
                  <a:cxn ang="0">
                    <a:pos x="375" y="587"/>
                  </a:cxn>
                  <a:cxn ang="0">
                    <a:pos x="372" y="623"/>
                  </a:cxn>
                  <a:cxn ang="0">
                    <a:pos x="390" y="654"/>
                  </a:cxn>
                  <a:cxn ang="0">
                    <a:pos x="364" y="710"/>
                  </a:cxn>
                  <a:cxn ang="0">
                    <a:pos x="269" y="688"/>
                  </a:cxn>
                  <a:cxn ang="0">
                    <a:pos x="273" y="603"/>
                  </a:cxn>
                  <a:cxn ang="0">
                    <a:pos x="186" y="553"/>
                  </a:cxn>
                  <a:cxn ang="0">
                    <a:pos x="161" y="539"/>
                  </a:cxn>
                  <a:cxn ang="0">
                    <a:pos x="97" y="496"/>
                  </a:cxn>
                  <a:cxn ang="0">
                    <a:pos x="58" y="531"/>
                  </a:cxn>
                </a:cxnLst>
                <a:rect l="0" t="0" r="r" b="b"/>
                <a:pathLst>
                  <a:path w="2385" h="724">
                    <a:moveTo>
                      <a:pt x="0" y="515"/>
                    </a:moveTo>
                    <a:lnTo>
                      <a:pt x="20" y="498"/>
                    </a:lnTo>
                    <a:lnTo>
                      <a:pt x="13" y="505"/>
                    </a:lnTo>
                    <a:lnTo>
                      <a:pt x="22" y="507"/>
                    </a:lnTo>
                    <a:lnTo>
                      <a:pt x="20" y="473"/>
                    </a:lnTo>
                    <a:lnTo>
                      <a:pt x="28" y="457"/>
                    </a:lnTo>
                    <a:lnTo>
                      <a:pt x="39" y="455"/>
                    </a:lnTo>
                    <a:lnTo>
                      <a:pt x="63" y="469"/>
                    </a:lnTo>
                    <a:lnTo>
                      <a:pt x="68" y="441"/>
                    </a:lnTo>
                    <a:lnTo>
                      <a:pt x="58" y="442"/>
                    </a:lnTo>
                    <a:lnTo>
                      <a:pt x="54" y="425"/>
                    </a:lnTo>
                    <a:lnTo>
                      <a:pt x="148" y="411"/>
                    </a:lnTo>
                    <a:lnTo>
                      <a:pt x="125" y="404"/>
                    </a:lnTo>
                    <a:lnTo>
                      <a:pt x="126" y="396"/>
                    </a:lnTo>
                    <a:lnTo>
                      <a:pt x="112" y="399"/>
                    </a:lnTo>
                    <a:lnTo>
                      <a:pt x="166" y="356"/>
                    </a:lnTo>
                    <a:lnTo>
                      <a:pt x="142" y="312"/>
                    </a:lnTo>
                    <a:lnTo>
                      <a:pt x="147" y="290"/>
                    </a:lnTo>
                    <a:lnTo>
                      <a:pt x="133" y="266"/>
                    </a:lnTo>
                    <a:lnTo>
                      <a:pt x="145" y="253"/>
                    </a:lnTo>
                    <a:lnTo>
                      <a:pt x="125" y="234"/>
                    </a:lnTo>
                    <a:lnTo>
                      <a:pt x="131" y="219"/>
                    </a:lnTo>
                    <a:lnTo>
                      <a:pt x="157" y="201"/>
                    </a:lnTo>
                    <a:lnTo>
                      <a:pt x="171" y="199"/>
                    </a:lnTo>
                    <a:lnTo>
                      <a:pt x="189" y="203"/>
                    </a:lnTo>
                    <a:lnTo>
                      <a:pt x="174" y="207"/>
                    </a:lnTo>
                    <a:lnTo>
                      <a:pt x="186" y="214"/>
                    </a:lnTo>
                    <a:lnTo>
                      <a:pt x="227" y="216"/>
                    </a:lnTo>
                    <a:lnTo>
                      <a:pt x="300" y="252"/>
                    </a:lnTo>
                    <a:lnTo>
                      <a:pt x="302" y="270"/>
                    </a:lnTo>
                    <a:lnTo>
                      <a:pt x="270" y="285"/>
                    </a:lnTo>
                    <a:lnTo>
                      <a:pt x="172" y="264"/>
                    </a:lnTo>
                    <a:lnTo>
                      <a:pt x="212" y="289"/>
                    </a:lnTo>
                    <a:lnTo>
                      <a:pt x="211" y="319"/>
                    </a:lnTo>
                    <a:lnTo>
                      <a:pt x="251" y="335"/>
                    </a:lnTo>
                    <a:lnTo>
                      <a:pt x="261" y="331"/>
                    </a:lnTo>
                    <a:lnTo>
                      <a:pt x="256" y="319"/>
                    </a:lnTo>
                    <a:lnTo>
                      <a:pt x="237" y="315"/>
                    </a:lnTo>
                    <a:lnTo>
                      <a:pt x="242" y="304"/>
                    </a:lnTo>
                    <a:lnTo>
                      <a:pt x="260" y="316"/>
                    </a:lnTo>
                    <a:lnTo>
                      <a:pt x="298" y="319"/>
                    </a:lnTo>
                    <a:lnTo>
                      <a:pt x="282" y="296"/>
                    </a:lnTo>
                    <a:lnTo>
                      <a:pt x="317" y="276"/>
                    </a:lnTo>
                    <a:lnTo>
                      <a:pt x="343" y="289"/>
                    </a:lnTo>
                    <a:lnTo>
                      <a:pt x="342" y="235"/>
                    </a:lnTo>
                    <a:lnTo>
                      <a:pt x="331" y="228"/>
                    </a:lnTo>
                    <a:lnTo>
                      <a:pt x="375" y="240"/>
                    </a:lnTo>
                    <a:lnTo>
                      <a:pt x="378" y="246"/>
                    </a:lnTo>
                    <a:lnTo>
                      <a:pt x="355" y="256"/>
                    </a:lnTo>
                    <a:lnTo>
                      <a:pt x="378" y="273"/>
                    </a:lnTo>
                    <a:lnTo>
                      <a:pt x="397" y="253"/>
                    </a:lnTo>
                    <a:lnTo>
                      <a:pt x="478" y="221"/>
                    </a:lnTo>
                    <a:lnTo>
                      <a:pt x="490" y="219"/>
                    </a:lnTo>
                    <a:lnTo>
                      <a:pt x="478" y="225"/>
                    </a:lnTo>
                    <a:lnTo>
                      <a:pt x="491" y="240"/>
                    </a:lnTo>
                    <a:lnTo>
                      <a:pt x="549" y="219"/>
                    </a:lnTo>
                    <a:lnTo>
                      <a:pt x="562" y="235"/>
                    </a:lnTo>
                    <a:lnTo>
                      <a:pt x="576" y="224"/>
                    </a:lnTo>
                    <a:lnTo>
                      <a:pt x="569" y="206"/>
                    </a:lnTo>
                    <a:lnTo>
                      <a:pt x="577" y="200"/>
                    </a:lnTo>
                    <a:lnTo>
                      <a:pt x="621" y="208"/>
                    </a:lnTo>
                    <a:lnTo>
                      <a:pt x="680" y="239"/>
                    </a:lnTo>
                    <a:lnTo>
                      <a:pt x="692" y="224"/>
                    </a:lnTo>
                    <a:lnTo>
                      <a:pt x="679" y="209"/>
                    </a:lnTo>
                    <a:lnTo>
                      <a:pt x="661" y="205"/>
                    </a:lnTo>
                    <a:lnTo>
                      <a:pt x="668" y="180"/>
                    </a:lnTo>
                    <a:lnTo>
                      <a:pt x="656" y="177"/>
                    </a:lnTo>
                    <a:lnTo>
                      <a:pt x="660" y="166"/>
                    </a:lnTo>
                    <a:lnTo>
                      <a:pt x="682" y="155"/>
                    </a:lnTo>
                    <a:lnTo>
                      <a:pt x="695" y="126"/>
                    </a:lnTo>
                    <a:lnTo>
                      <a:pt x="726" y="126"/>
                    </a:lnTo>
                    <a:lnTo>
                      <a:pt x="740" y="131"/>
                    </a:lnTo>
                    <a:lnTo>
                      <a:pt x="729" y="161"/>
                    </a:lnTo>
                    <a:lnTo>
                      <a:pt x="741" y="176"/>
                    </a:lnTo>
                    <a:lnTo>
                      <a:pt x="737" y="219"/>
                    </a:lnTo>
                    <a:lnTo>
                      <a:pt x="753" y="233"/>
                    </a:lnTo>
                    <a:lnTo>
                      <a:pt x="747" y="249"/>
                    </a:lnTo>
                    <a:lnTo>
                      <a:pt x="724" y="260"/>
                    </a:lnTo>
                    <a:lnTo>
                      <a:pt x="731" y="266"/>
                    </a:lnTo>
                    <a:lnTo>
                      <a:pt x="701" y="272"/>
                    </a:lnTo>
                    <a:lnTo>
                      <a:pt x="733" y="283"/>
                    </a:lnTo>
                    <a:lnTo>
                      <a:pt x="769" y="249"/>
                    </a:lnTo>
                    <a:lnTo>
                      <a:pt x="765" y="228"/>
                    </a:lnTo>
                    <a:lnTo>
                      <a:pt x="778" y="224"/>
                    </a:lnTo>
                    <a:lnTo>
                      <a:pt x="797" y="220"/>
                    </a:lnTo>
                    <a:lnTo>
                      <a:pt x="806" y="232"/>
                    </a:lnTo>
                    <a:lnTo>
                      <a:pt x="805" y="248"/>
                    </a:lnTo>
                    <a:lnTo>
                      <a:pt x="829" y="253"/>
                    </a:lnTo>
                    <a:lnTo>
                      <a:pt x="810" y="248"/>
                    </a:lnTo>
                    <a:lnTo>
                      <a:pt x="818" y="238"/>
                    </a:lnTo>
                    <a:lnTo>
                      <a:pt x="811" y="224"/>
                    </a:lnTo>
                    <a:lnTo>
                      <a:pt x="757" y="215"/>
                    </a:lnTo>
                    <a:lnTo>
                      <a:pt x="765" y="182"/>
                    </a:lnTo>
                    <a:lnTo>
                      <a:pt x="746" y="161"/>
                    </a:lnTo>
                    <a:lnTo>
                      <a:pt x="773" y="142"/>
                    </a:lnTo>
                    <a:lnTo>
                      <a:pt x="770" y="128"/>
                    </a:lnTo>
                    <a:lnTo>
                      <a:pt x="782" y="136"/>
                    </a:lnTo>
                    <a:lnTo>
                      <a:pt x="776" y="163"/>
                    </a:lnTo>
                    <a:lnTo>
                      <a:pt x="785" y="166"/>
                    </a:lnTo>
                    <a:lnTo>
                      <a:pt x="821" y="175"/>
                    </a:lnTo>
                    <a:lnTo>
                      <a:pt x="788" y="153"/>
                    </a:lnTo>
                    <a:lnTo>
                      <a:pt x="814" y="153"/>
                    </a:lnTo>
                    <a:lnTo>
                      <a:pt x="808" y="145"/>
                    </a:lnTo>
                    <a:lnTo>
                      <a:pt x="821" y="140"/>
                    </a:lnTo>
                    <a:lnTo>
                      <a:pt x="889" y="158"/>
                    </a:lnTo>
                    <a:lnTo>
                      <a:pt x="876" y="169"/>
                    </a:lnTo>
                    <a:lnTo>
                      <a:pt x="874" y="187"/>
                    </a:lnTo>
                    <a:lnTo>
                      <a:pt x="888" y="196"/>
                    </a:lnTo>
                    <a:lnTo>
                      <a:pt x="895" y="158"/>
                    </a:lnTo>
                    <a:lnTo>
                      <a:pt x="858" y="138"/>
                    </a:lnTo>
                    <a:lnTo>
                      <a:pt x="851" y="112"/>
                    </a:lnTo>
                    <a:lnTo>
                      <a:pt x="937" y="102"/>
                    </a:lnTo>
                    <a:lnTo>
                      <a:pt x="926" y="77"/>
                    </a:lnTo>
                    <a:lnTo>
                      <a:pt x="937" y="83"/>
                    </a:lnTo>
                    <a:lnTo>
                      <a:pt x="951" y="73"/>
                    </a:lnTo>
                    <a:lnTo>
                      <a:pt x="941" y="70"/>
                    </a:lnTo>
                    <a:lnTo>
                      <a:pt x="1030" y="50"/>
                    </a:lnTo>
                    <a:lnTo>
                      <a:pt x="1023" y="44"/>
                    </a:lnTo>
                    <a:lnTo>
                      <a:pt x="1064" y="43"/>
                    </a:lnTo>
                    <a:lnTo>
                      <a:pt x="1064" y="49"/>
                    </a:lnTo>
                    <a:lnTo>
                      <a:pt x="1074" y="49"/>
                    </a:lnTo>
                    <a:lnTo>
                      <a:pt x="1104" y="40"/>
                    </a:lnTo>
                    <a:lnTo>
                      <a:pt x="1118" y="45"/>
                    </a:lnTo>
                    <a:lnTo>
                      <a:pt x="1105" y="34"/>
                    </a:lnTo>
                    <a:lnTo>
                      <a:pt x="1139" y="32"/>
                    </a:lnTo>
                    <a:lnTo>
                      <a:pt x="1140" y="18"/>
                    </a:lnTo>
                    <a:lnTo>
                      <a:pt x="1180" y="0"/>
                    </a:lnTo>
                    <a:lnTo>
                      <a:pt x="1208" y="11"/>
                    </a:lnTo>
                    <a:lnTo>
                      <a:pt x="1184" y="21"/>
                    </a:lnTo>
                    <a:lnTo>
                      <a:pt x="1225" y="20"/>
                    </a:lnTo>
                    <a:lnTo>
                      <a:pt x="1209" y="34"/>
                    </a:lnTo>
                    <a:lnTo>
                      <a:pt x="1278" y="27"/>
                    </a:lnTo>
                    <a:lnTo>
                      <a:pt x="1316" y="49"/>
                    </a:lnTo>
                    <a:lnTo>
                      <a:pt x="1310" y="57"/>
                    </a:lnTo>
                    <a:lnTo>
                      <a:pt x="1297" y="52"/>
                    </a:lnTo>
                    <a:lnTo>
                      <a:pt x="1314" y="59"/>
                    </a:lnTo>
                    <a:lnTo>
                      <a:pt x="1306" y="72"/>
                    </a:lnTo>
                    <a:lnTo>
                      <a:pt x="1180" y="135"/>
                    </a:lnTo>
                    <a:lnTo>
                      <a:pt x="1220" y="128"/>
                    </a:lnTo>
                    <a:lnTo>
                      <a:pt x="1212" y="119"/>
                    </a:lnTo>
                    <a:lnTo>
                      <a:pt x="1276" y="107"/>
                    </a:lnTo>
                    <a:lnTo>
                      <a:pt x="1258" y="109"/>
                    </a:lnTo>
                    <a:lnTo>
                      <a:pt x="1262" y="99"/>
                    </a:lnTo>
                    <a:lnTo>
                      <a:pt x="1297" y="107"/>
                    </a:lnTo>
                    <a:lnTo>
                      <a:pt x="1303" y="99"/>
                    </a:lnTo>
                    <a:lnTo>
                      <a:pt x="1310" y="119"/>
                    </a:lnTo>
                    <a:lnTo>
                      <a:pt x="1328" y="120"/>
                    </a:lnTo>
                    <a:lnTo>
                      <a:pt x="1311" y="112"/>
                    </a:lnTo>
                    <a:lnTo>
                      <a:pt x="1345" y="107"/>
                    </a:lnTo>
                    <a:lnTo>
                      <a:pt x="1385" y="112"/>
                    </a:lnTo>
                    <a:lnTo>
                      <a:pt x="1382" y="119"/>
                    </a:lnTo>
                    <a:lnTo>
                      <a:pt x="1417" y="126"/>
                    </a:lnTo>
                    <a:lnTo>
                      <a:pt x="1447" y="124"/>
                    </a:lnTo>
                    <a:lnTo>
                      <a:pt x="1449" y="105"/>
                    </a:lnTo>
                    <a:lnTo>
                      <a:pt x="1458" y="102"/>
                    </a:lnTo>
                    <a:lnTo>
                      <a:pt x="1535" y="124"/>
                    </a:lnTo>
                    <a:lnTo>
                      <a:pt x="1525" y="158"/>
                    </a:lnTo>
                    <a:lnTo>
                      <a:pt x="1560" y="180"/>
                    </a:lnTo>
                    <a:lnTo>
                      <a:pt x="1580" y="149"/>
                    </a:lnTo>
                    <a:lnTo>
                      <a:pt x="1593" y="163"/>
                    </a:lnTo>
                    <a:lnTo>
                      <a:pt x="1620" y="158"/>
                    </a:lnTo>
                    <a:lnTo>
                      <a:pt x="1654" y="169"/>
                    </a:lnTo>
                    <a:lnTo>
                      <a:pt x="1682" y="162"/>
                    </a:lnTo>
                    <a:lnTo>
                      <a:pt x="1679" y="149"/>
                    </a:lnTo>
                    <a:lnTo>
                      <a:pt x="1698" y="128"/>
                    </a:lnTo>
                    <a:lnTo>
                      <a:pt x="1814" y="143"/>
                    </a:lnTo>
                    <a:lnTo>
                      <a:pt x="1822" y="153"/>
                    </a:lnTo>
                    <a:lnTo>
                      <a:pt x="1807" y="157"/>
                    </a:lnTo>
                    <a:lnTo>
                      <a:pt x="1845" y="162"/>
                    </a:lnTo>
                    <a:lnTo>
                      <a:pt x="1859" y="177"/>
                    </a:lnTo>
                    <a:lnTo>
                      <a:pt x="1946" y="175"/>
                    </a:lnTo>
                    <a:lnTo>
                      <a:pt x="1962" y="187"/>
                    </a:lnTo>
                    <a:lnTo>
                      <a:pt x="1956" y="201"/>
                    </a:lnTo>
                    <a:lnTo>
                      <a:pt x="1982" y="212"/>
                    </a:lnTo>
                    <a:lnTo>
                      <a:pt x="1995" y="203"/>
                    </a:lnTo>
                    <a:lnTo>
                      <a:pt x="2057" y="209"/>
                    </a:lnTo>
                    <a:lnTo>
                      <a:pt x="2069" y="201"/>
                    </a:lnTo>
                    <a:lnTo>
                      <a:pt x="2078" y="214"/>
                    </a:lnTo>
                    <a:lnTo>
                      <a:pt x="2103" y="225"/>
                    </a:lnTo>
                    <a:lnTo>
                      <a:pt x="2115" y="218"/>
                    </a:lnTo>
                    <a:lnTo>
                      <a:pt x="2102" y="206"/>
                    </a:lnTo>
                    <a:lnTo>
                      <a:pt x="2110" y="196"/>
                    </a:lnTo>
                    <a:lnTo>
                      <a:pt x="2219" y="211"/>
                    </a:lnTo>
                    <a:lnTo>
                      <a:pt x="2290" y="249"/>
                    </a:lnTo>
                    <a:lnTo>
                      <a:pt x="2306" y="249"/>
                    </a:lnTo>
                    <a:lnTo>
                      <a:pt x="2324" y="280"/>
                    </a:lnTo>
                    <a:lnTo>
                      <a:pt x="2317" y="264"/>
                    </a:lnTo>
                    <a:lnTo>
                      <a:pt x="2328" y="262"/>
                    </a:lnTo>
                    <a:lnTo>
                      <a:pt x="2335" y="268"/>
                    </a:lnTo>
                    <a:lnTo>
                      <a:pt x="2356" y="266"/>
                    </a:lnTo>
                    <a:lnTo>
                      <a:pt x="2385" y="284"/>
                    </a:lnTo>
                    <a:lnTo>
                      <a:pt x="2343" y="304"/>
                    </a:lnTo>
                    <a:lnTo>
                      <a:pt x="2352" y="309"/>
                    </a:lnTo>
                    <a:lnTo>
                      <a:pt x="2337" y="313"/>
                    </a:lnTo>
                    <a:lnTo>
                      <a:pt x="2349" y="320"/>
                    </a:lnTo>
                    <a:lnTo>
                      <a:pt x="2324" y="321"/>
                    </a:lnTo>
                    <a:lnTo>
                      <a:pt x="2316" y="309"/>
                    </a:lnTo>
                    <a:lnTo>
                      <a:pt x="2306" y="314"/>
                    </a:lnTo>
                    <a:lnTo>
                      <a:pt x="2290" y="296"/>
                    </a:lnTo>
                    <a:lnTo>
                      <a:pt x="2262" y="296"/>
                    </a:lnTo>
                    <a:lnTo>
                      <a:pt x="2255" y="285"/>
                    </a:lnTo>
                    <a:lnTo>
                      <a:pt x="2261" y="280"/>
                    </a:lnTo>
                    <a:lnTo>
                      <a:pt x="2250" y="280"/>
                    </a:lnTo>
                    <a:lnTo>
                      <a:pt x="2241" y="284"/>
                    </a:lnTo>
                    <a:lnTo>
                      <a:pt x="2252" y="297"/>
                    </a:lnTo>
                    <a:lnTo>
                      <a:pt x="2245" y="304"/>
                    </a:lnTo>
                    <a:lnTo>
                      <a:pt x="2221" y="317"/>
                    </a:lnTo>
                    <a:lnTo>
                      <a:pt x="2205" y="314"/>
                    </a:lnTo>
                    <a:lnTo>
                      <a:pt x="2232" y="350"/>
                    </a:lnTo>
                    <a:lnTo>
                      <a:pt x="2228" y="363"/>
                    </a:lnTo>
                    <a:lnTo>
                      <a:pt x="2200" y="353"/>
                    </a:lnTo>
                    <a:lnTo>
                      <a:pt x="2201" y="359"/>
                    </a:lnTo>
                    <a:lnTo>
                      <a:pt x="2150" y="376"/>
                    </a:lnTo>
                    <a:lnTo>
                      <a:pt x="2105" y="412"/>
                    </a:lnTo>
                    <a:lnTo>
                      <a:pt x="2075" y="399"/>
                    </a:lnTo>
                    <a:lnTo>
                      <a:pt x="2047" y="413"/>
                    </a:lnTo>
                    <a:lnTo>
                      <a:pt x="2047" y="400"/>
                    </a:lnTo>
                    <a:lnTo>
                      <a:pt x="2031" y="414"/>
                    </a:lnTo>
                    <a:lnTo>
                      <a:pt x="2011" y="412"/>
                    </a:lnTo>
                    <a:lnTo>
                      <a:pt x="1990" y="448"/>
                    </a:lnTo>
                    <a:lnTo>
                      <a:pt x="2006" y="455"/>
                    </a:lnTo>
                    <a:lnTo>
                      <a:pt x="1999" y="466"/>
                    </a:lnTo>
                    <a:lnTo>
                      <a:pt x="2008" y="484"/>
                    </a:lnTo>
                    <a:lnTo>
                      <a:pt x="1993" y="481"/>
                    </a:lnTo>
                    <a:lnTo>
                      <a:pt x="1985" y="496"/>
                    </a:lnTo>
                    <a:lnTo>
                      <a:pt x="1990" y="511"/>
                    </a:lnTo>
                    <a:lnTo>
                      <a:pt x="1959" y="523"/>
                    </a:lnTo>
                    <a:lnTo>
                      <a:pt x="1962" y="538"/>
                    </a:lnTo>
                    <a:lnTo>
                      <a:pt x="1942" y="543"/>
                    </a:lnTo>
                    <a:lnTo>
                      <a:pt x="1936" y="560"/>
                    </a:lnTo>
                    <a:lnTo>
                      <a:pt x="1918" y="579"/>
                    </a:lnTo>
                    <a:lnTo>
                      <a:pt x="1902" y="511"/>
                    </a:lnTo>
                    <a:lnTo>
                      <a:pt x="1904" y="474"/>
                    </a:lnTo>
                    <a:lnTo>
                      <a:pt x="1918" y="452"/>
                    </a:lnTo>
                    <a:lnTo>
                      <a:pt x="1939" y="448"/>
                    </a:lnTo>
                    <a:lnTo>
                      <a:pt x="1988" y="402"/>
                    </a:lnTo>
                    <a:lnTo>
                      <a:pt x="2012" y="393"/>
                    </a:lnTo>
                    <a:lnTo>
                      <a:pt x="2020" y="367"/>
                    </a:lnTo>
                    <a:lnTo>
                      <a:pt x="2031" y="360"/>
                    </a:lnTo>
                    <a:lnTo>
                      <a:pt x="2011" y="359"/>
                    </a:lnTo>
                    <a:lnTo>
                      <a:pt x="2006" y="380"/>
                    </a:lnTo>
                    <a:lnTo>
                      <a:pt x="1964" y="399"/>
                    </a:lnTo>
                    <a:lnTo>
                      <a:pt x="1968" y="371"/>
                    </a:lnTo>
                    <a:lnTo>
                      <a:pt x="1923" y="377"/>
                    </a:lnTo>
                    <a:lnTo>
                      <a:pt x="1880" y="413"/>
                    </a:lnTo>
                    <a:lnTo>
                      <a:pt x="1888" y="428"/>
                    </a:lnTo>
                    <a:lnTo>
                      <a:pt x="1843" y="433"/>
                    </a:lnTo>
                    <a:lnTo>
                      <a:pt x="1837" y="428"/>
                    </a:lnTo>
                    <a:lnTo>
                      <a:pt x="1853" y="426"/>
                    </a:lnTo>
                    <a:lnTo>
                      <a:pt x="1815" y="417"/>
                    </a:lnTo>
                    <a:lnTo>
                      <a:pt x="1805" y="426"/>
                    </a:lnTo>
                    <a:lnTo>
                      <a:pt x="1719" y="427"/>
                    </a:lnTo>
                    <a:lnTo>
                      <a:pt x="1617" y="509"/>
                    </a:lnTo>
                    <a:lnTo>
                      <a:pt x="1637" y="513"/>
                    </a:lnTo>
                    <a:lnTo>
                      <a:pt x="1637" y="528"/>
                    </a:lnTo>
                    <a:lnTo>
                      <a:pt x="1649" y="519"/>
                    </a:lnTo>
                    <a:lnTo>
                      <a:pt x="1646" y="531"/>
                    </a:lnTo>
                    <a:lnTo>
                      <a:pt x="1661" y="524"/>
                    </a:lnTo>
                    <a:lnTo>
                      <a:pt x="1659" y="532"/>
                    </a:lnTo>
                    <a:lnTo>
                      <a:pt x="1664" y="519"/>
                    </a:lnTo>
                    <a:lnTo>
                      <a:pt x="1679" y="519"/>
                    </a:lnTo>
                    <a:lnTo>
                      <a:pt x="1701" y="536"/>
                    </a:lnTo>
                    <a:lnTo>
                      <a:pt x="1682" y="538"/>
                    </a:lnTo>
                    <a:lnTo>
                      <a:pt x="1699" y="544"/>
                    </a:lnTo>
                    <a:lnTo>
                      <a:pt x="1703" y="555"/>
                    </a:lnTo>
                    <a:lnTo>
                      <a:pt x="1689" y="581"/>
                    </a:lnTo>
                    <a:lnTo>
                      <a:pt x="1686" y="621"/>
                    </a:lnTo>
                    <a:lnTo>
                      <a:pt x="1614" y="703"/>
                    </a:lnTo>
                    <a:lnTo>
                      <a:pt x="1589" y="714"/>
                    </a:lnTo>
                    <a:lnTo>
                      <a:pt x="1569" y="703"/>
                    </a:lnTo>
                    <a:lnTo>
                      <a:pt x="1552" y="719"/>
                    </a:lnTo>
                    <a:lnTo>
                      <a:pt x="1550" y="715"/>
                    </a:lnTo>
                    <a:lnTo>
                      <a:pt x="1560" y="703"/>
                    </a:lnTo>
                    <a:lnTo>
                      <a:pt x="1556" y="682"/>
                    </a:lnTo>
                    <a:lnTo>
                      <a:pt x="1586" y="674"/>
                    </a:lnTo>
                    <a:lnTo>
                      <a:pt x="1611" y="619"/>
                    </a:lnTo>
                    <a:lnTo>
                      <a:pt x="1558" y="632"/>
                    </a:lnTo>
                    <a:lnTo>
                      <a:pt x="1550" y="611"/>
                    </a:lnTo>
                    <a:lnTo>
                      <a:pt x="1508" y="599"/>
                    </a:lnTo>
                    <a:lnTo>
                      <a:pt x="1482" y="542"/>
                    </a:lnTo>
                    <a:lnTo>
                      <a:pt x="1454" y="532"/>
                    </a:lnTo>
                    <a:lnTo>
                      <a:pt x="1403" y="547"/>
                    </a:lnTo>
                    <a:lnTo>
                      <a:pt x="1413" y="559"/>
                    </a:lnTo>
                    <a:lnTo>
                      <a:pt x="1392" y="593"/>
                    </a:lnTo>
                    <a:lnTo>
                      <a:pt x="1372" y="602"/>
                    </a:lnTo>
                    <a:lnTo>
                      <a:pt x="1351" y="594"/>
                    </a:lnTo>
                    <a:lnTo>
                      <a:pt x="1325" y="590"/>
                    </a:lnTo>
                    <a:lnTo>
                      <a:pt x="1259" y="605"/>
                    </a:lnTo>
                    <a:lnTo>
                      <a:pt x="1201" y="583"/>
                    </a:lnTo>
                    <a:lnTo>
                      <a:pt x="1164" y="586"/>
                    </a:lnTo>
                    <a:lnTo>
                      <a:pt x="1150" y="568"/>
                    </a:lnTo>
                    <a:lnTo>
                      <a:pt x="1113" y="555"/>
                    </a:lnTo>
                    <a:lnTo>
                      <a:pt x="1094" y="568"/>
                    </a:lnTo>
                    <a:lnTo>
                      <a:pt x="1092" y="594"/>
                    </a:lnTo>
                    <a:lnTo>
                      <a:pt x="1009" y="583"/>
                    </a:lnTo>
                    <a:lnTo>
                      <a:pt x="964" y="605"/>
                    </a:lnTo>
                    <a:lnTo>
                      <a:pt x="941" y="615"/>
                    </a:lnTo>
                    <a:lnTo>
                      <a:pt x="911" y="597"/>
                    </a:lnTo>
                    <a:lnTo>
                      <a:pt x="892" y="607"/>
                    </a:lnTo>
                    <a:lnTo>
                      <a:pt x="856" y="594"/>
                    </a:lnTo>
                    <a:lnTo>
                      <a:pt x="843" y="593"/>
                    </a:lnTo>
                    <a:lnTo>
                      <a:pt x="832" y="573"/>
                    </a:lnTo>
                    <a:lnTo>
                      <a:pt x="814" y="573"/>
                    </a:lnTo>
                    <a:lnTo>
                      <a:pt x="805" y="577"/>
                    </a:lnTo>
                    <a:lnTo>
                      <a:pt x="791" y="562"/>
                    </a:lnTo>
                    <a:lnTo>
                      <a:pt x="780" y="566"/>
                    </a:lnTo>
                    <a:lnTo>
                      <a:pt x="770" y="571"/>
                    </a:lnTo>
                    <a:lnTo>
                      <a:pt x="731" y="539"/>
                    </a:lnTo>
                    <a:lnTo>
                      <a:pt x="720" y="537"/>
                    </a:lnTo>
                    <a:lnTo>
                      <a:pt x="693" y="513"/>
                    </a:lnTo>
                    <a:lnTo>
                      <a:pt x="668" y="528"/>
                    </a:lnTo>
                    <a:lnTo>
                      <a:pt x="664" y="518"/>
                    </a:lnTo>
                    <a:lnTo>
                      <a:pt x="627" y="517"/>
                    </a:lnTo>
                    <a:lnTo>
                      <a:pt x="613" y="499"/>
                    </a:lnTo>
                    <a:lnTo>
                      <a:pt x="594" y="501"/>
                    </a:lnTo>
                    <a:lnTo>
                      <a:pt x="587" y="508"/>
                    </a:lnTo>
                    <a:lnTo>
                      <a:pt x="562" y="512"/>
                    </a:lnTo>
                    <a:lnTo>
                      <a:pt x="555" y="508"/>
                    </a:lnTo>
                    <a:lnTo>
                      <a:pt x="546" y="521"/>
                    </a:lnTo>
                    <a:lnTo>
                      <a:pt x="539" y="518"/>
                    </a:lnTo>
                    <a:lnTo>
                      <a:pt x="509" y="522"/>
                    </a:lnTo>
                    <a:lnTo>
                      <a:pt x="500" y="518"/>
                    </a:lnTo>
                    <a:lnTo>
                      <a:pt x="496" y="522"/>
                    </a:lnTo>
                    <a:lnTo>
                      <a:pt x="511" y="537"/>
                    </a:lnTo>
                    <a:lnTo>
                      <a:pt x="501" y="546"/>
                    </a:lnTo>
                    <a:lnTo>
                      <a:pt x="501" y="558"/>
                    </a:lnTo>
                    <a:lnTo>
                      <a:pt x="519" y="559"/>
                    </a:lnTo>
                    <a:lnTo>
                      <a:pt x="525" y="571"/>
                    </a:lnTo>
                    <a:lnTo>
                      <a:pt x="521" y="579"/>
                    </a:lnTo>
                    <a:lnTo>
                      <a:pt x="509" y="573"/>
                    </a:lnTo>
                    <a:lnTo>
                      <a:pt x="500" y="579"/>
                    </a:lnTo>
                    <a:lnTo>
                      <a:pt x="490" y="574"/>
                    </a:lnTo>
                    <a:lnTo>
                      <a:pt x="486" y="566"/>
                    </a:lnTo>
                    <a:lnTo>
                      <a:pt x="474" y="571"/>
                    </a:lnTo>
                    <a:lnTo>
                      <a:pt x="466" y="567"/>
                    </a:lnTo>
                    <a:lnTo>
                      <a:pt x="456" y="573"/>
                    </a:lnTo>
                    <a:lnTo>
                      <a:pt x="443" y="575"/>
                    </a:lnTo>
                    <a:lnTo>
                      <a:pt x="436" y="566"/>
                    </a:lnTo>
                    <a:lnTo>
                      <a:pt x="390" y="563"/>
                    </a:lnTo>
                    <a:lnTo>
                      <a:pt x="385" y="568"/>
                    </a:lnTo>
                    <a:lnTo>
                      <a:pt x="381" y="567"/>
                    </a:lnTo>
                    <a:lnTo>
                      <a:pt x="374" y="577"/>
                    </a:lnTo>
                    <a:lnTo>
                      <a:pt x="375" y="587"/>
                    </a:lnTo>
                    <a:lnTo>
                      <a:pt x="369" y="587"/>
                    </a:lnTo>
                    <a:lnTo>
                      <a:pt x="365" y="579"/>
                    </a:lnTo>
                    <a:lnTo>
                      <a:pt x="359" y="580"/>
                    </a:lnTo>
                    <a:lnTo>
                      <a:pt x="358" y="608"/>
                    </a:lnTo>
                    <a:lnTo>
                      <a:pt x="364" y="617"/>
                    </a:lnTo>
                    <a:lnTo>
                      <a:pt x="364" y="625"/>
                    </a:lnTo>
                    <a:lnTo>
                      <a:pt x="372" y="623"/>
                    </a:lnTo>
                    <a:lnTo>
                      <a:pt x="381" y="619"/>
                    </a:lnTo>
                    <a:lnTo>
                      <a:pt x="389" y="632"/>
                    </a:lnTo>
                    <a:lnTo>
                      <a:pt x="395" y="640"/>
                    </a:lnTo>
                    <a:lnTo>
                      <a:pt x="402" y="651"/>
                    </a:lnTo>
                    <a:lnTo>
                      <a:pt x="412" y="653"/>
                    </a:lnTo>
                    <a:lnTo>
                      <a:pt x="399" y="661"/>
                    </a:lnTo>
                    <a:lnTo>
                      <a:pt x="390" y="654"/>
                    </a:lnTo>
                    <a:lnTo>
                      <a:pt x="380" y="686"/>
                    </a:lnTo>
                    <a:lnTo>
                      <a:pt x="391" y="694"/>
                    </a:lnTo>
                    <a:lnTo>
                      <a:pt x="401" y="724"/>
                    </a:lnTo>
                    <a:lnTo>
                      <a:pt x="392" y="719"/>
                    </a:lnTo>
                    <a:lnTo>
                      <a:pt x="382" y="715"/>
                    </a:lnTo>
                    <a:lnTo>
                      <a:pt x="372" y="714"/>
                    </a:lnTo>
                    <a:lnTo>
                      <a:pt x="364" y="710"/>
                    </a:lnTo>
                    <a:lnTo>
                      <a:pt x="357" y="709"/>
                    </a:lnTo>
                    <a:lnTo>
                      <a:pt x="351" y="699"/>
                    </a:lnTo>
                    <a:lnTo>
                      <a:pt x="336" y="705"/>
                    </a:lnTo>
                    <a:lnTo>
                      <a:pt x="323" y="705"/>
                    </a:lnTo>
                    <a:lnTo>
                      <a:pt x="314" y="695"/>
                    </a:lnTo>
                    <a:lnTo>
                      <a:pt x="292" y="686"/>
                    </a:lnTo>
                    <a:lnTo>
                      <a:pt x="269" y="688"/>
                    </a:lnTo>
                    <a:lnTo>
                      <a:pt x="246" y="673"/>
                    </a:lnTo>
                    <a:lnTo>
                      <a:pt x="264" y="659"/>
                    </a:lnTo>
                    <a:lnTo>
                      <a:pt x="266" y="647"/>
                    </a:lnTo>
                    <a:lnTo>
                      <a:pt x="266" y="635"/>
                    </a:lnTo>
                    <a:lnTo>
                      <a:pt x="268" y="626"/>
                    </a:lnTo>
                    <a:lnTo>
                      <a:pt x="280" y="622"/>
                    </a:lnTo>
                    <a:lnTo>
                      <a:pt x="273" y="603"/>
                    </a:lnTo>
                    <a:lnTo>
                      <a:pt x="259" y="599"/>
                    </a:lnTo>
                    <a:lnTo>
                      <a:pt x="252" y="596"/>
                    </a:lnTo>
                    <a:lnTo>
                      <a:pt x="242" y="599"/>
                    </a:lnTo>
                    <a:lnTo>
                      <a:pt x="222" y="594"/>
                    </a:lnTo>
                    <a:lnTo>
                      <a:pt x="205" y="576"/>
                    </a:lnTo>
                    <a:lnTo>
                      <a:pt x="192" y="570"/>
                    </a:lnTo>
                    <a:lnTo>
                      <a:pt x="186" y="553"/>
                    </a:lnTo>
                    <a:lnTo>
                      <a:pt x="174" y="552"/>
                    </a:lnTo>
                    <a:lnTo>
                      <a:pt x="163" y="557"/>
                    </a:lnTo>
                    <a:lnTo>
                      <a:pt x="155" y="560"/>
                    </a:lnTo>
                    <a:lnTo>
                      <a:pt x="152" y="553"/>
                    </a:lnTo>
                    <a:lnTo>
                      <a:pt x="146" y="545"/>
                    </a:lnTo>
                    <a:lnTo>
                      <a:pt x="162" y="544"/>
                    </a:lnTo>
                    <a:lnTo>
                      <a:pt x="161" y="539"/>
                    </a:lnTo>
                    <a:lnTo>
                      <a:pt x="157" y="535"/>
                    </a:lnTo>
                    <a:lnTo>
                      <a:pt x="152" y="531"/>
                    </a:lnTo>
                    <a:lnTo>
                      <a:pt x="143" y="512"/>
                    </a:lnTo>
                    <a:lnTo>
                      <a:pt x="131" y="502"/>
                    </a:lnTo>
                    <a:lnTo>
                      <a:pt x="118" y="502"/>
                    </a:lnTo>
                    <a:lnTo>
                      <a:pt x="106" y="502"/>
                    </a:lnTo>
                    <a:lnTo>
                      <a:pt x="97" y="496"/>
                    </a:lnTo>
                    <a:lnTo>
                      <a:pt x="89" y="494"/>
                    </a:lnTo>
                    <a:lnTo>
                      <a:pt x="81" y="494"/>
                    </a:lnTo>
                    <a:lnTo>
                      <a:pt x="77" y="499"/>
                    </a:lnTo>
                    <a:lnTo>
                      <a:pt x="68" y="508"/>
                    </a:lnTo>
                    <a:lnTo>
                      <a:pt x="67" y="515"/>
                    </a:lnTo>
                    <a:lnTo>
                      <a:pt x="63" y="518"/>
                    </a:lnTo>
                    <a:lnTo>
                      <a:pt x="58" y="531"/>
                    </a:lnTo>
                    <a:lnTo>
                      <a:pt x="55" y="527"/>
                    </a:lnTo>
                    <a:lnTo>
                      <a:pt x="53" y="522"/>
                    </a:lnTo>
                    <a:lnTo>
                      <a:pt x="0" y="515"/>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53" name="Freeform 9"/>
              <p:cNvSpPr>
                <a:spLocks noEditPoints="1"/>
              </p:cNvSpPr>
              <p:nvPr/>
            </p:nvSpPr>
            <p:spPr bwMode="auto">
              <a:xfrm>
                <a:off x="3013" y="809"/>
                <a:ext cx="2390" cy="728"/>
              </a:xfrm>
              <a:custGeom>
                <a:avLst/>
                <a:gdLst/>
                <a:ahLst/>
                <a:cxnLst>
                  <a:cxn ang="0">
                    <a:pos x="432" y="1778"/>
                  </a:cxn>
                  <a:cxn ang="0">
                    <a:pos x="611" y="908"/>
                  </a:cxn>
                  <a:cxn ang="0">
                    <a:pos x="847" y="1334"/>
                  </a:cxn>
                  <a:cxn ang="0">
                    <a:pos x="1696" y="960"/>
                  </a:cxn>
                  <a:cxn ang="0">
                    <a:pos x="2309" y="806"/>
                  </a:cxn>
                  <a:cxn ang="0">
                    <a:pos x="2428" y="1208"/>
                  </a:cxn>
                  <a:cxn ang="0">
                    <a:pos x="2574" y="718"/>
                  </a:cxn>
                  <a:cxn ang="0">
                    <a:pos x="3035" y="755"/>
                  </a:cxn>
                  <a:cxn ang="0">
                    <a:pos x="3528" y="201"/>
                  </a:cxn>
                  <a:cxn ang="0">
                    <a:pos x="4238" y="93"/>
                  </a:cxn>
                  <a:cxn ang="0">
                    <a:pos x="4338" y="484"/>
                  </a:cxn>
                  <a:cxn ang="0">
                    <a:pos x="5001" y="459"/>
                  </a:cxn>
                  <a:cxn ang="0">
                    <a:pos x="6293" y="686"/>
                  </a:cxn>
                  <a:cxn ang="0">
                    <a:pos x="7251" y="913"/>
                  </a:cxn>
                  <a:cxn ang="0">
                    <a:pos x="8120" y="1369"/>
                  </a:cxn>
                  <a:cxn ang="0">
                    <a:pos x="7671" y="1402"/>
                  </a:cxn>
                  <a:cxn ang="0">
                    <a:pos x="6876" y="1970"/>
                  </a:cxn>
                  <a:cxn ang="0">
                    <a:pos x="6565" y="2081"/>
                  </a:cxn>
                  <a:cxn ang="0">
                    <a:pos x="6526" y="1884"/>
                  </a:cxn>
                  <a:cxn ang="0">
                    <a:pos x="5744" y="2301"/>
                  </a:cxn>
                  <a:cxn ang="0">
                    <a:pos x="5353" y="3156"/>
                  </a:cxn>
                  <a:cxn ang="0">
                    <a:pos x="4743" y="2648"/>
                  </a:cxn>
                  <a:cxn ang="0">
                    <a:pos x="3086" y="2668"/>
                  </a:cxn>
                  <a:cxn ang="0">
                    <a:pos x="2170" y="2276"/>
                  </a:cxn>
                  <a:cxn ang="0">
                    <a:pos x="1738" y="2442"/>
                  </a:cxn>
                  <a:cxn ang="0">
                    <a:pos x="1342" y="2497"/>
                  </a:cxn>
                  <a:cxn ang="0">
                    <a:pos x="1396" y="2847"/>
                  </a:cxn>
                  <a:cxn ang="0">
                    <a:pos x="1168" y="3101"/>
                  </a:cxn>
                  <a:cxn ang="0">
                    <a:pos x="841" y="2634"/>
                  </a:cxn>
                  <a:cxn ang="0">
                    <a:pos x="495" y="2255"/>
                  </a:cxn>
                  <a:cxn ang="0">
                    <a:pos x="199" y="2290"/>
                  </a:cxn>
                  <a:cxn ang="0">
                    <a:pos x="568" y="2359"/>
                  </a:cxn>
                  <a:cxn ang="0">
                    <a:pos x="958" y="2646"/>
                  </a:cxn>
                  <a:cxn ang="0">
                    <a:pos x="1266" y="3109"/>
                  </a:cxn>
                  <a:cxn ang="0">
                    <a:pos x="1293" y="2743"/>
                  </a:cxn>
                  <a:cxn ang="0">
                    <a:pos x="1581" y="2509"/>
                  </a:cxn>
                  <a:cxn ang="0">
                    <a:pos x="1713" y="2285"/>
                  </a:cxn>
                  <a:cxn ang="0">
                    <a:pos x="2495" y="2353"/>
                  </a:cxn>
                  <a:cxn ang="0">
                    <a:pos x="3776" y="2597"/>
                  </a:cxn>
                  <a:cxn ang="0">
                    <a:pos x="5024" y="2328"/>
                  </a:cxn>
                  <a:cxn ang="0">
                    <a:pos x="5814" y="2720"/>
                  </a:cxn>
                  <a:cxn ang="0">
                    <a:pos x="5650" y="2324"/>
                  </a:cxn>
                  <a:cxn ang="0">
                    <a:pos x="6802" y="1633"/>
                  </a:cxn>
                  <a:cxn ang="0">
                    <a:pos x="6696" y="2380"/>
                  </a:cxn>
                  <a:cxn ang="0">
                    <a:pos x="7061" y="1808"/>
                  </a:cxn>
                  <a:cxn ang="0">
                    <a:pos x="7762" y="1228"/>
                  </a:cxn>
                  <a:cxn ang="0">
                    <a:pos x="8228" y="1245"/>
                  </a:cxn>
                  <a:cxn ang="0">
                    <a:pos x="7167" y="954"/>
                  </a:cxn>
                  <a:cxn ang="0">
                    <a:pos x="5870" y="573"/>
                  </a:cxn>
                  <a:cxn ang="0">
                    <a:pos x="4770" y="538"/>
                  </a:cxn>
                  <a:cxn ang="0">
                    <a:pos x="4223" y="569"/>
                  </a:cxn>
                  <a:cxn ang="0">
                    <a:pos x="4075" y="16"/>
                  </a:cxn>
                  <a:cxn ang="0">
                    <a:pos x="3295" y="327"/>
                  </a:cxn>
                  <a:cxn ang="0">
                    <a:pos x="2821" y="676"/>
                  </a:cxn>
                  <a:cxn ang="0">
                    <a:pos x="2808" y="1096"/>
                  </a:cxn>
                  <a:cxn ang="0">
                    <a:pos x="2595" y="1028"/>
                  </a:cxn>
                  <a:cxn ang="0">
                    <a:pos x="2359" y="1058"/>
                  </a:cxn>
                  <a:cxn ang="0">
                    <a:pos x="1311" y="1210"/>
                  </a:cxn>
                  <a:cxn ang="0">
                    <a:pos x="830" y="1377"/>
                  </a:cxn>
                  <a:cxn ang="0">
                    <a:pos x="659" y="904"/>
                  </a:cxn>
                  <a:cxn ang="0">
                    <a:pos x="521" y="1813"/>
                  </a:cxn>
                </a:cxnLst>
                <a:rect l="0" t="0" r="r" b="b"/>
                <a:pathLst>
                  <a:path w="8241" h="3185">
                    <a:moveTo>
                      <a:pt x="7" y="2268"/>
                    </a:moveTo>
                    <a:cubicBezTo>
                      <a:pt x="4" y="2267"/>
                      <a:pt x="2" y="2265"/>
                      <a:pt x="1" y="2262"/>
                    </a:cubicBezTo>
                    <a:cubicBezTo>
                      <a:pt x="0" y="2260"/>
                      <a:pt x="1" y="2257"/>
                      <a:pt x="3" y="2254"/>
                    </a:cubicBezTo>
                    <a:lnTo>
                      <a:pt x="71" y="2181"/>
                    </a:lnTo>
                    <a:cubicBezTo>
                      <a:pt x="73" y="2178"/>
                      <a:pt x="78" y="2178"/>
                      <a:pt x="82" y="2180"/>
                    </a:cubicBezTo>
                    <a:cubicBezTo>
                      <a:pt x="85" y="2183"/>
                      <a:pt x="85" y="2188"/>
                      <a:pt x="83" y="2191"/>
                    </a:cubicBezTo>
                    <a:lnTo>
                      <a:pt x="61" y="2221"/>
                    </a:lnTo>
                    <a:lnTo>
                      <a:pt x="56" y="2209"/>
                    </a:lnTo>
                    <a:lnTo>
                      <a:pt x="87" y="2217"/>
                    </a:lnTo>
                    <a:lnTo>
                      <a:pt x="77" y="2225"/>
                    </a:lnTo>
                    <a:lnTo>
                      <a:pt x="68" y="2077"/>
                    </a:lnTo>
                    <a:cubicBezTo>
                      <a:pt x="68" y="2076"/>
                      <a:pt x="69" y="2075"/>
                      <a:pt x="69" y="2074"/>
                    </a:cubicBezTo>
                    <a:lnTo>
                      <a:pt x="97" y="2004"/>
                    </a:lnTo>
                    <a:cubicBezTo>
                      <a:pt x="98" y="2001"/>
                      <a:pt x="100" y="1999"/>
                      <a:pt x="102" y="1999"/>
                    </a:cubicBezTo>
                    <a:lnTo>
                      <a:pt x="143" y="1989"/>
                    </a:lnTo>
                    <a:cubicBezTo>
                      <a:pt x="145" y="1988"/>
                      <a:pt x="148" y="1989"/>
                      <a:pt x="150" y="1990"/>
                    </a:cubicBezTo>
                    <a:lnTo>
                      <a:pt x="229" y="2055"/>
                    </a:lnTo>
                    <a:lnTo>
                      <a:pt x="216" y="2060"/>
                    </a:lnTo>
                    <a:lnTo>
                      <a:pt x="234" y="1937"/>
                    </a:lnTo>
                    <a:lnTo>
                      <a:pt x="242" y="1946"/>
                    </a:lnTo>
                    <a:lnTo>
                      <a:pt x="207" y="1948"/>
                    </a:lnTo>
                    <a:cubicBezTo>
                      <a:pt x="203" y="1948"/>
                      <a:pt x="200" y="1945"/>
                      <a:pt x="199" y="1941"/>
                    </a:cubicBezTo>
                    <a:lnTo>
                      <a:pt x="185" y="1870"/>
                    </a:lnTo>
                    <a:cubicBezTo>
                      <a:pt x="184" y="1865"/>
                      <a:pt x="187" y="1861"/>
                      <a:pt x="191" y="1860"/>
                    </a:cubicBezTo>
                    <a:lnTo>
                      <a:pt x="518" y="1797"/>
                    </a:lnTo>
                    <a:lnTo>
                      <a:pt x="517" y="1813"/>
                    </a:lnTo>
                    <a:lnTo>
                      <a:pt x="437" y="1786"/>
                    </a:lnTo>
                    <a:cubicBezTo>
                      <a:pt x="434" y="1785"/>
                      <a:pt x="432" y="1781"/>
                      <a:pt x="432" y="1778"/>
                    </a:cubicBezTo>
                    <a:lnTo>
                      <a:pt x="435" y="1741"/>
                    </a:lnTo>
                    <a:lnTo>
                      <a:pt x="445" y="1749"/>
                    </a:lnTo>
                    <a:lnTo>
                      <a:pt x="396" y="1763"/>
                    </a:lnTo>
                    <a:cubicBezTo>
                      <a:pt x="393" y="1764"/>
                      <a:pt x="389" y="1762"/>
                      <a:pt x="387" y="1759"/>
                    </a:cubicBezTo>
                    <a:cubicBezTo>
                      <a:pt x="385" y="1756"/>
                      <a:pt x="386" y="1752"/>
                      <a:pt x="389" y="1749"/>
                    </a:cubicBezTo>
                    <a:lnTo>
                      <a:pt x="573" y="1563"/>
                    </a:lnTo>
                    <a:lnTo>
                      <a:pt x="571" y="1571"/>
                    </a:lnTo>
                    <a:lnTo>
                      <a:pt x="489" y="1375"/>
                    </a:lnTo>
                    <a:cubicBezTo>
                      <a:pt x="489" y="1373"/>
                      <a:pt x="489" y="1372"/>
                      <a:pt x="489" y="1370"/>
                    </a:cubicBezTo>
                    <a:lnTo>
                      <a:pt x="508" y="1275"/>
                    </a:lnTo>
                    <a:lnTo>
                      <a:pt x="509" y="1280"/>
                    </a:lnTo>
                    <a:lnTo>
                      <a:pt x="459" y="1177"/>
                    </a:lnTo>
                    <a:cubicBezTo>
                      <a:pt x="458" y="1174"/>
                      <a:pt x="458" y="1171"/>
                      <a:pt x="460" y="1169"/>
                    </a:cubicBezTo>
                    <a:lnTo>
                      <a:pt x="501" y="1110"/>
                    </a:lnTo>
                    <a:lnTo>
                      <a:pt x="502" y="1120"/>
                    </a:lnTo>
                    <a:lnTo>
                      <a:pt x="434" y="1038"/>
                    </a:lnTo>
                    <a:cubicBezTo>
                      <a:pt x="432" y="1036"/>
                      <a:pt x="432" y="1034"/>
                      <a:pt x="432" y="1031"/>
                    </a:cubicBezTo>
                    <a:lnTo>
                      <a:pt x="452" y="963"/>
                    </a:lnTo>
                    <a:cubicBezTo>
                      <a:pt x="452" y="961"/>
                      <a:pt x="453" y="960"/>
                      <a:pt x="454" y="959"/>
                    </a:cubicBezTo>
                    <a:lnTo>
                      <a:pt x="543" y="884"/>
                    </a:lnTo>
                    <a:cubicBezTo>
                      <a:pt x="544" y="883"/>
                      <a:pt x="545" y="882"/>
                      <a:pt x="547" y="882"/>
                    </a:cubicBezTo>
                    <a:lnTo>
                      <a:pt x="597" y="872"/>
                    </a:lnTo>
                    <a:cubicBezTo>
                      <a:pt x="598" y="872"/>
                      <a:pt x="599" y="872"/>
                      <a:pt x="600" y="872"/>
                    </a:cubicBezTo>
                    <a:lnTo>
                      <a:pt x="663" y="889"/>
                    </a:lnTo>
                    <a:cubicBezTo>
                      <a:pt x="666" y="890"/>
                      <a:pt x="669" y="893"/>
                      <a:pt x="669" y="896"/>
                    </a:cubicBezTo>
                    <a:cubicBezTo>
                      <a:pt x="669" y="900"/>
                      <a:pt x="667" y="903"/>
                      <a:pt x="663" y="904"/>
                    </a:cubicBezTo>
                    <a:lnTo>
                      <a:pt x="609" y="923"/>
                    </a:lnTo>
                    <a:lnTo>
                      <a:pt x="611" y="908"/>
                    </a:lnTo>
                    <a:lnTo>
                      <a:pt x="653" y="937"/>
                    </a:lnTo>
                    <a:lnTo>
                      <a:pt x="649" y="935"/>
                    </a:lnTo>
                    <a:lnTo>
                      <a:pt x="792" y="944"/>
                    </a:lnTo>
                    <a:cubicBezTo>
                      <a:pt x="793" y="944"/>
                      <a:pt x="794" y="944"/>
                      <a:pt x="795" y="945"/>
                    </a:cubicBezTo>
                    <a:lnTo>
                      <a:pt x="1046" y="1103"/>
                    </a:lnTo>
                    <a:cubicBezTo>
                      <a:pt x="1049" y="1105"/>
                      <a:pt x="1050" y="1107"/>
                      <a:pt x="1050" y="1109"/>
                    </a:cubicBezTo>
                    <a:lnTo>
                      <a:pt x="1057" y="1188"/>
                    </a:lnTo>
                    <a:cubicBezTo>
                      <a:pt x="1057" y="1191"/>
                      <a:pt x="1056" y="1194"/>
                      <a:pt x="1053" y="1195"/>
                    </a:cubicBezTo>
                    <a:lnTo>
                      <a:pt x="942" y="1263"/>
                    </a:lnTo>
                    <a:cubicBezTo>
                      <a:pt x="940" y="1265"/>
                      <a:pt x="938" y="1265"/>
                      <a:pt x="936" y="1264"/>
                    </a:cubicBezTo>
                    <a:lnTo>
                      <a:pt x="599" y="1169"/>
                    </a:lnTo>
                    <a:lnTo>
                      <a:pt x="606" y="1156"/>
                    </a:lnTo>
                    <a:lnTo>
                      <a:pt x="743" y="1269"/>
                    </a:lnTo>
                    <a:cubicBezTo>
                      <a:pt x="745" y="1270"/>
                      <a:pt x="746" y="1273"/>
                      <a:pt x="746" y="1275"/>
                    </a:cubicBezTo>
                    <a:lnTo>
                      <a:pt x="744" y="1405"/>
                    </a:lnTo>
                    <a:lnTo>
                      <a:pt x="739" y="1398"/>
                    </a:lnTo>
                    <a:lnTo>
                      <a:pt x="876" y="1464"/>
                    </a:lnTo>
                    <a:lnTo>
                      <a:pt x="870" y="1464"/>
                    </a:lnTo>
                    <a:lnTo>
                      <a:pt x="905" y="1451"/>
                    </a:lnTo>
                    <a:lnTo>
                      <a:pt x="900" y="1461"/>
                    </a:lnTo>
                    <a:lnTo>
                      <a:pt x="882" y="1408"/>
                    </a:lnTo>
                    <a:lnTo>
                      <a:pt x="887" y="1413"/>
                    </a:lnTo>
                    <a:lnTo>
                      <a:pt x="825" y="1393"/>
                    </a:lnTo>
                    <a:cubicBezTo>
                      <a:pt x="823" y="1392"/>
                      <a:pt x="821" y="1391"/>
                      <a:pt x="820" y="1389"/>
                    </a:cubicBezTo>
                    <a:cubicBezTo>
                      <a:pt x="819" y="1387"/>
                      <a:pt x="819" y="1384"/>
                      <a:pt x="820" y="1382"/>
                    </a:cubicBezTo>
                    <a:lnTo>
                      <a:pt x="835" y="1337"/>
                    </a:lnTo>
                    <a:cubicBezTo>
                      <a:pt x="836" y="1335"/>
                      <a:pt x="838" y="1333"/>
                      <a:pt x="840" y="1332"/>
                    </a:cubicBezTo>
                    <a:cubicBezTo>
                      <a:pt x="843" y="1332"/>
                      <a:pt x="845" y="1332"/>
                      <a:pt x="847" y="1334"/>
                    </a:cubicBezTo>
                    <a:lnTo>
                      <a:pt x="909" y="1384"/>
                    </a:lnTo>
                    <a:lnTo>
                      <a:pt x="904" y="1382"/>
                    </a:lnTo>
                    <a:lnTo>
                      <a:pt x="1038" y="1397"/>
                    </a:lnTo>
                    <a:lnTo>
                      <a:pt x="1030" y="1409"/>
                    </a:lnTo>
                    <a:lnTo>
                      <a:pt x="973" y="1306"/>
                    </a:lnTo>
                    <a:cubicBezTo>
                      <a:pt x="971" y="1302"/>
                      <a:pt x="972" y="1297"/>
                      <a:pt x="975" y="1295"/>
                    </a:cubicBezTo>
                    <a:lnTo>
                      <a:pt x="1097" y="1208"/>
                    </a:lnTo>
                    <a:cubicBezTo>
                      <a:pt x="1100" y="1207"/>
                      <a:pt x="1104" y="1207"/>
                      <a:pt x="1106" y="1208"/>
                    </a:cubicBezTo>
                    <a:lnTo>
                      <a:pt x="1196" y="1268"/>
                    </a:lnTo>
                    <a:lnTo>
                      <a:pt x="1184" y="1275"/>
                    </a:lnTo>
                    <a:lnTo>
                      <a:pt x="1181" y="1038"/>
                    </a:lnTo>
                    <a:lnTo>
                      <a:pt x="1184" y="1044"/>
                    </a:lnTo>
                    <a:lnTo>
                      <a:pt x="1145" y="1011"/>
                    </a:lnTo>
                    <a:cubicBezTo>
                      <a:pt x="1142" y="1009"/>
                      <a:pt x="1142" y="1004"/>
                      <a:pt x="1143" y="1001"/>
                    </a:cubicBezTo>
                    <a:cubicBezTo>
                      <a:pt x="1145" y="998"/>
                      <a:pt x="1149" y="996"/>
                      <a:pt x="1153" y="997"/>
                    </a:cubicBezTo>
                    <a:lnTo>
                      <a:pt x="1303" y="1049"/>
                    </a:lnTo>
                    <a:cubicBezTo>
                      <a:pt x="1305" y="1050"/>
                      <a:pt x="1307" y="1052"/>
                      <a:pt x="1308" y="1054"/>
                    </a:cubicBezTo>
                    <a:lnTo>
                      <a:pt x="1318" y="1082"/>
                    </a:lnTo>
                    <a:cubicBezTo>
                      <a:pt x="1319" y="1086"/>
                      <a:pt x="1317" y="1090"/>
                      <a:pt x="1314" y="1092"/>
                    </a:cubicBezTo>
                    <a:lnTo>
                      <a:pt x="1235" y="1134"/>
                    </a:lnTo>
                    <a:lnTo>
                      <a:pt x="1236" y="1121"/>
                    </a:lnTo>
                    <a:lnTo>
                      <a:pt x="1315" y="1196"/>
                    </a:lnTo>
                    <a:lnTo>
                      <a:pt x="1304" y="1197"/>
                    </a:lnTo>
                    <a:lnTo>
                      <a:pt x="1372" y="1110"/>
                    </a:lnTo>
                    <a:cubicBezTo>
                      <a:pt x="1372" y="1109"/>
                      <a:pt x="1373" y="1108"/>
                      <a:pt x="1374" y="1108"/>
                    </a:cubicBezTo>
                    <a:lnTo>
                      <a:pt x="1652" y="968"/>
                    </a:lnTo>
                    <a:cubicBezTo>
                      <a:pt x="1653" y="968"/>
                      <a:pt x="1653" y="967"/>
                      <a:pt x="1654" y="967"/>
                    </a:cubicBezTo>
                    <a:lnTo>
                      <a:pt x="1696" y="960"/>
                    </a:lnTo>
                    <a:cubicBezTo>
                      <a:pt x="1700" y="960"/>
                      <a:pt x="1703" y="962"/>
                      <a:pt x="1705" y="966"/>
                    </a:cubicBezTo>
                    <a:cubicBezTo>
                      <a:pt x="1706" y="969"/>
                      <a:pt x="1704" y="973"/>
                      <a:pt x="1701" y="975"/>
                    </a:cubicBezTo>
                    <a:lnTo>
                      <a:pt x="1659" y="999"/>
                    </a:lnTo>
                    <a:lnTo>
                      <a:pt x="1662" y="987"/>
                    </a:lnTo>
                    <a:lnTo>
                      <a:pt x="1708" y="1056"/>
                    </a:lnTo>
                    <a:lnTo>
                      <a:pt x="1698" y="1053"/>
                    </a:lnTo>
                    <a:lnTo>
                      <a:pt x="1898" y="961"/>
                    </a:lnTo>
                    <a:cubicBezTo>
                      <a:pt x="1901" y="959"/>
                      <a:pt x="1905" y="961"/>
                      <a:pt x="1908" y="964"/>
                    </a:cubicBezTo>
                    <a:lnTo>
                      <a:pt x="1953" y="1030"/>
                    </a:lnTo>
                    <a:lnTo>
                      <a:pt x="1941" y="1029"/>
                    </a:lnTo>
                    <a:lnTo>
                      <a:pt x="1988" y="981"/>
                    </a:lnTo>
                    <a:lnTo>
                      <a:pt x="1986" y="989"/>
                    </a:lnTo>
                    <a:lnTo>
                      <a:pt x="1963" y="911"/>
                    </a:lnTo>
                    <a:cubicBezTo>
                      <a:pt x="1962" y="908"/>
                      <a:pt x="1963" y="904"/>
                      <a:pt x="1965" y="902"/>
                    </a:cubicBezTo>
                    <a:lnTo>
                      <a:pt x="1993" y="877"/>
                    </a:lnTo>
                    <a:cubicBezTo>
                      <a:pt x="1995" y="876"/>
                      <a:pt x="1998" y="875"/>
                      <a:pt x="2000" y="876"/>
                    </a:cubicBezTo>
                    <a:lnTo>
                      <a:pt x="2153" y="912"/>
                    </a:lnTo>
                    <a:cubicBezTo>
                      <a:pt x="2154" y="912"/>
                      <a:pt x="2154" y="913"/>
                      <a:pt x="2155" y="913"/>
                    </a:cubicBezTo>
                    <a:lnTo>
                      <a:pt x="2356" y="1047"/>
                    </a:lnTo>
                    <a:lnTo>
                      <a:pt x="2345" y="1049"/>
                    </a:lnTo>
                    <a:lnTo>
                      <a:pt x="2387" y="986"/>
                    </a:lnTo>
                    <a:lnTo>
                      <a:pt x="2387" y="994"/>
                    </a:lnTo>
                    <a:lnTo>
                      <a:pt x="2343" y="928"/>
                    </a:lnTo>
                    <a:lnTo>
                      <a:pt x="2347" y="931"/>
                    </a:lnTo>
                    <a:lnTo>
                      <a:pt x="2286" y="913"/>
                    </a:lnTo>
                    <a:cubicBezTo>
                      <a:pt x="2282" y="912"/>
                      <a:pt x="2279" y="907"/>
                      <a:pt x="2280" y="903"/>
                    </a:cubicBezTo>
                    <a:lnTo>
                      <a:pt x="2304" y="797"/>
                    </a:lnTo>
                    <a:lnTo>
                      <a:pt x="2309" y="806"/>
                    </a:lnTo>
                    <a:lnTo>
                      <a:pt x="2266" y="791"/>
                    </a:lnTo>
                    <a:cubicBezTo>
                      <a:pt x="2262" y="790"/>
                      <a:pt x="2260" y="785"/>
                      <a:pt x="2261" y="781"/>
                    </a:cubicBezTo>
                    <a:lnTo>
                      <a:pt x="2276" y="734"/>
                    </a:lnTo>
                    <a:cubicBezTo>
                      <a:pt x="2277" y="733"/>
                      <a:pt x="2278" y="731"/>
                      <a:pt x="2279" y="730"/>
                    </a:cubicBezTo>
                    <a:lnTo>
                      <a:pt x="2353" y="679"/>
                    </a:lnTo>
                    <a:lnTo>
                      <a:pt x="2350" y="682"/>
                    </a:lnTo>
                    <a:lnTo>
                      <a:pt x="2397" y="556"/>
                    </a:lnTo>
                    <a:cubicBezTo>
                      <a:pt x="2398" y="552"/>
                      <a:pt x="2402" y="550"/>
                      <a:pt x="2405" y="550"/>
                    </a:cubicBezTo>
                    <a:lnTo>
                      <a:pt x="2510" y="554"/>
                    </a:lnTo>
                    <a:cubicBezTo>
                      <a:pt x="2511" y="554"/>
                      <a:pt x="2512" y="554"/>
                      <a:pt x="2513" y="554"/>
                    </a:cubicBezTo>
                    <a:lnTo>
                      <a:pt x="2562" y="573"/>
                    </a:lnTo>
                    <a:cubicBezTo>
                      <a:pt x="2565" y="574"/>
                      <a:pt x="2568" y="578"/>
                      <a:pt x="2567" y="582"/>
                    </a:cubicBezTo>
                    <a:lnTo>
                      <a:pt x="2530" y="715"/>
                    </a:lnTo>
                    <a:lnTo>
                      <a:pt x="2529" y="709"/>
                    </a:lnTo>
                    <a:lnTo>
                      <a:pt x="2571" y="776"/>
                    </a:lnTo>
                    <a:cubicBezTo>
                      <a:pt x="2572" y="777"/>
                      <a:pt x="2572" y="779"/>
                      <a:pt x="2572" y="781"/>
                    </a:cubicBezTo>
                    <a:lnTo>
                      <a:pt x="2558" y="966"/>
                    </a:lnTo>
                    <a:lnTo>
                      <a:pt x="2557" y="960"/>
                    </a:lnTo>
                    <a:lnTo>
                      <a:pt x="2609" y="1025"/>
                    </a:lnTo>
                    <a:cubicBezTo>
                      <a:pt x="2611" y="1027"/>
                      <a:pt x="2612" y="1030"/>
                      <a:pt x="2611" y="1032"/>
                    </a:cubicBezTo>
                    <a:lnTo>
                      <a:pt x="2591" y="1099"/>
                    </a:lnTo>
                    <a:cubicBezTo>
                      <a:pt x="2591" y="1101"/>
                      <a:pt x="2590" y="1102"/>
                      <a:pt x="2588" y="1103"/>
                    </a:cubicBezTo>
                    <a:lnTo>
                      <a:pt x="2508" y="1155"/>
                    </a:lnTo>
                    <a:lnTo>
                      <a:pt x="2509" y="1143"/>
                    </a:lnTo>
                    <a:lnTo>
                      <a:pt x="2534" y="1168"/>
                    </a:lnTo>
                    <a:cubicBezTo>
                      <a:pt x="2536" y="1170"/>
                      <a:pt x="2537" y="1173"/>
                      <a:pt x="2536" y="1175"/>
                    </a:cubicBezTo>
                    <a:cubicBezTo>
                      <a:pt x="2535" y="1178"/>
                      <a:pt x="2533" y="1180"/>
                      <a:pt x="2530" y="1181"/>
                    </a:cubicBezTo>
                    <a:lnTo>
                      <a:pt x="2428" y="1208"/>
                    </a:lnTo>
                    <a:lnTo>
                      <a:pt x="2429" y="1193"/>
                    </a:lnTo>
                    <a:lnTo>
                      <a:pt x="2538" y="1238"/>
                    </a:lnTo>
                    <a:lnTo>
                      <a:pt x="2529" y="1240"/>
                    </a:lnTo>
                    <a:lnTo>
                      <a:pt x="2655" y="1091"/>
                    </a:lnTo>
                    <a:lnTo>
                      <a:pt x="2654" y="1098"/>
                    </a:lnTo>
                    <a:lnTo>
                      <a:pt x="2638" y="1006"/>
                    </a:lnTo>
                    <a:cubicBezTo>
                      <a:pt x="2638" y="1002"/>
                      <a:pt x="2640" y="999"/>
                      <a:pt x="2644" y="997"/>
                    </a:cubicBezTo>
                    <a:lnTo>
                      <a:pt x="2688" y="982"/>
                    </a:lnTo>
                    <a:lnTo>
                      <a:pt x="2754" y="966"/>
                    </a:lnTo>
                    <a:cubicBezTo>
                      <a:pt x="2757" y="965"/>
                      <a:pt x="2761" y="966"/>
                      <a:pt x="2763" y="969"/>
                    </a:cubicBezTo>
                    <a:lnTo>
                      <a:pt x="2793" y="1021"/>
                    </a:lnTo>
                    <a:cubicBezTo>
                      <a:pt x="2794" y="1022"/>
                      <a:pt x="2794" y="1024"/>
                      <a:pt x="2794" y="1025"/>
                    </a:cubicBezTo>
                    <a:lnTo>
                      <a:pt x="2792" y="1094"/>
                    </a:lnTo>
                    <a:lnTo>
                      <a:pt x="2786" y="1086"/>
                    </a:lnTo>
                    <a:lnTo>
                      <a:pt x="2868" y="1109"/>
                    </a:lnTo>
                    <a:lnTo>
                      <a:pt x="2863" y="1124"/>
                    </a:lnTo>
                    <a:lnTo>
                      <a:pt x="2799" y="1099"/>
                    </a:lnTo>
                    <a:cubicBezTo>
                      <a:pt x="2796" y="1098"/>
                      <a:pt x="2795" y="1096"/>
                      <a:pt x="2794" y="1094"/>
                    </a:cubicBezTo>
                    <a:cubicBezTo>
                      <a:pt x="2793" y="1092"/>
                      <a:pt x="2794" y="1089"/>
                      <a:pt x="2795" y="1087"/>
                    </a:cubicBezTo>
                    <a:lnTo>
                      <a:pt x="2823" y="1047"/>
                    </a:lnTo>
                    <a:lnTo>
                      <a:pt x="2822" y="1055"/>
                    </a:lnTo>
                    <a:lnTo>
                      <a:pt x="2798" y="993"/>
                    </a:lnTo>
                    <a:lnTo>
                      <a:pt x="2804" y="998"/>
                    </a:lnTo>
                    <a:lnTo>
                      <a:pt x="2615" y="958"/>
                    </a:lnTo>
                    <a:cubicBezTo>
                      <a:pt x="2611" y="957"/>
                      <a:pt x="2608" y="953"/>
                      <a:pt x="2609" y="948"/>
                    </a:cubicBezTo>
                    <a:lnTo>
                      <a:pt x="2638" y="803"/>
                    </a:lnTo>
                    <a:lnTo>
                      <a:pt x="2640" y="810"/>
                    </a:lnTo>
                    <a:lnTo>
                      <a:pt x="2574" y="718"/>
                    </a:lnTo>
                    <a:cubicBezTo>
                      <a:pt x="2572" y="715"/>
                      <a:pt x="2573" y="710"/>
                      <a:pt x="2576" y="707"/>
                    </a:cubicBezTo>
                    <a:lnTo>
                      <a:pt x="2670" y="624"/>
                    </a:lnTo>
                    <a:lnTo>
                      <a:pt x="2667" y="632"/>
                    </a:lnTo>
                    <a:lnTo>
                      <a:pt x="2655" y="572"/>
                    </a:lnTo>
                    <a:cubicBezTo>
                      <a:pt x="2654" y="568"/>
                      <a:pt x="2656" y="565"/>
                      <a:pt x="2659" y="563"/>
                    </a:cubicBezTo>
                    <a:cubicBezTo>
                      <a:pt x="2662" y="561"/>
                      <a:pt x="2665" y="562"/>
                      <a:pt x="2668" y="564"/>
                    </a:cubicBezTo>
                    <a:lnTo>
                      <a:pt x="2711" y="599"/>
                    </a:lnTo>
                    <a:cubicBezTo>
                      <a:pt x="2713" y="601"/>
                      <a:pt x="2714" y="604"/>
                      <a:pt x="2714" y="606"/>
                    </a:cubicBezTo>
                    <a:lnTo>
                      <a:pt x="2693" y="723"/>
                    </a:lnTo>
                    <a:lnTo>
                      <a:pt x="2689" y="715"/>
                    </a:lnTo>
                    <a:lnTo>
                      <a:pt x="2718" y="730"/>
                    </a:lnTo>
                    <a:lnTo>
                      <a:pt x="2716" y="729"/>
                    </a:lnTo>
                    <a:lnTo>
                      <a:pt x="2843" y="766"/>
                    </a:lnTo>
                    <a:lnTo>
                      <a:pt x="2835" y="780"/>
                    </a:lnTo>
                    <a:lnTo>
                      <a:pt x="2720" y="683"/>
                    </a:lnTo>
                    <a:cubicBezTo>
                      <a:pt x="2718" y="681"/>
                      <a:pt x="2717" y="677"/>
                      <a:pt x="2718" y="674"/>
                    </a:cubicBezTo>
                    <a:cubicBezTo>
                      <a:pt x="2719" y="671"/>
                      <a:pt x="2722" y="669"/>
                      <a:pt x="2726" y="669"/>
                    </a:cubicBezTo>
                    <a:lnTo>
                      <a:pt x="2814" y="672"/>
                    </a:lnTo>
                    <a:lnTo>
                      <a:pt x="2807" y="684"/>
                    </a:lnTo>
                    <a:lnTo>
                      <a:pt x="2786" y="646"/>
                    </a:lnTo>
                    <a:cubicBezTo>
                      <a:pt x="2785" y="644"/>
                      <a:pt x="2785" y="641"/>
                      <a:pt x="2786" y="639"/>
                    </a:cubicBezTo>
                    <a:cubicBezTo>
                      <a:pt x="2787" y="637"/>
                      <a:pt x="2788" y="635"/>
                      <a:pt x="2790" y="634"/>
                    </a:cubicBezTo>
                    <a:lnTo>
                      <a:pt x="2838" y="616"/>
                    </a:lnTo>
                    <a:cubicBezTo>
                      <a:pt x="2839" y="615"/>
                      <a:pt x="2841" y="615"/>
                      <a:pt x="2843" y="616"/>
                    </a:cubicBezTo>
                    <a:lnTo>
                      <a:pt x="3076" y="691"/>
                    </a:lnTo>
                    <a:cubicBezTo>
                      <a:pt x="3079" y="692"/>
                      <a:pt x="3081" y="694"/>
                      <a:pt x="3081" y="696"/>
                    </a:cubicBezTo>
                    <a:cubicBezTo>
                      <a:pt x="3082" y="699"/>
                      <a:pt x="3081" y="702"/>
                      <a:pt x="3080" y="704"/>
                    </a:cubicBezTo>
                    <a:lnTo>
                      <a:pt x="3035" y="755"/>
                    </a:lnTo>
                    <a:lnTo>
                      <a:pt x="3037" y="751"/>
                    </a:lnTo>
                    <a:lnTo>
                      <a:pt x="3030" y="826"/>
                    </a:lnTo>
                    <a:lnTo>
                      <a:pt x="3028" y="819"/>
                    </a:lnTo>
                    <a:lnTo>
                      <a:pt x="3076" y="862"/>
                    </a:lnTo>
                    <a:lnTo>
                      <a:pt x="3063" y="867"/>
                    </a:lnTo>
                    <a:lnTo>
                      <a:pt x="3086" y="697"/>
                    </a:lnTo>
                    <a:lnTo>
                      <a:pt x="3090" y="705"/>
                    </a:lnTo>
                    <a:lnTo>
                      <a:pt x="2964" y="620"/>
                    </a:lnTo>
                    <a:cubicBezTo>
                      <a:pt x="2962" y="619"/>
                      <a:pt x="2961" y="617"/>
                      <a:pt x="2960" y="615"/>
                    </a:cubicBezTo>
                    <a:lnTo>
                      <a:pt x="2934" y="499"/>
                    </a:lnTo>
                    <a:cubicBezTo>
                      <a:pt x="2933" y="496"/>
                      <a:pt x="2934" y="494"/>
                      <a:pt x="2935" y="492"/>
                    </a:cubicBezTo>
                    <a:cubicBezTo>
                      <a:pt x="2936" y="490"/>
                      <a:pt x="2938" y="489"/>
                      <a:pt x="2941" y="489"/>
                    </a:cubicBezTo>
                    <a:lnTo>
                      <a:pt x="3238" y="445"/>
                    </a:lnTo>
                    <a:lnTo>
                      <a:pt x="3231" y="456"/>
                    </a:lnTo>
                    <a:lnTo>
                      <a:pt x="3192" y="350"/>
                    </a:lnTo>
                    <a:cubicBezTo>
                      <a:pt x="3191" y="346"/>
                      <a:pt x="3192" y="343"/>
                      <a:pt x="3195" y="341"/>
                    </a:cubicBezTo>
                    <a:cubicBezTo>
                      <a:pt x="3197" y="338"/>
                      <a:pt x="3201" y="338"/>
                      <a:pt x="3204" y="340"/>
                    </a:cubicBezTo>
                    <a:lnTo>
                      <a:pt x="3243" y="363"/>
                    </a:lnTo>
                    <a:lnTo>
                      <a:pt x="3233" y="364"/>
                    </a:lnTo>
                    <a:lnTo>
                      <a:pt x="3282" y="322"/>
                    </a:lnTo>
                    <a:lnTo>
                      <a:pt x="3284" y="336"/>
                    </a:lnTo>
                    <a:lnTo>
                      <a:pt x="3248" y="323"/>
                    </a:lnTo>
                    <a:cubicBezTo>
                      <a:pt x="3245" y="321"/>
                      <a:pt x="3243" y="318"/>
                      <a:pt x="3243" y="315"/>
                    </a:cubicBezTo>
                    <a:cubicBezTo>
                      <a:pt x="3243" y="311"/>
                      <a:pt x="3246" y="308"/>
                      <a:pt x="3249" y="307"/>
                    </a:cubicBezTo>
                    <a:lnTo>
                      <a:pt x="3558" y="221"/>
                    </a:lnTo>
                    <a:lnTo>
                      <a:pt x="3555" y="234"/>
                    </a:lnTo>
                    <a:lnTo>
                      <a:pt x="3530" y="209"/>
                    </a:lnTo>
                    <a:cubicBezTo>
                      <a:pt x="3528" y="207"/>
                      <a:pt x="3527" y="204"/>
                      <a:pt x="3528" y="201"/>
                    </a:cubicBezTo>
                    <a:cubicBezTo>
                      <a:pt x="3529" y="198"/>
                      <a:pt x="3532" y="196"/>
                      <a:pt x="3535" y="195"/>
                    </a:cubicBezTo>
                    <a:lnTo>
                      <a:pt x="3677" y="187"/>
                    </a:lnTo>
                    <a:cubicBezTo>
                      <a:pt x="3679" y="187"/>
                      <a:pt x="3681" y="188"/>
                      <a:pt x="3683" y="189"/>
                    </a:cubicBezTo>
                    <a:cubicBezTo>
                      <a:pt x="3684" y="191"/>
                      <a:pt x="3685" y="193"/>
                      <a:pt x="3685" y="196"/>
                    </a:cubicBezTo>
                    <a:lnTo>
                      <a:pt x="3684" y="224"/>
                    </a:lnTo>
                    <a:lnTo>
                      <a:pt x="3676" y="215"/>
                    </a:lnTo>
                    <a:lnTo>
                      <a:pt x="3712" y="215"/>
                    </a:lnTo>
                    <a:lnTo>
                      <a:pt x="3709" y="216"/>
                    </a:lnTo>
                    <a:lnTo>
                      <a:pt x="3813" y="178"/>
                    </a:lnTo>
                    <a:cubicBezTo>
                      <a:pt x="3815" y="177"/>
                      <a:pt x="3817" y="177"/>
                      <a:pt x="3819" y="178"/>
                    </a:cubicBezTo>
                    <a:lnTo>
                      <a:pt x="3868" y="198"/>
                    </a:lnTo>
                    <a:lnTo>
                      <a:pt x="3859" y="211"/>
                    </a:lnTo>
                    <a:lnTo>
                      <a:pt x="3813" y="164"/>
                    </a:lnTo>
                    <a:cubicBezTo>
                      <a:pt x="3811" y="162"/>
                      <a:pt x="3810" y="159"/>
                      <a:pt x="3811" y="156"/>
                    </a:cubicBezTo>
                    <a:cubicBezTo>
                      <a:pt x="3812" y="153"/>
                      <a:pt x="3815" y="151"/>
                      <a:pt x="3818" y="150"/>
                    </a:cubicBezTo>
                    <a:lnTo>
                      <a:pt x="3935" y="140"/>
                    </a:lnTo>
                    <a:lnTo>
                      <a:pt x="3927" y="148"/>
                    </a:lnTo>
                    <a:lnTo>
                      <a:pt x="3931" y="88"/>
                    </a:lnTo>
                    <a:cubicBezTo>
                      <a:pt x="3932" y="85"/>
                      <a:pt x="3933" y="83"/>
                      <a:pt x="3935" y="82"/>
                    </a:cubicBezTo>
                    <a:lnTo>
                      <a:pt x="4074" y="2"/>
                    </a:lnTo>
                    <a:cubicBezTo>
                      <a:pt x="4076" y="0"/>
                      <a:pt x="4079" y="0"/>
                      <a:pt x="4082" y="1"/>
                    </a:cubicBezTo>
                    <a:lnTo>
                      <a:pt x="4177" y="50"/>
                    </a:lnTo>
                    <a:cubicBezTo>
                      <a:pt x="4180" y="51"/>
                      <a:pt x="4182" y="54"/>
                      <a:pt x="4182" y="57"/>
                    </a:cubicBezTo>
                    <a:cubicBezTo>
                      <a:pt x="4182" y="60"/>
                      <a:pt x="4180" y="62"/>
                      <a:pt x="4178" y="64"/>
                    </a:cubicBezTo>
                    <a:lnTo>
                      <a:pt x="4096" y="107"/>
                    </a:lnTo>
                    <a:lnTo>
                      <a:pt x="4092" y="92"/>
                    </a:lnTo>
                    <a:lnTo>
                      <a:pt x="4231" y="89"/>
                    </a:lnTo>
                    <a:cubicBezTo>
                      <a:pt x="4234" y="89"/>
                      <a:pt x="4237" y="91"/>
                      <a:pt x="4238" y="93"/>
                    </a:cubicBezTo>
                    <a:cubicBezTo>
                      <a:pt x="4239" y="96"/>
                      <a:pt x="4239" y="100"/>
                      <a:pt x="4237" y="102"/>
                    </a:cubicBezTo>
                    <a:lnTo>
                      <a:pt x="4181" y="164"/>
                    </a:lnTo>
                    <a:lnTo>
                      <a:pt x="4174" y="151"/>
                    </a:lnTo>
                    <a:lnTo>
                      <a:pt x="4412" y="121"/>
                    </a:lnTo>
                    <a:cubicBezTo>
                      <a:pt x="4414" y="120"/>
                      <a:pt x="4416" y="121"/>
                      <a:pt x="4417" y="122"/>
                    </a:cubicBezTo>
                    <a:lnTo>
                      <a:pt x="4549" y="217"/>
                    </a:lnTo>
                    <a:cubicBezTo>
                      <a:pt x="4552" y="219"/>
                      <a:pt x="4553" y="224"/>
                      <a:pt x="4551" y="227"/>
                    </a:cubicBezTo>
                    <a:lnTo>
                      <a:pt x="4532" y="262"/>
                    </a:lnTo>
                    <a:cubicBezTo>
                      <a:pt x="4530" y="266"/>
                      <a:pt x="4525" y="267"/>
                      <a:pt x="4522" y="266"/>
                    </a:cubicBezTo>
                    <a:lnTo>
                      <a:pt x="4477" y="246"/>
                    </a:lnTo>
                    <a:lnTo>
                      <a:pt x="4484" y="231"/>
                    </a:lnTo>
                    <a:lnTo>
                      <a:pt x="4544" y="261"/>
                    </a:lnTo>
                    <a:cubicBezTo>
                      <a:pt x="4546" y="262"/>
                      <a:pt x="4547" y="264"/>
                      <a:pt x="4548" y="266"/>
                    </a:cubicBezTo>
                    <a:cubicBezTo>
                      <a:pt x="4548" y="268"/>
                      <a:pt x="4548" y="270"/>
                      <a:pt x="4547" y="272"/>
                    </a:cubicBezTo>
                    <a:lnTo>
                      <a:pt x="4518" y="329"/>
                    </a:lnTo>
                    <a:cubicBezTo>
                      <a:pt x="4518" y="330"/>
                      <a:pt x="4517" y="331"/>
                      <a:pt x="4515" y="332"/>
                    </a:cubicBezTo>
                    <a:lnTo>
                      <a:pt x="4082" y="607"/>
                    </a:lnTo>
                    <a:lnTo>
                      <a:pt x="4076" y="592"/>
                    </a:lnTo>
                    <a:lnTo>
                      <a:pt x="4214" y="559"/>
                    </a:lnTo>
                    <a:lnTo>
                      <a:pt x="4209" y="572"/>
                    </a:lnTo>
                    <a:lnTo>
                      <a:pt x="4180" y="535"/>
                    </a:lnTo>
                    <a:cubicBezTo>
                      <a:pt x="4178" y="533"/>
                      <a:pt x="4178" y="530"/>
                      <a:pt x="4179" y="527"/>
                    </a:cubicBezTo>
                    <a:cubicBezTo>
                      <a:pt x="4180" y="525"/>
                      <a:pt x="4182" y="523"/>
                      <a:pt x="4185" y="522"/>
                    </a:cubicBezTo>
                    <a:lnTo>
                      <a:pt x="4404" y="471"/>
                    </a:lnTo>
                    <a:lnTo>
                      <a:pt x="4407" y="486"/>
                    </a:lnTo>
                    <a:lnTo>
                      <a:pt x="4347" y="495"/>
                    </a:lnTo>
                    <a:cubicBezTo>
                      <a:pt x="4344" y="495"/>
                      <a:pt x="4342" y="494"/>
                      <a:pt x="4340" y="492"/>
                    </a:cubicBezTo>
                    <a:cubicBezTo>
                      <a:pt x="4338" y="490"/>
                      <a:pt x="4337" y="487"/>
                      <a:pt x="4338" y="484"/>
                    </a:cubicBezTo>
                    <a:lnTo>
                      <a:pt x="4352" y="438"/>
                    </a:lnTo>
                    <a:cubicBezTo>
                      <a:pt x="4353" y="436"/>
                      <a:pt x="4354" y="434"/>
                      <a:pt x="4356" y="433"/>
                    </a:cubicBezTo>
                    <a:cubicBezTo>
                      <a:pt x="4358" y="432"/>
                      <a:pt x="4360" y="432"/>
                      <a:pt x="4362" y="432"/>
                    </a:cubicBezTo>
                    <a:lnTo>
                      <a:pt x="4483" y="471"/>
                    </a:lnTo>
                    <a:lnTo>
                      <a:pt x="4473" y="475"/>
                    </a:lnTo>
                    <a:lnTo>
                      <a:pt x="4491" y="437"/>
                    </a:lnTo>
                    <a:cubicBezTo>
                      <a:pt x="4493" y="434"/>
                      <a:pt x="4496" y="432"/>
                      <a:pt x="4499" y="432"/>
                    </a:cubicBezTo>
                    <a:cubicBezTo>
                      <a:pt x="4502" y="432"/>
                      <a:pt x="4505" y="435"/>
                      <a:pt x="4506" y="438"/>
                    </a:cubicBezTo>
                    <a:lnTo>
                      <a:pt x="4534" y="528"/>
                    </a:lnTo>
                    <a:lnTo>
                      <a:pt x="4527" y="522"/>
                    </a:lnTo>
                    <a:lnTo>
                      <a:pt x="4587" y="527"/>
                    </a:lnTo>
                    <a:lnTo>
                      <a:pt x="4582" y="542"/>
                    </a:lnTo>
                    <a:lnTo>
                      <a:pt x="4525" y="505"/>
                    </a:lnTo>
                    <a:cubicBezTo>
                      <a:pt x="4522" y="503"/>
                      <a:pt x="4521" y="500"/>
                      <a:pt x="4521" y="497"/>
                    </a:cubicBezTo>
                    <a:cubicBezTo>
                      <a:pt x="4522" y="494"/>
                      <a:pt x="4524" y="491"/>
                      <a:pt x="4528" y="491"/>
                    </a:cubicBezTo>
                    <a:lnTo>
                      <a:pt x="4644" y="467"/>
                    </a:lnTo>
                    <a:cubicBezTo>
                      <a:pt x="4645" y="467"/>
                      <a:pt x="4646" y="467"/>
                      <a:pt x="4647" y="467"/>
                    </a:cubicBezTo>
                    <a:lnTo>
                      <a:pt x="4786" y="489"/>
                    </a:lnTo>
                    <a:cubicBezTo>
                      <a:pt x="4788" y="489"/>
                      <a:pt x="4790" y="491"/>
                      <a:pt x="4791" y="493"/>
                    </a:cubicBezTo>
                    <a:cubicBezTo>
                      <a:pt x="4793" y="495"/>
                      <a:pt x="4793" y="497"/>
                      <a:pt x="4792" y="500"/>
                    </a:cubicBezTo>
                    <a:lnTo>
                      <a:pt x="4779" y="533"/>
                    </a:lnTo>
                    <a:lnTo>
                      <a:pt x="4774" y="522"/>
                    </a:lnTo>
                    <a:lnTo>
                      <a:pt x="4894" y="551"/>
                    </a:lnTo>
                    <a:lnTo>
                      <a:pt x="4892" y="550"/>
                    </a:lnTo>
                    <a:lnTo>
                      <a:pt x="4998" y="544"/>
                    </a:lnTo>
                    <a:lnTo>
                      <a:pt x="4990" y="551"/>
                    </a:lnTo>
                    <a:lnTo>
                      <a:pt x="4996" y="466"/>
                    </a:lnTo>
                    <a:cubicBezTo>
                      <a:pt x="4996" y="463"/>
                      <a:pt x="4998" y="460"/>
                      <a:pt x="5001" y="459"/>
                    </a:cubicBezTo>
                    <a:lnTo>
                      <a:pt x="5032" y="449"/>
                    </a:lnTo>
                    <a:cubicBezTo>
                      <a:pt x="5033" y="449"/>
                      <a:pt x="5035" y="449"/>
                      <a:pt x="5037" y="449"/>
                    </a:cubicBezTo>
                    <a:lnTo>
                      <a:pt x="5305" y="544"/>
                    </a:lnTo>
                    <a:cubicBezTo>
                      <a:pt x="5309" y="546"/>
                      <a:pt x="5311" y="550"/>
                      <a:pt x="5310" y="554"/>
                    </a:cubicBezTo>
                    <a:lnTo>
                      <a:pt x="5272" y="700"/>
                    </a:lnTo>
                    <a:lnTo>
                      <a:pt x="5270" y="692"/>
                    </a:lnTo>
                    <a:lnTo>
                      <a:pt x="5393" y="792"/>
                    </a:lnTo>
                    <a:lnTo>
                      <a:pt x="5381" y="795"/>
                    </a:lnTo>
                    <a:lnTo>
                      <a:pt x="5449" y="658"/>
                    </a:lnTo>
                    <a:cubicBezTo>
                      <a:pt x="5450" y="656"/>
                      <a:pt x="5452" y="654"/>
                      <a:pt x="5455" y="654"/>
                    </a:cubicBezTo>
                    <a:cubicBezTo>
                      <a:pt x="5458" y="653"/>
                      <a:pt x="5461" y="655"/>
                      <a:pt x="5462" y="657"/>
                    </a:cubicBezTo>
                    <a:lnTo>
                      <a:pt x="5508" y="717"/>
                    </a:lnTo>
                    <a:lnTo>
                      <a:pt x="5500" y="714"/>
                    </a:lnTo>
                    <a:lnTo>
                      <a:pt x="5590" y="691"/>
                    </a:lnTo>
                    <a:cubicBezTo>
                      <a:pt x="5592" y="690"/>
                      <a:pt x="5594" y="690"/>
                      <a:pt x="5595" y="691"/>
                    </a:cubicBezTo>
                    <a:lnTo>
                      <a:pt x="5714" y="743"/>
                    </a:lnTo>
                    <a:lnTo>
                      <a:pt x="5709" y="742"/>
                    </a:lnTo>
                    <a:lnTo>
                      <a:pt x="5805" y="711"/>
                    </a:lnTo>
                    <a:lnTo>
                      <a:pt x="5799" y="720"/>
                    </a:lnTo>
                    <a:lnTo>
                      <a:pt x="5789" y="663"/>
                    </a:lnTo>
                    <a:cubicBezTo>
                      <a:pt x="5789" y="661"/>
                      <a:pt x="5790" y="659"/>
                      <a:pt x="5791" y="657"/>
                    </a:cubicBezTo>
                    <a:lnTo>
                      <a:pt x="5857" y="564"/>
                    </a:lnTo>
                    <a:cubicBezTo>
                      <a:pt x="5859" y="561"/>
                      <a:pt x="5862" y="560"/>
                      <a:pt x="5865" y="561"/>
                    </a:cubicBezTo>
                    <a:lnTo>
                      <a:pt x="6265" y="627"/>
                    </a:lnTo>
                    <a:cubicBezTo>
                      <a:pt x="6267" y="628"/>
                      <a:pt x="6269" y="629"/>
                      <a:pt x="6270" y="631"/>
                    </a:cubicBezTo>
                    <a:lnTo>
                      <a:pt x="6297" y="674"/>
                    </a:lnTo>
                    <a:cubicBezTo>
                      <a:pt x="6298" y="676"/>
                      <a:pt x="6298" y="679"/>
                      <a:pt x="6297" y="681"/>
                    </a:cubicBezTo>
                    <a:cubicBezTo>
                      <a:pt x="6297" y="683"/>
                      <a:pt x="6295" y="685"/>
                      <a:pt x="6293" y="686"/>
                    </a:cubicBezTo>
                    <a:lnTo>
                      <a:pt x="6243" y="704"/>
                    </a:lnTo>
                    <a:lnTo>
                      <a:pt x="6241" y="689"/>
                    </a:lnTo>
                    <a:lnTo>
                      <a:pt x="6370" y="710"/>
                    </a:lnTo>
                    <a:cubicBezTo>
                      <a:pt x="6372" y="711"/>
                      <a:pt x="6374" y="712"/>
                      <a:pt x="6375" y="714"/>
                    </a:cubicBezTo>
                    <a:lnTo>
                      <a:pt x="6424" y="779"/>
                    </a:lnTo>
                    <a:lnTo>
                      <a:pt x="6417" y="775"/>
                    </a:lnTo>
                    <a:lnTo>
                      <a:pt x="6717" y="765"/>
                    </a:lnTo>
                    <a:cubicBezTo>
                      <a:pt x="6719" y="765"/>
                      <a:pt x="6721" y="766"/>
                      <a:pt x="6723" y="768"/>
                    </a:cubicBezTo>
                    <a:lnTo>
                      <a:pt x="6778" y="819"/>
                    </a:lnTo>
                    <a:cubicBezTo>
                      <a:pt x="6780" y="821"/>
                      <a:pt x="6781" y="824"/>
                      <a:pt x="6780" y="827"/>
                    </a:cubicBezTo>
                    <a:lnTo>
                      <a:pt x="6761" y="892"/>
                    </a:lnTo>
                    <a:lnTo>
                      <a:pt x="6757" y="883"/>
                    </a:lnTo>
                    <a:lnTo>
                      <a:pt x="6844" y="928"/>
                    </a:lnTo>
                    <a:lnTo>
                      <a:pt x="6836" y="929"/>
                    </a:lnTo>
                    <a:lnTo>
                      <a:pt x="6882" y="892"/>
                    </a:lnTo>
                    <a:cubicBezTo>
                      <a:pt x="6883" y="891"/>
                      <a:pt x="6885" y="890"/>
                      <a:pt x="6888" y="890"/>
                    </a:cubicBezTo>
                    <a:lnTo>
                      <a:pt x="7101" y="917"/>
                    </a:lnTo>
                    <a:lnTo>
                      <a:pt x="7095" y="919"/>
                    </a:lnTo>
                    <a:lnTo>
                      <a:pt x="7138" y="884"/>
                    </a:lnTo>
                    <a:cubicBezTo>
                      <a:pt x="7140" y="882"/>
                      <a:pt x="7143" y="882"/>
                      <a:pt x="7145" y="882"/>
                    </a:cubicBezTo>
                    <a:cubicBezTo>
                      <a:pt x="7147" y="883"/>
                      <a:pt x="7149" y="884"/>
                      <a:pt x="7150" y="887"/>
                    </a:cubicBezTo>
                    <a:lnTo>
                      <a:pt x="7178" y="943"/>
                    </a:lnTo>
                    <a:lnTo>
                      <a:pt x="7175" y="940"/>
                    </a:lnTo>
                    <a:lnTo>
                      <a:pt x="7262" y="986"/>
                    </a:lnTo>
                    <a:lnTo>
                      <a:pt x="7254" y="987"/>
                    </a:lnTo>
                    <a:lnTo>
                      <a:pt x="7297" y="955"/>
                    </a:lnTo>
                    <a:lnTo>
                      <a:pt x="7295" y="967"/>
                    </a:lnTo>
                    <a:lnTo>
                      <a:pt x="7251" y="913"/>
                    </a:lnTo>
                    <a:cubicBezTo>
                      <a:pt x="7249" y="911"/>
                      <a:pt x="7248" y="907"/>
                      <a:pt x="7250" y="904"/>
                    </a:cubicBezTo>
                    <a:lnTo>
                      <a:pt x="7275" y="864"/>
                    </a:lnTo>
                    <a:cubicBezTo>
                      <a:pt x="7277" y="861"/>
                      <a:pt x="7280" y="860"/>
                      <a:pt x="7283" y="860"/>
                    </a:cubicBezTo>
                    <a:lnTo>
                      <a:pt x="7659" y="925"/>
                    </a:lnTo>
                    <a:cubicBezTo>
                      <a:pt x="7660" y="926"/>
                      <a:pt x="7662" y="926"/>
                      <a:pt x="7662" y="927"/>
                    </a:cubicBezTo>
                    <a:lnTo>
                      <a:pt x="7909" y="1093"/>
                    </a:lnTo>
                    <a:lnTo>
                      <a:pt x="7905" y="1092"/>
                    </a:lnTo>
                    <a:lnTo>
                      <a:pt x="7958" y="1092"/>
                    </a:lnTo>
                    <a:cubicBezTo>
                      <a:pt x="7961" y="1092"/>
                      <a:pt x="7964" y="1094"/>
                      <a:pt x="7965" y="1097"/>
                    </a:cubicBezTo>
                    <a:lnTo>
                      <a:pt x="8027" y="1232"/>
                    </a:lnTo>
                    <a:lnTo>
                      <a:pt x="8013" y="1238"/>
                    </a:lnTo>
                    <a:lnTo>
                      <a:pt x="7988" y="1164"/>
                    </a:lnTo>
                    <a:cubicBezTo>
                      <a:pt x="7987" y="1162"/>
                      <a:pt x="7987" y="1160"/>
                      <a:pt x="7988" y="1158"/>
                    </a:cubicBezTo>
                    <a:cubicBezTo>
                      <a:pt x="7990" y="1156"/>
                      <a:pt x="7992" y="1154"/>
                      <a:pt x="7994" y="1154"/>
                    </a:cubicBezTo>
                    <a:lnTo>
                      <a:pt x="8033" y="1147"/>
                    </a:lnTo>
                    <a:cubicBezTo>
                      <a:pt x="8035" y="1147"/>
                      <a:pt x="8038" y="1148"/>
                      <a:pt x="8040" y="1150"/>
                    </a:cubicBezTo>
                    <a:lnTo>
                      <a:pt x="8065" y="1178"/>
                    </a:lnTo>
                    <a:lnTo>
                      <a:pt x="8058" y="1175"/>
                    </a:lnTo>
                    <a:lnTo>
                      <a:pt x="8130" y="1165"/>
                    </a:lnTo>
                    <a:cubicBezTo>
                      <a:pt x="8132" y="1165"/>
                      <a:pt x="8134" y="1166"/>
                      <a:pt x="8136" y="1167"/>
                    </a:cubicBezTo>
                    <a:lnTo>
                      <a:pt x="8237" y="1245"/>
                    </a:lnTo>
                    <a:cubicBezTo>
                      <a:pt x="8239" y="1247"/>
                      <a:pt x="8241" y="1249"/>
                      <a:pt x="8240" y="1252"/>
                    </a:cubicBezTo>
                    <a:cubicBezTo>
                      <a:pt x="8240" y="1255"/>
                      <a:pt x="8239" y="1257"/>
                      <a:pt x="8237" y="1259"/>
                    </a:cubicBezTo>
                    <a:lnTo>
                      <a:pt x="8092" y="1345"/>
                    </a:lnTo>
                    <a:lnTo>
                      <a:pt x="8093" y="1332"/>
                    </a:lnTo>
                    <a:lnTo>
                      <a:pt x="8122" y="1355"/>
                    </a:lnTo>
                    <a:cubicBezTo>
                      <a:pt x="8125" y="1357"/>
                      <a:pt x="8126" y="1360"/>
                      <a:pt x="8125" y="1363"/>
                    </a:cubicBezTo>
                    <a:cubicBezTo>
                      <a:pt x="8125" y="1366"/>
                      <a:pt x="8122" y="1369"/>
                      <a:pt x="8120" y="1369"/>
                    </a:cubicBezTo>
                    <a:lnTo>
                      <a:pt x="8068" y="1384"/>
                    </a:lnTo>
                    <a:lnTo>
                      <a:pt x="8071" y="1370"/>
                    </a:lnTo>
                    <a:lnTo>
                      <a:pt x="8113" y="1404"/>
                    </a:lnTo>
                    <a:cubicBezTo>
                      <a:pt x="8115" y="1406"/>
                      <a:pt x="8116" y="1409"/>
                      <a:pt x="8115" y="1413"/>
                    </a:cubicBezTo>
                    <a:cubicBezTo>
                      <a:pt x="8114" y="1416"/>
                      <a:pt x="8111" y="1418"/>
                      <a:pt x="8108" y="1418"/>
                    </a:cubicBezTo>
                    <a:lnTo>
                      <a:pt x="8020" y="1420"/>
                    </a:lnTo>
                    <a:cubicBezTo>
                      <a:pt x="8017" y="1420"/>
                      <a:pt x="8014" y="1418"/>
                      <a:pt x="8013" y="1415"/>
                    </a:cubicBezTo>
                    <a:lnTo>
                      <a:pt x="7987" y="1365"/>
                    </a:lnTo>
                    <a:lnTo>
                      <a:pt x="7998" y="1369"/>
                    </a:lnTo>
                    <a:lnTo>
                      <a:pt x="7963" y="1389"/>
                    </a:lnTo>
                    <a:cubicBezTo>
                      <a:pt x="7960" y="1391"/>
                      <a:pt x="7955" y="1390"/>
                      <a:pt x="7953" y="1386"/>
                    </a:cubicBezTo>
                    <a:lnTo>
                      <a:pt x="7897" y="1306"/>
                    </a:lnTo>
                    <a:lnTo>
                      <a:pt x="7904" y="1310"/>
                    </a:lnTo>
                    <a:lnTo>
                      <a:pt x="7807" y="1311"/>
                    </a:lnTo>
                    <a:cubicBezTo>
                      <a:pt x="7804" y="1311"/>
                      <a:pt x="7801" y="1310"/>
                      <a:pt x="7799" y="1307"/>
                    </a:cubicBezTo>
                    <a:lnTo>
                      <a:pt x="7774" y="1260"/>
                    </a:lnTo>
                    <a:cubicBezTo>
                      <a:pt x="7773" y="1257"/>
                      <a:pt x="7773" y="1253"/>
                      <a:pt x="7776" y="1251"/>
                    </a:cubicBezTo>
                    <a:lnTo>
                      <a:pt x="7800" y="1229"/>
                    </a:lnTo>
                    <a:lnTo>
                      <a:pt x="7805" y="1243"/>
                    </a:lnTo>
                    <a:lnTo>
                      <a:pt x="7766" y="1243"/>
                    </a:lnTo>
                    <a:lnTo>
                      <a:pt x="7770" y="1242"/>
                    </a:lnTo>
                    <a:lnTo>
                      <a:pt x="7740" y="1259"/>
                    </a:lnTo>
                    <a:lnTo>
                      <a:pt x="7742" y="1247"/>
                    </a:lnTo>
                    <a:lnTo>
                      <a:pt x="7778" y="1302"/>
                    </a:lnTo>
                    <a:cubicBezTo>
                      <a:pt x="7780" y="1305"/>
                      <a:pt x="7780" y="1308"/>
                      <a:pt x="7778" y="1311"/>
                    </a:cubicBezTo>
                    <a:lnTo>
                      <a:pt x="7756" y="1344"/>
                    </a:lnTo>
                    <a:cubicBezTo>
                      <a:pt x="7756" y="1345"/>
                      <a:pt x="7755" y="1346"/>
                      <a:pt x="7754" y="1347"/>
                    </a:cubicBezTo>
                    <a:lnTo>
                      <a:pt x="7671" y="1402"/>
                    </a:lnTo>
                    <a:cubicBezTo>
                      <a:pt x="7669" y="1403"/>
                      <a:pt x="7667" y="1403"/>
                      <a:pt x="7665" y="1403"/>
                    </a:cubicBezTo>
                    <a:lnTo>
                      <a:pt x="7608" y="1391"/>
                    </a:lnTo>
                    <a:lnTo>
                      <a:pt x="7616" y="1379"/>
                    </a:lnTo>
                    <a:lnTo>
                      <a:pt x="7711" y="1534"/>
                    </a:lnTo>
                    <a:cubicBezTo>
                      <a:pt x="7712" y="1536"/>
                      <a:pt x="7712" y="1538"/>
                      <a:pt x="7712" y="1540"/>
                    </a:cubicBezTo>
                    <a:lnTo>
                      <a:pt x="7696" y="1599"/>
                    </a:lnTo>
                    <a:cubicBezTo>
                      <a:pt x="7696" y="1601"/>
                      <a:pt x="7694" y="1603"/>
                      <a:pt x="7692" y="1604"/>
                    </a:cubicBezTo>
                    <a:cubicBezTo>
                      <a:pt x="7690" y="1605"/>
                      <a:pt x="7687" y="1605"/>
                      <a:pt x="7685" y="1604"/>
                    </a:cubicBezTo>
                    <a:lnTo>
                      <a:pt x="7590" y="1562"/>
                    </a:lnTo>
                    <a:lnTo>
                      <a:pt x="7601" y="1554"/>
                    </a:lnTo>
                    <a:lnTo>
                      <a:pt x="7605" y="1577"/>
                    </a:lnTo>
                    <a:cubicBezTo>
                      <a:pt x="7605" y="1581"/>
                      <a:pt x="7604" y="1584"/>
                      <a:pt x="7600" y="1586"/>
                    </a:cubicBezTo>
                    <a:lnTo>
                      <a:pt x="7425" y="1662"/>
                    </a:lnTo>
                    <a:lnTo>
                      <a:pt x="7428" y="1661"/>
                    </a:lnTo>
                    <a:lnTo>
                      <a:pt x="7272" y="1817"/>
                    </a:lnTo>
                    <a:cubicBezTo>
                      <a:pt x="7270" y="1820"/>
                      <a:pt x="7266" y="1820"/>
                      <a:pt x="7263" y="1819"/>
                    </a:cubicBezTo>
                    <a:lnTo>
                      <a:pt x="7157" y="1759"/>
                    </a:lnTo>
                    <a:lnTo>
                      <a:pt x="7166" y="1758"/>
                    </a:lnTo>
                    <a:lnTo>
                      <a:pt x="7070" y="1822"/>
                    </a:lnTo>
                    <a:cubicBezTo>
                      <a:pt x="7067" y="1823"/>
                      <a:pt x="7064" y="1823"/>
                      <a:pt x="7062" y="1822"/>
                    </a:cubicBezTo>
                    <a:cubicBezTo>
                      <a:pt x="7059" y="1821"/>
                      <a:pt x="7058" y="1818"/>
                      <a:pt x="7058" y="1815"/>
                    </a:cubicBezTo>
                    <a:lnTo>
                      <a:pt x="7058" y="1758"/>
                    </a:lnTo>
                    <a:lnTo>
                      <a:pt x="7071" y="1764"/>
                    </a:lnTo>
                    <a:lnTo>
                      <a:pt x="7015" y="1825"/>
                    </a:lnTo>
                    <a:cubicBezTo>
                      <a:pt x="7013" y="1827"/>
                      <a:pt x="7010" y="1828"/>
                      <a:pt x="7008" y="1828"/>
                    </a:cubicBezTo>
                    <a:lnTo>
                      <a:pt x="6940" y="1821"/>
                    </a:lnTo>
                    <a:lnTo>
                      <a:pt x="6948" y="1817"/>
                    </a:lnTo>
                    <a:lnTo>
                      <a:pt x="6876" y="1970"/>
                    </a:lnTo>
                    <a:lnTo>
                      <a:pt x="6872" y="1960"/>
                    </a:lnTo>
                    <a:lnTo>
                      <a:pt x="6929" y="1990"/>
                    </a:lnTo>
                    <a:cubicBezTo>
                      <a:pt x="6933" y="1991"/>
                      <a:pt x="6934" y="1996"/>
                      <a:pt x="6933" y="2000"/>
                    </a:cubicBezTo>
                    <a:lnTo>
                      <a:pt x="6909" y="2052"/>
                    </a:lnTo>
                    <a:lnTo>
                      <a:pt x="6909" y="2046"/>
                    </a:lnTo>
                    <a:lnTo>
                      <a:pt x="6937" y="2122"/>
                    </a:lnTo>
                    <a:cubicBezTo>
                      <a:pt x="6938" y="2125"/>
                      <a:pt x="6937" y="2128"/>
                      <a:pt x="6935" y="2130"/>
                    </a:cubicBezTo>
                    <a:cubicBezTo>
                      <a:pt x="6933" y="2133"/>
                      <a:pt x="6930" y="2133"/>
                      <a:pt x="6927" y="2133"/>
                    </a:cubicBezTo>
                    <a:lnTo>
                      <a:pt x="6878" y="2119"/>
                    </a:lnTo>
                    <a:lnTo>
                      <a:pt x="6887" y="2115"/>
                    </a:lnTo>
                    <a:lnTo>
                      <a:pt x="6859" y="2183"/>
                    </a:lnTo>
                    <a:lnTo>
                      <a:pt x="6860" y="2178"/>
                    </a:lnTo>
                    <a:lnTo>
                      <a:pt x="6878" y="2241"/>
                    </a:lnTo>
                    <a:cubicBezTo>
                      <a:pt x="6879" y="2245"/>
                      <a:pt x="6877" y="2249"/>
                      <a:pt x="6873" y="2250"/>
                    </a:cubicBezTo>
                    <a:lnTo>
                      <a:pt x="6768" y="2302"/>
                    </a:lnTo>
                    <a:lnTo>
                      <a:pt x="6772" y="2294"/>
                    </a:lnTo>
                    <a:lnTo>
                      <a:pt x="6781" y="2362"/>
                    </a:lnTo>
                    <a:cubicBezTo>
                      <a:pt x="6781" y="2366"/>
                      <a:pt x="6779" y="2370"/>
                      <a:pt x="6775" y="2371"/>
                    </a:cubicBezTo>
                    <a:lnTo>
                      <a:pt x="6705" y="2389"/>
                    </a:lnTo>
                    <a:lnTo>
                      <a:pt x="6711" y="2383"/>
                    </a:lnTo>
                    <a:lnTo>
                      <a:pt x="6692" y="2462"/>
                    </a:lnTo>
                    <a:cubicBezTo>
                      <a:pt x="6691" y="2463"/>
                      <a:pt x="6691" y="2464"/>
                      <a:pt x="6690" y="2465"/>
                    </a:cubicBezTo>
                    <a:lnTo>
                      <a:pt x="6626" y="2546"/>
                    </a:lnTo>
                    <a:cubicBezTo>
                      <a:pt x="6624" y="2549"/>
                      <a:pt x="6621" y="2550"/>
                      <a:pt x="6618" y="2549"/>
                    </a:cubicBezTo>
                    <a:cubicBezTo>
                      <a:pt x="6615" y="2549"/>
                      <a:pt x="6613" y="2546"/>
                      <a:pt x="6612" y="2543"/>
                    </a:cubicBezTo>
                    <a:lnTo>
                      <a:pt x="6558" y="2245"/>
                    </a:lnTo>
                    <a:cubicBezTo>
                      <a:pt x="6558" y="2244"/>
                      <a:pt x="6558" y="2243"/>
                      <a:pt x="6558" y="2243"/>
                    </a:cubicBezTo>
                    <a:lnTo>
                      <a:pt x="6565" y="2081"/>
                    </a:lnTo>
                    <a:cubicBezTo>
                      <a:pt x="6565" y="2080"/>
                      <a:pt x="6565" y="2079"/>
                      <a:pt x="6566" y="2078"/>
                    </a:cubicBezTo>
                    <a:lnTo>
                      <a:pt x="6613" y="1985"/>
                    </a:lnTo>
                    <a:cubicBezTo>
                      <a:pt x="6614" y="1983"/>
                      <a:pt x="6616" y="1981"/>
                      <a:pt x="6618" y="1981"/>
                    </a:cubicBezTo>
                    <a:lnTo>
                      <a:pt x="6692" y="1961"/>
                    </a:lnTo>
                    <a:lnTo>
                      <a:pt x="6688" y="1963"/>
                    </a:lnTo>
                    <a:lnTo>
                      <a:pt x="6858" y="1763"/>
                    </a:lnTo>
                    <a:cubicBezTo>
                      <a:pt x="6859" y="1762"/>
                      <a:pt x="6860" y="1762"/>
                      <a:pt x="6861" y="1761"/>
                    </a:cubicBezTo>
                    <a:lnTo>
                      <a:pt x="6943" y="1721"/>
                    </a:lnTo>
                    <a:lnTo>
                      <a:pt x="6938" y="1726"/>
                    </a:lnTo>
                    <a:lnTo>
                      <a:pt x="6966" y="1610"/>
                    </a:lnTo>
                    <a:cubicBezTo>
                      <a:pt x="6967" y="1608"/>
                      <a:pt x="6967" y="1607"/>
                      <a:pt x="6969" y="1606"/>
                    </a:cubicBezTo>
                    <a:lnTo>
                      <a:pt x="7003" y="1576"/>
                    </a:lnTo>
                    <a:lnTo>
                      <a:pt x="7008" y="1590"/>
                    </a:lnTo>
                    <a:lnTo>
                      <a:pt x="6943" y="1586"/>
                    </a:lnTo>
                    <a:lnTo>
                      <a:pt x="6951" y="1580"/>
                    </a:lnTo>
                    <a:lnTo>
                      <a:pt x="6932" y="1675"/>
                    </a:lnTo>
                    <a:cubicBezTo>
                      <a:pt x="6931" y="1677"/>
                      <a:pt x="6930" y="1679"/>
                      <a:pt x="6928" y="1680"/>
                    </a:cubicBezTo>
                    <a:lnTo>
                      <a:pt x="6782" y="1762"/>
                    </a:lnTo>
                    <a:cubicBezTo>
                      <a:pt x="6780" y="1763"/>
                      <a:pt x="6776" y="1763"/>
                      <a:pt x="6774" y="1762"/>
                    </a:cubicBezTo>
                    <a:cubicBezTo>
                      <a:pt x="6771" y="1760"/>
                      <a:pt x="6770" y="1757"/>
                      <a:pt x="6770" y="1754"/>
                    </a:cubicBezTo>
                    <a:lnTo>
                      <a:pt x="6786" y="1631"/>
                    </a:lnTo>
                    <a:lnTo>
                      <a:pt x="6795" y="1640"/>
                    </a:lnTo>
                    <a:lnTo>
                      <a:pt x="6640" y="1666"/>
                    </a:lnTo>
                    <a:lnTo>
                      <a:pt x="6644" y="1664"/>
                    </a:lnTo>
                    <a:lnTo>
                      <a:pt x="6497" y="1820"/>
                    </a:lnTo>
                    <a:lnTo>
                      <a:pt x="6498" y="1812"/>
                    </a:lnTo>
                    <a:lnTo>
                      <a:pt x="6526" y="1877"/>
                    </a:lnTo>
                    <a:cubicBezTo>
                      <a:pt x="6527" y="1879"/>
                      <a:pt x="6527" y="1882"/>
                      <a:pt x="6526" y="1884"/>
                    </a:cubicBezTo>
                    <a:cubicBezTo>
                      <a:pt x="6525" y="1886"/>
                      <a:pt x="6522" y="1888"/>
                      <a:pt x="6520" y="1888"/>
                    </a:cubicBezTo>
                    <a:lnTo>
                      <a:pt x="6363" y="1910"/>
                    </a:lnTo>
                    <a:cubicBezTo>
                      <a:pt x="6361" y="1910"/>
                      <a:pt x="6358" y="1909"/>
                      <a:pt x="6357" y="1907"/>
                    </a:cubicBezTo>
                    <a:lnTo>
                      <a:pt x="6337" y="1889"/>
                    </a:lnTo>
                    <a:cubicBezTo>
                      <a:pt x="6335" y="1887"/>
                      <a:pt x="6334" y="1884"/>
                      <a:pt x="6335" y="1881"/>
                    </a:cubicBezTo>
                    <a:cubicBezTo>
                      <a:pt x="6336" y="1878"/>
                      <a:pt x="6338" y="1876"/>
                      <a:pt x="6341" y="1875"/>
                    </a:cubicBezTo>
                    <a:lnTo>
                      <a:pt x="6395" y="1865"/>
                    </a:lnTo>
                    <a:lnTo>
                      <a:pt x="6394" y="1881"/>
                    </a:lnTo>
                    <a:lnTo>
                      <a:pt x="6264" y="1841"/>
                    </a:lnTo>
                    <a:lnTo>
                      <a:pt x="6272" y="1839"/>
                    </a:lnTo>
                    <a:lnTo>
                      <a:pt x="6236" y="1879"/>
                    </a:lnTo>
                    <a:cubicBezTo>
                      <a:pt x="6235" y="1880"/>
                      <a:pt x="6233" y="1881"/>
                      <a:pt x="6230" y="1881"/>
                    </a:cubicBezTo>
                    <a:lnTo>
                      <a:pt x="5935" y="1885"/>
                    </a:lnTo>
                    <a:lnTo>
                      <a:pt x="5940" y="1882"/>
                    </a:lnTo>
                    <a:lnTo>
                      <a:pt x="5588" y="2242"/>
                    </a:lnTo>
                    <a:lnTo>
                      <a:pt x="5584" y="2229"/>
                    </a:lnTo>
                    <a:lnTo>
                      <a:pt x="5655" y="2244"/>
                    </a:lnTo>
                    <a:cubicBezTo>
                      <a:pt x="5658" y="2245"/>
                      <a:pt x="5661" y="2248"/>
                      <a:pt x="5661" y="2252"/>
                    </a:cubicBezTo>
                    <a:lnTo>
                      <a:pt x="5661" y="2317"/>
                    </a:lnTo>
                    <a:lnTo>
                      <a:pt x="5647" y="2311"/>
                    </a:lnTo>
                    <a:lnTo>
                      <a:pt x="5688" y="2271"/>
                    </a:lnTo>
                    <a:cubicBezTo>
                      <a:pt x="5690" y="2268"/>
                      <a:pt x="5694" y="2268"/>
                      <a:pt x="5697" y="2270"/>
                    </a:cubicBezTo>
                    <a:cubicBezTo>
                      <a:pt x="5700" y="2271"/>
                      <a:pt x="5702" y="2275"/>
                      <a:pt x="5701" y="2278"/>
                    </a:cubicBezTo>
                    <a:lnTo>
                      <a:pt x="5690" y="2333"/>
                    </a:lnTo>
                    <a:lnTo>
                      <a:pt x="5678" y="2325"/>
                    </a:lnTo>
                    <a:lnTo>
                      <a:pt x="5732" y="2293"/>
                    </a:lnTo>
                    <a:cubicBezTo>
                      <a:pt x="5735" y="2291"/>
                      <a:pt x="5738" y="2292"/>
                      <a:pt x="5741" y="2293"/>
                    </a:cubicBezTo>
                    <a:cubicBezTo>
                      <a:pt x="5743" y="2295"/>
                      <a:pt x="5745" y="2298"/>
                      <a:pt x="5744" y="2301"/>
                    </a:cubicBezTo>
                    <a:lnTo>
                      <a:pt x="5737" y="2336"/>
                    </a:lnTo>
                    <a:lnTo>
                      <a:pt x="5722" y="2333"/>
                    </a:lnTo>
                    <a:lnTo>
                      <a:pt x="5738" y="2274"/>
                    </a:lnTo>
                    <a:cubicBezTo>
                      <a:pt x="5739" y="2271"/>
                      <a:pt x="5743" y="2268"/>
                      <a:pt x="5746" y="2269"/>
                    </a:cubicBezTo>
                    <a:lnTo>
                      <a:pt x="5798" y="2270"/>
                    </a:lnTo>
                    <a:cubicBezTo>
                      <a:pt x="5800" y="2270"/>
                      <a:pt x="5802" y="2271"/>
                      <a:pt x="5803" y="2273"/>
                    </a:cubicBezTo>
                    <a:lnTo>
                      <a:pt x="5878" y="2348"/>
                    </a:lnTo>
                    <a:cubicBezTo>
                      <a:pt x="5880" y="2350"/>
                      <a:pt x="5881" y="2353"/>
                      <a:pt x="5880" y="2356"/>
                    </a:cubicBezTo>
                    <a:cubicBezTo>
                      <a:pt x="5879" y="2359"/>
                      <a:pt x="5876" y="2361"/>
                      <a:pt x="5873" y="2361"/>
                    </a:cubicBezTo>
                    <a:lnTo>
                      <a:pt x="5807" y="2369"/>
                    </a:lnTo>
                    <a:lnTo>
                      <a:pt x="5809" y="2354"/>
                    </a:lnTo>
                    <a:lnTo>
                      <a:pt x="5868" y="2379"/>
                    </a:lnTo>
                    <a:cubicBezTo>
                      <a:pt x="5871" y="2380"/>
                      <a:pt x="5872" y="2382"/>
                      <a:pt x="5873" y="2384"/>
                    </a:cubicBezTo>
                    <a:lnTo>
                      <a:pt x="5887" y="2434"/>
                    </a:lnTo>
                    <a:cubicBezTo>
                      <a:pt x="5887" y="2436"/>
                      <a:pt x="5887" y="2438"/>
                      <a:pt x="5887" y="2440"/>
                    </a:cubicBezTo>
                    <a:lnTo>
                      <a:pt x="5839" y="2555"/>
                    </a:lnTo>
                    <a:lnTo>
                      <a:pt x="5840" y="2552"/>
                    </a:lnTo>
                    <a:lnTo>
                      <a:pt x="5829" y="2725"/>
                    </a:lnTo>
                    <a:cubicBezTo>
                      <a:pt x="5829" y="2727"/>
                      <a:pt x="5828" y="2728"/>
                      <a:pt x="5827" y="2729"/>
                    </a:cubicBezTo>
                    <a:lnTo>
                      <a:pt x="5581" y="3088"/>
                    </a:lnTo>
                    <a:cubicBezTo>
                      <a:pt x="5580" y="3089"/>
                      <a:pt x="5579" y="3090"/>
                      <a:pt x="5578" y="3090"/>
                    </a:cubicBezTo>
                    <a:lnTo>
                      <a:pt x="5490" y="3137"/>
                    </a:lnTo>
                    <a:cubicBezTo>
                      <a:pt x="5488" y="3138"/>
                      <a:pt x="5484" y="3138"/>
                      <a:pt x="5482" y="3136"/>
                    </a:cubicBezTo>
                    <a:lnTo>
                      <a:pt x="5414" y="3090"/>
                    </a:lnTo>
                    <a:lnTo>
                      <a:pt x="5425" y="3088"/>
                    </a:lnTo>
                    <a:lnTo>
                      <a:pt x="5366" y="3158"/>
                    </a:lnTo>
                    <a:cubicBezTo>
                      <a:pt x="5365" y="3160"/>
                      <a:pt x="5362" y="3161"/>
                      <a:pt x="5359" y="3161"/>
                    </a:cubicBezTo>
                    <a:cubicBezTo>
                      <a:pt x="5356" y="3161"/>
                      <a:pt x="5354" y="3159"/>
                      <a:pt x="5353" y="3156"/>
                    </a:cubicBezTo>
                    <a:lnTo>
                      <a:pt x="5346" y="3141"/>
                    </a:lnTo>
                    <a:cubicBezTo>
                      <a:pt x="5345" y="3139"/>
                      <a:pt x="5345" y="3136"/>
                      <a:pt x="5346" y="3134"/>
                    </a:cubicBezTo>
                    <a:lnTo>
                      <a:pt x="5380" y="3079"/>
                    </a:lnTo>
                    <a:lnTo>
                      <a:pt x="5379" y="3084"/>
                    </a:lnTo>
                    <a:lnTo>
                      <a:pt x="5365" y="2994"/>
                    </a:lnTo>
                    <a:cubicBezTo>
                      <a:pt x="5364" y="2991"/>
                      <a:pt x="5366" y="2987"/>
                      <a:pt x="5370" y="2986"/>
                    </a:cubicBezTo>
                    <a:lnTo>
                      <a:pt x="5476" y="2949"/>
                    </a:lnTo>
                    <a:lnTo>
                      <a:pt x="5471" y="2954"/>
                    </a:lnTo>
                    <a:lnTo>
                      <a:pt x="5554" y="2714"/>
                    </a:lnTo>
                    <a:lnTo>
                      <a:pt x="5564" y="2724"/>
                    </a:lnTo>
                    <a:lnTo>
                      <a:pt x="5383" y="2781"/>
                    </a:lnTo>
                    <a:cubicBezTo>
                      <a:pt x="5381" y="2781"/>
                      <a:pt x="5379" y="2781"/>
                      <a:pt x="5377" y="2780"/>
                    </a:cubicBezTo>
                    <a:cubicBezTo>
                      <a:pt x="5375" y="2779"/>
                      <a:pt x="5374" y="2778"/>
                      <a:pt x="5373" y="2776"/>
                    </a:cubicBezTo>
                    <a:lnTo>
                      <a:pt x="5346" y="2686"/>
                    </a:lnTo>
                    <a:lnTo>
                      <a:pt x="5350" y="2691"/>
                    </a:lnTo>
                    <a:lnTo>
                      <a:pt x="5203" y="2636"/>
                    </a:lnTo>
                    <a:cubicBezTo>
                      <a:pt x="5201" y="2635"/>
                      <a:pt x="5199" y="2633"/>
                      <a:pt x="5199" y="2631"/>
                    </a:cubicBezTo>
                    <a:lnTo>
                      <a:pt x="5110" y="2383"/>
                    </a:lnTo>
                    <a:lnTo>
                      <a:pt x="5114" y="2387"/>
                    </a:lnTo>
                    <a:lnTo>
                      <a:pt x="5017" y="2342"/>
                    </a:lnTo>
                    <a:lnTo>
                      <a:pt x="5023" y="2342"/>
                    </a:lnTo>
                    <a:lnTo>
                      <a:pt x="4848" y="2411"/>
                    </a:lnTo>
                    <a:lnTo>
                      <a:pt x="4852" y="2399"/>
                    </a:lnTo>
                    <a:lnTo>
                      <a:pt x="4885" y="2451"/>
                    </a:lnTo>
                    <a:cubicBezTo>
                      <a:pt x="4887" y="2453"/>
                      <a:pt x="4887" y="2456"/>
                      <a:pt x="4886" y="2458"/>
                    </a:cubicBezTo>
                    <a:lnTo>
                      <a:pt x="4815" y="2605"/>
                    </a:lnTo>
                    <a:cubicBezTo>
                      <a:pt x="4815" y="2606"/>
                      <a:pt x="4813" y="2608"/>
                      <a:pt x="4812" y="2608"/>
                    </a:cubicBezTo>
                    <a:lnTo>
                      <a:pt x="4743" y="2648"/>
                    </a:lnTo>
                    <a:cubicBezTo>
                      <a:pt x="4740" y="2650"/>
                      <a:pt x="4738" y="2650"/>
                      <a:pt x="4735" y="2649"/>
                    </a:cubicBezTo>
                    <a:lnTo>
                      <a:pt x="4662" y="2614"/>
                    </a:lnTo>
                    <a:lnTo>
                      <a:pt x="4664" y="2614"/>
                    </a:lnTo>
                    <a:lnTo>
                      <a:pt x="4576" y="2598"/>
                    </a:lnTo>
                    <a:lnTo>
                      <a:pt x="4580" y="2598"/>
                    </a:lnTo>
                    <a:lnTo>
                      <a:pt x="4352" y="2664"/>
                    </a:lnTo>
                    <a:cubicBezTo>
                      <a:pt x="4350" y="2665"/>
                      <a:pt x="4348" y="2665"/>
                      <a:pt x="4347" y="2664"/>
                    </a:cubicBezTo>
                    <a:lnTo>
                      <a:pt x="4145" y="2567"/>
                    </a:lnTo>
                    <a:lnTo>
                      <a:pt x="4150" y="2568"/>
                    </a:lnTo>
                    <a:lnTo>
                      <a:pt x="4022" y="2581"/>
                    </a:lnTo>
                    <a:cubicBezTo>
                      <a:pt x="4019" y="2581"/>
                      <a:pt x="4016" y="2580"/>
                      <a:pt x="4014" y="2577"/>
                    </a:cubicBezTo>
                    <a:lnTo>
                      <a:pt x="3966" y="2496"/>
                    </a:lnTo>
                    <a:lnTo>
                      <a:pt x="3969" y="2499"/>
                    </a:lnTo>
                    <a:lnTo>
                      <a:pt x="3843" y="2444"/>
                    </a:lnTo>
                    <a:lnTo>
                      <a:pt x="3852" y="2443"/>
                    </a:lnTo>
                    <a:lnTo>
                      <a:pt x="3785" y="2501"/>
                    </a:lnTo>
                    <a:lnTo>
                      <a:pt x="3788" y="2495"/>
                    </a:lnTo>
                    <a:lnTo>
                      <a:pt x="3782" y="2605"/>
                    </a:lnTo>
                    <a:cubicBezTo>
                      <a:pt x="3782" y="2608"/>
                      <a:pt x="3781" y="2610"/>
                      <a:pt x="3779" y="2611"/>
                    </a:cubicBezTo>
                    <a:cubicBezTo>
                      <a:pt x="3778" y="2613"/>
                      <a:pt x="3775" y="2613"/>
                      <a:pt x="3773" y="2613"/>
                    </a:cubicBezTo>
                    <a:lnTo>
                      <a:pt x="3484" y="2564"/>
                    </a:lnTo>
                    <a:lnTo>
                      <a:pt x="3490" y="2563"/>
                    </a:lnTo>
                    <a:lnTo>
                      <a:pt x="3337" y="2663"/>
                    </a:lnTo>
                    <a:lnTo>
                      <a:pt x="3255" y="2705"/>
                    </a:lnTo>
                    <a:cubicBezTo>
                      <a:pt x="3252" y="2707"/>
                      <a:pt x="3249" y="2706"/>
                      <a:pt x="3246" y="2705"/>
                    </a:cubicBezTo>
                    <a:lnTo>
                      <a:pt x="3144" y="2625"/>
                    </a:lnTo>
                    <a:lnTo>
                      <a:pt x="3153" y="2625"/>
                    </a:lnTo>
                    <a:lnTo>
                      <a:pt x="3086" y="2668"/>
                    </a:lnTo>
                    <a:cubicBezTo>
                      <a:pt x="3084" y="2670"/>
                      <a:pt x="3081" y="2670"/>
                      <a:pt x="3079" y="2669"/>
                    </a:cubicBezTo>
                    <a:lnTo>
                      <a:pt x="2956" y="2614"/>
                    </a:lnTo>
                    <a:lnTo>
                      <a:pt x="2959" y="2614"/>
                    </a:lnTo>
                    <a:lnTo>
                      <a:pt x="2913" y="2609"/>
                    </a:lnTo>
                    <a:cubicBezTo>
                      <a:pt x="2910" y="2609"/>
                      <a:pt x="2908" y="2607"/>
                      <a:pt x="2907" y="2605"/>
                    </a:cubicBezTo>
                    <a:lnTo>
                      <a:pt x="2871" y="2520"/>
                    </a:lnTo>
                    <a:lnTo>
                      <a:pt x="2878" y="2525"/>
                    </a:lnTo>
                    <a:lnTo>
                      <a:pt x="2814" y="2525"/>
                    </a:lnTo>
                    <a:lnTo>
                      <a:pt x="2818" y="2524"/>
                    </a:lnTo>
                    <a:lnTo>
                      <a:pt x="2789" y="2539"/>
                    </a:lnTo>
                    <a:cubicBezTo>
                      <a:pt x="2785" y="2540"/>
                      <a:pt x="2781" y="2539"/>
                      <a:pt x="2779" y="2536"/>
                    </a:cubicBezTo>
                    <a:lnTo>
                      <a:pt x="2727" y="2470"/>
                    </a:lnTo>
                    <a:lnTo>
                      <a:pt x="2737" y="2472"/>
                    </a:lnTo>
                    <a:lnTo>
                      <a:pt x="2703" y="2490"/>
                    </a:lnTo>
                    <a:lnTo>
                      <a:pt x="2668" y="2512"/>
                    </a:lnTo>
                    <a:cubicBezTo>
                      <a:pt x="2665" y="2514"/>
                      <a:pt x="2661" y="2513"/>
                      <a:pt x="2659" y="2511"/>
                    </a:cubicBezTo>
                    <a:lnTo>
                      <a:pt x="2523" y="2374"/>
                    </a:lnTo>
                    <a:lnTo>
                      <a:pt x="2526" y="2376"/>
                    </a:lnTo>
                    <a:lnTo>
                      <a:pt x="2487" y="2366"/>
                    </a:lnTo>
                    <a:cubicBezTo>
                      <a:pt x="2486" y="2366"/>
                      <a:pt x="2484" y="2365"/>
                      <a:pt x="2483" y="2363"/>
                    </a:cubicBezTo>
                    <a:lnTo>
                      <a:pt x="2392" y="2258"/>
                    </a:lnTo>
                    <a:lnTo>
                      <a:pt x="2403" y="2260"/>
                    </a:lnTo>
                    <a:lnTo>
                      <a:pt x="2318" y="2323"/>
                    </a:lnTo>
                    <a:cubicBezTo>
                      <a:pt x="2316" y="2324"/>
                      <a:pt x="2313" y="2325"/>
                      <a:pt x="2311" y="2324"/>
                    </a:cubicBezTo>
                    <a:cubicBezTo>
                      <a:pt x="2308" y="2323"/>
                      <a:pt x="2306" y="2322"/>
                      <a:pt x="2306" y="2319"/>
                    </a:cubicBezTo>
                    <a:lnTo>
                      <a:pt x="2290" y="2276"/>
                    </a:lnTo>
                    <a:lnTo>
                      <a:pt x="2298" y="2281"/>
                    </a:lnTo>
                    <a:lnTo>
                      <a:pt x="2170" y="2276"/>
                    </a:lnTo>
                    <a:cubicBezTo>
                      <a:pt x="2167" y="2276"/>
                      <a:pt x="2165" y="2275"/>
                      <a:pt x="2163" y="2272"/>
                    </a:cubicBezTo>
                    <a:lnTo>
                      <a:pt x="2116" y="2198"/>
                    </a:lnTo>
                    <a:lnTo>
                      <a:pt x="2124" y="2201"/>
                    </a:lnTo>
                    <a:lnTo>
                      <a:pt x="2056" y="2208"/>
                    </a:lnTo>
                    <a:lnTo>
                      <a:pt x="2062" y="2205"/>
                    </a:lnTo>
                    <a:lnTo>
                      <a:pt x="2038" y="2236"/>
                    </a:lnTo>
                    <a:cubicBezTo>
                      <a:pt x="2037" y="2238"/>
                      <a:pt x="2035" y="2239"/>
                      <a:pt x="2033" y="2239"/>
                    </a:cubicBezTo>
                    <a:lnTo>
                      <a:pt x="1949" y="2258"/>
                    </a:lnTo>
                    <a:cubicBezTo>
                      <a:pt x="1946" y="2258"/>
                      <a:pt x="1944" y="2258"/>
                      <a:pt x="1942" y="2256"/>
                    </a:cubicBezTo>
                    <a:lnTo>
                      <a:pt x="1918" y="2238"/>
                    </a:lnTo>
                    <a:lnTo>
                      <a:pt x="1930" y="2235"/>
                    </a:lnTo>
                    <a:lnTo>
                      <a:pt x="1898" y="2292"/>
                    </a:lnTo>
                    <a:cubicBezTo>
                      <a:pt x="1897" y="2294"/>
                      <a:pt x="1896" y="2295"/>
                      <a:pt x="1894" y="2296"/>
                    </a:cubicBezTo>
                    <a:cubicBezTo>
                      <a:pt x="1891" y="2297"/>
                      <a:pt x="1889" y="2296"/>
                      <a:pt x="1887" y="2295"/>
                    </a:cubicBezTo>
                    <a:lnTo>
                      <a:pt x="1861" y="2280"/>
                    </a:lnTo>
                    <a:lnTo>
                      <a:pt x="1866" y="2281"/>
                    </a:lnTo>
                    <a:lnTo>
                      <a:pt x="1765" y="2298"/>
                    </a:lnTo>
                    <a:cubicBezTo>
                      <a:pt x="1763" y="2298"/>
                      <a:pt x="1762" y="2298"/>
                      <a:pt x="1760" y="2297"/>
                    </a:cubicBezTo>
                    <a:lnTo>
                      <a:pt x="1728" y="2280"/>
                    </a:lnTo>
                    <a:lnTo>
                      <a:pt x="1738" y="2278"/>
                    </a:lnTo>
                    <a:lnTo>
                      <a:pt x="1726" y="2295"/>
                    </a:lnTo>
                    <a:lnTo>
                      <a:pt x="1726" y="2285"/>
                    </a:lnTo>
                    <a:lnTo>
                      <a:pt x="1777" y="2353"/>
                    </a:lnTo>
                    <a:cubicBezTo>
                      <a:pt x="1779" y="2357"/>
                      <a:pt x="1779" y="2361"/>
                      <a:pt x="1776" y="2364"/>
                    </a:cubicBezTo>
                    <a:lnTo>
                      <a:pt x="1740" y="2400"/>
                    </a:lnTo>
                    <a:lnTo>
                      <a:pt x="1743" y="2394"/>
                    </a:lnTo>
                    <a:lnTo>
                      <a:pt x="1745" y="2449"/>
                    </a:lnTo>
                    <a:lnTo>
                      <a:pt x="1738" y="2442"/>
                    </a:lnTo>
                    <a:lnTo>
                      <a:pt x="1796" y="2444"/>
                    </a:lnTo>
                    <a:cubicBezTo>
                      <a:pt x="1799" y="2444"/>
                      <a:pt x="1802" y="2445"/>
                      <a:pt x="1803" y="2448"/>
                    </a:cubicBezTo>
                    <a:lnTo>
                      <a:pt x="1827" y="2502"/>
                    </a:lnTo>
                    <a:cubicBezTo>
                      <a:pt x="1827" y="2504"/>
                      <a:pt x="1827" y="2506"/>
                      <a:pt x="1827" y="2508"/>
                    </a:cubicBezTo>
                    <a:lnTo>
                      <a:pt x="1813" y="2546"/>
                    </a:lnTo>
                    <a:cubicBezTo>
                      <a:pt x="1812" y="2548"/>
                      <a:pt x="1810" y="2550"/>
                      <a:pt x="1808" y="2551"/>
                    </a:cubicBezTo>
                    <a:cubicBezTo>
                      <a:pt x="1806" y="2552"/>
                      <a:pt x="1803" y="2551"/>
                      <a:pt x="1801" y="2550"/>
                    </a:cubicBezTo>
                    <a:lnTo>
                      <a:pt x="1759" y="2523"/>
                    </a:lnTo>
                    <a:lnTo>
                      <a:pt x="1769" y="2523"/>
                    </a:lnTo>
                    <a:lnTo>
                      <a:pt x="1737" y="2548"/>
                    </a:lnTo>
                    <a:cubicBezTo>
                      <a:pt x="1734" y="2550"/>
                      <a:pt x="1730" y="2550"/>
                      <a:pt x="1727" y="2548"/>
                    </a:cubicBezTo>
                    <a:lnTo>
                      <a:pt x="1694" y="2525"/>
                    </a:lnTo>
                    <a:cubicBezTo>
                      <a:pt x="1693" y="2524"/>
                      <a:pt x="1692" y="2523"/>
                      <a:pt x="1691" y="2521"/>
                    </a:cubicBezTo>
                    <a:lnTo>
                      <a:pt x="1676" y="2486"/>
                    </a:lnTo>
                    <a:lnTo>
                      <a:pt x="1687" y="2490"/>
                    </a:lnTo>
                    <a:lnTo>
                      <a:pt x="1647" y="2512"/>
                    </a:lnTo>
                    <a:cubicBezTo>
                      <a:pt x="1644" y="2513"/>
                      <a:pt x="1641" y="2513"/>
                      <a:pt x="1639" y="2512"/>
                    </a:cubicBezTo>
                    <a:lnTo>
                      <a:pt x="1610" y="2493"/>
                    </a:lnTo>
                    <a:lnTo>
                      <a:pt x="1619" y="2492"/>
                    </a:lnTo>
                    <a:lnTo>
                      <a:pt x="1587" y="2522"/>
                    </a:lnTo>
                    <a:cubicBezTo>
                      <a:pt x="1586" y="2523"/>
                      <a:pt x="1585" y="2524"/>
                      <a:pt x="1583" y="2524"/>
                    </a:cubicBezTo>
                    <a:lnTo>
                      <a:pt x="1537" y="2531"/>
                    </a:lnTo>
                    <a:cubicBezTo>
                      <a:pt x="1534" y="2532"/>
                      <a:pt x="1531" y="2530"/>
                      <a:pt x="1529" y="2527"/>
                    </a:cubicBezTo>
                    <a:lnTo>
                      <a:pt x="1504" y="2487"/>
                    </a:lnTo>
                    <a:lnTo>
                      <a:pt x="1511" y="2491"/>
                    </a:lnTo>
                    <a:lnTo>
                      <a:pt x="1354" y="2480"/>
                    </a:lnTo>
                    <a:lnTo>
                      <a:pt x="1360" y="2477"/>
                    </a:lnTo>
                    <a:lnTo>
                      <a:pt x="1342" y="2497"/>
                    </a:lnTo>
                    <a:cubicBezTo>
                      <a:pt x="1341" y="2499"/>
                      <a:pt x="1338" y="2500"/>
                      <a:pt x="1335" y="2499"/>
                    </a:cubicBezTo>
                    <a:lnTo>
                      <a:pt x="1320" y="2498"/>
                    </a:lnTo>
                    <a:lnTo>
                      <a:pt x="1328" y="2494"/>
                    </a:lnTo>
                    <a:lnTo>
                      <a:pt x="1306" y="2537"/>
                    </a:lnTo>
                    <a:lnTo>
                      <a:pt x="1307" y="2533"/>
                    </a:lnTo>
                    <a:lnTo>
                      <a:pt x="1308" y="2575"/>
                    </a:lnTo>
                    <a:cubicBezTo>
                      <a:pt x="1308" y="2579"/>
                      <a:pt x="1306" y="2582"/>
                      <a:pt x="1302" y="2583"/>
                    </a:cubicBezTo>
                    <a:lnTo>
                      <a:pt x="1282" y="2586"/>
                    </a:lnTo>
                    <a:cubicBezTo>
                      <a:pt x="1278" y="2587"/>
                      <a:pt x="1275" y="2585"/>
                      <a:pt x="1273" y="2581"/>
                    </a:cubicBezTo>
                    <a:lnTo>
                      <a:pt x="1261" y="2546"/>
                    </a:lnTo>
                    <a:lnTo>
                      <a:pt x="1270" y="2551"/>
                    </a:lnTo>
                    <a:lnTo>
                      <a:pt x="1247" y="2554"/>
                    </a:lnTo>
                    <a:lnTo>
                      <a:pt x="1254" y="2547"/>
                    </a:lnTo>
                    <a:lnTo>
                      <a:pt x="1249" y="2670"/>
                    </a:lnTo>
                    <a:lnTo>
                      <a:pt x="1247" y="2666"/>
                    </a:lnTo>
                    <a:lnTo>
                      <a:pt x="1271" y="2702"/>
                    </a:lnTo>
                    <a:cubicBezTo>
                      <a:pt x="1272" y="2703"/>
                      <a:pt x="1272" y="2705"/>
                      <a:pt x="1272" y="2707"/>
                    </a:cubicBezTo>
                    <a:lnTo>
                      <a:pt x="1272" y="2742"/>
                    </a:lnTo>
                    <a:lnTo>
                      <a:pt x="1262" y="2734"/>
                    </a:lnTo>
                    <a:lnTo>
                      <a:pt x="1289" y="2727"/>
                    </a:lnTo>
                    <a:lnTo>
                      <a:pt x="1287" y="2728"/>
                    </a:lnTo>
                    <a:lnTo>
                      <a:pt x="1317" y="2711"/>
                    </a:lnTo>
                    <a:cubicBezTo>
                      <a:pt x="1319" y="2710"/>
                      <a:pt x="1321" y="2710"/>
                      <a:pt x="1323" y="2711"/>
                    </a:cubicBezTo>
                    <a:cubicBezTo>
                      <a:pt x="1326" y="2711"/>
                      <a:pt x="1327" y="2713"/>
                      <a:pt x="1328" y="2715"/>
                    </a:cubicBezTo>
                    <a:lnTo>
                      <a:pt x="1356" y="2770"/>
                    </a:lnTo>
                    <a:lnTo>
                      <a:pt x="1378" y="2806"/>
                    </a:lnTo>
                    <a:lnTo>
                      <a:pt x="1400" y="2851"/>
                    </a:lnTo>
                    <a:lnTo>
                      <a:pt x="1396" y="2847"/>
                    </a:lnTo>
                    <a:lnTo>
                      <a:pt x="1430" y="2859"/>
                    </a:lnTo>
                    <a:cubicBezTo>
                      <a:pt x="1433" y="2860"/>
                      <a:pt x="1435" y="2862"/>
                      <a:pt x="1436" y="2865"/>
                    </a:cubicBezTo>
                    <a:cubicBezTo>
                      <a:pt x="1436" y="2868"/>
                      <a:pt x="1435" y="2871"/>
                      <a:pt x="1433" y="2873"/>
                    </a:cubicBezTo>
                    <a:lnTo>
                      <a:pt x="1388" y="2908"/>
                    </a:lnTo>
                    <a:cubicBezTo>
                      <a:pt x="1385" y="2910"/>
                      <a:pt x="1381" y="2910"/>
                      <a:pt x="1378" y="2907"/>
                    </a:cubicBezTo>
                    <a:lnTo>
                      <a:pt x="1346" y="2876"/>
                    </a:lnTo>
                    <a:lnTo>
                      <a:pt x="1359" y="2872"/>
                    </a:lnTo>
                    <a:lnTo>
                      <a:pt x="1326" y="3010"/>
                    </a:lnTo>
                    <a:lnTo>
                      <a:pt x="1324" y="3002"/>
                    </a:lnTo>
                    <a:lnTo>
                      <a:pt x="1363" y="3037"/>
                    </a:lnTo>
                    <a:cubicBezTo>
                      <a:pt x="1364" y="3038"/>
                      <a:pt x="1365" y="3040"/>
                      <a:pt x="1365" y="3041"/>
                    </a:cubicBezTo>
                    <a:lnTo>
                      <a:pt x="1400" y="3174"/>
                    </a:lnTo>
                    <a:cubicBezTo>
                      <a:pt x="1400" y="3178"/>
                      <a:pt x="1399" y="3181"/>
                      <a:pt x="1396" y="3183"/>
                    </a:cubicBezTo>
                    <a:cubicBezTo>
                      <a:pt x="1394" y="3185"/>
                      <a:pt x="1390" y="3185"/>
                      <a:pt x="1387" y="3183"/>
                    </a:cubicBezTo>
                    <a:lnTo>
                      <a:pt x="1355" y="3160"/>
                    </a:lnTo>
                    <a:lnTo>
                      <a:pt x="1357" y="3160"/>
                    </a:lnTo>
                    <a:lnTo>
                      <a:pt x="1323" y="3145"/>
                    </a:lnTo>
                    <a:lnTo>
                      <a:pt x="1325" y="3146"/>
                    </a:lnTo>
                    <a:lnTo>
                      <a:pt x="1289" y="3138"/>
                    </a:lnTo>
                    <a:cubicBezTo>
                      <a:pt x="1288" y="3137"/>
                      <a:pt x="1288" y="3137"/>
                      <a:pt x="1287" y="3137"/>
                    </a:cubicBezTo>
                    <a:lnTo>
                      <a:pt x="1261" y="3124"/>
                    </a:lnTo>
                    <a:lnTo>
                      <a:pt x="1263" y="3124"/>
                    </a:lnTo>
                    <a:lnTo>
                      <a:pt x="1238" y="3119"/>
                    </a:lnTo>
                    <a:cubicBezTo>
                      <a:pt x="1235" y="3119"/>
                      <a:pt x="1233" y="3117"/>
                      <a:pt x="1232" y="3115"/>
                    </a:cubicBezTo>
                    <a:lnTo>
                      <a:pt x="1210" y="3068"/>
                    </a:lnTo>
                    <a:lnTo>
                      <a:pt x="1221" y="3072"/>
                    </a:lnTo>
                    <a:lnTo>
                      <a:pt x="1172" y="3100"/>
                    </a:lnTo>
                    <a:cubicBezTo>
                      <a:pt x="1171" y="3101"/>
                      <a:pt x="1170" y="3101"/>
                      <a:pt x="1168" y="3101"/>
                    </a:cubicBezTo>
                    <a:lnTo>
                      <a:pt x="1121" y="3099"/>
                    </a:lnTo>
                    <a:cubicBezTo>
                      <a:pt x="1119" y="3099"/>
                      <a:pt x="1116" y="3098"/>
                      <a:pt x="1115" y="3096"/>
                    </a:cubicBezTo>
                    <a:lnTo>
                      <a:pt x="1084" y="3055"/>
                    </a:lnTo>
                    <a:lnTo>
                      <a:pt x="1087" y="3057"/>
                    </a:lnTo>
                    <a:lnTo>
                      <a:pt x="1011" y="3019"/>
                    </a:lnTo>
                    <a:lnTo>
                      <a:pt x="1015" y="3019"/>
                    </a:lnTo>
                    <a:lnTo>
                      <a:pt x="938" y="3028"/>
                    </a:lnTo>
                    <a:cubicBezTo>
                      <a:pt x="935" y="3028"/>
                      <a:pt x="933" y="3027"/>
                      <a:pt x="932" y="3026"/>
                    </a:cubicBezTo>
                    <a:lnTo>
                      <a:pt x="850" y="2959"/>
                    </a:lnTo>
                    <a:cubicBezTo>
                      <a:pt x="848" y="2958"/>
                      <a:pt x="847" y="2956"/>
                      <a:pt x="847" y="2954"/>
                    </a:cubicBezTo>
                    <a:cubicBezTo>
                      <a:pt x="847" y="2951"/>
                      <a:pt x="848" y="2949"/>
                      <a:pt x="849" y="2947"/>
                    </a:cubicBezTo>
                    <a:lnTo>
                      <a:pt x="915" y="2884"/>
                    </a:lnTo>
                    <a:lnTo>
                      <a:pt x="912" y="2889"/>
                    </a:lnTo>
                    <a:lnTo>
                      <a:pt x="919" y="2837"/>
                    </a:lnTo>
                    <a:lnTo>
                      <a:pt x="919" y="2838"/>
                    </a:lnTo>
                    <a:lnTo>
                      <a:pt x="918" y="2785"/>
                    </a:lnTo>
                    <a:cubicBezTo>
                      <a:pt x="918" y="2785"/>
                      <a:pt x="918" y="2784"/>
                      <a:pt x="918" y="2784"/>
                    </a:cubicBezTo>
                    <a:lnTo>
                      <a:pt x="923" y="2744"/>
                    </a:lnTo>
                    <a:cubicBezTo>
                      <a:pt x="924" y="2741"/>
                      <a:pt x="926" y="2738"/>
                      <a:pt x="928" y="2737"/>
                    </a:cubicBezTo>
                    <a:lnTo>
                      <a:pt x="970" y="2722"/>
                    </a:lnTo>
                    <a:lnTo>
                      <a:pt x="965" y="2732"/>
                    </a:lnTo>
                    <a:lnTo>
                      <a:pt x="943" y="2650"/>
                    </a:lnTo>
                    <a:lnTo>
                      <a:pt x="948" y="2656"/>
                    </a:lnTo>
                    <a:lnTo>
                      <a:pt x="898" y="2636"/>
                    </a:lnTo>
                    <a:lnTo>
                      <a:pt x="873" y="2622"/>
                    </a:lnTo>
                    <a:lnTo>
                      <a:pt x="880" y="2622"/>
                    </a:lnTo>
                    <a:lnTo>
                      <a:pt x="846" y="2634"/>
                    </a:lnTo>
                    <a:cubicBezTo>
                      <a:pt x="845" y="2635"/>
                      <a:pt x="843" y="2635"/>
                      <a:pt x="841" y="2634"/>
                    </a:cubicBezTo>
                    <a:lnTo>
                      <a:pt x="771" y="2613"/>
                    </a:lnTo>
                    <a:cubicBezTo>
                      <a:pt x="769" y="2612"/>
                      <a:pt x="768" y="2611"/>
                      <a:pt x="767" y="2610"/>
                    </a:cubicBezTo>
                    <a:lnTo>
                      <a:pt x="708" y="2531"/>
                    </a:lnTo>
                    <a:lnTo>
                      <a:pt x="711" y="2534"/>
                    </a:lnTo>
                    <a:lnTo>
                      <a:pt x="665" y="2509"/>
                    </a:lnTo>
                    <a:cubicBezTo>
                      <a:pt x="663" y="2508"/>
                      <a:pt x="662" y="2506"/>
                      <a:pt x="661" y="2504"/>
                    </a:cubicBezTo>
                    <a:lnTo>
                      <a:pt x="640" y="2430"/>
                    </a:lnTo>
                    <a:lnTo>
                      <a:pt x="647" y="2436"/>
                    </a:lnTo>
                    <a:lnTo>
                      <a:pt x="605" y="2429"/>
                    </a:lnTo>
                    <a:lnTo>
                      <a:pt x="611" y="2428"/>
                    </a:lnTo>
                    <a:lnTo>
                      <a:pt x="573" y="2452"/>
                    </a:lnTo>
                    <a:lnTo>
                      <a:pt x="547" y="2467"/>
                    </a:lnTo>
                    <a:cubicBezTo>
                      <a:pt x="545" y="2468"/>
                      <a:pt x="542" y="2468"/>
                      <a:pt x="540" y="2467"/>
                    </a:cubicBezTo>
                    <a:cubicBezTo>
                      <a:pt x="538" y="2466"/>
                      <a:pt x="536" y="2465"/>
                      <a:pt x="535" y="2462"/>
                    </a:cubicBezTo>
                    <a:lnTo>
                      <a:pt x="524" y="2429"/>
                    </a:lnTo>
                    <a:lnTo>
                      <a:pt x="525" y="2431"/>
                    </a:lnTo>
                    <a:lnTo>
                      <a:pt x="504" y="2396"/>
                    </a:lnTo>
                    <a:cubicBezTo>
                      <a:pt x="502" y="2393"/>
                      <a:pt x="502" y="2390"/>
                      <a:pt x="504" y="2388"/>
                    </a:cubicBezTo>
                    <a:cubicBezTo>
                      <a:pt x="505" y="2385"/>
                      <a:pt x="507" y="2384"/>
                      <a:pt x="510" y="2384"/>
                    </a:cubicBezTo>
                    <a:lnTo>
                      <a:pt x="567" y="2380"/>
                    </a:lnTo>
                    <a:lnTo>
                      <a:pt x="560" y="2390"/>
                    </a:lnTo>
                    <a:lnTo>
                      <a:pt x="554" y="2367"/>
                    </a:lnTo>
                    <a:lnTo>
                      <a:pt x="556" y="2370"/>
                    </a:lnTo>
                    <a:lnTo>
                      <a:pt x="542" y="2355"/>
                    </a:lnTo>
                    <a:lnTo>
                      <a:pt x="526" y="2339"/>
                    </a:lnTo>
                    <a:cubicBezTo>
                      <a:pt x="525" y="2338"/>
                      <a:pt x="524" y="2337"/>
                      <a:pt x="524" y="2336"/>
                    </a:cubicBezTo>
                    <a:lnTo>
                      <a:pt x="494" y="2253"/>
                    </a:lnTo>
                    <a:lnTo>
                      <a:pt x="495" y="2255"/>
                    </a:lnTo>
                    <a:lnTo>
                      <a:pt x="454" y="2210"/>
                    </a:lnTo>
                    <a:lnTo>
                      <a:pt x="459" y="2213"/>
                    </a:lnTo>
                    <a:lnTo>
                      <a:pt x="416" y="2211"/>
                    </a:lnTo>
                    <a:lnTo>
                      <a:pt x="373" y="2211"/>
                    </a:lnTo>
                    <a:cubicBezTo>
                      <a:pt x="371" y="2211"/>
                      <a:pt x="370" y="2211"/>
                      <a:pt x="368" y="2209"/>
                    </a:cubicBezTo>
                    <a:lnTo>
                      <a:pt x="338" y="2183"/>
                    </a:lnTo>
                    <a:lnTo>
                      <a:pt x="341" y="2184"/>
                    </a:lnTo>
                    <a:lnTo>
                      <a:pt x="312" y="2178"/>
                    </a:lnTo>
                    <a:lnTo>
                      <a:pt x="314" y="2178"/>
                    </a:lnTo>
                    <a:lnTo>
                      <a:pt x="289" y="2178"/>
                    </a:lnTo>
                    <a:lnTo>
                      <a:pt x="295" y="2174"/>
                    </a:lnTo>
                    <a:lnTo>
                      <a:pt x="280" y="2198"/>
                    </a:lnTo>
                    <a:lnTo>
                      <a:pt x="249" y="2235"/>
                    </a:lnTo>
                    <a:lnTo>
                      <a:pt x="251" y="2231"/>
                    </a:lnTo>
                    <a:lnTo>
                      <a:pt x="247" y="2264"/>
                    </a:lnTo>
                    <a:cubicBezTo>
                      <a:pt x="246" y="2266"/>
                      <a:pt x="245" y="2268"/>
                      <a:pt x="244" y="2269"/>
                    </a:cubicBezTo>
                    <a:lnTo>
                      <a:pt x="231" y="2279"/>
                    </a:lnTo>
                    <a:lnTo>
                      <a:pt x="234" y="2276"/>
                    </a:lnTo>
                    <a:lnTo>
                      <a:pt x="216" y="2334"/>
                    </a:lnTo>
                    <a:cubicBezTo>
                      <a:pt x="215" y="2337"/>
                      <a:pt x="212" y="2339"/>
                      <a:pt x="209" y="2339"/>
                    </a:cubicBezTo>
                    <a:cubicBezTo>
                      <a:pt x="206" y="2340"/>
                      <a:pt x="203" y="2339"/>
                      <a:pt x="202" y="2336"/>
                    </a:cubicBezTo>
                    <a:lnTo>
                      <a:pt x="191" y="2319"/>
                    </a:lnTo>
                    <a:cubicBezTo>
                      <a:pt x="190" y="2319"/>
                      <a:pt x="190" y="2318"/>
                      <a:pt x="189" y="2317"/>
                    </a:cubicBezTo>
                    <a:lnTo>
                      <a:pt x="184" y="2293"/>
                    </a:lnTo>
                    <a:lnTo>
                      <a:pt x="190" y="2299"/>
                    </a:lnTo>
                    <a:lnTo>
                      <a:pt x="7" y="2268"/>
                    </a:lnTo>
                    <a:close/>
                    <a:moveTo>
                      <a:pt x="193" y="2284"/>
                    </a:moveTo>
                    <a:cubicBezTo>
                      <a:pt x="196" y="2284"/>
                      <a:pt x="199" y="2287"/>
                      <a:pt x="199" y="2290"/>
                    </a:cubicBezTo>
                    <a:lnTo>
                      <a:pt x="205" y="2313"/>
                    </a:lnTo>
                    <a:lnTo>
                      <a:pt x="204" y="2310"/>
                    </a:lnTo>
                    <a:lnTo>
                      <a:pt x="215" y="2327"/>
                    </a:lnTo>
                    <a:lnTo>
                      <a:pt x="201" y="2329"/>
                    </a:lnTo>
                    <a:lnTo>
                      <a:pt x="219" y="2271"/>
                    </a:lnTo>
                    <a:cubicBezTo>
                      <a:pt x="219" y="2269"/>
                      <a:pt x="220" y="2268"/>
                      <a:pt x="221" y="2267"/>
                    </a:cubicBezTo>
                    <a:lnTo>
                      <a:pt x="234" y="2257"/>
                    </a:lnTo>
                    <a:lnTo>
                      <a:pt x="231" y="2262"/>
                    </a:lnTo>
                    <a:lnTo>
                      <a:pt x="235" y="2229"/>
                    </a:lnTo>
                    <a:cubicBezTo>
                      <a:pt x="235" y="2227"/>
                      <a:pt x="236" y="2226"/>
                      <a:pt x="237" y="2225"/>
                    </a:cubicBezTo>
                    <a:lnTo>
                      <a:pt x="267" y="2189"/>
                    </a:lnTo>
                    <a:lnTo>
                      <a:pt x="282" y="2166"/>
                    </a:lnTo>
                    <a:cubicBezTo>
                      <a:pt x="284" y="2163"/>
                      <a:pt x="286" y="2162"/>
                      <a:pt x="289" y="2162"/>
                    </a:cubicBezTo>
                    <a:lnTo>
                      <a:pt x="314" y="2162"/>
                    </a:lnTo>
                    <a:cubicBezTo>
                      <a:pt x="314" y="2162"/>
                      <a:pt x="315" y="2162"/>
                      <a:pt x="316" y="2162"/>
                    </a:cubicBezTo>
                    <a:lnTo>
                      <a:pt x="345" y="2169"/>
                    </a:lnTo>
                    <a:cubicBezTo>
                      <a:pt x="346" y="2169"/>
                      <a:pt x="347" y="2170"/>
                      <a:pt x="348" y="2171"/>
                    </a:cubicBezTo>
                    <a:lnTo>
                      <a:pt x="379" y="2197"/>
                    </a:lnTo>
                    <a:lnTo>
                      <a:pt x="373" y="2195"/>
                    </a:lnTo>
                    <a:lnTo>
                      <a:pt x="417" y="2195"/>
                    </a:lnTo>
                    <a:lnTo>
                      <a:pt x="460" y="2197"/>
                    </a:lnTo>
                    <a:cubicBezTo>
                      <a:pt x="462" y="2197"/>
                      <a:pt x="464" y="2198"/>
                      <a:pt x="465" y="2199"/>
                    </a:cubicBezTo>
                    <a:lnTo>
                      <a:pt x="507" y="2244"/>
                    </a:lnTo>
                    <a:cubicBezTo>
                      <a:pt x="508" y="2245"/>
                      <a:pt x="508" y="2246"/>
                      <a:pt x="509" y="2247"/>
                    </a:cubicBezTo>
                    <a:lnTo>
                      <a:pt x="539" y="2330"/>
                    </a:lnTo>
                    <a:lnTo>
                      <a:pt x="537" y="2328"/>
                    </a:lnTo>
                    <a:lnTo>
                      <a:pt x="554" y="2344"/>
                    </a:lnTo>
                    <a:lnTo>
                      <a:pt x="568" y="2359"/>
                    </a:lnTo>
                    <a:cubicBezTo>
                      <a:pt x="569" y="2360"/>
                      <a:pt x="570" y="2362"/>
                      <a:pt x="570" y="2363"/>
                    </a:cubicBezTo>
                    <a:lnTo>
                      <a:pt x="575" y="2386"/>
                    </a:lnTo>
                    <a:cubicBezTo>
                      <a:pt x="576" y="2389"/>
                      <a:pt x="575" y="2391"/>
                      <a:pt x="574" y="2393"/>
                    </a:cubicBezTo>
                    <a:cubicBezTo>
                      <a:pt x="573" y="2395"/>
                      <a:pt x="570" y="2396"/>
                      <a:pt x="568" y="2396"/>
                    </a:cubicBezTo>
                    <a:lnTo>
                      <a:pt x="511" y="2400"/>
                    </a:lnTo>
                    <a:lnTo>
                      <a:pt x="518" y="2387"/>
                    </a:lnTo>
                    <a:lnTo>
                      <a:pt x="538" y="2422"/>
                    </a:lnTo>
                    <a:cubicBezTo>
                      <a:pt x="539" y="2423"/>
                      <a:pt x="539" y="2423"/>
                      <a:pt x="539" y="2424"/>
                    </a:cubicBezTo>
                    <a:lnTo>
                      <a:pt x="550" y="2457"/>
                    </a:lnTo>
                    <a:lnTo>
                      <a:pt x="539" y="2453"/>
                    </a:lnTo>
                    <a:lnTo>
                      <a:pt x="565" y="2438"/>
                    </a:lnTo>
                    <a:lnTo>
                      <a:pt x="602" y="2415"/>
                    </a:lnTo>
                    <a:cubicBezTo>
                      <a:pt x="604" y="2414"/>
                      <a:pt x="606" y="2413"/>
                      <a:pt x="608" y="2414"/>
                    </a:cubicBezTo>
                    <a:lnTo>
                      <a:pt x="649" y="2420"/>
                    </a:lnTo>
                    <a:cubicBezTo>
                      <a:pt x="652" y="2421"/>
                      <a:pt x="655" y="2423"/>
                      <a:pt x="656" y="2426"/>
                    </a:cubicBezTo>
                    <a:lnTo>
                      <a:pt x="677" y="2499"/>
                    </a:lnTo>
                    <a:lnTo>
                      <a:pt x="673" y="2495"/>
                    </a:lnTo>
                    <a:lnTo>
                      <a:pt x="719" y="2520"/>
                    </a:lnTo>
                    <a:cubicBezTo>
                      <a:pt x="720" y="2520"/>
                      <a:pt x="720" y="2521"/>
                      <a:pt x="721" y="2522"/>
                    </a:cubicBezTo>
                    <a:lnTo>
                      <a:pt x="779" y="2600"/>
                    </a:lnTo>
                    <a:lnTo>
                      <a:pt x="775" y="2597"/>
                    </a:lnTo>
                    <a:lnTo>
                      <a:pt x="846" y="2619"/>
                    </a:lnTo>
                    <a:lnTo>
                      <a:pt x="841" y="2619"/>
                    </a:lnTo>
                    <a:lnTo>
                      <a:pt x="874" y="2607"/>
                    </a:lnTo>
                    <a:cubicBezTo>
                      <a:pt x="877" y="2607"/>
                      <a:pt x="879" y="2607"/>
                      <a:pt x="881" y="2608"/>
                    </a:cubicBezTo>
                    <a:lnTo>
                      <a:pt x="904" y="2621"/>
                    </a:lnTo>
                    <a:lnTo>
                      <a:pt x="954" y="2641"/>
                    </a:lnTo>
                    <a:cubicBezTo>
                      <a:pt x="956" y="2642"/>
                      <a:pt x="958" y="2644"/>
                      <a:pt x="958" y="2646"/>
                    </a:cubicBezTo>
                    <a:lnTo>
                      <a:pt x="981" y="2728"/>
                    </a:lnTo>
                    <a:cubicBezTo>
                      <a:pt x="982" y="2732"/>
                      <a:pt x="979" y="2736"/>
                      <a:pt x="976" y="2737"/>
                    </a:cubicBezTo>
                    <a:lnTo>
                      <a:pt x="934" y="2752"/>
                    </a:lnTo>
                    <a:lnTo>
                      <a:pt x="939" y="2746"/>
                    </a:lnTo>
                    <a:lnTo>
                      <a:pt x="934" y="2786"/>
                    </a:lnTo>
                    <a:lnTo>
                      <a:pt x="934" y="2785"/>
                    </a:lnTo>
                    <a:lnTo>
                      <a:pt x="935" y="2838"/>
                    </a:lnTo>
                    <a:cubicBezTo>
                      <a:pt x="935" y="2838"/>
                      <a:pt x="935" y="2839"/>
                      <a:pt x="935" y="2839"/>
                    </a:cubicBezTo>
                    <a:lnTo>
                      <a:pt x="928" y="2891"/>
                    </a:lnTo>
                    <a:cubicBezTo>
                      <a:pt x="928" y="2893"/>
                      <a:pt x="927" y="2894"/>
                      <a:pt x="926" y="2896"/>
                    </a:cubicBezTo>
                    <a:lnTo>
                      <a:pt x="860" y="2959"/>
                    </a:lnTo>
                    <a:lnTo>
                      <a:pt x="860" y="2947"/>
                    </a:lnTo>
                    <a:lnTo>
                      <a:pt x="942" y="3014"/>
                    </a:lnTo>
                    <a:lnTo>
                      <a:pt x="936" y="3012"/>
                    </a:lnTo>
                    <a:lnTo>
                      <a:pt x="1014" y="3004"/>
                    </a:lnTo>
                    <a:cubicBezTo>
                      <a:pt x="1015" y="3003"/>
                      <a:pt x="1017" y="3004"/>
                      <a:pt x="1018" y="3004"/>
                    </a:cubicBezTo>
                    <a:lnTo>
                      <a:pt x="1094" y="3043"/>
                    </a:lnTo>
                    <a:cubicBezTo>
                      <a:pt x="1095" y="3043"/>
                      <a:pt x="1096" y="3044"/>
                      <a:pt x="1097" y="3045"/>
                    </a:cubicBezTo>
                    <a:lnTo>
                      <a:pt x="1128" y="3087"/>
                    </a:lnTo>
                    <a:lnTo>
                      <a:pt x="1122" y="3083"/>
                    </a:lnTo>
                    <a:lnTo>
                      <a:pt x="1169" y="3085"/>
                    </a:lnTo>
                    <a:lnTo>
                      <a:pt x="1164" y="3086"/>
                    </a:lnTo>
                    <a:lnTo>
                      <a:pt x="1213" y="3058"/>
                    </a:lnTo>
                    <a:cubicBezTo>
                      <a:pt x="1215" y="3057"/>
                      <a:pt x="1217" y="3056"/>
                      <a:pt x="1219" y="3057"/>
                    </a:cubicBezTo>
                    <a:cubicBezTo>
                      <a:pt x="1222" y="3058"/>
                      <a:pt x="1223" y="3059"/>
                      <a:pt x="1224" y="3061"/>
                    </a:cubicBezTo>
                    <a:lnTo>
                      <a:pt x="1246" y="3108"/>
                    </a:lnTo>
                    <a:lnTo>
                      <a:pt x="1241" y="3104"/>
                    </a:lnTo>
                    <a:lnTo>
                      <a:pt x="1266" y="3109"/>
                    </a:lnTo>
                    <a:cubicBezTo>
                      <a:pt x="1266" y="3109"/>
                      <a:pt x="1267" y="3109"/>
                      <a:pt x="1268" y="3109"/>
                    </a:cubicBezTo>
                    <a:lnTo>
                      <a:pt x="1294" y="3123"/>
                    </a:lnTo>
                    <a:lnTo>
                      <a:pt x="1292" y="3122"/>
                    </a:lnTo>
                    <a:lnTo>
                      <a:pt x="1328" y="3130"/>
                    </a:lnTo>
                    <a:cubicBezTo>
                      <a:pt x="1329" y="3130"/>
                      <a:pt x="1329" y="3131"/>
                      <a:pt x="1330" y="3131"/>
                    </a:cubicBezTo>
                    <a:lnTo>
                      <a:pt x="1363" y="3146"/>
                    </a:lnTo>
                    <a:cubicBezTo>
                      <a:pt x="1364" y="3146"/>
                      <a:pt x="1364" y="3146"/>
                      <a:pt x="1365" y="3147"/>
                    </a:cubicBezTo>
                    <a:lnTo>
                      <a:pt x="1397" y="3170"/>
                    </a:lnTo>
                    <a:lnTo>
                      <a:pt x="1384" y="3178"/>
                    </a:lnTo>
                    <a:lnTo>
                      <a:pt x="1349" y="3045"/>
                    </a:lnTo>
                    <a:lnTo>
                      <a:pt x="1352" y="3049"/>
                    </a:lnTo>
                    <a:lnTo>
                      <a:pt x="1313" y="3014"/>
                    </a:lnTo>
                    <a:cubicBezTo>
                      <a:pt x="1311" y="3012"/>
                      <a:pt x="1310" y="3009"/>
                      <a:pt x="1311" y="3006"/>
                    </a:cubicBezTo>
                    <a:lnTo>
                      <a:pt x="1344" y="2868"/>
                    </a:lnTo>
                    <a:cubicBezTo>
                      <a:pt x="1345" y="2865"/>
                      <a:pt x="1347" y="2863"/>
                      <a:pt x="1349" y="2862"/>
                    </a:cubicBezTo>
                    <a:cubicBezTo>
                      <a:pt x="1352" y="2861"/>
                      <a:pt x="1355" y="2862"/>
                      <a:pt x="1357" y="2864"/>
                    </a:cubicBezTo>
                    <a:lnTo>
                      <a:pt x="1389" y="2896"/>
                    </a:lnTo>
                    <a:lnTo>
                      <a:pt x="1379" y="2895"/>
                    </a:lnTo>
                    <a:lnTo>
                      <a:pt x="1423" y="2860"/>
                    </a:lnTo>
                    <a:lnTo>
                      <a:pt x="1425" y="2874"/>
                    </a:lnTo>
                    <a:lnTo>
                      <a:pt x="1391" y="2862"/>
                    </a:lnTo>
                    <a:cubicBezTo>
                      <a:pt x="1389" y="2862"/>
                      <a:pt x="1387" y="2860"/>
                      <a:pt x="1386" y="2858"/>
                    </a:cubicBezTo>
                    <a:lnTo>
                      <a:pt x="1364" y="2814"/>
                    </a:lnTo>
                    <a:lnTo>
                      <a:pt x="1342" y="2777"/>
                    </a:lnTo>
                    <a:lnTo>
                      <a:pt x="1314" y="2722"/>
                    </a:lnTo>
                    <a:lnTo>
                      <a:pt x="1325" y="2725"/>
                    </a:lnTo>
                    <a:lnTo>
                      <a:pt x="1294" y="2742"/>
                    </a:lnTo>
                    <a:cubicBezTo>
                      <a:pt x="1294" y="2742"/>
                      <a:pt x="1293" y="2742"/>
                      <a:pt x="1293" y="2743"/>
                    </a:cubicBezTo>
                    <a:lnTo>
                      <a:pt x="1266" y="2749"/>
                    </a:lnTo>
                    <a:cubicBezTo>
                      <a:pt x="1264" y="2750"/>
                      <a:pt x="1261" y="2749"/>
                      <a:pt x="1259" y="2748"/>
                    </a:cubicBezTo>
                    <a:cubicBezTo>
                      <a:pt x="1257" y="2746"/>
                      <a:pt x="1256" y="2744"/>
                      <a:pt x="1256" y="2742"/>
                    </a:cubicBezTo>
                    <a:lnTo>
                      <a:pt x="1256" y="2707"/>
                    </a:lnTo>
                    <a:lnTo>
                      <a:pt x="1257" y="2711"/>
                    </a:lnTo>
                    <a:lnTo>
                      <a:pt x="1234" y="2674"/>
                    </a:lnTo>
                    <a:cubicBezTo>
                      <a:pt x="1233" y="2673"/>
                      <a:pt x="1233" y="2671"/>
                      <a:pt x="1233" y="2669"/>
                    </a:cubicBezTo>
                    <a:lnTo>
                      <a:pt x="1238" y="2546"/>
                    </a:lnTo>
                    <a:cubicBezTo>
                      <a:pt x="1238" y="2542"/>
                      <a:pt x="1241" y="2539"/>
                      <a:pt x="1245" y="2539"/>
                    </a:cubicBezTo>
                    <a:lnTo>
                      <a:pt x="1267" y="2535"/>
                    </a:lnTo>
                    <a:cubicBezTo>
                      <a:pt x="1271" y="2535"/>
                      <a:pt x="1275" y="2537"/>
                      <a:pt x="1276" y="2541"/>
                    </a:cubicBezTo>
                    <a:lnTo>
                      <a:pt x="1288" y="2576"/>
                    </a:lnTo>
                    <a:lnTo>
                      <a:pt x="1279" y="2570"/>
                    </a:lnTo>
                    <a:lnTo>
                      <a:pt x="1299" y="2567"/>
                    </a:lnTo>
                    <a:lnTo>
                      <a:pt x="1292" y="2575"/>
                    </a:lnTo>
                    <a:lnTo>
                      <a:pt x="1291" y="2533"/>
                    </a:lnTo>
                    <a:cubicBezTo>
                      <a:pt x="1291" y="2532"/>
                      <a:pt x="1291" y="2531"/>
                      <a:pt x="1292" y="2530"/>
                    </a:cubicBezTo>
                    <a:lnTo>
                      <a:pt x="1314" y="2486"/>
                    </a:lnTo>
                    <a:cubicBezTo>
                      <a:pt x="1315" y="2483"/>
                      <a:pt x="1319" y="2482"/>
                      <a:pt x="1322" y="2482"/>
                    </a:cubicBezTo>
                    <a:lnTo>
                      <a:pt x="1337" y="2484"/>
                    </a:lnTo>
                    <a:lnTo>
                      <a:pt x="1330" y="2486"/>
                    </a:lnTo>
                    <a:lnTo>
                      <a:pt x="1348" y="2466"/>
                    </a:lnTo>
                    <a:cubicBezTo>
                      <a:pt x="1350" y="2464"/>
                      <a:pt x="1353" y="2463"/>
                      <a:pt x="1355" y="2464"/>
                    </a:cubicBezTo>
                    <a:lnTo>
                      <a:pt x="1512" y="2475"/>
                    </a:lnTo>
                    <a:cubicBezTo>
                      <a:pt x="1514" y="2475"/>
                      <a:pt x="1517" y="2477"/>
                      <a:pt x="1518" y="2479"/>
                    </a:cubicBezTo>
                    <a:lnTo>
                      <a:pt x="1543" y="2519"/>
                    </a:lnTo>
                    <a:lnTo>
                      <a:pt x="1535" y="2515"/>
                    </a:lnTo>
                    <a:lnTo>
                      <a:pt x="1581" y="2509"/>
                    </a:lnTo>
                    <a:lnTo>
                      <a:pt x="1576" y="2511"/>
                    </a:lnTo>
                    <a:lnTo>
                      <a:pt x="1608" y="2481"/>
                    </a:lnTo>
                    <a:cubicBezTo>
                      <a:pt x="1611" y="2478"/>
                      <a:pt x="1615" y="2478"/>
                      <a:pt x="1618" y="2480"/>
                    </a:cubicBezTo>
                    <a:lnTo>
                      <a:pt x="1647" y="2498"/>
                    </a:lnTo>
                    <a:lnTo>
                      <a:pt x="1639" y="2498"/>
                    </a:lnTo>
                    <a:lnTo>
                      <a:pt x="1679" y="2476"/>
                    </a:lnTo>
                    <a:cubicBezTo>
                      <a:pt x="1681" y="2475"/>
                      <a:pt x="1684" y="2475"/>
                      <a:pt x="1686" y="2476"/>
                    </a:cubicBezTo>
                    <a:cubicBezTo>
                      <a:pt x="1688" y="2476"/>
                      <a:pt x="1690" y="2478"/>
                      <a:pt x="1691" y="2480"/>
                    </a:cubicBezTo>
                    <a:lnTo>
                      <a:pt x="1706" y="2515"/>
                    </a:lnTo>
                    <a:lnTo>
                      <a:pt x="1703" y="2512"/>
                    </a:lnTo>
                    <a:lnTo>
                      <a:pt x="1736" y="2535"/>
                    </a:lnTo>
                    <a:lnTo>
                      <a:pt x="1727" y="2535"/>
                    </a:lnTo>
                    <a:lnTo>
                      <a:pt x="1759" y="2510"/>
                    </a:lnTo>
                    <a:cubicBezTo>
                      <a:pt x="1761" y="2508"/>
                      <a:pt x="1765" y="2508"/>
                      <a:pt x="1768" y="2510"/>
                    </a:cubicBezTo>
                    <a:lnTo>
                      <a:pt x="1810" y="2536"/>
                    </a:lnTo>
                    <a:lnTo>
                      <a:pt x="1798" y="2540"/>
                    </a:lnTo>
                    <a:lnTo>
                      <a:pt x="1812" y="2502"/>
                    </a:lnTo>
                    <a:lnTo>
                      <a:pt x="1812" y="2508"/>
                    </a:lnTo>
                    <a:lnTo>
                      <a:pt x="1788" y="2455"/>
                    </a:lnTo>
                    <a:lnTo>
                      <a:pt x="1795" y="2460"/>
                    </a:lnTo>
                    <a:lnTo>
                      <a:pt x="1737" y="2458"/>
                    </a:lnTo>
                    <a:cubicBezTo>
                      <a:pt x="1733" y="2458"/>
                      <a:pt x="1730" y="2454"/>
                      <a:pt x="1729" y="2450"/>
                    </a:cubicBezTo>
                    <a:lnTo>
                      <a:pt x="1727" y="2395"/>
                    </a:lnTo>
                    <a:cubicBezTo>
                      <a:pt x="1726" y="2393"/>
                      <a:pt x="1727" y="2391"/>
                      <a:pt x="1729" y="2389"/>
                    </a:cubicBezTo>
                    <a:lnTo>
                      <a:pt x="1765" y="2353"/>
                    </a:lnTo>
                    <a:lnTo>
                      <a:pt x="1764" y="2363"/>
                    </a:lnTo>
                    <a:lnTo>
                      <a:pt x="1713" y="2295"/>
                    </a:lnTo>
                    <a:cubicBezTo>
                      <a:pt x="1711" y="2292"/>
                      <a:pt x="1711" y="2288"/>
                      <a:pt x="1713" y="2285"/>
                    </a:cubicBezTo>
                    <a:lnTo>
                      <a:pt x="1725" y="2268"/>
                    </a:lnTo>
                    <a:cubicBezTo>
                      <a:pt x="1728" y="2265"/>
                      <a:pt x="1732" y="2264"/>
                      <a:pt x="1736" y="2266"/>
                    </a:cubicBezTo>
                    <a:lnTo>
                      <a:pt x="1767" y="2283"/>
                    </a:lnTo>
                    <a:lnTo>
                      <a:pt x="1762" y="2282"/>
                    </a:lnTo>
                    <a:lnTo>
                      <a:pt x="1864" y="2265"/>
                    </a:lnTo>
                    <a:cubicBezTo>
                      <a:pt x="1866" y="2265"/>
                      <a:pt x="1867" y="2265"/>
                      <a:pt x="1869" y="2266"/>
                    </a:cubicBezTo>
                    <a:lnTo>
                      <a:pt x="1895" y="2281"/>
                    </a:lnTo>
                    <a:lnTo>
                      <a:pt x="1884" y="2284"/>
                    </a:lnTo>
                    <a:lnTo>
                      <a:pt x="1916" y="2228"/>
                    </a:lnTo>
                    <a:cubicBezTo>
                      <a:pt x="1917" y="2226"/>
                      <a:pt x="1919" y="2224"/>
                      <a:pt x="1922" y="2224"/>
                    </a:cubicBezTo>
                    <a:cubicBezTo>
                      <a:pt x="1924" y="2223"/>
                      <a:pt x="1926" y="2224"/>
                      <a:pt x="1928" y="2225"/>
                    </a:cubicBezTo>
                    <a:lnTo>
                      <a:pt x="1952" y="2244"/>
                    </a:lnTo>
                    <a:lnTo>
                      <a:pt x="1945" y="2242"/>
                    </a:lnTo>
                    <a:lnTo>
                      <a:pt x="2030" y="2224"/>
                    </a:lnTo>
                    <a:lnTo>
                      <a:pt x="2025" y="2227"/>
                    </a:lnTo>
                    <a:lnTo>
                      <a:pt x="2049" y="2195"/>
                    </a:lnTo>
                    <a:cubicBezTo>
                      <a:pt x="2050" y="2193"/>
                      <a:pt x="2052" y="2192"/>
                      <a:pt x="2054" y="2192"/>
                    </a:cubicBezTo>
                    <a:lnTo>
                      <a:pt x="2122" y="2185"/>
                    </a:lnTo>
                    <a:cubicBezTo>
                      <a:pt x="2125" y="2185"/>
                      <a:pt x="2128" y="2186"/>
                      <a:pt x="2130" y="2189"/>
                    </a:cubicBezTo>
                    <a:lnTo>
                      <a:pt x="2177" y="2264"/>
                    </a:lnTo>
                    <a:lnTo>
                      <a:pt x="2171" y="2260"/>
                    </a:lnTo>
                    <a:lnTo>
                      <a:pt x="2298" y="2265"/>
                    </a:lnTo>
                    <a:cubicBezTo>
                      <a:pt x="2302" y="2265"/>
                      <a:pt x="2304" y="2267"/>
                      <a:pt x="2305" y="2271"/>
                    </a:cubicBezTo>
                    <a:lnTo>
                      <a:pt x="2321" y="2314"/>
                    </a:lnTo>
                    <a:lnTo>
                      <a:pt x="2308" y="2310"/>
                    </a:lnTo>
                    <a:lnTo>
                      <a:pt x="2393" y="2247"/>
                    </a:lnTo>
                    <a:cubicBezTo>
                      <a:pt x="2396" y="2244"/>
                      <a:pt x="2401" y="2245"/>
                      <a:pt x="2404" y="2248"/>
                    </a:cubicBezTo>
                    <a:lnTo>
                      <a:pt x="2495" y="2353"/>
                    </a:lnTo>
                    <a:lnTo>
                      <a:pt x="2491" y="2350"/>
                    </a:lnTo>
                    <a:lnTo>
                      <a:pt x="2530" y="2360"/>
                    </a:lnTo>
                    <a:cubicBezTo>
                      <a:pt x="2532" y="2361"/>
                      <a:pt x="2533" y="2362"/>
                      <a:pt x="2534" y="2363"/>
                    </a:cubicBezTo>
                    <a:lnTo>
                      <a:pt x="2670" y="2499"/>
                    </a:lnTo>
                    <a:lnTo>
                      <a:pt x="2660" y="2498"/>
                    </a:lnTo>
                    <a:lnTo>
                      <a:pt x="2695" y="2476"/>
                    </a:lnTo>
                    <a:lnTo>
                      <a:pt x="2730" y="2458"/>
                    </a:lnTo>
                    <a:cubicBezTo>
                      <a:pt x="2733" y="2456"/>
                      <a:pt x="2738" y="2457"/>
                      <a:pt x="2740" y="2460"/>
                    </a:cubicBezTo>
                    <a:lnTo>
                      <a:pt x="2791" y="2527"/>
                    </a:lnTo>
                    <a:lnTo>
                      <a:pt x="2781" y="2524"/>
                    </a:lnTo>
                    <a:lnTo>
                      <a:pt x="2810" y="2509"/>
                    </a:lnTo>
                    <a:cubicBezTo>
                      <a:pt x="2812" y="2509"/>
                      <a:pt x="2813" y="2509"/>
                      <a:pt x="2814" y="2509"/>
                    </a:cubicBezTo>
                    <a:lnTo>
                      <a:pt x="2878" y="2509"/>
                    </a:lnTo>
                    <a:cubicBezTo>
                      <a:pt x="2881" y="2509"/>
                      <a:pt x="2884" y="2510"/>
                      <a:pt x="2885" y="2513"/>
                    </a:cubicBezTo>
                    <a:lnTo>
                      <a:pt x="2921" y="2598"/>
                    </a:lnTo>
                    <a:lnTo>
                      <a:pt x="2915" y="2594"/>
                    </a:lnTo>
                    <a:lnTo>
                      <a:pt x="2961" y="2599"/>
                    </a:lnTo>
                    <a:cubicBezTo>
                      <a:pt x="2961" y="2599"/>
                      <a:pt x="2962" y="2599"/>
                      <a:pt x="2963" y="2599"/>
                    </a:cubicBezTo>
                    <a:lnTo>
                      <a:pt x="3085" y="2654"/>
                    </a:lnTo>
                    <a:lnTo>
                      <a:pt x="3078" y="2655"/>
                    </a:lnTo>
                    <a:lnTo>
                      <a:pt x="3144" y="2611"/>
                    </a:lnTo>
                    <a:cubicBezTo>
                      <a:pt x="3147" y="2610"/>
                      <a:pt x="3151" y="2610"/>
                      <a:pt x="3153" y="2612"/>
                    </a:cubicBezTo>
                    <a:lnTo>
                      <a:pt x="3256" y="2692"/>
                    </a:lnTo>
                    <a:lnTo>
                      <a:pt x="3248" y="2691"/>
                    </a:lnTo>
                    <a:lnTo>
                      <a:pt x="3329" y="2650"/>
                    </a:lnTo>
                    <a:lnTo>
                      <a:pt x="3481" y="2550"/>
                    </a:lnTo>
                    <a:cubicBezTo>
                      <a:pt x="3483" y="2549"/>
                      <a:pt x="3485" y="2548"/>
                      <a:pt x="3487" y="2549"/>
                    </a:cubicBezTo>
                    <a:lnTo>
                      <a:pt x="3776" y="2597"/>
                    </a:lnTo>
                    <a:lnTo>
                      <a:pt x="3766" y="2604"/>
                    </a:lnTo>
                    <a:lnTo>
                      <a:pt x="3772" y="2494"/>
                    </a:lnTo>
                    <a:cubicBezTo>
                      <a:pt x="3772" y="2492"/>
                      <a:pt x="3773" y="2490"/>
                      <a:pt x="3775" y="2489"/>
                    </a:cubicBezTo>
                    <a:lnTo>
                      <a:pt x="3841" y="2431"/>
                    </a:lnTo>
                    <a:cubicBezTo>
                      <a:pt x="3843" y="2428"/>
                      <a:pt x="3847" y="2428"/>
                      <a:pt x="3850" y="2429"/>
                    </a:cubicBezTo>
                    <a:lnTo>
                      <a:pt x="3976" y="2484"/>
                    </a:lnTo>
                    <a:cubicBezTo>
                      <a:pt x="3977" y="2485"/>
                      <a:pt x="3979" y="2486"/>
                      <a:pt x="3980" y="2487"/>
                    </a:cubicBezTo>
                    <a:lnTo>
                      <a:pt x="4028" y="2569"/>
                    </a:lnTo>
                    <a:lnTo>
                      <a:pt x="4020" y="2565"/>
                    </a:lnTo>
                    <a:lnTo>
                      <a:pt x="4148" y="2552"/>
                    </a:lnTo>
                    <a:cubicBezTo>
                      <a:pt x="4150" y="2552"/>
                      <a:pt x="4151" y="2552"/>
                      <a:pt x="4152" y="2553"/>
                    </a:cubicBezTo>
                    <a:lnTo>
                      <a:pt x="4354" y="2649"/>
                    </a:lnTo>
                    <a:lnTo>
                      <a:pt x="4348" y="2649"/>
                    </a:lnTo>
                    <a:lnTo>
                      <a:pt x="4575" y="2582"/>
                    </a:lnTo>
                    <a:cubicBezTo>
                      <a:pt x="4577" y="2582"/>
                      <a:pt x="4578" y="2582"/>
                      <a:pt x="4579" y="2582"/>
                    </a:cubicBezTo>
                    <a:lnTo>
                      <a:pt x="4667" y="2599"/>
                    </a:lnTo>
                    <a:cubicBezTo>
                      <a:pt x="4667" y="2599"/>
                      <a:pt x="4668" y="2599"/>
                      <a:pt x="4669" y="2599"/>
                    </a:cubicBezTo>
                    <a:lnTo>
                      <a:pt x="4742" y="2634"/>
                    </a:lnTo>
                    <a:lnTo>
                      <a:pt x="4735" y="2635"/>
                    </a:lnTo>
                    <a:lnTo>
                      <a:pt x="4804" y="2595"/>
                    </a:lnTo>
                    <a:lnTo>
                      <a:pt x="4801" y="2598"/>
                    </a:lnTo>
                    <a:lnTo>
                      <a:pt x="4872" y="2451"/>
                    </a:lnTo>
                    <a:lnTo>
                      <a:pt x="4872" y="2459"/>
                    </a:lnTo>
                    <a:lnTo>
                      <a:pt x="4839" y="2408"/>
                    </a:lnTo>
                    <a:cubicBezTo>
                      <a:pt x="4837" y="2406"/>
                      <a:pt x="4837" y="2403"/>
                      <a:pt x="4838" y="2401"/>
                    </a:cubicBezTo>
                    <a:cubicBezTo>
                      <a:pt x="4839" y="2398"/>
                      <a:pt x="4840" y="2397"/>
                      <a:pt x="4843" y="2396"/>
                    </a:cubicBezTo>
                    <a:lnTo>
                      <a:pt x="5017" y="2327"/>
                    </a:lnTo>
                    <a:cubicBezTo>
                      <a:pt x="5019" y="2327"/>
                      <a:pt x="5022" y="2327"/>
                      <a:pt x="5024" y="2328"/>
                    </a:cubicBezTo>
                    <a:lnTo>
                      <a:pt x="5121" y="2373"/>
                    </a:lnTo>
                    <a:cubicBezTo>
                      <a:pt x="5123" y="2374"/>
                      <a:pt x="5124" y="2375"/>
                      <a:pt x="5125" y="2377"/>
                    </a:cubicBezTo>
                    <a:lnTo>
                      <a:pt x="5214" y="2625"/>
                    </a:lnTo>
                    <a:lnTo>
                      <a:pt x="5209" y="2621"/>
                    </a:lnTo>
                    <a:lnTo>
                      <a:pt x="5356" y="2676"/>
                    </a:lnTo>
                    <a:cubicBezTo>
                      <a:pt x="5358" y="2677"/>
                      <a:pt x="5360" y="2678"/>
                      <a:pt x="5361" y="2681"/>
                    </a:cubicBezTo>
                    <a:lnTo>
                      <a:pt x="5389" y="2771"/>
                    </a:lnTo>
                    <a:lnTo>
                      <a:pt x="5379" y="2766"/>
                    </a:lnTo>
                    <a:lnTo>
                      <a:pt x="5559" y="2709"/>
                    </a:lnTo>
                    <a:cubicBezTo>
                      <a:pt x="5562" y="2708"/>
                      <a:pt x="5565" y="2709"/>
                      <a:pt x="5567" y="2711"/>
                    </a:cubicBezTo>
                    <a:cubicBezTo>
                      <a:pt x="5569" y="2713"/>
                      <a:pt x="5570" y="2716"/>
                      <a:pt x="5569" y="2719"/>
                    </a:cubicBezTo>
                    <a:lnTo>
                      <a:pt x="5486" y="2959"/>
                    </a:lnTo>
                    <a:cubicBezTo>
                      <a:pt x="5485" y="2961"/>
                      <a:pt x="5483" y="2963"/>
                      <a:pt x="5481" y="2964"/>
                    </a:cubicBezTo>
                    <a:lnTo>
                      <a:pt x="5375" y="3001"/>
                    </a:lnTo>
                    <a:lnTo>
                      <a:pt x="5381" y="2992"/>
                    </a:lnTo>
                    <a:lnTo>
                      <a:pt x="5395" y="3082"/>
                    </a:lnTo>
                    <a:cubicBezTo>
                      <a:pt x="5395" y="3084"/>
                      <a:pt x="5394" y="3086"/>
                      <a:pt x="5393" y="3087"/>
                    </a:cubicBezTo>
                    <a:lnTo>
                      <a:pt x="5360" y="3142"/>
                    </a:lnTo>
                    <a:lnTo>
                      <a:pt x="5361" y="3135"/>
                    </a:lnTo>
                    <a:lnTo>
                      <a:pt x="5368" y="3150"/>
                    </a:lnTo>
                    <a:lnTo>
                      <a:pt x="5354" y="3148"/>
                    </a:lnTo>
                    <a:lnTo>
                      <a:pt x="5412" y="3078"/>
                    </a:lnTo>
                    <a:cubicBezTo>
                      <a:pt x="5415" y="3075"/>
                      <a:pt x="5420" y="3074"/>
                      <a:pt x="5423" y="3077"/>
                    </a:cubicBezTo>
                    <a:lnTo>
                      <a:pt x="5491" y="3123"/>
                    </a:lnTo>
                    <a:lnTo>
                      <a:pt x="5483" y="3123"/>
                    </a:lnTo>
                    <a:lnTo>
                      <a:pt x="5570" y="3076"/>
                    </a:lnTo>
                    <a:lnTo>
                      <a:pt x="5567" y="3079"/>
                    </a:lnTo>
                    <a:lnTo>
                      <a:pt x="5814" y="2720"/>
                    </a:lnTo>
                    <a:lnTo>
                      <a:pt x="5813" y="2724"/>
                    </a:lnTo>
                    <a:lnTo>
                      <a:pt x="5824" y="2551"/>
                    </a:lnTo>
                    <a:cubicBezTo>
                      <a:pt x="5824" y="2550"/>
                      <a:pt x="5824" y="2549"/>
                      <a:pt x="5825" y="2548"/>
                    </a:cubicBezTo>
                    <a:lnTo>
                      <a:pt x="5872" y="2434"/>
                    </a:lnTo>
                    <a:lnTo>
                      <a:pt x="5871" y="2439"/>
                    </a:lnTo>
                    <a:lnTo>
                      <a:pt x="5858" y="2389"/>
                    </a:lnTo>
                    <a:lnTo>
                      <a:pt x="5862" y="2394"/>
                    </a:lnTo>
                    <a:lnTo>
                      <a:pt x="5803" y="2369"/>
                    </a:lnTo>
                    <a:cubicBezTo>
                      <a:pt x="5799" y="2368"/>
                      <a:pt x="5797" y="2364"/>
                      <a:pt x="5798" y="2360"/>
                    </a:cubicBezTo>
                    <a:cubicBezTo>
                      <a:pt x="5798" y="2357"/>
                      <a:pt x="5801" y="2354"/>
                      <a:pt x="5805" y="2354"/>
                    </a:cubicBezTo>
                    <a:lnTo>
                      <a:pt x="5871" y="2345"/>
                    </a:lnTo>
                    <a:lnTo>
                      <a:pt x="5867" y="2359"/>
                    </a:lnTo>
                    <a:lnTo>
                      <a:pt x="5792" y="2284"/>
                    </a:lnTo>
                    <a:lnTo>
                      <a:pt x="5797" y="2286"/>
                    </a:lnTo>
                    <a:lnTo>
                      <a:pt x="5746" y="2285"/>
                    </a:lnTo>
                    <a:lnTo>
                      <a:pt x="5754" y="2279"/>
                    </a:lnTo>
                    <a:lnTo>
                      <a:pt x="5737" y="2337"/>
                    </a:lnTo>
                    <a:cubicBezTo>
                      <a:pt x="5736" y="2341"/>
                      <a:pt x="5732" y="2344"/>
                      <a:pt x="5727" y="2343"/>
                    </a:cubicBezTo>
                    <a:cubicBezTo>
                      <a:pt x="5723" y="2342"/>
                      <a:pt x="5721" y="2338"/>
                      <a:pt x="5721" y="2333"/>
                    </a:cubicBezTo>
                    <a:lnTo>
                      <a:pt x="5728" y="2298"/>
                    </a:lnTo>
                    <a:lnTo>
                      <a:pt x="5740" y="2307"/>
                    </a:lnTo>
                    <a:lnTo>
                      <a:pt x="5686" y="2338"/>
                    </a:lnTo>
                    <a:cubicBezTo>
                      <a:pt x="5683" y="2340"/>
                      <a:pt x="5680" y="2340"/>
                      <a:pt x="5677" y="2338"/>
                    </a:cubicBezTo>
                    <a:cubicBezTo>
                      <a:pt x="5675" y="2336"/>
                      <a:pt x="5674" y="2333"/>
                      <a:pt x="5674" y="2330"/>
                    </a:cubicBezTo>
                    <a:lnTo>
                      <a:pt x="5685" y="2275"/>
                    </a:lnTo>
                    <a:lnTo>
                      <a:pt x="5699" y="2282"/>
                    </a:lnTo>
                    <a:lnTo>
                      <a:pt x="5659" y="2322"/>
                    </a:lnTo>
                    <a:cubicBezTo>
                      <a:pt x="5656" y="2325"/>
                      <a:pt x="5653" y="2325"/>
                      <a:pt x="5650" y="2324"/>
                    </a:cubicBezTo>
                    <a:cubicBezTo>
                      <a:pt x="5647" y="2323"/>
                      <a:pt x="5645" y="2320"/>
                      <a:pt x="5645" y="2317"/>
                    </a:cubicBezTo>
                    <a:lnTo>
                      <a:pt x="5645" y="2252"/>
                    </a:lnTo>
                    <a:lnTo>
                      <a:pt x="5651" y="2259"/>
                    </a:lnTo>
                    <a:lnTo>
                      <a:pt x="5581" y="2244"/>
                    </a:lnTo>
                    <a:cubicBezTo>
                      <a:pt x="5578" y="2244"/>
                      <a:pt x="5575" y="2242"/>
                      <a:pt x="5575" y="2239"/>
                    </a:cubicBezTo>
                    <a:cubicBezTo>
                      <a:pt x="5574" y="2236"/>
                      <a:pt x="5574" y="2233"/>
                      <a:pt x="5577" y="2231"/>
                    </a:cubicBezTo>
                    <a:lnTo>
                      <a:pt x="5929" y="1871"/>
                    </a:lnTo>
                    <a:cubicBezTo>
                      <a:pt x="5930" y="1869"/>
                      <a:pt x="5932" y="1869"/>
                      <a:pt x="5935" y="1869"/>
                    </a:cubicBezTo>
                    <a:lnTo>
                      <a:pt x="6230" y="1865"/>
                    </a:lnTo>
                    <a:lnTo>
                      <a:pt x="6224" y="1868"/>
                    </a:lnTo>
                    <a:lnTo>
                      <a:pt x="6260" y="1828"/>
                    </a:lnTo>
                    <a:cubicBezTo>
                      <a:pt x="6262" y="1826"/>
                      <a:pt x="6266" y="1825"/>
                      <a:pt x="6269" y="1826"/>
                    </a:cubicBezTo>
                    <a:lnTo>
                      <a:pt x="6399" y="1866"/>
                    </a:lnTo>
                    <a:cubicBezTo>
                      <a:pt x="6403" y="1867"/>
                      <a:pt x="6405" y="1870"/>
                      <a:pt x="6405" y="1874"/>
                    </a:cubicBezTo>
                    <a:cubicBezTo>
                      <a:pt x="6405" y="1877"/>
                      <a:pt x="6402" y="1880"/>
                      <a:pt x="6398" y="1881"/>
                    </a:cubicBezTo>
                    <a:lnTo>
                      <a:pt x="6344" y="1891"/>
                    </a:lnTo>
                    <a:lnTo>
                      <a:pt x="6348" y="1877"/>
                    </a:lnTo>
                    <a:lnTo>
                      <a:pt x="6368" y="1896"/>
                    </a:lnTo>
                    <a:lnTo>
                      <a:pt x="6361" y="1894"/>
                    </a:lnTo>
                    <a:lnTo>
                      <a:pt x="6518" y="1872"/>
                    </a:lnTo>
                    <a:lnTo>
                      <a:pt x="6511" y="1883"/>
                    </a:lnTo>
                    <a:lnTo>
                      <a:pt x="6484" y="1818"/>
                    </a:lnTo>
                    <a:cubicBezTo>
                      <a:pt x="6482" y="1815"/>
                      <a:pt x="6483" y="1812"/>
                      <a:pt x="6485" y="1809"/>
                    </a:cubicBezTo>
                    <a:lnTo>
                      <a:pt x="6632" y="1653"/>
                    </a:lnTo>
                    <a:cubicBezTo>
                      <a:pt x="6634" y="1652"/>
                      <a:pt x="6635" y="1651"/>
                      <a:pt x="6637" y="1650"/>
                    </a:cubicBezTo>
                    <a:lnTo>
                      <a:pt x="6792" y="1624"/>
                    </a:lnTo>
                    <a:cubicBezTo>
                      <a:pt x="6795" y="1623"/>
                      <a:pt x="6797" y="1624"/>
                      <a:pt x="6799" y="1626"/>
                    </a:cubicBezTo>
                    <a:cubicBezTo>
                      <a:pt x="6801" y="1628"/>
                      <a:pt x="6802" y="1630"/>
                      <a:pt x="6802" y="1633"/>
                    </a:cubicBezTo>
                    <a:lnTo>
                      <a:pt x="6786" y="1756"/>
                    </a:lnTo>
                    <a:lnTo>
                      <a:pt x="6774" y="1748"/>
                    </a:lnTo>
                    <a:lnTo>
                      <a:pt x="6920" y="1666"/>
                    </a:lnTo>
                    <a:lnTo>
                      <a:pt x="6916" y="1672"/>
                    </a:lnTo>
                    <a:lnTo>
                      <a:pt x="6936" y="1577"/>
                    </a:lnTo>
                    <a:cubicBezTo>
                      <a:pt x="6936" y="1573"/>
                      <a:pt x="6940" y="1570"/>
                      <a:pt x="6944" y="1570"/>
                    </a:cubicBezTo>
                    <a:lnTo>
                      <a:pt x="7009" y="1574"/>
                    </a:lnTo>
                    <a:cubicBezTo>
                      <a:pt x="7012" y="1574"/>
                      <a:pt x="7015" y="1576"/>
                      <a:pt x="7016" y="1579"/>
                    </a:cubicBezTo>
                    <a:cubicBezTo>
                      <a:pt x="7017" y="1582"/>
                      <a:pt x="7016" y="1586"/>
                      <a:pt x="7014" y="1588"/>
                    </a:cubicBezTo>
                    <a:lnTo>
                      <a:pt x="6979" y="1618"/>
                    </a:lnTo>
                    <a:lnTo>
                      <a:pt x="6982" y="1613"/>
                    </a:lnTo>
                    <a:lnTo>
                      <a:pt x="6954" y="1730"/>
                    </a:lnTo>
                    <a:cubicBezTo>
                      <a:pt x="6953" y="1732"/>
                      <a:pt x="6952" y="1734"/>
                      <a:pt x="6950" y="1735"/>
                    </a:cubicBezTo>
                    <a:lnTo>
                      <a:pt x="6868" y="1775"/>
                    </a:lnTo>
                    <a:lnTo>
                      <a:pt x="6870" y="1773"/>
                    </a:lnTo>
                    <a:lnTo>
                      <a:pt x="6700" y="1973"/>
                    </a:lnTo>
                    <a:cubicBezTo>
                      <a:pt x="6699" y="1975"/>
                      <a:pt x="6697" y="1976"/>
                      <a:pt x="6696" y="1976"/>
                    </a:cubicBezTo>
                    <a:lnTo>
                      <a:pt x="6622" y="1996"/>
                    </a:lnTo>
                    <a:lnTo>
                      <a:pt x="6627" y="1992"/>
                    </a:lnTo>
                    <a:lnTo>
                      <a:pt x="6580" y="2085"/>
                    </a:lnTo>
                    <a:lnTo>
                      <a:pt x="6581" y="2082"/>
                    </a:lnTo>
                    <a:lnTo>
                      <a:pt x="6574" y="2244"/>
                    </a:lnTo>
                    <a:lnTo>
                      <a:pt x="6574" y="2242"/>
                    </a:lnTo>
                    <a:lnTo>
                      <a:pt x="6628" y="2540"/>
                    </a:lnTo>
                    <a:lnTo>
                      <a:pt x="6614" y="2537"/>
                    </a:lnTo>
                    <a:lnTo>
                      <a:pt x="6678" y="2455"/>
                    </a:lnTo>
                    <a:lnTo>
                      <a:pt x="6676" y="2458"/>
                    </a:lnTo>
                    <a:lnTo>
                      <a:pt x="6696" y="2380"/>
                    </a:lnTo>
                    <a:cubicBezTo>
                      <a:pt x="6696" y="2377"/>
                      <a:pt x="6699" y="2375"/>
                      <a:pt x="6701" y="2374"/>
                    </a:cubicBezTo>
                    <a:lnTo>
                      <a:pt x="6771" y="2355"/>
                    </a:lnTo>
                    <a:lnTo>
                      <a:pt x="6765" y="2364"/>
                    </a:lnTo>
                    <a:lnTo>
                      <a:pt x="6756" y="2296"/>
                    </a:lnTo>
                    <a:cubicBezTo>
                      <a:pt x="6756" y="2292"/>
                      <a:pt x="6758" y="2289"/>
                      <a:pt x="6761" y="2288"/>
                    </a:cubicBezTo>
                    <a:lnTo>
                      <a:pt x="6866" y="2236"/>
                    </a:lnTo>
                    <a:lnTo>
                      <a:pt x="6862" y="2245"/>
                    </a:lnTo>
                    <a:lnTo>
                      <a:pt x="6844" y="2182"/>
                    </a:lnTo>
                    <a:cubicBezTo>
                      <a:pt x="6844" y="2180"/>
                      <a:pt x="6844" y="2179"/>
                      <a:pt x="6844" y="2177"/>
                    </a:cubicBezTo>
                    <a:lnTo>
                      <a:pt x="6872" y="2109"/>
                    </a:lnTo>
                    <a:cubicBezTo>
                      <a:pt x="6874" y="2105"/>
                      <a:pt x="6878" y="2103"/>
                      <a:pt x="6882" y="2104"/>
                    </a:cubicBezTo>
                    <a:lnTo>
                      <a:pt x="6932" y="2117"/>
                    </a:lnTo>
                    <a:lnTo>
                      <a:pt x="6922" y="2128"/>
                    </a:lnTo>
                    <a:lnTo>
                      <a:pt x="6894" y="2051"/>
                    </a:lnTo>
                    <a:cubicBezTo>
                      <a:pt x="6894" y="2049"/>
                      <a:pt x="6894" y="2047"/>
                      <a:pt x="6895" y="2045"/>
                    </a:cubicBezTo>
                    <a:lnTo>
                      <a:pt x="6918" y="1993"/>
                    </a:lnTo>
                    <a:lnTo>
                      <a:pt x="6922" y="2004"/>
                    </a:lnTo>
                    <a:lnTo>
                      <a:pt x="6865" y="1974"/>
                    </a:lnTo>
                    <a:cubicBezTo>
                      <a:pt x="6861" y="1972"/>
                      <a:pt x="6859" y="1967"/>
                      <a:pt x="6861" y="1963"/>
                    </a:cubicBezTo>
                    <a:lnTo>
                      <a:pt x="6933" y="1810"/>
                    </a:lnTo>
                    <a:cubicBezTo>
                      <a:pt x="6935" y="1807"/>
                      <a:pt x="6938" y="1805"/>
                      <a:pt x="6941" y="1805"/>
                    </a:cubicBezTo>
                    <a:lnTo>
                      <a:pt x="7009" y="1812"/>
                    </a:lnTo>
                    <a:lnTo>
                      <a:pt x="7003" y="1815"/>
                    </a:lnTo>
                    <a:lnTo>
                      <a:pt x="7060" y="1753"/>
                    </a:lnTo>
                    <a:cubicBezTo>
                      <a:pt x="7062" y="1750"/>
                      <a:pt x="7065" y="1750"/>
                      <a:pt x="7068" y="1751"/>
                    </a:cubicBezTo>
                    <a:cubicBezTo>
                      <a:pt x="7072" y="1752"/>
                      <a:pt x="7074" y="1755"/>
                      <a:pt x="7074" y="1758"/>
                    </a:cubicBezTo>
                    <a:lnTo>
                      <a:pt x="7074" y="1815"/>
                    </a:lnTo>
                    <a:lnTo>
                      <a:pt x="7061" y="1808"/>
                    </a:lnTo>
                    <a:lnTo>
                      <a:pt x="7157" y="1745"/>
                    </a:lnTo>
                    <a:cubicBezTo>
                      <a:pt x="7159" y="1743"/>
                      <a:pt x="7163" y="1743"/>
                      <a:pt x="7165" y="1745"/>
                    </a:cubicBezTo>
                    <a:lnTo>
                      <a:pt x="7271" y="1805"/>
                    </a:lnTo>
                    <a:lnTo>
                      <a:pt x="7261" y="1806"/>
                    </a:lnTo>
                    <a:lnTo>
                      <a:pt x="7416" y="1649"/>
                    </a:lnTo>
                    <a:cubicBezTo>
                      <a:pt x="7417" y="1649"/>
                      <a:pt x="7418" y="1648"/>
                      <a:pt x="7419" y="1648"/>
                    </a:cubicBezTo>
                    <a:lnTo>
                      <a:pt x="7594" y="1571"/>
                    </a:lnTo>
                    <a:lnTo>
                      <a:pt x="7589" y="1580"/>
                    </a:lnTo>
                    <a:lnTo>
                      <a:pt x="7585" y="1556"/>
                    </a:lnTo>
                    <a:cubicBezTo>
                      <a:pt x="7584" y="1553"/>
                      <a:pt x="7586" y="1551"/>
                      <a:pt x="7588" y="1549"/>
                    </a:cubicBezTo>
                    <a:cubicBezTo>
                      <a:pt x="7590" y="1547"/>
                      <a:pt x="7593" y="1546"/>
                      <a:pt x="7596" y="1548"/>
                    </a:cubicBezTo>
                    <a:lnTo>
                      <a:pt x="7692" y="1589"/>
                    </a:lnTo>
                    <a:lnTo>
                      <a:pt x="7681" y="1595"/>
                    </a:lnTo>
                    <a:lnTo>
                      <a:pt x="7696" y="1536"/>
                    </a:lnTo>
                    <a:lnTo>
                      <a:pt x="7697" y="1542"/>
                    </a:lnTo>
                    <a:lnTo>
                      <a:pt x="7603" y="1387"/>
                    </a:lnTo>
                    <a:cubicBezTo>
                      <a:pt x="7601" y="1385"/>
                      <a:pt x="7601" y="1381"/>
                      <a:pt x="7603" y="1379"/>
                    </a:cubicBezTo>
                    <a:cubicBezTo>
                      <a:pt x="7605" y="1376"/>
                      <a:pt x="7608" y="1375"/>
                      <a:pt x="7611" y="1375"/>
                    </a:cubicBezTo>
                    <a:lnTo>
                      <a:pt x="7668" y="1387"/>
                    </a:lnTo>
                    <a:lnTo>
                      <a:pt x="7662" y="1388"/>
                    </a:lnTo>
                    <a:lnTo>
                      <a:pt x="7745" y="1333"/>
                    </a:lnTo>
                    <a:lnTo>
                      <a:pt x="7743" y="1336"/>
                    </a:lnTo>
                    <a:lnTo>
                      <a:pt x="7765" y="1302"/>
                    </a:lnTo>
                    <a:lnTo>
                      <a:pt x="7765" y="1311"/>
                    </a:lnTo>
                    <a:lnTo>
                      <a:pt x="7729" y="1256"/>
                    </a:lnTo>
                    <a:cubicBezTo>
                      <a:pt x="7728" y="1254"/>
                      <a:pt x="7727" y="1252"/>
                      <a:pt x="7728" y="1250"/>
                    </a:cubicBezTo>
                    <a:cubicBezTo>
                      <a:pt x="7728" y="1248"/>
                      <a:pt x="7730" y="1246"/>
                      <a:pt x="7732" y="1245"/>
                    </a:cubicBezTo>
                    <a:lnTo>
                      <a:pt x="7762" y="1228"/>
                    </a:lnTo>
                    <a:cubicBezTo>
                      <a:pt x="7764" y="1227"/>
                      <a:pt x="7765" y="1227"/>
                      <a:pt x="7766" y="1227"/>
                    </a:cubicBezTo>
                    <a:lnTo>
                      <a:pt x="7805" y="1227"/>
                    </a:lnTo>
                    <a:cubicBezTo>
                      <a:pt x="7808" y="1227"/>
                      <a:pt x="7811" y="1229"/>
                      <a:pt x="7813" y="1232"/>
                    </a:cubicBezTo>
                    <a:cubicBezTo>
                      <a:pt x="7814" y="1235"/>
                      <a:pt x="7813" y="1239"/>
                      <a:pt x="7811" y="1241"/>
                    </a:cubicBezTo>
                    <a:lnTo>
                      <a:pt x="7787" y="1263"/>
                    </a:lnTo>
                    <a:lnTo>
                      <a:pt x="7789" y="1253"/>
                    </a:lnTo>
                    <a:lnTo>
                      <a:pt x="7814" y="1300"/>
                    </a:lnTo>
                    <a:lnTo>
                      <a:pt x="7806" y="1295"/>
                    </a:lnTo>
                    <a:lnTo>
                      <a:pt x="7903" y="1294"/>
                    </a:lnTo>
                    <a:cubicBezTo>
                      <a:pt x="7906" y="1294"/>
                      <a:pt x="7909" y="1295"/>
                      <a:pt x="7910" y="1297"/>
                    </a:cubicBezTo>
                    <a:lnTo>
                      <a:pt x="7966" y="1377"/>
                    </a:lnTo>
                    <a:lnTo>
                      <a:pt x="7955" y="1375"/>
                    </a:lnTo>
                    <a:lnTo>
                      <a:pt x="7990" y="1355"/>
                    </a:lnTo>
                    <a:cubicBezTo>
                      <a:pt x="7992" y="1354"/>
                      <a:pt x="7994" y="1353"/>
                      <a:pt x="7996" y="1354"/>
                    </a:cubicBezTo>
                    <a:cubicBezTo>
                      <a:pt x="7998" y="1355"/>
                      <a:pt x="8000" y="1356"/>
                      <a:pt x="8001" y="1358"/>
                    </a:cubicBezTo>
                    <a:lnTo>
                      <a:pt x="8027" y="1408"/>
                    </a:lnTo>
                    <a:lnTo>
                      <a:pt x="8020" y="1404"/>
                    </a:lnTo>
                    <a:lnTo>
                      <a:pt x="8107" y="1402"/>
                    </a:lnTo>
                    <a:lnTo>
                      <a:pt x="8103" y="1416"/>
                    </a:lnTo>
                    <a:lnTo>
                      <a:pt x="8061" y="1383"/>
                    </a:lnTo>
                    <a:cubicBezTo>
                      <a:pt x="8059" y="1381"/>
                      <a:pt x="8058" y="1378"/>
                      <a:pt x="8058" y="1375"/>
                    </a:cubicBezTo>
                    <a:cubicBezTo>
                      <a:pt x="8059" y="1372"/>
                      <a:pt x="8061" y="1370"/>
                      <a:pt x="8064" y="1369"/>
                    </a:cubicBezTo>
                    <a:lnTo>
                      <a:pt x="8115" y="1354"/>
                    </a:lnTo>
                    <a:lnTo>
                      <a:pt x="8112" y="1368"/>
                    </a:lnTo>
                    <a:lnTo>
                      <a:pt x="8083" y="1345"/>
                    </a:lnTo>
                    <a:cubicBezTo>
                      <a:pt x="8081" y="1343"/>
                      <a:pt x="8080" y="1340"/>
                      <a:pt x="8080" y="1338"/>
                    </a:cubicBezTo>
                    <a:cubicBezTo>
                      <a:pt x="8080" y="1335"/>
                      <a:pt x="8082" y="1333"/>
                      <a:pt x="8084" y="1331"/>
                    </a:cubicBezTo>
                    <a:lnTo>
                      <a:pt x="8228" y="1245"/>
                    </a:lnTo>
                    <a:lnTo>
                      <a:pt x="8228" y="1258"/>
                    </a:lnTo>
                    <a:lnTo>
                      <a:pt x="8126" y="1180"/>
                    </a:lnTo>
                    <a:lnTo>
                      <a:pt x="8132" y="1181"/>
                    </a:lnTo>
                    <a:lnTo>
                      <a:pt x="8060" y="1191"/>
                    </a:lnTo>
                    <a:cubicBezTo>
                      <a:pt x="8057" y="1192"/>
                      <a:pt x="8055" y="1191"/>
                      <a:pt x="8053" y="1189"/>
                    </a:cubicBezTo>
                    <a:lnTo>
                      <a:pt x="8028" y="1160"/>
                    </a:lnTo>
                    <a:lnTo>
                      <a:pt x="8035" y="1163"/>
                    </a:lnTo>
                    <a:lnTo>
                      <a:pt x="7997" y="1170"/>
                    </a:lnTo>
                    <a:lnTo>
                      <a:pt x="8003" y="1159"/>
                    </a:lnTo>
                    <a:lnTo>
                      <a:pt x="8028" y="1232"/>
                    </a:lnTo>
                    <a:cubicBezTo>
                      <a:pt x="8029" y="1236"/>
                      <a:pt x="8027" y="1241"/>
                      <a:pt x="8023" y="1242"/>
                    </a:cubicBezTo>
                    <a:cubicBezTo>
                      <a:pt x="8019" y="1244"/>
                      <a:pt x="8015" y="1242"/>
                      <a:pt x="8013" y="1238"/>
                    </a:cubicBezTo>
                    <a:lnTo>
                      <a:pt x="7950" y="1103"/>
                    </a:lnTo>
                    <a:lnTo>
                      <a:pt x="7958" y="1108"/>
                    </a:lnTo>
                    <a:lnTo>
                      <a:pt x="7905" y="1108"/>
                    </a:lnTo>
                    <a:cubicBezTo>
                      <a:pt x="7903" y="1108"/>
                      <a:pt x="7902" y="1108"/>
                      <a:pt x="7901" y="1107"/>
                    </a:cubicBezTo>
                    <a:lnTo>
                      <a:pt x="7654" y="940"/>
                    </a:lnTo>
                    <a:lnTo>
                      <a:pt x="7657" y="941"/>
                    </a:lnTo>
                    <a:lnTo>
                      <a:pt x="7281" y="876"/>
                    </a:lnTo>
                    <a:lnTo>
                      <a:pt x="7289" y="873"/>
                    </a:lnTo>
                    <a:lnTo>
                      <a:pt x="7264" y="913"/>
                    </a:lnTo>
                    <a:lnTo>
                      <a:pt x="7263" y="903"/>
                    </a:lnTo>
                    <a:lnTo>
                      <a:pt x="7308" y="957"/>
                    </a:lnTo>
                    <a:cubicBezTo>
                      <a:pt x="7309" y="958"/>
                      <a:pt x="7310" y="960"/>
                      <a:pt x="7309" y="963"/>
                    </a:cubicBezTo>
                    <a:cubicBezTo>
                      <a:pt x="7309" y="965"/>
                      <a:pt x="7308" y="967"/>
                      <a:pt x="7306" y="968"/>
                    </a:cubicBezTo>
                    <a:lnTo>
                      <a:pt x="7263" y="1000"/>
                    </a:lnTo>
                    <a:cubicBezTo>
                      <a:pt x="7261" y="1002"/>
                      <a:pt x="7257" y="1002"/>
                      <a:pt x="7255" y="1000"/>
                    </a:cubicBezTo>
                    <a:lnTo>
                      <a:pt x="7167" y="954"/>
                    </a:lnTo>
                    <a:cubicBezTo>
                      <a:pt x="7166" y="953"/>
                      <a:pt x="7165" y="952"/>
                      <a:pt x="7164" y="950"/>
                    </a:cubicBezTo>
                    <a:lnTo>
                      <a:pt x="7136" y="894"/>
                    </a:lnTo>
                    <a:lnTo>
                      <a:pt x="7148" y="896"/>
                    </a:lnTo>
                    <a:lnTo>
                      <a:pt x="7105" y="931"/>
                    </a:lnTo>
                    <a:cubicBezTo>
                      <a:pt x="7104" y="933"/>
                      <a:pt x="7101" y="933"/>
                      <a:pt x="7099" y="933"/>
                    </a:cubicBezTo>
                    <a:lnTo>
                      <a:pt x="6886" y="906"/>
                    </a:lnTo>
                    <a:lnTo>
                      <a:pt x="6892" y="905"/>
                    </a:lnTo>
                    <a:lnTo>
                      <a:pt x="6846" y="941"/>
                    </a:lnTo>
                    <a:cubicBezTo>
                      <a:pt x="6843" y="943"/>
                      <a:pt x="6840" y="944"/>
                      <a:pt x="6837" y="942"/>
                    </a:cubicBezTo>
                    <a:lnTo>
                      <a:pt x="6750" y="897"/>
                    </a:lnTo>
                    <a:cubicBezTo>
                      <a:pt x="6746" y="895"/>
                      <a:pt x="6745" y="891"/>
                      <a:pt x="6746" y="888"/>
                    </a:cubicBezTo>
                    <a:lnTo>
                      <a:pt x="6765" y="823"/>
                    </a:lnTo>
                    <a:lnTo>
                      <a:pt x="6767" y="831"/>
                    </a:lnTo>
                    <a:lnTo>
                      <a:pt x="6712" y="779"/>
                    </a:lnTo>
                    <a:lnTo>
                      <a:pt x="6718" y="781"/>
                    </a:lnTo>
                    <a:lnTo>
                      <a:pt x="6418" y="791"/>
                    </a:lnTo>
                    <a:cubicBezTo>
                      <a:pt x="6415" y="791"/>
                      <a:pt x="6413" y="790"/>
                      <a:pt x="6411" y="788"/>
                    </a:cubicBezTo>
                    <a:lnTo>
                      <a:pt x="6363" y="723"/>
                    </a:lnTo>
                    <a:lnTo>
                      <a:pt x="6368" y="726"/>
                    </a:lnTo>
                    <a:lnTo>
                      <a:pt x="6239" y="705"/>
                    </a:lnTo>
                    <a:cubicBezTo>
                      <a:pt x="6235" y="704"/>
                      <a:pt x="6232" y="701"/>
                      <a:pt x="6232" y="697"/>
                    </a:cubicBezTo>
                    <a:cubicBezTo>
                      <a:pt x="6232" y="694"/>
                      <a:pt x="6234" y="690"/>
                      <a:pt x="6237" y="689"/>
                    </a:cubicBezTo>
                    <a:lnTo>
                      <a:pt x="6287" y="671"/>
                    </a:lnTo>
                    <a:lnTo>
                      <a:pt x="6283" y="683"/>
                    </a:lnTo>
                    <a:lnTo>
                      <a:pt x="6257" y="639"/>
                    </a:lnTo>
                    <a:lnTo>
                      <a:pt x="6262" y="643"/>
                    </a:lnTo>
                    <a:lnTo>
                      <a:pt x="5863" y="576"/>
                    </a:lnTo>
                    <a:lnTo>
                      <a:pt x="5870" y="573"/>
                    </a:lnTo>
                    <a:lnTo>
                      <a:pt x="5804" y="666"/>
                    </a:lnTo>
                    <a:lnTo>
                      <a:pt x="5805" y="660"/>
                    </a:lnTo>
                    <a:lnTo>
                      <a:pt x="5815" y="717"/>
                    </a:lnTo>
                    <a:cubicBezTo>
                      <a:pt x="5816" y="721"/>
                      <a:pt x="5813" y="725"/>
                      <a:pt x="5810" y="726"/>
                    </a:cubicBezTo>
                    <a:lnTo>
                      <a:pt x="5714" y="758"/>
                    </a:lnTo>
                    <a:cubicBezTo>
                      <a:pt x="5712" y="758"/>
                      <a:pt x="5710" y="758"/>
                      <a:pt x="5708" y="757"/>
                    </a:cubicBezTo>
                    <a:lnTo>
                      <a:pt x="5589" y="706"/>
                    </a:lnTo>
                    <a:lnTo>
                      <a:pt x="5594" y="706"/>
                    </a:lnTo>
                    <a:lnTo>
                      <a:pt x="5504" y="729"/>
                    </a:lnTo>
                    <a:cubicBezTo>
                      <a:pt x="5501" y="730"/>
                      <a:pt x="5497" y="729"/>
                      <a:pt x="5495" y="727"/>
                    </a:cubicBezTo>
                    <a:lnTo>
                      <a:pt x="5450" y="667"/>
                    </a:lnTo>
                    <a:lnTo>
                      <a:pt x="5463" y="665"/>
                    </a:lnTo>
                    <a:lnTo>
                      <a:pt x="5395" y="802"/>
                    </a:lnTo>
                    <a:cubicBezTo>
                      <a:pt x="5394" y="804"/>
                      <a:pt x="5392" y="806"/>
                      <a:pt x="5390" y="806"/>
                    </a:cubicBezTo>
                    <a:cubicBezTo>
                      <a:pt x="5387" y="807"/>
                      <a:pt x="5385" y="806"/>
                      <a:pt x="5383" y="805"/>
                    </a:cubicBezTo>
                    <a:lnTo>
                      <a:pt x="5259" y="705"/>
                    </a:lnTo>
                    <a:cubicBezTo>
                      <a:pt x="5257" y="703"/>
                      <a:pt x="5256" y="699"/>
                      <a:pt x="5257" y="696"/>
                    </a:cubicBezTo>
                    <a:lnTo>
                      <a:pt x="5294" y="550"/>
                    </a:lnTo>
                    <a:lnTo>
                      <a:pt x="5299" y="559"/>
                    </a:lnTo>
                    <a:lnTo>
                      <a:pt x="5031" y="464"/>
                    </a:lnTo>
                    <a:lnTo>
                      <a:pt x="5037" y="464"/>
                    </a:lnTo>
                    <a:lnTo>
                      <a:pt x="5006" y="474"/>
                    </a:lnTo>
                    <a:lnTo>
                      <a:pt x="5012" y="467"/>
                    </a:lnTo>
                    <a:lnTo>
                      <a:pt x="5006" y="552"/>
                    </a:lnTo>
                    <a:cubicBezTo>
                      <a:pt x="5006" y="556"/>
                      <a:pt x="5003" y="559"/>
                      <a:pt x="4999" y="560"/>
                    </a:cubicBezTo>
                    <a:lnTo>
                      <a:pt x="4893" y="566"/>
                    </a:lnTo>
                    <a:cubicBezTo>
                      <a:pt x="4892" y="566"/>
                      <a:pt x="4892" y="566"/>
                      <a:pt x="4891" y="566"/>
                    </a:cubicBezTo>
                    <a:lnTo>
                      <a:pt x="4770" y="538"/>
                    </a:lnTo>
                    <a:cubicBezTo>
                      <a:pt x="4768" y="537"/>
                      <a:pt x="4766" y="536"/>
                      <a:pt x="4765" y="534"/>
                    </a:cubicBezTo>
                    <a:cubicBezTo>
                      <a:pt x="4764" y="532"/>
                      <a:pt x="4764" y="529"/>
                      <a:pt x="4764" y="527"/>
                    </a:cubicBezTo>
                    <a:lnTo>
                      <a:pt x="4777" y="494"/>
                    </a:lnTo>
                    <a:lnTo>
                      <a:pt x="4783" y="505"/>
                    </a:lnTo>
                    <a:lnTo>
                      <a:pt x="4644" y="483"/>
                    </a:lnTo>
                    <a:lnTo>
                      <a:pt x="4647" y="483"/>
                    </a:lnTo>
                    <a:lnTo>
                      <a:pt x="4531" y="506"/>
                    </a:lnTo>
                    <a:lnTo>
                      <a:pt x="4533" y="492"/>
                    </a:lnTo>
                    <a:lnTo>
                      <a:pt x="4590" y="528"/>
                    </a:lnTo>
                    <a:cubicBezTo>
                      <a:pt x="4593" y="530"/>
                      <a:pt x="4595" y="534"/>
                      <a:pt x="4594" y="538"/>
                    </a:cubicBezTo>
                    <a:cubicBezTo>
                      <a:pt x="4592" y="541"/>
                      <a:pt x="4589" y="543"/>
                      <a:pt x="4585" y="543"/>
                    </a:cubicBezTo>
                    <a:lnTo>
                      <a:pt x="4526" y="538"/>
                    </a:lnTo>
                    <a:cubicBezTo>
                      <a:pt x="4522" y="538"/>
                      <a:pt x="4520" y="536"/>
                      <a:pt x="4519" y="532"/>
                    </a:cubicBezTo>
                    <a:lnTo>
                      <a:pt x="4491" y="442"/>
                    </a:lnTo>
                    <a:lnTo>
                      <a:pt x="4506" y="443"/>
                    </a:lnTo>
                    <a:lnTo>
                      <a:pt x="4488" y="482"/>
                    </a:lnTo>
                    <a:cubicBezTo>
                      <a:pt x="4486" y="485"/>
                      <a:pt x="4482" y="487"/>
                      <a:pt x="4478" y="486"/>
                    </a:cubicBezTo>
                    <a:lnTo>
                      <a:pt x="4357" y="448"/>
                    </a:lnTo>
                    <a:lnTo>
                      <a:pt x="4367" y="442"/>
                    </a:lnTo>
                    <a:lnTo>
                      <a:pt x="4354" y="489"/>
                    </a:lnTo>
                    <a:lnTo>
                      <a:pt x="4345" y="479"/>
                    </a:lnTo>
                    <a:lnTo>
                      <a:pt x="4404" y="470"/>
                    </a:lnTo>
                    <a:cubicBezTo>
                      <a:pt x="4409" y="470"/>
                      <a:pt x="4413" y="473"/>
                      <a:pt x="4413" y="477"/>
                    </a:cubicBezTo>
                    <a:cubicBezTo>
                      <a:pt x="4414" y="481"/>
                      <a:pt x="4412" y="485"/>
                      <a:pt x="4407" y="486"/>
                    </a:cubicBezTo>
                    <a:lnTo>
                      <a:pt x="4188" y="538"/>
                    </a:lnTo>
                    <a:lnTo>
                      <a:pt x="4193" y="525"/>
                    </a:lnTo>
                    <a:lnTo>
                      <a:pt x="4222" y="562"/>
                    </a:lnTo>
                    <a:cubicBezTo>
                      <a:pt x="4223" y="564"/>
                      <a:pt x="4224" y="567"/>
                      <a:pt x="4223" y="569"/>
                    </a:cubicBezTo>
                    <a:cubicBezTo>
                      <a:pt x="4222" y="572"/>
                      <a:pt x="4220" y="574"/>
                      <a:pt x="4217" y="575"/>
                    </a:cubicBezTo>
                    <a:lnTo>
                      <a:pt x="4080" y="608"/>
                    </a:lnTo>
                    <a:cubicBezTo>
                      <a:pt x="4076" y="609"/>
                      <a:pt x="4072" y="607"/>
                      <a:pt x="4071" y="603"/>
                    </a:cubicBezTo>
                    <a:cubicBezTo>
                      <a:pt x="4069" y="600"/>
                      <a:pt x="4071" y="595"/>
                      <a:pt x="4074" y="593"/>
                    </a:cubicBezTo>
                    <a:lnTo>
                      <a:pt x="4507" y="318"/>
                    </a:lnTo>
                    <a:lnTo>
                      <a:pt x="4504" y="321"/>
                    </a:lnTo>
                    <a:lnTo>
                      <a:pt x="4533" y="265"/>
                    </a:lnTo>
                    <a:lnTo>
                      <a:pt x="4537" y="276"/>
                    </a:lnTo>
                    <a:lnTo>
                      <a:pt x="4477" y="246"/>
                    </a:lnTo>
                    <a:cubicBezTo>
                      <a:pt x="4473" y="244"/>
                      <a:pt x="4471" y="239"/>
                      <a:pt x="4473" y="235"/>
                    </a:cubicBezTo>
                    <a:cubicBezTo>
                      <a:pt x="4475" y="231"/>
                      <a:pt x="4480" y="229"/>
                      <a:pt x="4484" y="231"/>
                    </a:cubicBezTo>
                    <a:lnTo>
                      <a:pt x="4528" y="251"/>
                    </a:lnTo>
                    <a:lnTo>
                      <a:pt x="4518" y="255"/>
                    </a:lnTo>
                    <a:lnTo>
                      <a:pt x="4537" y="220"/>
                    </a:lnTo>
                    <a:lnTo>
                      <a:pt x="4540" y="230"/>
                    </a:lnTo>
                    <a:lnTo>
                      <a:pt x="4408" y="135"/>
                    </a:lnTo>
                    <a:lnTo>
                      <a:pt x="4414" y="136"/>
                    </a:lnTo>
                    <a:lnTo>
                      <a:pt x="4176" y="166"/>
                    </a:lnTo>
                    <a:cubicBezTo>
                      <a:pt x="4173" y="167"/>
                      <a:pt x="4170" y="165"/>
                      <a:pt x="4168" y="162"/>
                    </a:cubicBezTo>
                    <a:cubicBezTo>
                      <a:pt x="4167" y="159"/>
                      <a:pt x="4167" y="156"/>
                      <a:pt x="4169" y="153"/>
                    </a:cubicBezTo>
                    <a:lnTo>
                      <a:pt x="4225" y="91"/>
                    </a:lnTo>
                    <a:lnTo>
                      <a:pt x="4231" y="105"/>
                    </a:lnTo>
                    <a:lnTo>
                      <a:pt x="4092" y="108"/>
                    </a:lnTo>
                    <a:cubicBezTo>
                      <a:pt x="4088" y="108"/>
                      <a:pt x="4085" y="106"/>
                      <a:pt x="4084" y="102"/>
                    </a:cubicBezTo>
                    <a:cubicBezTo>
                      <a:pt x="4083" y="99"/>
                      <a:pt x="4085" y="95"/>
                      <a:pt x="4088" y="93"/>
                    </a:cubicBezTo>
                    <a:lnTo>
                      <a:pt x="4170" y="50"/>
                    </a:lnTo>
                    <a:lnTo>
                      <a:pt x="4170" y="64"/>
                    </a:lnTo>
                    <a:lnTo>
                      <a:pt x="4075" y="16"/>
                    </a:lnTo>
                    <a:lnTo>
                      <a:pt x="4082" y="15"/>
                    </a:lnTo>
                    <a:lnTo>
                      <a:pt x="3943" y="95"/>
                    </a:lnTo>
                    <a:lnTo>
                      <a:pt x="3947" y="89"/>
                    </a:lnTo>
                    <a:lnTo>
                      <a:pt x="3943" y="149"/>
                    </a:lnTo>
                    <a:cubicBezTo>
                      <a:pt x="3943" y="153"/>
                      <a:pt x="3940" y="156"/>
                      <a:pt x="3936" y="156"/>
                    </a:cubicBezTo>
                    <a:lnTo>
                      <a:pt x="3819" y="166"/>
                    </a:lnTo>
                    <a:lnTo>
                      <a:pt x="3824" y="153"/>
                    </a:lnTo>
                    <a:lnTo>
                      <a:pt x="3870" y="200"/>
                    </a:lnTo>
                    <a:cubicBezTo>
                      <a:pt x="3873" y="202"/>
                      <a:pt x="3873" y="206"/>
                      <a:pt x="3871" y="210"/>
                    </a:cubicBezTo>
                    <a:cubicBezTo>
                      <a:pt x="3869" y="213"/>
                      <a:pt x="3865" y="214"/>
                      <a:pt x="3861" y="213"/>
                    </a:cubicBezTo>
                    <a:lnTo>
                      <a:pt x="3813" y="193"/>
                    </a:lnTo>
                    <a:lnTo>
                      <a:pt x="3819" y="193"/>
                    </a:lnTo>
                    <a:lnTo>
                      <a:pt x="3715" y="231"/>
                    </a:lnTo>
                    <a:cubicBezTo>
                      <a:pt x="3714" y="231"/>
                      <a:pt x="3713" y="231"/>
                      <a:pt x="3712" y="231"/>
                    </a:cubicBezTo>
                    <a:lnTo>
                      <a:pt x="3676" y="231"/>
                    </a:lnTo>
                    <a:cubicBezTo>
                      <a:pt x="3674" y="231"/>
                      <a:pt x="3671" y="231"/>
                      <a:pt x="3670" y="229"/>
                    </a:cubicBezTo>
                    <a:cubicBezTo>
                      <a:pt x="3668" y="227"/>
                      <a:pt x="3668" y="225"/>
                      <a:pt x="3668" y="223"/>
                    </a:cubicBezTo>
                    <a:lnTo>
                      <a:pt x="3669" y="195"/>
                    </a:lnTo>
                    <a:lnTo>
                      <a:pt x="3678" y="203"/>
                    </a:lnTo>
                    <a:lnTo>
                      <a:pt x="3536" y="211"/>
                    </a:lnTo>
                    <a:lnTo>
                      <a:pt x="3541" y="198"/>
                    </a:lnTo>
                    <a:lnTo>
                      <a:pt x="3566" y="223"/>
                    </a:lnTo>
                    <a:cubicBezTo>
                      <a:pt x="3568" y="225"/>
                      <a:pt x="3569" y="228"/>
                      <a:pt x="3568" y="230"/>
                    </a:cubicBezTo>
                    <a:cubicBezTo>
                      <a:pt x="3568" y="233"/>
                      <a:pt x="3565" y="235"/>
                      <a:pt x="3563" y="236"/>
                    </a:cubicBezTo>
                    <a:lnTo>
                      <a:pt x="3253" y="323"/>
                    </a:lnTo>
                    <a:lnTo>
                      <a:pt x="3254" y="308"/>
                    </a:lnTo>
                    <a:lnTo>
                      <a:pt x="3290" y="321"/>
                    </a:lnTo>
                    <a:cubicBezTo>
                      <a:pt x="3293" y="322"/>
                      <a:pt x="3295" y="324"/>
                      <a:pt x="3295" y="327"/>
                    </a:cubicBezTo>
                    <a:cubicBezTo>
                      <a:pt x="3296" y="330"/>
                      <a:pt x="3295" y="333"/>
                      <a:pt x="3292" y="335"/>
                    </a:cubicBezTo>
                    <a:lnTo>
                      <a:pt x="3244" y="376"/>
                    </a:lnTo>
                    <a:cubicBezTo>
                      <a:pt x="3241" y="378"/>
                      <a:pt x="3238" y="379"/>
                      <a:pt x="3235" y="377"/>
                    </a:cubicBezTo>
                    <a:lnTo>
                      <a:pt x="3196" y="354"/>
                    </a:lnTo>
                    <a:lnTo>
                      <a:pt x="3207" y="344"/>
                    </a:lnTo>
                    <a:lnTo>
                      <a:pt x="3246" y="451"/>
                    </a:lnTo>
                    <a:cubicBezTo>
                      <a:pt x="3247" y="453"/>
                      <a:pt x="3247" y="455"/>
                      <a:pt x="3246" y="458"/>
                    </a:cubicBezTo>
                    <a:cubicBezTo>
                      <a:pt x="3244" y="460"/>
                      <a:pt x="3242" y="461"/>
                      <a:pt x="3240" y="461"/>
                    </a:cubicBezTo>
                    <a:lnTo>
                      <a:pt x="2943" y="505"/>
                    </a:lnTo>
                    <a:lnTo>
                      <a:pt x="2950" y="495"/>
                    </a:lnTo>
                    <a:lnTo>
                      <a:pt x="2976" y="612"/>
                    </a:lnTo>
                    <a:lnTo>
                      <a:pt x="2973" y="607"/>
                    </a:lnTo>
                    <a:lnTo>
                      <a:pt x="3099" y="692"/>
                    </a:lnTo>
                    <a:cubicBezTo>
                      <a:pt x="3101" y="693"/>
                      <a:pt x="3103" y="696"/>
                      <a:pt x="3102" y="699"/>
                    </a:cubicBezTo>
                    <a:lnTo>
                      <a:pt x="3079" y="869"/>
                    </a:lnTo>
                    <a:cubicBezTo>
                      <a:pt x="3078" y="872"/>
                      <a:pt x="3076" y="875"/>
                      <a:pt x="3074" y="876"/>
                    </a:cubicBezTo>
                    <a:cubicBezTo>
                      <a:pt x="3071" y="877"/>
                      <a:pt x="3068" y="876"/>
                      <a:pt x="3065" y="874"/>
                    </a:cubicBezTo>
                    <a:lnTo>
                      <a:pt x="3017" y="831"/>
                    </a:lnTo>
                    <a:cubicBezTo>
                      <a:pt x="3015" y="829"/>
                      <a:pt x="3014" y="827"/>
                      <a:pt x="3014" y="824"/>
                    </a:cubicBezTo>
                    <a:lnTo>
                      <a:pt x="3021" y="749"/>
                    </a:lnTo>
                    <a:cubicBezTo>
                      <a:pt x="3021" y="748"/>
                      <a:pt x="3022" y="746"/>
                      <a:pt x="3023" y="745"/>
                    </a:cubicBezTo>
                    <a:lnTo>
                      <a:pt x="3067" y="693"/>
                    </a:lnTo>
                    <a:lnTo>
                      <a:pt x="3071" y="706"/>
                    </a:lnTo>
                    <a:lnTo>
                      <a:pt x="2838" y="631"/>
                    </a:lnTo>
                    <a:lnTo>
                      <a:pt x="2843" y="631"/>
                    </a:lnTo>
                    <a:lnTo>
                      <a:pt x="2796" y="649"/>
                    </a:lnTo>
                    <a:lnTo>
                      <a:pt x="2800" y="638"/>
                    </a:lnTo>
                    <a:lnTo>
                      <a:pt x="2821" y="676"/>
                    </a:lnTo>
                    <a:cubicBezTo>
                      <a:pt x="2822" y="679"/>
                      <a:pt x="2822" y="682"/>
                      <a:pt x="2821" y="684"/>
                    </a:cubicBezTo>
                    <a:cubicBezTo>
                      <a:pt x="2819" y="687"/>
                      <a:pt x="2817" y="688"/>
                      <a:pt x="2814" y="688"/>
                    </a:cubicBezTo>
                    <a:lnTo>
                      <a:pt x="2725" y="685"/>
                    </a:lnTo>
                    <a:lnTo>
                      <a:pt x="2730" y="671"/>
                    </a:lnTo>
                    <a:lnTo>
                      <a:pt x="2846" y="767"/>
                    </a:lnTo>
                    <a:cubicBezTo>
                      <a:pt x="2848" y="770"/>
                      <a:pt x="2849" y="774"/>
                      <a:pt x="2848" y="777"/>
                    </a:cubicBezTo>
                    <a:cubicBezTo>
                      <a:pt x="2846" y="780"/>
                      <a:pt x="2842" y="782"/>
                      <a:pt x="2838" y="781"/>
                    </a:cubicBezTo>
                    <a:lnTo>
                      <a:pt x="2712" y="744"/>
                    </a:lnTo>
                    <a:cubicBezTo>
                      <a:pt x="2711" y="744"/>
                      <a:pt x="2711" y="744"/>
                      <a:pt x="2711" y="744"/>
                    </a:cubicBezTo>
                    <a:lnTo>
                      <a:pt x="2681" y="729"/>
                    </a:lnTo>
                    <a:cubicBezTo>
                      <a:pt x="2678" y="727"/>
                      <a:pt x="2677" y="724"/>
                      <a:pt x="2677" y="720"/>
                    </a:cubicBezTo>
                    <a:lnTo>
                      <a:pt x="2698" y="604"/>
                    </a:lnTo>
                    <a:lnTo>
                      <a:pt x="2701" y="611"/>
                    </a:lnTo>
                    <a:lnTo>
                      <a:pt x="2658" y="576"/>
                    </a:lnTo>
                    <a:lnTo>
                      <a:pt x="2671" y="568"/>
                    </a:lnTo>
                    <a:lnTo>
                      <a:pt x="2683" y="628"/>
                    </a:lnTo>
                    <a:cubicBezTo>
                      <a:pt x="2684" y="631"/>
                      <a:pt x="2683" y="634"/>
                      <a:pt x="2681" y="636"/>
                    </a:cubicBezTo>
                    <a:lnTo>
                      <a:pt x="2586" y="719"/>
                    </a:lnTo>
                    <a:lnTo>
                      <a:pt x="2588" y="709"/>
                    </a:lnTo>
                    <a:lnTo>
                      <a:pt x="2653" y="800"/>
                    </a:lnTo>
                    <a:cubicBezTo>
                      <a:pt x="2654" y="802"/>
                      <a:pt x="2654" y="804"/>
                      <a:pt x="2654" y="807"/>
                    </a:cubicBezTo>
                    <a:lnTo>
                      <a:pt x="2625" y="952"/>
                    </a:lnTo>
                    <a:lnTo>
                      <a:pt x="2619" y="942"/>
                    </a:lnTo>
                    <a:lnTo>
                      <a:pt x="2807" y="982"/>
                    </a:lnTo>
                    <a:cubicBezTo>
                      <a:pt x="2810" y="983"/>
                      <a:pt x="2812" y="985"/>
                      <a:pt x="2813" y="987"/>
                    </a:cubicBezTo>
                    <a:lnTo>
                      <a:pt x="2837" y="1049"/>
                    </a:lnTo>
                    <a:cubicBezTo>
                      <a:pt x="2838" y="1051"/>
                      <a:pt x="2837" y="1054"/>
                      <a:pt x="2836" y="1056"/>
                    </a:cubicBezTo>
                    <a:lnTo>
                      <a:pt x="2808" y="1096"/>
                    </a:lnTo>
                    <a:lnTo>
                      <a:pt x="2805" y="1084"/>
                    </a:lnTo>
                    <a:lnTo>
                      <a:pt x="2868" y="1109"/>
                    </a:lnTo>
                    <a:cubicBezTo>
                      <a:pt x="2872" y="1111"/>
                      <a:pt x="2874" y="1115"/>
                      <a:pt x="2873" y="1119"/>
                    </a:cubicBezTo>
                    <a:cubicBezTo>
                      <a:pt x="2872" y="1123"/>
                      <a:pt x="2867" y="1126"/>
                      <a:pt x="2863" y="1124"/>
                    </a:cubicBezTo>
                    <a:lnTo>
                      <a:pt x="2781" y="1101"/>
                    </a:lnTo>
                    <a:cubicBezTo>
                      <a:pt x="2778" y="1100"/>
                      <a:pt x="2775" y="1097"/>
                      <a:pt x="2776" y="1093"/>
                    </a:cubicBezTo>
                    <a:lnTo>
                      <a:pt x="2778" y="1025"/>
                    </a:lnTo>
                    <a:lnTo>
                      <a:pt x="2779" y="1029"/>
                    </a:lnTo>
                    <a:lnTo>
                      <a:pt x="2749" y="977"/>
                    </a:lnTo>
                    <a:lnTo>
                      <a:pt x="2758" y="981"/>
                    </a:lnTo>
                    <a:lnTo>
                      <a:pt x="2693" y="998"/>
                    </a:lnTo>
                    <a:lnTo>
                      <a:pt x="2649" y="1013"/>
                    </a:lnTo>
                    <a:lnTo>
                      <a:pt x="2654" y="1004"/>
                    </a:lnTo>
                    <a:lnTo>
                      <a:pt x="2669" y="1095"/>
                    </a:lnTo>
                    <a:cubicBezTo>
                      <a:pt x="2670" y="1098"/>
                      <a:pt x="2669" y="1100"/>
                      <a:pt x="2668" y="1102"/>
                    </a:cubicBezTo>
                    <a:lnTo>
                      <a:pt x="2541" y="1250"/>
                    </a:lnTo>
                    <a:cubicBezTo>
                      <a:pt x="2539" y="1253"/>
                      <a:pt x="2535" y="1254"/>
                      <a:pt x="2532" y="1252"/>
                    </a:cubicBezTo>
                    <a:lnTo>
                      <a:pt x="2423" y="1207"/>
                    </a:lnTo>
                    <a:cubicBezTo>
                      <a:pt x="2419" y="1206"/>
                      <a:pt x="2417" y="1203"/>
                      <a:pt x="2418" y="1199"/>
                    </a:cubicBezTo>
                    <a:cubicBezTo>
                      <a:pt x="2418" y="1196"/>
                      <a:pt x="2420" y="1193"/>
                      <a:pt x="2424" y="1192"/>
                    </a:cubicBezTo>
                    <a:lnTo>
                      <a:pt x="2526" y="1166"/>
                    </a:lnTo>
                    <a:lnTo>
                      <a:pt x="2523" y="1179"/>
                    </a:lnTo>
                    <a:lnTo>
                      <a:pt x="2498" y="1154"/>
                    </a:lnTo>
                    <a:cubicBezTo>
                      <a:pt x="2496" y="1152"/>
                      <a:pt x="2495" y="1150"/>
                      <a:pt x="2495" y="1147"/>
                    </a:cubicBezTo>
                    <a:cubicBezTo>
                      <a:pt x="2496" y="1145"/>
                      <a:pt x="2497" y="1143"/>
                      <a:pt x="2499" y="1142"/>
                    </a:cubicBezTo>
                    <a:lnTo>
                      <a:pt x="2579" y="1090"/>
                    </a:lnTo>
                    <a:lnTo>
                      <a:pt x="2576" y="1094"/>
                    </a:lnTo>
                    <a:lnTo>
                      <a:pt x="2595" y="1028"/>
                    </a:lnTo>
                    <a:lnTo>
                      <a:pt x="2597" y="1035"/>
                    </a:lnTo>
                    <a:lnTo>
                      <a:pt x="2544" y="970"/>
                    </a:lnTo>
                    <a:cubicBezTo>
                      <a:pt x="2543" y="968"/>
                      <a:pt x="2542" y="966"/>
                      <a:pt x="2542" y="964"/>
                    </a:cubicBezTo>
                    <a:lnTo>
                      <a:pt x="2556" y="779"/>
                    </a:lnTo>
                    <a:lnTo>
                      <a:pt x="2558" y="784"/>
                    </a:lnTo>
                    <a:lnTo>
                      <a:pt x="2516" y="718"/>
                    </a:lnTo>
                    <a:cubicBezTo>
                      <a:pt x="2515" y="716"/>
                      <a:pt x="2514" y="713"/>
                      <a:pt x="2515" y="711"/>
                    </a:cubicBezTo>
                    <a:lnTo>
                      <a:pt x="2551" y="578"/>
                    </a:lnTo>
                    <a:lnTo>
                      <a:pt x="2556" y="588"/>
                    </a:lnTo>
                    <a:lnTo>
                      <a:pt x="2507" y="569"/>
                    </a:lnTo>
                    <a:lnTo>
                      <a:pt x="2510" y="570"/>
                    </a:lnTo>
                    <a:lnTo>
                      <a:pt x="2405" y="566"/>
                    </a:lnTo>
                    <a:lnTo>
                      <a:pt x="2412" y="561"/>
                    </a:lnTo>
                    <a:lnTo>
                      <a:pt x="2365" y="688"/>
                    </a:lnTo>
                    <a:cubicBezTo>
                      <a:pt x="2365" y="689"/>
                      <a:pt x="2364" y="691"/>
                      <a:pt x="2362" y="692"/>
                    </a:cubicBezTo>
                    <a:lnTo>
                      <a:pt x="2289" y="743"/>
                    </a:lnTo>
                    <a:lnTo>
                      <a:pt x="2292" y="739"/>
                    </a:lnTo>
                    <a:lnTo>
                      <a:pt x="2276" y="786"/>
                    </a:lnTo>
                    <a:lnTo>
                      <a:pt x="2271" y="776"/>
                    </a:lnTo>
                    <a:lnTo>
                      <a:pt x="2314" y="791"/>
                    </a:lnTo>
                    <a:cubicBezTo>
                      <a:pt x="2318" y="792"/>
                      <a:pt x="2320" y="796"/>
                      <a:pt x="2320" y="800"/>
                    </a:cubicBezTo>
                    <a:lnTo>
                      <a:pt x="2296" y="907"/>
                    </a:lnTo>
                    <a:lnTo>
                      <a:pt x="2291" y="897"/>
                    </a:lnTo>
                    <a:lnTo>
                      <a:pt x="2352" y="916"/>
                    </a:lnTo>
                    <a:cubicBezTo>
                      <a:pt x="2353" y="916"/>
                      <a:pt x="2355" y="917"/>
                      <a:pt x="2356" y="919"/>
                    </a:cubicBezTo>
                    <a:lnTo>
                      <a:pt x="2400" y="986"/>
                    </a:lnTo>
                    <a:cubicBezTo>
                      <a:pt x="2402" y="988"/>
                      <a:pt x="2402" y="992"/>
                      <a:pt x="2400" y="994"/>
                    </a:cubicBezTo>
                    <a:lnTo>
                      <a:pt x="2359" y="1058"/>
                    </a:lnTo>
                    <a:cubicBezTo>
                      <a:pt x="2358" y="1060"/>
                      <a:pt x="2356" y="1061"/>
                      <a:pt x="2354" y="1061"/>
                    </a:cubicBezTo>
                    <a:cubicBezTo>
                      <a:pt x="2352" y="1062"/>
                      <a:pt x="2349" y="1061"/>
                      <a:pt x="2348" y="1060"/>
                    </a:cubicBezTo>
                    <a:lnTo>
                      <a:pt x="2146" y="927"/>
                    </a:lnTo>
                    <a:lnTo>
                      <a:pt x="2149" y="928"/>
                    </a:lnTo>
                    <a:lnTo>
                      <a:pt x="1996" y="891"/>
                    </a:lnTo>
                    <a:lnTo>
                      <a:pt x="2004" y="889"/>
                    </a:lnTo>
                    <a:lnTo>
                      <a:pt x="1976" y="914"/>
                    </a:lnTo>
                    <a:lnTo>
                      <a:pt x="1978" y="906"/>
                    </a:lnTo>
                    <a:lnTo>
                      <a:pt x="2002" y="984"/>
                    </a:lnTo>
                    <a:cubicBezTo>
                      <a:pt x="2003" y="987"/>
                      <a:pt x="2002" y="990"/>
                      <a:pt x="2000" y="992"/>
                    </a:cubicBezTo>
                    <a:lnTo>
                      <a:pt x="1953" y="1041"/>
                    </a:lnTo>
                    <a:cubicBezTo>
                      <a:pt x="1951" y="1042"/>
                      <a:pt x="1949" y="1043"/>
                      <a:pt x="1946" y="1043"/>
                    </a:cubicBezTo>
                    <a:cubicBezTo>
                      <a:pt x="1944" y="1043"/>
                      <a:pt x="1942" y="1042"/>
                      <a:pt x="1940" y="1040"/>
                    </a:cubicBezTo>
                    <a:lnTo>
                      <a:pt x="1894" y="973"/>
                    </a:lnTo>
                    <a:lnTo>
                      <a:pt x="1904" y="976"/>
                    </a:lnTo>
                    <a:lnTo>
                      <a:pt x="1705" y="1067"/>
                    </a:lnTo>
                    <a:cubicBezTo>
                      <a:pt x="1701" y="1069"/>
                      <a:pt x="1697" y="1068"/>
                      <a:pt x="1695" y="1064"/>
                    </a:cubicBezTo>
                    <a:lnTo>
                      <a:pt x="1649" y="996"/>
                    </a:lnTo>
                    <a:cubicBezTo>
                      <a:pt x="1648" y="994"/>
                      <a:pt x="1647" y="992"/>
                      <a:pt x="1648" y="990"/>
                    </a:cubicBezTo>
                    <a:cubicBezTo>
                      <a:pt x="1648" y="988"/>
                      <a:pt x="1650" y="986"/>
                      <a:pt x="1652" y="985"/>
                    </a:cubicBezTo>
                    <a:lnTo>
                      <a:pt x="1693" y="961"/>
                    </a:lnTo>
                    <a:lnTo>
                      <a:pt x="1698" y="976"/>
                    </a:lnTo>
                    <a:lnTo>
                      <a:pt x="1657" y="983"/>
                    </a:lnTo>
                    <a:lnTo>
                      <a:pt x="1659" y="982"/>
                    </a:lnTo>
                    <a:lnTo>
                      <a:pt x="1382" y="1122"/>
                    </a:lnTo>
                    <a:lnTo>
                      <a:pt x="1384" y="1120"/>
                    </a:lnTo>
                    <a:lnTo>
                      <a:pt x="1316" y="1207"/>
                    </a:lnTo>
                    <a:cubicBezTo>
                      <a:pt x="1315" y="1208"/>
                      <a:pt x="1313" y="1209"/>
                      <a:pt x="1311" y="1210"/>
                    </a:cubicBezTo>
                    <a:cubicBezTo>
                      <a:pt x="1308" y="1210"/>
                      <a:pt x="1306" y="1209"/>
                      <a:pt x="1304" y="1207"/>
                    </a:cubicBezTo>
                    <a:lnTo>
                      <a:pt x="1225" y="1132"/>
                    </a:lnTo>
                    <a:cubicBezTo>
                      <a:pt x="1224" y="1131"/>
                      <a:pt x="1223" y="1128"/>
                      <a:pt x="1223" y="1126"/>
                    </a:cubicBezTo>
                    <a:cubicBezTo>
                      <a:pt x="1223" y="1123"/>
                      <a:pt x="1225" y="1121"/>
                      <a:pt x="1227" y="1120"/>
                    </a:cubicBezTo>
                    <a:lnTo>
                      <a:pt x="1306" y="1078"/>
                    </a:lnTo>
                    <a:lnTo>
                      <a:pt x="1302" y="1088"/>
                    </a:lnTo>
                    <a:lnTo>
                      <a:pt x="1293" y="1059"/>
                    </a:lnTo>
                    <a:lnTo>
                      <a:pt x="1298" y="1064"/>
                    </a:lnTo>
                    <a:lnTo>
                      <a:pt x="1148" y="1013"/>
                    </a:lnTo>
                    <a:lnTo>
                      <a:pt x="1156" y="999"/>
                    </a:lnTo>
                    <a:lnTo>
                      <a:pt x="1194" y="1032"/>
                    </a:lnTo>
                    <a:cubicBezTo>
                      <a:pt x="1196" y="1034"/>
                      <a:pt x="1197" y="1036"/>
                      <a:pt x="1197" y="1038"/>
                    </a:cubicBezTo>
                    <a:lnTo>
                      <a:pt x="1200" y="1275"/>
                    </a:lnTo>
                    <a:cubicBezTo>
                      <a:pt x="1200" y="1278"/>
                      <a:pt x="1198" y="1281"/>
                      <a:pt x="1196" y="1282"/>
                    </a:cubicBezTo>
                    <a:cubicBezTo>
                      <a:pt x="1193" y="1283"/>
                      <a:pt x="1190" y="1283"/>
                      <a:pt x="1188" y="1282"/>
                    </a:cubicBezTo>
                    <a:lnTo>
                      <a:pt x="1097" y="1222"/>
                    </a:lnTo>
                    <a:lnTo>
                      <a:pt x="1106" y="1222"/>
                    </a:lnTo>
                    <a:lnTo>
                      <a:pt x="984" y="1308"/>
                    </a:lnTo>
                    <a:lnTo>
                      <a:pt x="987" y="1298"/>
                    </a:lnTo>
                    <a:lnTo>
                      <a:pt x="1044" y="1401"/>
                    </a:lnTo>
                    <a:cubicBezTo>
                      <a:pt x="1045" y="1404"/>
                      <a:pt x="1045" y="1407"/>
                      <a:pt x="1043" y="1409"/>
                    </a:cubicBezTo>
                    <a:cubicBezTo>
                      <a:pt x="1042" y="1412"/>
                      <a:pt x="1039" y="1413"/>
                      <a:pt x="1036" y="1413"/>
                    </a:cubicBezTo>
                    <a:lnTo>
                      <a:pt x="903" y="1398"/>
                    </a:lnTo>
                    <a:cubicBezTo>
                      <a:pt x="901" y="1398"/>
                      <a:pt x="900" y="1397"/>
                      <a:pt x="898" y="1396"/>
                    </a:cubicBezTo>
                    <a:lnTo>
                      <a:pt x="837" y="1346"/>
                    </a:lnTo>
                    <a:lnTo>
                      <a:pt x="850" y="1343"/>
                    </a:lnTo>
                    <a:lnTo>
                      <a:pt x="835" y="1388"/>
                    </a:lnTo>
                    <a:lnTo>
                      <a:pt x="830" y="1377"/>
                    </a:lnTo>
                    <a:lnTo>
                      <a:pt x="892" y="1397"/>
                    </a:lnTo>
                    <a:cubicBezTo>
                      <a:pt x="894" y="1398"/>
                      <a:pt x="896" y="1400"/>
                      <a:pt x="897" y="1402"/>
                    </a:cubicBezTo>
                    <a:lnTo>
                      <a:pt x="915" y="1456"/>
                    </a:lnTo>
                    <a:cubicBezTo>
                      <a:pt x="917" y="1460"/>
                      <a:pt x="914" y="1464"/>
                      <a:pt x="910" y="1466"/>
                    </a:cubicBezTo>
                    <a:lnTo>
                      <a:pt x="876" y="1479"/>
                    </a:lnTo>
                    <a:cubicBezTo>
                      <a:pt x="874" y="1480"/>
                      <a:pt x="871" y="1480"/>
                      <a:pt x="869" y="1479"/>
                    </a:cubicBezTo>
                    <a:lnTo>
                      <a:pt x="732" y="1412"/>
                    </a:lnTo>
                    <a:cubicBezTo>
                      <a:pt x="729" y="1411"/>
                      <a:pt x="727" y="1408"/>
                      <a:pt x="728" y="1405"/>
                    </a:cubicBezTo>
                    <a:lnTo>
                      <a:pt x="730" y="1275"/>
                    </a:lnTo>
                    <a:lnTo>
                      <a:pt x="733" y="1281"/>
                    </a:lnTo>
                    <a:lnTo>
                      <a:pt x="596" y="1168"/>
                    </a:lnTo>
                    <a:cubicBezTo>
                      <a:pt x="593" y="1165"/>
                      <a:pt x="592" y="1161"/>
                      <a:pt x="594" y="1158"/>
                    </a:cubicBezTo>
                    <a:cubicBezTo>
                      <a:pt x="596" y="1155"/>
                      <a:pt x="599" y="1153"/>
                      <a:pt x="603" y="1154"/>
                    </a:cubicBezTo>
                    <a:lnTo>
                      <a:pt x="940" y="1249"/>
                    </a:lnTo>
                    <a:lnTo>
                      <a:pt x="934" y="1250"/>
                    </a:lnTo>
                    <a:lnTo>
                      <a:pt x="1045" y="1182"/>
                    </a:lnTo>
                    <a:lnTo>
                      <a:pt x="1041" y="1189"/>
                    </a:lnTo>
                    <a:lnTo>
                      <a:pt x="1034" y="1111"/>
                    </a:lnTo>
                    <a:lnTo>
                      <a:pt x="1038" y="1117"/>
                    </a:lnTo>
                    <a:lnTo>
                      <a:pt x="787" y="958"/>
                    </a:lnTo>
                    <a:lnTo>
                      <a:pt x="791" y="960"/>
                    </a:lnTo>
                    <a:lnTo>
                      <a:pt x="648" y="951"/>
                    </a:lnTo>
                    <a:cubicBezTo>
                      <a:pt x="646" y="951"/>
                      <a:pt x="645" y="951"/>
                      <a:pt x="644" y="950"/>
                    </a:cubicBezTo>
                    <a:lnTo>
                      <a:pt x="602" y="922"/>
                    </a:lnTo>
                    <a:cubicBezTo>
                      <a:pt x="599" y="920"/>
                      <a:pt x="598" y="917"/>
                      <a:pt x="599" y="914"/>
                    </a:cubicBezTo>
                    <a:cubicBezTo>
                      <a:pt x="599" y="911"/>
                      <a:pt x="601" y="908"/>
                      <a:pt x="604" y="907"/>
                    </a:cubicBezTo>
                    <a:lnTo>
                      <a:pt x="658" y="889"/>
                    </a:lnTo>
                    <a:lnTo>
                      <a:pt x="659" y="904"/>
                    </a:lnTo>
                    <a:lnTo>
                      <a:pt x="596" y="888"/>
                    </a:lnTo>
                    <a:lnTo>
                      <a:pt x="600" y="888"/>
                    </a:lnTo>
                    <a:lnTo>
                      <a:pt x="550" y="898"/>
                    </a:lnTo>
                    <a:lnTo>
                      <a:pt x="553" y="896"/>
                    </a:lnTo>
                    <a:lnTo>
                      <a:pt x="465" y="971"/>
                    </a:lnTo>
                    <a:lnTo>
                      <a:pt x="467" y="967"/>
                    </a:lnTo>
                    <a:lnTo>
                      <a:pt x="448" y="1036"/>
                    </a:lnTo>
                    <a:lnTo>
                      <a:pt x="446" y="1028"/>
                    </a:lnTo>
                    <a:lnTo>
                      <a:pt x="514" y="1110"/>
                    </a:lnTo>
                    <a:cubicBezTo>
                      <a:pt x="516" y="1113"/>
                      <a:pt x="517" y="1117"/>
                      <a:pt x="515" y="1120"/>
                    </a:cubicBezTo>
                    <a:lnTo>
                      <a:pt x="473" y="1178"/>
                    </a:lnTo>
                    <a:lnTo>
                      <a:pt x="474" y="1170"/>
                    </a:lnTo>
                    <a:lnTo>
                      <a:pt x="524" y="1273"/>
                    </a:lnTo>
                    <a:cubicBezTo>
                      <a:pt x="524" y="1275"/>
                      <a:pt x="525" y="1277"/>
                      <a:pt x="524" y="1278"/>
                    </a:cubicBezTo>
                    <a:lnTo>
                      <a:pt x="505" y="1373"/>
                    </a:lnTo>
                    <a:lnTo>
                      <a:pt x="504" y="1369"/>
                    </a:lnTo>
                    <a:lnTo>
                      <a:pt x="586" y="1565"/>
                    </a:lnTo>
                    <a:cubicBezTo>
                      <a:pt x="587" y="1568"/>
                      <a:pt x="587" y="1572"/>
                      <a:pt x="584" y="1574"/>
                    </a:cubicBezTo>
                    <a:lnTo>
                      <a:pt x="400" y="1761"/>
                    </a:lnTo>
                    <a:lnTo>
                      <a:pt x="392" y="1747"/>
                    </a:lnTo>
                    <a:lnTo>
                      <a:pt x="441" y="1734"/>
                    </a:lnTo>
                    <a:cubicBezTo>
                      <a:pt x="443" y="1733"/>
                      <a:pt x="446" y="1734"/>
                      <a:pt x="448" y="1735"/>
                    </a:cubicBezTo>
                    <a:cubicBezTo>
                      <a:pt x="450" y="1737"/>
                      <a:pt x="451" y="1740"/>
                      <a:pt x="451" y="1742"/>
                    </a:cubicBezTo>
                    <a:lnTo>
                      <a:pt x="448" y="1779"/>
                    </a:lnTo>
                    <a:lnTo>
                      <a:pt x="443" y="1771"/>
                    </a:lnTo>
                    <a:lnTo>
                      <a:pt x="522" y="1797"/>
                    </a:lnTo>
                    <a:cubicBezTo>
                      <a:pt x="525" y="1799"/>
                      <a:pt x="527" y="1802"/>
                      <a:pt x="527" y="1805"/>
                    </a:cubicBezTo>
                    <a:cubicBezTo>
                      <a:pt x="527" y="1809"/>
                      <a:pt x="524" y="1812"/>
                      <a:pt x="521" y="1813"/>
                    </a:cubicBezTo>
                    <a:lnTo>
                      <a:pt x="195" y="1876"/>
                    </a:lnTo>
                    <a:lnTo>
                      <a:pt x="201" y="1867"/>
                    </a:lnTo>
                    <a:lnTo>
                      <a:pt x="215" y="1938"/>
                    </a:lnTo>
                    <a:lnTo>
                      <a:pt x="206" y="1932"/>
                    </a:lnTo>
                    <a:lnTo>
                      <a:pt x="241" y="1930"/>
                    </a:lnTo>
                    <a:cubicBezTo>
                      <a:pt x="244" y="1930"/>
                      <a:pt x="246" y="1931"/>
                      <a:pt x="248" y="1933"/>
                    </a:cubicBezTo>
                    <a:cubicBezTo>
                      <a:pt x="249" y="1935"/>
                      <a:pt x="250" y="1937"/>
                      <a:pt x="249" y="1939"/>
                    </a:cubicBezTo>
                    <a:lnTo>
                      <a:pt x="231" y="2063"/>
                    </a:lnTo>
                    <a:cubicBezTo>
                      <a:pt x="231" y="2066"/>
                      <a:pt x="229" y="2068"/>
                      <a:pt x="226" y="2069"/>
                    </a:cubicBezTo>
                    <a:cubicBezTo>
                      <a:pt x="224" y="2070"/>
                      <a:pt x="221" y="2070"/>
                      <a:pt x="218" y="2068"/>
                    </a:cubicBezTo>
                    <a:lnTo>
                      <a:pt x="139" y="2003"/>
                    </a:lnTo>
                    <a:lnTo>
                      <a:pt x="146" y="2004"/>
                    </a:lnTo>
                    <a:lnTo>
                      <a:pt x="106" y="2014"/>
                    </a:lnTo>
                    <a:lnTo>
                      <a:pt x="112" y="2010"/>
                    </a:lnTo>
                    <a:lnTo>
                      <a:pt x="84" y="2080"/>
                    </a:lnTo>
                    <a:lnTo>
                      <a:pt x="84" y="2076"/>
                    </a:lnTo>
                    <a:lnTo>
                      <a:pt x="93" y="2224"/>
                    </a:lnTo>
                    <a:cubicBezTo>
                      <a:pt x="93" y="2227"/>
                      <a:pt x="92" y="2230"/>
                      <a:pt x="90" y="2231"/>
                    </a:cubicBezTo>
                    <a:cubicBezTo>
                      <a:pt x="88" y="2233"/>
                      <a:pt x="85" y="2233"/>
                      <a:pt x="83" y="2233"/>
                    </a:cubicBezTo>
                    <a:lnTo>
                      <a:pt x="52" y="2224"/>
                    </a:lnTo>
                    <a:cubicBezTo>
                      <a:pt x="50" y="2224"/>
                      <a:pt x="48" y="2222"/>
                      <a:pt x="47" y="2219"/>
                    </a:cubicBezTo>
                    <a:cubicBezTo>
                      <a:pt x="46" y="2217"/>
                      <a:pt x="46" y="2214"/>
                      <a:pt x="48" y="2212"/>
                    </a:cubicBezTo>
                    <a:lnTo>
                      <a:pt x="70" y="2182"/>
                    </a:lnTo>
                    <a:lnTo>
                      <a:pt x="82" y="2192"/>
                    </a:lnTo>
                    <a:lnTo>
                      <a:pt x="14" y="2265"/>
                    </a:lnTo>
                    <a:lnTo>
                      <a:pt x="10" y="2252"/>
                    </a:lnTo>
                    <a:lnTo>
                      <a:pt x="193" y="2284"/>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54" name="Freeform 10"/>
              <p:cNvSpPr>
                <a:spLocks/>
              </p:cNvSpPr>
              <p:nvPr/>
            </p:nvSpPr>
            <p:spPr bwMode="auto">
              <a:xfrm>
                <a:off x="5368" y="1147"/>
                <a:ext cx="46" cy="15"/>
              </a:xfrm>
              <a:custGeom>
                <a:avLst/>
                <a:gdLst/>
                <a:ahLst/>
                <a:cxnLst>
                  <a:cxn ang="0">
                    <a:pos x="0" y="5"/>
                  </a:cxn>
                  <a:cxn ang="0">
                    <a:pos x="28" y="0"/>
                  </a:cxn>
                  <a:cxn ang="0">
                    <a:pos x="46" y="7"/>
                  </a:cxn>
                  <a:cxn ang="0">
                    <a:pos x="37" y="15"/>
                  </a:cxn>
                  <a:cxn ang="0">
                    <a:pos x="0" y="5"/>
                  </a:cxn>
                </a:cxnLst>
                <a:rect l="0" t="0" r="r" b="b"/>
                <a:pathLst>
                  <a:path w="46" h="15">
                    <a:moveTo>
                      <a:pt x="0" y="5"/>
                    </a:moveTo>
                    <a:lnTo>
                      <a:pt x="28" y="0"/>
                    </a:lnTo>
                    <a:lnTo>
                      <a:pt x="46" y="7"/>
                    </a:lnTo>
                    <a:lnTo>
                      <a:pt x="37" y="15"/>
                    </a:lnTo>
                    <a:lnTo>
                      <a:pt x="0" y="5"/>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55" name="Freeform 11"/>
              <p:cNvSpPr>
                <a:spLocks noEditPoints="1"/>
              </p:cNvSpPr>
              <p:nvPr/>
            </p:nvSpPr>
            <p:spPr bwMode="auto">
              <a:xfrm>
                <a:off x="5365" y="1146"/>
                <a:ext cx="52" cy="18"/>
              </a:xfrm>
              <a:custGeom>
                <a:avLst/>
                <a:gdLst/>
                <a:ahLst/>
                <a:cxnLst>
                  <a:cxn ang="0">
                    <a:pos x="6" y="35"/>
                  </a:cxn>
                  <a:cxn ang="0">
                    <a:pos x="0" y="27"/>
                  </a:cxn>
                  <a:cxn ang="0">
                    <a:pos x="7" y="20"/>
                  </a:cxn>
                  <a:cxn ang="0">
                    <a:pos x="104" y="1"/>
                  </a:cxn>
                  <a:cxn ang="0">
                    <a:pos x="109" y="1"/>
                  </a:cxn>
                  <a:cxn ang="0">
                    <a:pos x="172" y="32"/>
                  </a:cxn>
                  <a:cxn ang="0">
                    <a:pos x="176" y="38"/>
                  </a:cxn>
                  <a:cxn ang="0">
                    <a:pos x="174" y="45"/>
                  </a:cxn>
                  <a:cxn ang="0">
                    <a:pos x="141" y="78"/>
                  </a:cxn>
                  <a:cxn ang="0">
                    <a:pos x="133" y="80"/>
                  </a:cxn>
                  <a:cxn ang="0">
                    <a:pos x="6" y="35"/>
                  </a:cxn>
                  <a:cxn ang="0">
                    <a:pos x="138" y="65"/>
                  </a:cxn>
                  <a:cxn ang="0">
                    <a:pos x="130" y="67"/>
                  </a:cxn>
                  <a:cxn ang="0">
                    <a:pos x="163" y="34"/>
                  </a:cxn>
                  <a:cxn ang="0">
                    <a:pos x="165" y="47"/>
                  </a:cxn>
                  <a:cxn ang="0">
                    <a:pos x="102" y="16"/>
                  </a:cxn>
                  <a:cxn ang="0">
                    <a:pos x="107" y="16"/>
                  </a:cxn>
                  <a:cxn ang="0">
                    <a:pos x="10" y="36"/>
                  </a:cxn>
                  <a:cxn ang="0">
                    <a:pos x="11" y="20"/>
                  </a:cxn>
                  <a:cxn ang="0">
                    <a:pos x="138" y="65"/>
                  </a:cxn>
                </a:cxnLst>
                <a:rect l="0" t="0" r="r" b="b"/>
                <a:pathLst>
                  <a:path w="177" h="81">
                    <a:moveTo>
                      <a:pt x="6" y="35"/>
                    </a:moveTo>
                    <a:cubicBezTo>
                      <a:pt x="2" y="34"/>
                      <a:pt x="0" y="31"/>
                      <a:pt x="0" y="27"/>
                    </a:cubicBezTo>
                    <a:cubicBezTo>
                      <a:pt x="1" y="24"/>
                      <a:pt x="3" y="21"/>
                      <a:pt x="7" y="20"/>
                    </a:cubicBezTo>
                    <a:lnTo>
                      <a:pt x="104" y="1"/>
                    </a:lnTo>
                    <a:cubicBezTo>
                      <a:pt x="106" y="0"/>
                      <a:pt x="108" y="1"/>
                      <a:pt x="109" y="1"/>
                    </a:cubicBezTo>
                    <a:lnTo>
                      <a:pt x="172" y="32"/>
                    </a:lnTo>
                    <a:cubicBezTo>
                      <a:pt x="174" y="33"/>
                      <a:pt x="176" y="36"/>
                      <a:pt x="176" y="38"/>
                    </a:cubicBezTo>
                    <a:cubicBezTo>
                      <a:pt x="177" y="41"/>
                      <a:pt x="176" y="43"/>
                      <a:pt x="174" y="45"/>
                    </a:cubicBezTo>
                    <a:lnTo>
                      <a:pt x="141" y="78"/>
                    </a:lnTo>
                    <a:cubicBezTo>
                      <a:pt x="139" y="80"/>
                      <a:pt x="136" y="81"/>
                      <a:pt x="133" y="80"/>
                    </a:cubicBezTo>
                    <a:lnTo>
                      <a:pt x="6" y="35"/>
                    </a:lnTo>
                    <a:close/>
                    <a:moveTo>
                      <a:pt x="138" y="65"/>
                    </a:moveTo>
                    <a:lnTo>
                      <a:pt x="130" y="67"/>
                    </a:lnTo>
                    <a:lnTo>
                      <a:pt x="163" y="34"/>
                    </a:lnTo>
                    <a:lnTo>
                      <a:pt x="165" y="47"/>
                    </a:lnTo>
                    <a:lnTo>
                      <a:pt x="102" y="16"/>
                    </a:lnTo>
                    <a:lnTo>
                      <a:pt x="107" y="16"/>
                    </a:lnTo>
                    <a:lnTo>
                      <a:pt x="10" y="36"/>
                    </a:lnTo>
                    <a:lnTo>
                      <a:pt x="11" y="20"/>
                    </a:lnTo>
                    <a:lnTo>
                      <a:pt x="138" y="65"/>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56" name="Freeform 12"/>
              <p:cNvSpPr>
                <a:spLocks/>
              </p:cNvSpPr>
              <p:nvPr/>
            </p:nvSpPr>
            <p:spPr bwMode="auto">
              <a:xfrm>
                <a:off x="402" y="975"/>
                <a:ext cx="413" cy="344"/>
              </a:xfrm>
              <a:custGeom>
                <a:avLst/>
                <a:gdLst/>
                <a:ahLst/>
                <a:cxnLst>
                  <a:cxn ang="0">
                    <a:pos x="26" y="138"/>
                  </a:cxn>
                  <a:cxn ang="0">
                    <a:pos x="27" y="154"/>
                  </a:cxn>
                  <a:cxn ang="0">
                    <a:pos x="74" y="161"/>
                  </a:cxn>
                  <a:cxn ang="0">
                    <a:pos x="92" y="155"/>
                  </a:cxn>
                  <a:cxn ang="0">
                    <a:pos x="40" y="195"/>
                  </a:cxn>
                  <a:cxn ang="0">
                    <a:pos x="39" y="214"/>
                  </a:cxn>
                  <a:cxn ang="0">
                    <a:pos x="39" y="227"/>
                  </a:cxn>
                  <a:cxn ang="0">
                    <a:pos x="48" y="242"/>
                  </a:cxn>
                  <a:cxn ang="0">
                    <a:pos x="69" y="254"/>
                  </a:cxn>
                  <a:cxn ang="0">
                    <a:pos x="77" y="242"/>
                  </a:cxn>
                  <a:cxn ang="0">
                    <a:pos x="83" y="274"/>
                  </a:cxn>
                  <a:cxn ang="0">
                    <a:pos x="125" y="277"/>
                  </a:cxn>
                  <a:cxn ang="0">
                    <a:pos x="137" y="274"/>
                  </a:cxn>
                  <a:cxn ang="0">
                    <a:pos x="130" y="308"/>
                  </a:cxn>
                  <a:cxn ang="0">
                    <a:pos x="108" y="326"/>
                  </a:cxn>
                  <a:cxn ang="0">
                    <a:pos x="64" y="344"/>
                  </a:cxn>
                  <a:cxn ang="0">
                    <a:pos x="115" y="332"/>
                  </a:cxn>
                  <a:cxn ang="0">
                    <a:pos x="123" y="312"/>
                  </a:cxn>
                  <a:cxn ang="0">
                    <a:pos x="192" y="281"/>
                  </a:cxn>
                  <a:cxn ang="0">
                    <a:pos x="193" y="260"/>
                  </a:cxn>
                  <a:cxn ang="0">
                    <a:pos x="245" y="201"/>
                  </a:cxn>
                  <a:cxn ang="0">
                    <a:pos x="259" y="217"/>
                  </a:cxn>
                  <a:cxn ang="0">
                    <a:pos x="263" y="230"/>
                  </a:cxn>
                  <a:cxn ang="0">
                    <a:pos x="224" y="251"/>
                  </a:cxn>
                  <a:cxn ang="0">
                    <a:pos x="225" y="264"/>
                  </a:cxn>
                  <a:cxn ang="0">
                    <a:pos x="275" y="236"/>
                  </a:cxn>
                  <a:cxn ang="0">
                    <a:pos x="278" y="222"/>
                  </a:cxn>
                  <a:cxn ang="0">
                    <a:pos x="299" y="225"/>
                  </a:cxn>
                  <a:cxn ang="0">
                    <a:pos x="331" y="246"/>
                  </a:cxn>
                  <a:cxn ang="0">
                    <a:pos x="393" y="245"/>
                  </a:cxn>
                  <a:cxn ang="0">
                    <a:pos x="391" y="257"/>
                  </a:cxn>
                  <a:cxn ang="0">
                    <a:pos x="413" y="259"/>
                  </a:cxn>
                  <a:cxn ang="0">
                    <a:pos x="374" y="242"/>
                  </a:cxn>
                  <a:cxn ang="0">
                    <a:pos x="226" y="23"/>
                  </a:cxn>
                  <a:cxn ang="0">
                    <a:pos x="179" y="7"/>
                  </a:cxn>
                  <a:cxn ang="0">
                    <a:pos x="162" y="13"/>
                  </a:cxn>
                  <a:cxn ang="0">
                    <a:pos x="157" y="0"/>
                  </a:cxn>
                  <a:cxn ang="0">
                    <a:pos x="114" y="15"/>
                  </a:cxn>
                  <a:cxn ang="0">
                    <a:pos x="110" y="20"/>
                  </a:cxn>
                  <a:cxn ang="0">
                    <a:pos x="88" y="36"/>
                  </a:cxn>
                  <a:cxn ang="0">
                    <a:pos x="62" y="52"/>
                  </a:cxn>
                  <a:cxn ang="0">
                    <a:pos x="27" y="69"/>
                  </a:cxn>
                  <a:cxn ang="0">
                    <a:pos x="60" y="99"/>
                  </a:cxn>
                  <a:cxn ang="0">
                    <a:pos x="83" y="109"/>
                  </a:cxn>
                  <a:cxn ang="0">
                    <a:pos x="99" y="117"/>
                  </a:cxn>
                  <a:cxn ang="0">
                    <a:pos x="60" y="122"/>
                  </a:cxn>
                  <a:cxn ang="0">
                    <a:pos x="47" y="111"/>
                  </a:cxn>
                </a:cxnLst>
                <a:rect l="0" t="0" r="r" b="b"/>
                <a:pathLst>
                  <a:path w="413" h="344">
                    <a:moveTo>
                      <a:pt x="0" y="132"/>
                    </a:moveTo>
                    <a:lnTo>
                      <a:pt x="26" y="138"/>
                    </a:lnTo>
                    <a:lnTo>
                      <a:pt x="16" y="141"/>
                    </a:lnTo>
                    <a:lnTo>
                      <a:pt x="27" y="154"/>
                    </a:lnTo>
                    <a:lnTo>
                      <a:pt x="69" y="152"/>
                    </a:lnTo>
                    <a:lnTo>
                      <a:pt x="74" y="161"/>
                    </a:lnTo>
                    <a:lnTo>
                      <a:pt x="101" y="151"/>
                    </a:lnTo>
                    <a:lnTo>
                      <a:pt x="92" y="155"/>
                    </a:lnTo>
                    <a:lnTo>
                      <a:pt x="97" y="176"/>
                    </a:lnTo>
                    <a:lnTo>
                      <a:pt x="40" y="195"/>
                    </a:lnTo>
                    <a:lnTo>
                      <a:pt x="25" y="218"/>
                    </a:lnTo>
                    <a:lnTo>
                      <a:pt x="39" y="214"/>
                    </a:lnTo>
                    <a:lnTo>
                      <a:pt x="29" y="220"/>
                    </a:lnTo>
                    <a:lnTo>
                      <a:pt x="39" y="227"/>
                    </a:lnTo>
                    <a:lnTo>
                      <a:pt x="60" y="230"/>
                    </a:lnTo>
                    <a:lnTo>
                      <a:pt x="48" y="242"/>
                    </a:lnTo>
                    <a:lnTo>
                      <a:pt x="57" y="253"/>
                    </a:lnTo>
                    <a:lnTo>
                      <a:pt x="69" y="254"/>
                    </a:lnTo>
                    <a:lnTo>
                      <a:pt x="90" y="230"/>
                    </a:lnTo>
                    <a:lnTo>
                      <a:pt x="77" y="242"/>
                    </a:lnTo>
                    <a:lnTo>
                      <a:pt x="88" y="264"/>
                    </a:lnTo>
                    <a:lnTo>
                      <a:pt x="83" y="274"/>
                    </a:lnTo>
                    <a:lnTo>
                      <a:pt x="108" y="261"/>
                    </a:lnTo>
                    <a:lnTo>
                      <a:pt x="125" y="277"/>
                    </a:lnTo>
                    <a:lnTo>
                      <a:pt x="131" y="267"/>
                    </a:lnTo>
                    <a:lnTo>
                      <a:pt x="137" y="274"/>
                    </a:lnTo>
                    <a:lnTo>
                      <a:pt x="156" y="265"/>
                    </a:lnTo>
                    <a:lnTo>
                      <a:pt x="130" y="308"/>
                    </a:lnTo>
                    <a:lnTo>
                      <a:pt x="109" y="317"/>
                    </a:lnTo>
                    <a:lnTo>
                      <a:pt x="108" y="326"/>
                    </a:lnTo>
                    <a:lnTo>
                      <a:pt x="83" y="326"/>
                    </a:lnTo>
                    <a:lnTo>
                      <a:pt x="64" y="344"/>
                    </a:lnTo>
                    <a:lnTo>
                      <a:pt x="88" y="331"/>
                    </a:lnTo>
                    <a:lnTo>
                      <a:pt x="115" y="332"/>
                    </a:lnTo>
                    <a:lnTo>
                      <a:pt x="130" y="321"/>
                    </a:lnTo>
                    <a:lnTo>
                      <a:pt x="123" y="312"/>
                    </a:lnTo>
                    <a:lnTo>
                      <a:pt x="140" y="314"/>
                    </a:lnTo>
                    <a:lnTo>
                      <a:pt x="192" y="281"/>
                    </a:lnTo>
                    <a:lnTo>
                      <a:pt x="202" y="269"/>
                    </a:lnTo>
                    <a:lnTo>
                      <a:pt x="193" y="260"/>
                    </a:lnTo>
                    <a:lnTo>
                      <a:pt x="239" y="221"/>
                    </a:lnTo>
                    <a:lnTo>
                      <a:pt x="245" y="201"/>
                    </a:lnTo>
                    <a:lnTo>
                      <a:pt x="240" y="221"/>
                    </a:lnTo>
                    <a:lnTo>
                      <a:pt x="259" y="217"/>
                    </a:lnTo>
                    <a:lnTo>
                      <a:pt x="249" y="226"/>
                    </a:lnTo>
                    <a:lnTo>
                      <a:pt x="263" y="230"/>
                    </a:lnTo>
                    <a:lnTo>
                      <a:pt x="230" y="232"/>
                    </a:lnTo>
                    <a:lnTo>
                      <a:pt x="224" y="251"/>
                    </a:lnTo>
                    <a:lnTo>
                      <a:pt x="236" y="251"/>
                    </a:lnTo>
                    <a:lnTo>
                      <a:pt x="225" y="264"/>
                    </a:lnTo>
                    <a:lnTo>
                      <a:pt x="269" y="246"/>
                    </a:lnTo>
                    <a:lnTo>
                      <a:pt x="275" y="236"/>
                    </a:lnTo>
                    <a:lnTo>
                      <a:pt x="268" y="232"/>
                    </a:lnTo>
                    <a:lnTo>
                      <a:pt x="278" y="222"/>
                    </a:lnTo>
                    <a:lnTo>
                      <a:pt x="277" y="230"/>
                    </a:lnTo>
                    <a:lnTo>
                      <a:pt x="299" y="225"/>
                    </a:lnTo>
                    <a:lnTo>
                      <a:pt x="294" y="233"/>
                    </a:lnTo>
                    <a:lnTo>
                      <a:pt x="331" y="246"/>
                    </a:lnTo>
                    <a:lnTo>
                      <a:pt x="384" y="253"/>
                    </a:lnTo>
                    <a:lnTo>
                      <a:pt x="393" y="245"/>
                    </a:lnTo>
                    <a:lnTo>
                      <a:pt x="400" y="249"/>
                    </a:lnTo>
                    <a:lnTo>
                      <a:pt x="391" y="257"/>
                    </a:lnTo>
                    <a:lnTo>
                      <a:pt x="406" y="264"/>
                    </a:lnTo>
                    <a:lnTo>
                      <a:pt x="413" y="259"/>
                    </a:lnTo>
                    <a:lnTo>
                      <a:pt x="399" y="242"/>
                    </a:lnTo>
                    <a:lnTo>
                      <a:pt x="374" y="242"/>
                    </a:lnTo>
                    <a:lnTo>
                      <a:pt x="374" y="40"/>
                    </a:lnTo>
                    <a:lnTo>
                      <a:pt x="226" y="23"/>
                    </a:lnTo>
                    <a:lnTo>
                      <a:pt x="220" y="13"/>
                    </a:lnTo>
                    <a:lnTo>
                      <a:pt x="179" y="7"/>
                    </a:lnTo>
                    <a:lnTo>
                      <a:pt x="175" y="15"/>
                    </a:lnTo>
                    <a:lnTo>
                      <a:pt x="162" y="13"/>
                    </a:lnTo>
                    <a:lnTo>
                      <a:pt x="174" y="6"/>
                    </a:lnTo>
                    <a:lnTo>
                      <a:pt x="157" y="0"/>
                    </a:lnTo>
                    <a:lnTo>
                      <a:pt x="140" y="13"/>
                    </a:lnTo>
                    <a:lnTo>
                      <a:pt x="114" y="15"/>
                    </a:lnTo>
                    <a:lnTo>
                      <a:pt x="112" y="27"/>
                    </a:lnTo>
                    <a:lnTo>
                      <a:pt x="110" y="20"/>
                    </a:lnTo>
                    <a:lnTo>
                      <a:pt x="84" y="27"/>
                    </a:lnTo>
                    <a:lnTo>
                      <a:pt x="88" y="36"/>
                    </a:lnTo>
                    <a:lnTo>
                      <a:pt x="77" y="33"/>
                    </a:lnTo>
                    <a:lnTo>
                      <a:pt x="62" y="52"/>
                    </a:lnTo>
                    <a:lnTo>
                      <a:pt x="25" y="60"/>
                    </a:lnTo>
                    <a:lnTo>
                      <a:pt x="27" y="69"/>
                    </a:lnTo>
                    <a:lnTo>
                      <a:pt x="16" y="71"/>
                    </a:lnTo>
                    <a:lnTo>
                      <a:pt x="60" y="99"/>
                    </a:lnTo>
                    <a:lnTo>
                      <a:pt x="119" y="113"/>
                    </a:lnTo>
                    <a:lnTo>
                      <a:pt x="83" y="109"/>
                    </a:lnTo>
                    <a:lnTo>
                      <a:pt x="84" y="117"/>
                    </a:lnTo>
                    <a:lnTo>
                      <a:pt x="99" y="117"/>
                    </a:lnTo>
                    <a:lnTo>
                      <a:pt x="87" y="123"/>
                    </a:lnTo>
                    <a:lnTo>
                      <a:pt x="60" y="122"/>
                    </a:lnTo>
                    <a:lnTo>
                      <a:pt x="60" y="110"/>
                    </a:lnTo>
                    <a:lnTo>
                      <a:pt x="47" y="111"/>
                    </a:lnTo>
                    <a:lnTo>
                      <a:pt x="0" y="132"/>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57" name="Freeform 13"/>
              <p:cNvSpPr>
                <a:spLocks noEditPoints="1"/>
              </p:cNvSpPr>
              <p:nvPr/>
            </p:nvSpPr>
            <p:spPr bwMode="auto">
              <a:xfrm>
                <a:off x="400" y="974"/>
                <a:ext cx="418" cy="347"/>
              </a:xfrm>
              <a:custGeom>
                <a:avLst/>
                <a:gdLst/>
                <a:ahLst/>
                <a:cxnLst>
                  <a:cxn ang="0">
                    <a:pos x="69" y="618"/>
                  </a:cxn>
                  <a:cxn ang="0">
                    <a:pos x="352" y="658"/>
                  </a:cxn>
                  <a:cxn ang="0">
                    <a:pos x="149" y="869"/>
                  </a:cxn>
                  <a:cxn ang="0">
                    <a:pos x="111" y="974"/>
                  </a:cxn>
                  <a:cxn ang="0">
                    <a:pos x="178" y="1069"/>
                  </a:cxn>
                  <a:cxn ang="0">
                    <a:pos x="325" y="1018"/>
                  </a:cxn>
                  <a:cxn ang="0">
                    <a:pos x="376" y="1141"/>
                  </a:cxn>
                  <a:cxn ang="0">
                    <a:pos x="486" y="1200"/>
                  </a:cxn>
                  <a:cxn ang="0">
                    <a:pos x="388" y="1398"/>
                  </a:cxn>
                  <a:cxn ang="0">
                    <a:pos x="224" y="1506"/>
                  </a:cxn>
                  <a:cxn ang="0">
                    <a:pos x="425" y="1377"/>
                  </a:cxn>
                  <a:cxn ang="0">
                    <a:pos x="698" y="1180"/>
                  </a:cxn>
                  <a:cxn ang="0">
                    <a:pos x="855" y="878"/>
                  </a:cxn>
                  <a:cxn ang="0">
                    <a:pos x="872" y="998"/>
                  </a:cxn>
                  <a:cxn ang="0">
                    <a:pos x="785" y="1106"/>
                  </a:cxn>
                  <a:cxn ang="0">
                    <a:pos x="931" y="1077"/>
                  </a:cxn>
                  <a:cxn ang="0">
                    <a:pos x="961" y="971"/>
                  </a:cxn>
                  <a:cxn ang="0">
                    <a:pos x="1046" y="993"/>
                  </a:cxn>
                  <a:cxn ang="0">
                    <a:pos x="1355" y="1074"/>
                  </a:cxn>
                  <a:cxn ang="0">
                    <a:pos x="1410" y="1156"/>
                  </a:cxn>
                  <a:cxn ang="0">
                    <a:pos x="1290" y="1064"/>
                  </a:cxn>
                  <a:cxn ang="0">
                    <a:pos x="623" y="45"/>
                  </a:cxn>
                  <a:cxn ang="0">
                    <a:pos x="602" y="27"/>
                  </a:cxn>
                  <a:cxn ang="0">
                    <a:pos x="407" y="74"/>
                  </a:cxn>
                  <a:cxn ang="0">
                    <a:pos x="305" y="121"/>
                  </a:cxn>
                  <a:cxn ang="0">
                    <a:pos x="222" y="243"/>
                  </a:cxn>
                  <a:cxn ang="0">
                    <a:pos x="220" y="434"/>
                  </a:cxn>
                  <a:cxn ang="0">
                    <a:pos x="305" y="517"/>
                  </a:cxn>
                  <a:cxn ang="0">
                    <a:pos x="214" y="548"/>
                  </a:cxn>
                  <a:cxn ang="0">
                    <a:pos x="164" y="485"/>
                  </a:cxn>
                  <a:cxn ang="0">
                    <a:pos x="306" y="538"/>
                  </a:cxn>
                  <a:cxn ang="0">
                    <a:pos x="288" y="477"/>
                  </a:cxn>
                  <a:cxn ang="0">
                    <a:pos x="56" y="315"/>
                  </a:cxn>
                  <a:cxn ang="0">
                    <a:pos x="214" y="231"/>
                  </a:cxn>
                  <a:cxn ang="0">
                    <a:pos x="295" y="116"/>
                  </a:cxn>
                  <a:cxn ang="0">
                    <a:pos x="398" y="65"/>
                  </a:cxn>
                  <a:cxn ang="0">
                    <a:pos x="612" y="40"/>
                  </a:cxn>
                  <a:cxn ang="0">
                    <a:pos x="767" y="57"/>
                  </a:cxn>
                  <a:cxn ang="0">
                    <a:pos x="1298" y="1056"/>
                  </a:cxn>
                  <a:cxn ang="0">
                    <a:pos x="1350" y="1138"/>
                  </a:cxn>
                  <a:cxn ang="0">
                    <a:pos x="1337" y="1118"/>
                  </a:cxn>
                  <a:cxn ang="0">
                    <a:pos x="1032" y="986"/>
                  </a:cxn>
                  <a:cxn ang="0">
                    <a:pos x="938" y="1025"/>
                  </a:cxn>
                  <a:cxn ang="0">
                    <a:pos x="777" y="1165"/>
                  </a:cxn>
                  <a:cxn ang="0">
                    <a:pos x="792" y="1021"/>
                  </a:cxn>
                  <a:cxn ang="0">
                    <a:pos x="893" y="951"/>
                  </a:cxn>
                  <a:cxn ang="0">
                    <a:pos x="838" y="973"/>
                  </a:cxn>
                  <a:cxn ang="0">
                    <a:pos x="675" y="1242"/>
                  </a:cxn>
                  <a:cxn ang="0">
                    <a:pos x="409" y="1463"/>
                  </a:cxn>
                  <a:cxn ang="0">
                    <a:pos x="287" y="1429"/>
                  </a:cxn>
                  <a:cxn ang="0">
                    <a:pos x="447" y="1349"/>
                  </a:cxn>
                  <a:cxn ang="0">
                    <a:pos x="446" y="1221"/>
                  </a:cxn>
                  <a:cxn ang="0">
                    <a:pos x="286" y="1201"/>
                  </a:cxn>
                  <a:cxn ang="0">
                    <a:pos x="326" y="1017"/>
                  </a:cxn>
                  <a:cxn ang="0">
                    <a:pos x="207" y="1008"/>
                  </a:cxn>
                  <a:cxn ang="0">
                    <a:pos x="137" y="936"/>
                  </a:cxn>
                  <a:cxn ang="0">
                    <a:pos x="338" y="767"/>
                  </a:cxn>
                  <a:cxn ang="0">
                    <a:pos x="257" y="714"/>
                  </a:cxn>
                  <a:cxn ang="0">
                    <a:pos x="60" y="615"/>
                  </a:cxn>
                </a:cxnLst>
                <a:rect l="0" t="0" r="r" b="b"/>
                <a:pathLst>
                  <a:path w="1441" h="1521">
                    <a:moveTo>
                      <a:pt x="12" y="590"/>
                    </a:moveTo>
                    <a:lnTo>
                      <a:pt x="11" y="575"/>
                    </a:lnTo>
                    <a:lnTo>
                      <a:pt x="100" y="604"/>
                    </a:lnTo>
                    <a:cubicBezTo>
                      <a:pt x="104" y="605"/>
                      <a:pt x="106" y="608"/>
                      <a:pt x="106" y="611"/>
                    </a:cubicBezTo>
                    <a:cubicBezTo>
                      <a:pt x="106" y="615"/>
                      <a:pt x="104" y="618"/>
                      <a:pt x="100" y="619"/>
                    </a:cubicBezTo>
                    <a:lnTo>
                      <a:pt x="65" y="631"/>
                    </a:lnTo>
                    <a:lnTo>
                      <a:pt x="69" y="618"/>
                    </a:lnTo>
                    <a:lnTo>
                      <a:pt x="107" y="673"/>
                    </a:lnTo>
                    <a:lnTo>
                      <a:pt x="100" y="670"/>
                    </a:lnTo>
                    <a:lnTo>
                      <a:pt x="243" y="665"/>
                    </a:lnTo>
                    <a:cubicBezTo>
                      <a:pt x="246" y="665"/>
                      <a:pt x="249" y="666"/>
                      <a:pt x="251" y="669"/>
                    </a:cubicBezTo>
                    <a:lnTo>
                      <a:pt x="271" y="706"/>
                    </a:lnTo>
                    <a:lnTo>
                      <a:pt x="261" y="702"/>
                    </a:lnTo>
                    <a:lnTo>
                      <a:pt x="352" y="658"/>
                    </a:lnTo>
                    <a:cubicBezTo>
                      <a:pt x="355" y="656"/>
                      <a:pt x="360" y="657"/>
                      <a:pt x="362" y="661"/>
                    </a:cubicBezTo>
                    <a:cubicBezTo>
                      <a:pt x="364" y="665"/>
                      <a:pt x="363" y="669"/>
                      <a:pt x="359" y="672"/>
                    </a:cubicBezTo>
                    <a:lnTo>
                      <a:pt x="328" y="690"/>
                    </a:lnTo>
                    <a:lnTo>
                      <a:pt x="331" y="681"/>
                    </a:lnTo>
                    <a:lnTo>
                      <a:pt x="349" y="773"/>
                    </a:lnTo>
                    <a:cubicBezTo>
                      <a:pt x="350" y="777"/>
                      <a:pt x="348" y="780"/>
                      <a:pt x="345" y="782"/>
                    </a:cubicBezTo>
                    <a:lnTo>
                      <a:pt x="149" y="869"/>
                    </a:lnTo>
                    <a:lnTo>
                      <a:pt x="153" y="865"/>
                    </a:lnTo>
                    <a:lnTo>
                      <a:pt x="101" y="962"/>
                    </a:lnTo>
                    <a:lnTo>
                      <a:pt x="91" y="950"/>
                    </a:lnTo>
                    <a:lnTo>
                      <a:pt x="140" y="935"/>
                    </a:lnTo>
                    <a:cubicBezTo>
                      <a:pt x="143" y="934"/>
                      <a:pt x="147" y="936"/>
                      <a:pt x="149" y="939"/>
                    </a:cubicBezTo>
                    <a:cubicBezTo>
                      <a:pt x="151" y="943"/>
                      <a:pt x="150" y="947"/>
                      <a:pt x="147" y="949"/>
                    </a:cubicBezTo>
                    <a:lnTo>
                      <a:pt x="111" y="974"/>
                    </a:lnTo>
                    <a:lnTo>
                      <a:pt x="112" y="962"/>
                    </a:lnTo>
                    <a:lnTo>
                      <a:pt x="147" y="995"/>
                    </a:lnTo>
                    <a:lnTo>
                      <a:pt x="143" y="993"/>
                    </a:lnTo>
                    <a:lnTo>
                      <a:pt x="215" y="1005"/>
                    </a:lnTo>
                    <a:cubicBezTo>
                      <a:pt x="218" y="1005"/>
                      <a:pt x="220" y="1007"/>
                      <a:pt x="221" y="1010"/>
                    </a:cubicBezTo>
                    <a:cubicBezTo>
                      <a:pt x="222" y="1013"/>
                      <a:pt x="222" y="1016"/>
                      <a:pt x="220" y="1018"/>
                    </a:cubicBezTo>
                    <a:lnTo>
                      <a:pt x="178" y="1069"/>
                    </a:lnTo>
                    <a:lnTo>
                      <a:pt x="179" y="1060"/>
                    </a:lnTo>
                    <a:lnTo>
                      <a:pt x="212" y="1108"/>
                    </a:lnTo>
                    <a:lnTo>
                      <a:pt x="207" y="1105"/>
                    </a:lnTo>
                    <a:lnTo>
                      <a:pt x="245" y="1112"/>
                    </a:lnTo>
                    <a:lnTo>
                      <a:pt x="237" y="1115"/>
                    </a:lnTo>
                    <a:lnTo>
                      <a:pt x="313" y="1008"/>
                    </a:lnTo>
                    <a:lnTo>
                      <a:pt x="325" y="1018"/>
                    </a:lnTo>
                    <a:lnTo>
                      <a:pt x="279" y="1070"/>
                    </a:lnTo>
                    <a:lnTo>
                      <a:pt x="280" y="1062"/>
                    </a:lnTo>
                    <a:lnTo>
                      <a:pt x="319" y="1160"/>
                    </a:lnTo>
                    <a:cubicBezTo>
                      <a:pt x="319" y="1162"/>
                      <a:pt x="319" y="1164"/>
                      <a:pt x="319" y="1166"/>
                    </a:cubicBezTo>
                    <a:lnTo>
                      <a:pt x="301" y="1207"/>
                    </a:lnTo>
                    <a:lnTo>
                      <a:pt x="289" y="1198"/>
                    </a:lnTo>
                    <a:lnTo>
                      <a:pt x="376" y="1141"/>
                    </a:lnTo>
                    <a:cubicBezTo>
                      <a:pt x="379" y="1139"/>
                      <a:pt x="383" y="1139"/>
                      <a:pt x="386" y="1143"/>
                    </a:cubicBezTo>
                    <a:lnTo>
                      <a:pt x="445" y="1212"/>
                    </a:lnTo>
                    <a:lnTo>
                      <a:pt x="432" y="1214"/>
                    </a:lnTo>
                    <a:lnTo>
                      <a:pt x="453" y="1172"/>
                    </a:lnTo>
                    <a:cubicBezTo>
                      <a:pt x="454" y="1170"/>
                      <a:pt x="456" y="1168"/>
                      <a:pt x="459" y="1168"/>
                    </a:cubicBezTo>
                    <a:cubicBezTo>
                      <a:pt x="462" y="1168"/>
                      <a:pt x="465" y="1169"/>
                      <a:pt x="466" y="1172"/>
                    </a:cubicBezTo>
                    <a:lnTo>
                      <a:pt x="486" y="1200"/>
                    </a:lnTo>
                    <a:lnTo>
                      <a:pt x="475" y="1197"/>
                    </a:lnTo>
                    <a:lnTo>
                      <a:pt x="541" y="1159"/>
                    </a:lnTo>
                    <a:cubicBezTo>
                      <a:pt x="544" y="1157"/>
                      <a:pt x="548" y="1158"/>
                      <a:pt x="551" y="1160"/>
                    </a:cubicBezTo>
                    <a:cubicBezTo>
                      <a:pt x="553" y="1163"/>
                      <a:pt x="554" y="1166"/>
                      <a:pt x="552" y="1170"/>
                    </a:cubicBezTo>
                    <a:lnTo>
                      <a:pt x="461" y="1356"/>
                    </a:lnTo>
                    <a:cubicBezTo>
                      <a:pt x="461" y="1358"/>
                      <a:pt x="460" y="1359"/>
                      <a:pt x="458" y="1360"/>
                    </a:cubicBezTo>
                    <a:lnTo>
                      <a:pt x="388" y="1398"/>
                    </a:lnTo>
                    <a:lnTo>
                      <a:pt x="392" y="1392"/>
                    </a:lnTo>
                    <a:lnTo>
                      <a:pt x="388" y="1433"/>
                    </a:lnTo>
                    <a:cubicBezTo>
                      <a:pt x="388" y="1437"/>
                      <a:pt x="384" y="1440"/>
                      <a:pt x="380" y="1441"/>
                    </a:cubicBezTo>
                    <a:lnTo>
                      <a:pt x="293" y="1442"/>
                    </a:lnTo>
                    <a:lnTo>
                      <a:pt x="299" y="1439"/>
                    </a:lnTo>
                    <a:lnTo>
                      <a:pt x="235" y="1518"/>
                    </a:lnTo>
                    <a:lnTo>
                      <a:pt x="224" y="1506"/>
                    </a:lnTo>
                    <a:lnTo>
                      <a:pt x="306" y="1446"/>
                    </a:lnTo>
                    <a:cubicBezTo>
                      <a:pt x="308" y="1445"/>
                      <a:pt x="310" y="1444"/>
                      <a:pt x="312" y="1445"/>
                    </a:cubicBezTo>
                    <a:lnTo>
                      <a:pt x="404" y="1450"/>
                    </a:lnTo>
                    <a:lnTo>
                      <a:pt x="398" y="1452"/>
                    </a:lnTo>
                    <a:lnTo>
                      <a:pt x="450" y="1403"/>
                    </a:lnTo>
                    <a:lnTo>
                      <a:pt x="449" y="1414"/>
                    </a:lnTo>
                    <a:lnTo>
                      <a:pt x="425" y="1377"/>
                    </a:lnTo>
                    <a:cubicBezTo>
                      <a:pt x="424" y="1374"/>
                      <a:pt x="424" y="1371"/>
                      <a:pt x="425" y="1368"/>
                    </a:cubicBezTo>
                    <a:cubicBezTo>
                      <a:pt x="427" y="1366"/>
                      <a:pt x="430" y="1364"/>
                      <a:pt x="433" y="1365"/>
                    </a:cubicBezTo>
                    <a:lnTo>
                      <a:pt x="491" y="1371"/>
                    </a:lnTo>
                    <a:lnTo>
                      <a:pt x="485" y="1373"/>
                    </a:lnTo>
                    <a:lnTo>
                      <a:pt x="665" y="1230"/>
                    </a:lnTo>
                    <a:lnTo>
                      <a:pt x="664" y="1232"/>
                    </a:lnTo>
                    <a:lnTo>
                      <a:pt x="698" y="1180"/>
                    </a:lnTo>
                    <a:lnTo>
                      <a:pt x="698" y="1189"/>
                    </a:lnTo>
                    <a:lnTo>
                      <a:pt x="665" y="1149"/>
                    </a:lnTo>
                    <a:cubicBezTo>
                      <a:pt x="663" y="1146"/>
                      <a:pt x="663" y="1142"/>
                      <a:pt x="666" y="1139"/>
                    </a:cubicBezTo>
                    <a:lnTo>
                      <a:pt x="824" y="966"/>
                    </a:lnTo>
                    <a:lnTo>
                      <a:pt x="822" y="969"/>
                    </a:lnTo>
                    <a:lnTo>
                      <a:pt x="846" y="884"/>
                    </a:lnTo>
                    <a:cubicBezTo>
                      <a:pt x="847" y="880"/>
                      <a:pt x="851" y="877"/>
                      <a:pt x="855" y="878"/>
                    </a:cubicBezTo>
                    <a:cubicBezTo>
                      <a:pt x="859" y="879"/>
                      <a:pt x="862" y="884"/>
                      <a:pt x="861" y="888"/>
                    </a:cubicBezTo>
                    <a:lnTo>
                      <a:pt x="843" y="973"/>
                    </a:lnTo>
                    <a:lnTo>
                      <a:pt x="834" y="963"/>
                    </a:lnTo>
                    <a:lnTo>
                      <a:pt x="897" y="948"/>
                    </a:lnTo>
                    <a:cubicBezTo>
                      <a:pt x="900" y="948"/>
                      <a:pt x="904" y="949"/>
                      <a:pt x="906" y="952"/>
                    </a:cubicBezTo>
                    <a:cubicBezTo>
                      <a:pt x="907" y="955"/>
                      <a:pt x="907" y="959"/>
                      <a:pt x="905" y="962"/>
                    </a:cubicBezTo>
                    <a:lnTo>
                      <a:pt x="872" y="998"/>
                    </a:lnTo>
                    <a:lnTo>
                      <a:pt x="868" y="985"/>
                    </a:lnTo>
                    <a:lnTo>
                      <a:pt x="917" y="1004"/>
                    </a:lnTo>
                    <a:cubicBezTo>
                      <a:pt x="920" y="1005"/>
                      <a:pt x="922" y="1008"/>
                      <a:pt x="922" y="1012"/>
                    </a:cubicBezTo>
                    <a:cubicBezTo>
                      <a:pt x="921" y="1016"/>
                      <a:pt x="918" y="1019"/>
                      <a:pt x="915" y="1019"/>
                    </a:cubicBezTo>
                    <a:lnTo>
                      <a:pt x="800" y="1031"/>
                    </a:lnTo>
                    <a:lnTo>
                      <a:pt x="807" y="1025"/>
                    </a:lnTo>
                    <a:lnTo>
                      <a:pt x="785" y="1106"/>
                    </a:lnTo>
                    <a:lnTo>
                      <a:pt x="777" y="1096"/>
                    </a:lnTo>
                    <a:lnTo>
                      <a:pt x="820" y="1095"/>
                    </a:lnTo>
                    <a:cubicBezTo>
                      <a:pt x="823" y="1095"/>
                      <a:pt x="826" y="1096"/>
                      <a:pt x="827" y="1099"/>
                    </a:cubicBezTo>
                    <a:cubicBezTo>
                      <a:pt x="829" y="1101"/>
                      <a:pt x="829" y="1105"/>
                      <a:pt x="827" y="1107"/>
                    </a:cubicBezTo>
                    <a:lnTo>
                      <a:pt x="790" y="1164"/>
                    </a:lnTo>
                    <a:lnTo>
                      <a:pt x="780" y="1152"/>
                    </a:lnTo>
                    <a:lnTo>
                      <a:pt x="931" y="1077"/>
                    </a:lnTo>
                    <a:lnTo>
                      <a:pt x="927" y="1081"/>
                    </a:lnTo>
                    <a:lnTo>
                      <a:pt x="949" y="1036"/>
                    </a:lnTo>
                    <a:lnTo>
                      <a:pt x="951" y="1046"/>
                    </a:lnTo>
                    <a:lnTo>
                      <a:pt x="927" y="1026"/>
                    </a:lnTo>
                    <a:cubicBezTo>
                      <a:pt x="925" y="1024"/>
                      <a:pt x="924" y="1022"/>
                      <a:pt x="924" y="1020"/>
                    </a:cubicBezTo>
                    <a:cubicBezTo>
                      <a:pt x="923" y="1018"/>
                      <a:pt x="924" y="1016"/>
                      <a:pt x="925" y="1014"/>
                    </a:cubicBezTo>
                    <a:lnTo>
                      <a:pt x="961" y="971"/>
                    </a:lnTo>
                    <a:cubicBezTo>
                      <a:pt x="964" y="968"/>
                      <a:pt x="968" y="967"/>
                      <a:pt x="971" y="969"/>
                    </a:cubicBezTo>
                    <a:cubicBezTo>
                      <a:pt x="974" y="970"/>
                      <a:pt x="976" y="974"/>
                      <a:pt x="975" y="978"/>
                    </a:cubicBezTo>
                    <a:lnTo>
                      <a:pt x="968" y="1013"/>
                    </a:lnTo>
                    <a:lnTo>
                      <a:pt x="958" y="1003"/>
                    </a:lnTo>
                    <a:lnTo>
                      <a:pt x="1037" y="982"/>
                    </a:lnTo>
                    <a:cubicBezTo>
                      <a:pt x="1040" y="981"/>
                      <a:pt x="1043" y="982"/>
                      <a:pt x="1045" y="984"/>
                    </a:cubicBezTo>
                    <a:cubicBezTo>
                      <a:pt x="1047" y="987"/>
                      <a:pt x="1048" y="990"/>
                      <a:pt x="1046" y="993"/>
                    </a:cubicBezTo>
                    <a:lnTo>
                      <a:pt x="1028" y="1028"/>
                    </a:lnTo>
                    <a:lnTo>
                      <a:pt x="1025" y="1017"/>
                    </a:lnTo>
                    <a:lnTo>
                      <a:pt x="1151" y="1077"/>
                    </a:lnTo>
                    <a:lnTo>
                      <a:pt x="1149" y="1077"/>
                    </a:lnTo>
                    <a:lnTo>
                      <a:pt x="1332" y="1105"/>
                    </a:lnTo>
                    <a:lnTo>
                      <a:pt x="1325" y="1107"/>
                    </a:lnTo>
                    <a:lnTo>
                      <a:pt x="1355" y="1074"/>
                    </a:lnTo>
                    <a:cubicBezTo>
                      <a:pt x="1358" y="1071"/>
                      <a:pt x="1362" y="1071"/>
                      <a:pt x="1365" y="1073"/>
                    </a:cubicBezTo>
                    <a:lnTo>
                      <a:pt x="1393" y="1089"/>
                    </a:lnTo>
                    <a:cubicBezTo>
                      <a:pt x="1395" y="1090"/>
                      <a:pt x="1396" y="1093"/>
                      <a:pt x="1396" y="1095"/>
                    </a:cubicBezTo>
                    <a:cubicBezTo>
                      <a:pt x="1397" y="1098"/>
                      <a:pt x="1396" y="1100"/>
                      <a:pt x="1394" y="1102"/>
                    </a:cubicBezTo>
                    <a:lnTo>
                      <a:pt x="1360" y="1137"/>
                    </a:lnTo>
                    <a:lnTo>
                      <a:pt x="1358" y="1124"/>
                    </a:lnTo>
                    <a:lnTo>
                      <a:pt x="1410" y="1156"/>
                    </a:lnTo>
                    <a:lnTo>
                      <a:pt x="1401" y="1157"/>
                    </a:lnTo>
                    <a:lnTo>
                      <a:pt x="1427" y="1132"/>
                    </a:lnTo>
                    <a:lnTo>
                      <a:pt x="1426" y="1142"/>
                    </a:lnTo>
                    <a:lnTo>
                      <a:pt x="1378" y="1069"/>
                    </a:lnTo>
                    <a:lnTo>
                      <a:pt x="1384" y="1072"/>
                    </a:lnTo>
                    <a:lnTo>
                      <a:pt x="1298" y="1072"/>
                    </a:lnTo>
                    <a:cubicBezTo>
                      <a:pt x="1293" y="1072"/>
                      <a:pt x="1290" y="1069"/>
                      <a:pt x="1290" y="1064"/>
                    </a:cubicBezTo>
                    <a:lnTo>
                      <a:pt x="1290" y="180"/>
                    </a:lnTo>
                    <a:lnTo>
                      <a:pt x="1297" y="188"/>
                    </a:lnTo>
                    <a:lnTo>
                      <a:pt x="785" y="116"/>
                    </a:lnTo>
                    <a:cubicBezTo>
                      <a:pt x="782" y="116"/>
                      <a:pt x="780" y="114"/>
                      <a:pt x="779" y="112"/>
                    </a:cubicBezTo>
                    <a:lnTo>
                      <a:pt x="758" y="69"/>
                    </a:lnTo>
                    <a:lnTo>
                      <a:pt x="764" y="73"/>
                    </a:lnTo>
                    <a:lnTo>
                      <a:pt x="623" y="45"/>
                    </a:lnTo>
                    <a:lnTo>
                      <a:pt x="632" y="40"/>
                    </a:lnTo>
                    <a:lnTo>
                      <a:pt x="617" y="76"/>
                    </a:lnTo>
                    <a:cubicBezTo>
                      <a:pt x="616" y="80"/>
                      <a:pt x="612" y="82"/>
                      <a:pt x="608" y="81"/>
                    </a:cubicBezTo>
                    <a:lnTo>
                      <a:pt x="565" y="71"/>
                    </a:lnTo>
                    <a:cubicBezTo>
                      <a:pt x="562" y="71"/>
                      <a:pt x="560" y="68"/>
                      <a:pt x="559" y="65"/>
                    </a:cubicBezTo>
                    <a:cubicBezTo>
                      <a:pt x="559" y="62"/>
                      <a:pt x="560" y="59"/>
                      <a:pt x="562" y="57"/>
                    </a:cubicBezTo>
                    <a:lnTo>
                      <a:pt x="602" y="27"/>
                    </a:lnTo>
                    <a:lnTo>
                      <a:pt x="604" y="41"/>
                    </a:lnTo>
                    <a:lnTo>
                      <a:pt x="546" y="16"/>
                    </a:lnTo>
                    <a:lnTo>
                      <a:pt x="555" y="14"/>
                    </a:lnTo>
                    <a:lnTo>
                      <a:pt x="497" y="71"/>
                    </a:lnTo>
                    <a:cubicBezTo>
                      <a:pt x="496" y="72"/>
                      <a:pt x="494" y="73"/>
                      <a:pt x="492" y="73"/>
                    </a:cubicBezTo>
                    <a:lnTo>
                      <a:pt x="400" y="81"/>
                    </a:lnTo>
                    <a:lnTo>
                      <a:pt x="407" y="74"/>
                    </a:lnTo>
                    <a:lnTo>
                      <a:pt x="403" y="126"/>
                    </a:lnTo>
                    <a:cubicBezTo>
                      <a:pt x="403" y="130"/>
                      <a:pt x="400" y="133"/>
                      <a:pt x="396" y="133"/>
                    </a:cubicBezTo>
                    <a:cubicBezTo>
                      <a:pt x="392" y="133"/>
                      <a:pt x="389" y="131"/>
                      <a:pt x="387" y="127"/>
                    </a:cubicBezTo>
                    <a:lnTo>
                      <a:pt x="378" y="96"/>
                    </a:lnTo>
                    <a:lnTo>
                      <a:pt x="388" y="101"/>
                    </a:lnTo>
                    <a:lnTo>
                      <a:pt x="300" y="131"/>
                    </a:lnTo>
                    <a:lnTo>
                      <a:pt x="305" y="121"/>
                    </a:lnTo>
                    <a:lnTo>
                      <a:pt x="319" y="161"/>
                    </a:lnTo>
                    <a:cubicBezTo>
                      <a:pt x="320" y="164"/>
                      <a:pt x="319" y="167"/>
                      <a:pt x="317" y="169"/>
                    </a:cubicBezTo>
                    <a:cubicBezTo>
                      <a:pt x="315" y="171"/>
                      <a:pt x="312" y="172"/>
                      <a:pt x="309" y="171"/>
                    </a:cubicBezTo>
                    <a:lnTo>
                      <a:pt x="270" y="159"/>
                    </a:lnTo>
                    <a:lnTo>
                      <a:pt x="279" y="156"/>
                    </a:lnTo>
                    <a:lnTo>
                      <a:pt x="227" y="239"/>
                    </a:lnTo>
                    <a:cubicBezTo>
                      <a:pt x="226" y="241"/>
                      <a:pt x="224" y="242"/>
                      <a:pt x="222" y="243"/>
                    </a:cubicBezTo>
                    <a:lnTo>
                      <a:pt x="96" y="278"/>
                    </a:lnTo>
                    <a:lnTo>
                      <a:pt x="102" y="268"/>
                    </a:lnTo>
                    <a:lnTo>
                      <a:pt x="109" y="305"/>
                    </a:lnTo>
                    <a:cubicBezTo>
                      <a:pt x="109" y="309"/>
                      <a:pt x="107" y="313"/>
                      <a:pt x="103" y="314"/>
                    </a:cubicBezTo>
                    <a:lnTo>
                      <a:pt x="66" y="324"/>
                    </a:lnTo>
                    <a:lnTo>
                      <a:pt x="69" y="310"/>
                    </a:lnTo>
                    <a:lnTo>
                      <a:pt x="220" y="434"/>
                    </a:lnTo>
                    <a:lnTo>
                      <a:pt x="217" y="432"/>
                    </a:lnTo>
                    <a:lnTo>
                      <a:pt x="418" y="492"/>
                    </a:lnTo>
                    <a:cubicBezTo>
                      <a:pt x="422" y="493"/>
                      <a:pt x="424" y="497"/>
                      <a:pt x="424" y="501"/>
                    </a:cubicBezTo>
                    <a:cubicBezTo>
                      <a:pt x="423" y="506"/>
                      <a:pt x="419" y="508"/>
                      <a:pt x="415" y="508"/>
                    </a:cubicBezTo>
                    <a:lnTo>
                      <a:pt x="292" y="491"/>
                    </a:lnTo>
                    <a:lnTo>
                      <a:pt x="301" y="482"/>
                    </a:lnTo>
                    <a:lnTo>
                      <a:pt x="305" y="517"/>
                    </a:lnTo>
                    <a:lnTo>
                      <a:pt x="298" y="510"/>
                    </a:lnTo>
                    <a:lnTo>
                      <a:pt x="347" y="512"/>
                    </a:lnTo>
                    <a:cubicBezTo>
                      <a:pt x="351" y="512"/>
                      <a:pt x="354" y="514"/>
                      <a:pt x="355" y="518"/>
                    </a:cubicBezTo>
                    <a:cubicBezTo>
                      <a:pt x="356" y="521"/>
                      <a:pt x="354" y="525"/>
                      <a:pt x="351" y="527"/>
                    </a:cubicBezTo>
                    <a:lnTo>
                      <a:pt x="310" y="553"/>
                    </a:lnTo>
                    <a:cubicBezTo>
                      <a:pt x="309" y="554"/>
                      <a:pt x="307" y="555"/>
                      <a:pt x="305" y="554"/>
                    </a:cubicBezTo>
                    <a:lnTo>
                      <a:pt x="214" y="548"/>
                    </a:lnTo>
                    <a:cubicBezTo>
                      <a:pt x="210" y="547"/>
                      <a:pt x="207" y="544"/>
                      <a:pt x="207" y="540"/>
                    </a:cubicBezTo>
                    <a:lnTo>
                      <a:pt x="207" y="486"/>
                    </a:lnTo>
                    <a:lnTo>
                      <a:pt x="216" y="494"/>
                    </a:lnTo>
                    <a:lnTo>
                      <a:pt x="169" y="499"/>
                    </a:lnTo>
                    <a:lnTo>
                      <a:pt x="172" y="498"/>
                    </a:lnTo>
                    <a:lnTo>
                      <a:pt x="12" y="590"/>
                    </a:lnTo>
                    <a:close/>
                    <a:moveTo>
                      <a:pt x="164" y="485"/>
                    </a:moveTo>
                    <a:cubicBezTo>
                      <a:pt x="165" y="484"/>
                      <a:pt x="166" y="484"/>
                      <a:pt x="167" y="484"/>
                    </a:cubicBezTo>
                    <a:lnTo>
                      <a:pt x="214" y="479"/>
                    </a:lnTo>
                    <a:cubicBezTo>
                      <a:pt x="216" y="478"/>
                      <a:pt x="219" y="479"/>
                      <a:pt x="220" y="481"/>
                    </a:cubicBezTo>
                    <a:cubicBezTo>
                      <a:pt x="222" y="482"/>
                      <a:pt x="223" y="484"/>
                      <a:pt x="223" y="486"/>
                    </a:cubicBezTo>
                    <a:lnTo>
                      <a:pt x="223" y="540"/>
                    </a:lnTo>
                    <a:lnTo>
                      <a:pt x="215" y="532"/>
                    </a:lnTo>
                    <a:lnTo>
                      <a:pt x="306" y="538"/>
                    </a:lnTo>
                    <a:lnTo>
                      <a:pt x="301" y="540"/>
                    </a:lnTo>
                    <a:lnTo>
                      <a:pt x="343" y="513"/>
                    </a:lnTo>
                    <a:lnTo>
                      <a:pt x="347" y="528"/>
                    </a:lnTo>
                    <a:lnTo>
                      <a:pt x="297" y="526"/>
                    </a:lnTo>
                    <a:cubicBezTo>
                      <a:pt x="293" y="526"/>
                      <a:pt x="290" y="523"/>
                      <a:pt x="289" y="519"/>
                    </a:cubicBezTo>
                    <a:lnTo>
                      <a:pt x="285" y="484"/>
                    </a:lnTo>
                    <a:cubicBezTo>
                      <a:pt x="285" y="482"/>
                      <a:pt x="286" y="479"/>
                      <a:pt x="288" y="477"/>
                    </a:cubicBezTo>
                    <a:cubicBezTo>
                      <a:pt x="289" y="476"/>
                      <a:pt x="292" y="475"/>
                      <a:pt x="294" y="475"/>
                    </a:cubicBezTo>
                    <a:lnTo>
                      <a:pt x="417" y="492"/>
                    </a:lnTo>
                    <a:lnTo>
                      <a:pt x="413" y="507"/>
                    </a:lnTo>
                    <a:lnTo>
                      <a:pt x="213" y="448"/>
                    </a:lnTo>
                    <a:cubicBezTo>
                      <a:pt x="212" y="447"/>
                      <a:pt x="211" y="447"/>
                      <a:pt x="210" y="446"/>
                    </a:cubicBezTo>
                    <a:lnTo>
                      <a:pt x="58" y="323"/>
                    </a:lnTo>
                    <a:cubicBezTo>
                      <a:pt x="56" y="321"/>
                      <a:pt x="55" y="318"/>
                      <a:pt x="56" y="315"/>
                    </a:cubicBezTo>
                    <a:cubicBezTo>
                      <a:pt x="56" y="312"/>
                      <a:pt x="59" y="310"/>
                      <a:pt x="61" y="309"/>
                    </a:cubicBezTo>
                    <a:lnTo>
                      <a:pt x="99" y="299"/>
                    </a:lnTo>
                    <a:lnTo>
                      <a:pt x="93" y="308"/>
                    </a:lnTo>
                    <a:lnTo>
                      <a:pt x="86" y="271"/>
                    </a:lnTo>
                    <a:cubicBezTo>
                      <a:pt x="85" y="267"/>
                      <a:pt x="88" y="263"/>
                      <a:pt x="92" y="262"/>
                    </a:cubicBezTo>
                    <a:lnTo>
                      <a:pt x="218" y="227"/>
                    </a:lnTo>
                    <a:lnTo>
                      <a:pt x="214" y="231"/>
                    </a:lnTo>
                    <a:lnTo>
                      <a:pt x="266" y="147"/>
                    </a:lnTo>
                    <a:cubicBezTo>
                      <a:pt x="268" y="144"/>
                      <a:pt x="271" y="143"/>
                      <a:pt x="275" y="144"/>
                    </a:cubicBezTo>
                    <a:lnTo>
                      <a:pt x="313" y="156"/>
                    </a:lnTo>
                    <a:lnTo>
                      <a:pt x="304" y="166"/>
                    </a:lnTo>
                    <a:lnTo>
                      <a:pt x="290" y="126"/>
                    </a:lnTo>
                    <a:cubicBezTo>
                      <a:pt x="289" y="124"/>
                      <a:pt x="289" y="122"/>
                      <a:pt x="290" y="120"/>
                    </a:cubicBezTo>
                    <a:cubicBezTo>
                      <a:pt x="291" y="118"/>
                      <a:pt x="293" y="116"/>
                      <a:pt x="295" y="116"/>
                    </a:cubicBezTo>
                    <a:lnTo>
                      <a:pt x="383" y="86"/>
                    </a:lnTo>
                    <a:cubicBezTo>
                      <a:pt x="385" y="85"/>
                      <a:pt x="387" y="85"/>
                      <a:pt x="389" y="86"/>
                    </a:cubicBezTo>
                    <a:cubicBezTo>
                      <a:pt x="391" y="87"/>
                      <a:pt x="392" y="89"/>
                      <a:pt x="393" y="91"/>
                    </a:cubicBezTo>
                    <a:lnTo>
                      <a:pt x="403" y="123"/>
                    </a:lnTo>
                    <a:lnTo>
                      <a:pt x="387" y="124"/>
                    </a:lnTo>
                    <a:lnTo>
                      <a:pt x="391" y="73"/>
                    </a:lnTo>
                    <a:cubicBezTo>
                      <a:pt x="392" y="69"/>
                      <a:pt x="395" y="66"/>
                      <a:pt x="398" y="65"/>
                    </a:cubicBezTo>
                    <a:lnTo>
                      <a:pt x="491" y="57"/>
                    </a:lnTo>
                    <a:lnTo>
                      <a:pt x="486" y="59"/>
                    </a:lnTo>
                    <a:lnTo>
                      <a:pt x="544" y="3"/>
                    </a:lnTo>
                    <a:cubicBezTo>
                      <a:pt x="546" y="0"/>
                      <a:pt x="549" y="0"/>
                      <a:pt x="552" y="1"/>
                    </a:cubicBezTo>
                    <a:lnTo>
                      <a:pt x="610" y="26"/>
                    </a:lnTo>
                    <a:cubicBezTo>
                      <a:pt x="613" y="27"/>
                      <a:pt x="615" y="30"/>
                      <a:pt x="615" y="33"/>
                    </a:cubicBezTo>
                    <a:cubicBezTo>
                      <a:pt x="615" y="35"/>
                      <a:pt x="614" y="38"/>
                      <a:pt x="612" y="40"/>
                    </a:cubicBezTo>
                    <a:lnTo>
                      <a:pt x="572" y="70"/>
                    </a:lnTo>
                    <a:lnTo>
                      <a:pt x="569" y="56"/>
                    </a:lnTo>
                    <a:lnTo>
                      <a:pt x="612" y="66"/>
                    </a:lnTo>
                    <a:lnTo>
                      <a:pt x="602" y="70"/>
                    </a:lnTo>
                    <a:lnTo>
                      <a:pt x="617" y="34"/>
                    </a:lnTo>
                    <a:cubicBezTo>
                      <a:pt x="619" y="30"/>
                      <a:pt x="623" y="28"/>
                      <a:pt x="626" y="29"/>
                    </a:cubicBezTo>
                    <a:lnTo>
                      <a:pt x="767" y="57"/>
                    </a:lnTo>
                    <a:cubicBezTo>
                      <a:pt x="769" y="58"/>
                      <a:pt x="771" y="59"/>
                      <a:pt x="772" y="62"/>
                    </a:cubicBezTo>
                    <a:lnTo>
                      <a:pt x="793" y="105"/>
                    </a:lnTo>
                    <a:lnTo>
                      <a:pt x="787" y="100"/>
                    </a:lnTo>
                    <a:lnTo>
                      <a:pt x="1299" y="172"/>
                    </a:lnTo>
                    <a:cubicBezTo>
                      <a:pt x="1303" y="173"/>
                      <a:pt x="1306" y="176"/>
                      <a:pt x="1306" y="180"/>
                    </a:cubicBezTo>
                    <a:lnTo>
                      <a:pt x="1306" y="1064"/>
                    </a:lnTo>
                    <a:lnTo>
                      <a:pt x="1298" y="1056"/>
                    </a:lnTo>
                    <a:lnTo>
                      <a:pt x="1384" y="1056"/>
                    </a:lnTo>
                    <a:cubicBezTo>
                      <a:pt x="1387" y="1056"/>
                      <a:pt x="1390" y="1058"/>
                      <a:pt x="1391" y="1060"/>
                    </a:cubicBezTo>
                    <a:lnTo>
                      <a:pt x="1439" y="1133"/>
                    </a:lnTo>
                    <a:cubicBezTo>
                      <a:pt x="1441" y="1137"/>
                      <a:pt x="1441" y="1141"/>
                      <a:pt x="1438" y="1144"/>
                    </a:cubicBezTo>
                    <a:lnTo>
                      <a:pt x="1412" y="1168"/>
                    </a:lnTo>
                    <a:cubicBezTo>
                      <a:pt x="1409" y="1171"/>
                      <a:pt x="1405" y="1171"/>
                      <a:pt x="1402" y="1170"/>
                    </a:cubicBezTo>
                    <a:lnTo>
                      <a:pt x="1350" y="1138"/>
                    </a:lnTo>
                    <a:cubicBezTo>
                      <a:pt x="1348" y="1137"/>
                      <a:pt x="1346" y="1134"/>
                      <a:pt x="1346" y="1132"/>
                    </a:cubicBezTo>
                    <a:cubicBezTo>
                      <a:pt x="1346" y="1130"/>
                      <a:pt x="1347" y="1127"/>
                      <a:pt x="1348" y="1125"/>
                    </a:cubicBezTo>
                    <a:lnTo>
                      <a:pt x="1383" y="1090"/>
                    </a:lnTo>
                    <a:lnTo>
                      <a:pt x="1384" y="1103"/>
                    </a:lnTo>
                    <a:lnTo>
                      <a:pt x="1357" y="1086"/>
                    </a:lnTo>
                    <a:lnTo>
                      <a:pt x="1367" y="1085"/>
                    </a:lnTo>
                    <a:lnTo>
                      <a:pt x="1337" y="1118"/>
                    </a:lnTo>
                    <a:cubicBezTo>
                      <a:pt x="1335" y="1120"/>
                      <a:pt x="1332" y="1121"/>
                      <a:pt x="1329" y="1121"/>
                    </a:cubicBezTo>
                    <a:lnTo>
                      <a:pt x="1146" y="1092"/>
                    </a:lnTo>
                    <a:cubicBezTo>
                      <a:pt x="1146" y="1092"/>
                      <a:pt x="1145" y="1092"/>
                      <a:pt x="1144" y="1092"/>
                    </a:cubicBezTo>
                    <a:lnTo>
                      <a:pt x="1018" y="1032"/>
                    </a:lnTo>
                    <a:cubicBezTo>
                      <a:pt x="1016" y="1031"/>
                      <a:pt x="1014" y="1029"/>
                      <a:pt x="1014" y="1027"/>
                    </a:cubicBezTo>
                    <a:cubicBezTo>
                      <a:pt x="1013" y="1025"/>
                      <a:pt x="1013" y="1023"/>
                      <a:pt x="1014" y="1021"/>
                    </a:cubicBezTo>
                    <a:lnTo>
                      <a:pt x="1032" y="986"/>
                    </a:lnTo>
                    <a:lnTo>
                      <a:pt x="1041" y="997"/>
                    </a:lnTo>
                    <a:lnTo>
                      <a:pt x="963" y="1019"/>
                    </a:lnTo>
                    <a:cubicBezTo>
                      <a:pt x="960" y="1020"/>
                      <a:pt x="957" y="1019"/>
                      <a:pt x="955" y="1017"/>
                    </a:cubicBezTo>
                    <a:cubicBezTo>
                      <a:pt x="953" y="1015"/>
                      <a:pt x="952" y="1012"/>
                      <a:pt x="953" y="1010"/>
                    </a:cubicBezTo>
                    <a:lnTo>
                      <a:pt x="960" y="975"/>
                    </a:lnTo>
                    <a:lnTo>
                      <a:pt x="974" y="981"/>
                    </a:lnTo>
                    <a:lnTo>
                      <a:pt x="938" y="1025"/>
                    </a:lnTo>
                    <a:lnTo>
                      <a:pt x="937" y="1013"/>
                    </a:lnTo>
                    <a:lnTo>
                      <a:pt x="961" y="1033"/>
                    </a:lnTo>
                    <a:cubicBezTo>
                      <a:pt x="964" y="1036"/>
                      <a:pt x="965" y="1040"/>
                      <a:pt x="964" y="1043"/>
                    </a:cubicBezTo>
                    <a:lnTo>
                      <a:pt x="942" y="1088"/>
                    </a:lnTo>
                    <a:cubicBezTo>
                      <a:pt x="941" y="1090"/>
                      <a:pt x="940" y="1091"/>
                      <a:pt x="938" y="1092"/>
                    </a:cubicBezTo>
                    <a:lnTo>
                      <a:pt x="787" y="1167"/>
                    </a:lnTo>
                    <a:cubicBezTo>
                      <a:pt x="783" y="1168"/>
                      <a:pt x="779" y="1167"/>
                      <a:pt x="777" y="1165"/>
                    </a:cubicBezTo>
                    <a:cubicBezTo>
                      <a:pt x="775" y="1162"/>
                      <a:pt x="774" y="1158"/>
                      <a:pt x="776" y="1155"/>
                    </a:cubicBezTo>
                    <a:lnTo>
                      <a:pt x="814" y="1098"/>
                    </a:lnTo>
                    <a:lnTo>
                      <a:pt x="821" y="1111"/>
                    </a:lnTo>
                    <a:lnTo>
                      <a:pt x="778" y="1112"/>
                    </a:lnTo>
                    <a:cubicBezTo>
                      <a:pt x="775" y="1113"/>
                      <a:pt x="773" y="1111"/>
                      <a:pt x="771" y="1109"/>
                    </a:cubicBezTo>
                    <a:cubicBezTo>
                      <a:pt x="770" y="1107"/>
                      <a:pt x="769" y="1105"/>
                      <a:pt x="770" y="1102"/>
                    </a:cubicBezTo>
                    <a:lnTo>
                      <a:pt x="792" y="1021"/>
                    </a:lnTo>
                    <a:cubicBezTo>
                      <a:pt x="793" y="1018"/>
                      <a:pt x="795" y="1015"/>
                      <a:pt x="799" y="1015"/>
                    </a:cubicBezTo>
                    <a:lnTo>
                      <a:pt x="913" y="1003"/>
                    </a:lnTo>
                    <a:lnTo>
                      <a:pt x="911" y="1019"/>
                    </a:lnTo>
                    <a:lnTo>
                      <a:pt x="863" y="1000"/>
                    </a:lnTo>
                    <a:cubicBezTo>
                      <a:pt x="860" y="999"/>
                      <a:pt x="858" y="997"/>
                      <a:pt x="858" y="995"/>
                    </a:cubicBezTo>
                    <a:cubicBezTo>
                      <a:pt x="857" y="992"/>
                      <a:pt x="858" y="989"/>
                      <a:pt x="860" y="987"/>
                    </a:cubicBezTo>
                    <a:lnTo>
                      <a:pt x="893" y="951"/>
                    </a:lnTo>
                    <a:lnTo>
                      <a:pt x="900" y="964"/>
                    </a:lnTo>
                    <a:lnTo>
                      <a:pt x="837" y="979"/>
                    </a:lnTo>
                    <a:cubicBezTo>
                      <a:pt x="835" y="980"/>
                      <a:pt x="832" y="979"/>
                      <a:pt x="830" y="977"/>
                    </a:cubicBezTo>
                    <a:cubicBezTo>
                      <a:pt x="828" y="975"/>
                      <a:pt x="827" y="972"/>
                      <a:pt x="828" y="970"/>
                    </a:cubicBezTo>
                    <a:lnTo>
                      <a:pt x="845" y="885"/>
                    </a:lnTo>
                    <a:lnTo>
                      <a:pt x="861" y="888"/>
                    </a:lnTo>
                    <a:lnTo>
                      <a:pt x="838" y="973"/>
                    </a:lnTo>
                    <a:cubicBezTo>
                      <a:pt x="837" y="975"/>
                      <a:pt x="837" y="976"/>
                      <a:pt x="836" y="977"/>
                    </a:cubicBezTo>
                    <a:lnTo>
                      <a:pt x="678" y="1150"/>
                    </a:lnTo>
                    <a:lnTo>
                      <a:pt x="678" y="1139"/>
                    </a:lnTo>
                    <a:lnTo>
                      <a:pt x="711" y="1179"/>
                    </a:lnTo>
                    <a:cubicBezTo>
                      <a:pt x="713" y="1182"/>
                      <a:pt x="713" y="1186"/>
                      <a:pt x="711" y="1189"/>
                    </a:cubicBezTo>
                    <a:lnTo>
                      <a:pt x="677" y="1240"/>
                    </a:lnTo>
                    <a:cubicBezTo>
                      <a:pt x="676" y="1241"/>
                      <a:pt x="676" y="1242"/>
                      <a:pt x="675" y="1242"/>
                    </a:cubicBezTo>
                    <a:lnTo>
                      <a:pt x="495" y="1385"/>
                    </a:lnTo>
                    <a:cubicBezTo>
                      <a:pt x="493" y="1387"/>
                      <a:pt x="491" y="1387"/>
                      <a:pt x="489" y="1387"/>
                    </a:cubicBezTo>
                    <a:lnTo>
                      <a:pt x="431" y="1381"/>
                    </a:lnTo>
                    <a:lnTo>
                      <a:pt x="439" y="1368"/>
                    </a:lnTo>
                    <a:lnTo>
                      <a:pt x="462" y="1405"/>
                    </a:lnTo>
                    <a:cubicBezTo>
                      <a:pt x="464" y="1408"/>
                      <a:pt x="464" y="1412"/>
                      <a:pt x="461" y="1415"/>
                    </a:cubicBezTo>
                    <a:lnTo>
                      <a:pt x="409" y="1463"/>
                    </a:lnTo>
                    <a:cubicBezTo>
                      <a:pt x="407" y="1465"/>
                      <a:pt x="405" y="1466"/>
                      <a:pt x="403" y="1465"/>
                    </a:cubicBezTo>
                    <a:lnTo>
                      <a:pt x="311" y="1461"/>
                    </a:lnTo>
                    <a:lnTo>
                      <a:pt x="316" y="1459"/>
                    </a:lnTo>
                    <a:lnTo>
                      <a:pt x="233" y="1519"/>
                    </a:lnTo>
                    <a:cubicBezTo>
                      <a:pt x="230" y="1521"/>
                      <a:pt x="226" y="1521"/>
                      <a:pt x="223" y="1518"/>
                    </a:cubicBezTo>
                    <a:cubicBezTo>
                      <a:pt x="220" y="1515"/>
                      <a:pt x="220" y="1510"/>
                      <a:pt x="222" y="1507"/>
                    </a:cubicBezTo>
                    <a:lnTo>
                      <a:pt x="287" y="1429"/>
                    </a:lnTo>
                    <a:cubicBezTo>
                      <a:pt x="289" y="1427"/>
                      <a:pt x="291" y="1426"/>
                      <a:pt x="293" y="1426"/>
                    </a:cubicBezTo>
                    <a:lnTo>
                      <a:pt x="380" y="1425"/>
                    </a:lnTo>
                    <a:lnTo>
                      <a:pt x="372" y="1432"/>
                    </a:lnTo>
                    <a:lnTo>
                      <a:pt x="376" y="1390"/>
                    </a:lnTo>
                    <a:cubicBezTo>
                      <a:pt x="376" y="1387"/>
                      <a:pt x="378" y="1385"/>
                      <a:pt x="380" y="1384"/>
                    </a:cubicBezTo>
                    <a:lnTo>
                      <a:pt x="450" y="1346"/>
                    </a:lnTo>
                    <a:lnTo>
                      <a:pt x="447" y="1349"/>
                    </a:lnTo>
                    <a:lnTo>
                      <a:pt x="538" y="1163"/>
                    </a:lnTo>
                    <a:lnTo>
                      <a:pt x="549" y="1173"/>
                    </a:lnTo>
                    <a:lnTo>
                      <a:pt x="483" y="1211"/>
                    </a:lnTo>
                    <a:cubicBezTo>
                      <a:pt x="479" y="1213"/>
                      <a:pt x="475" y="1212"/>
                      <a:pt x="472" y="1209"/>
                    </a:cubicBezTo>
                    <a:lnTo>
                      <a:pt x="453" y="1181"/>
                    </a:lnTo>
                    <a:lnTo>
                      <a:pt x="467" y="1180"/>
                    </a:lnTo>
                    <a:lnTo>
                      <a:pt x="446" y="1221"/>
                    </a:lnTo>
                    <a:cubicBezTo>
                      <a:pt x="445" y="1224"/>
                      <a:pt x="443" y="1225"/>
                      <a:pt x="440" y="1226"/>
                    </a:cubicBezTo>
                    <a:cubicBezTo>
                      <a:pt x="437" y="1226"/>
                      <a:pt x="435" y="1225"/>
                      <a:pt x="433" y="1223"/>
                    </a:cubicBezTo>
                    <a:lnTo>
                      <a:pt x="374" y="1153"/>
                    </a:lnTo>
                    <a:lnTo>
                      <a:pt x="384" y="1154"/>
                    </a:lnTo>
                    <a:lnTo>
                      <a:pt x="298" y="1211"/>
                    </a:lnTo>
                    <a:cubicBezTo>
                      <a:pt x="295" y="1213"/>
                      <a:pt x="291" y="1213"/>
                      <a:pt x="288" y="1210"/>
                    </a:cubicBezTo>
                    <a:cubicBezTo>
                      <a:pt x="285" y="1208"/>
                      <a:pt x="285" y="1204"/>
                      <a:pt x="286" y="1201"/>
                    </a:cubicBezTo>
                    <a:lnTo>
                      <a:pt x="304" y="1160"/>
                    </a:lnTo>
                    <a:lnTo>
                      <a:pt x="304" y="1166"/>
                    </a:lnTo>
                    <a:lnTo>
                      <a:pt x="265" y="1067"/>
                    </a:lnTo>
                    <a:cubicBezTo>
                      <a:pt x="264" y="1065"/>
                      <a:pt x="265" y="1061"/>
                      <a:pt x="267" y="1059"/>
                    </a:cubicBezTo>
                    <a:lnTo>
                      <a:pt x="313" y="1007"/>
                    </a:lnTo>
                    <a:cubicBezTo>
                      <a:pt x="316" y="1004"/>
                      <a:pt x="321" y="1004"/>
                      <a:pt x="324" y="1007"/>
                    </a:cubicBezTo>
                    <a:cubicBezTo>
                      <a:pt x="328" y="1009"/>
                      <a:pt x="328" y="1014"/>
                      <a:pt x="326" y="1017"/>
                    </a:cubicBezTo>
                    <a:lnTo>
                      <a:pt x="250" y="1124"/>
                    </a:lnTo>
                    <a:cubicBezTo>
                      <a:pt x="248" y="1127"/>
                      <a:pt x="245" y="1128"/>
                      <a:pt x="242" y="1127"/>
                    </a:cubicBezTo>
                    <a:lnTo>
                      <a:pt x="204" y="1121"/>
                    </a:lnTo>
                    <a:cubicBezTo>
                      <a:pt x="202" y="1120"/>
                      <a:pt x="200" y="1119"/>
                      <a:pt x="199" y="1117"/>
                    </a:cubicBezTo>
                    <a:lnTo>
                      <a:pt x="166" y="1069"/>
                    </a:lnTo>
                    <a:cubicBezTo>
                      <a:pt x="164" y="1066"/>
                      <a:pt x="164" y="1062"/>
                      <a:pt x="166" y="1059"/>
                    </a:cubicBezTo>
                    <a:lnTo>
                      <a:pt x="207" y="1008"/>
                    </a:lnTo>
                    <a:lnTo>
                      <a:pt x="212" y="1021"/>
                    </a:lnTo>
                    <a:lnTo>
                      <a:pt x="141" y="1009"/>
                    </a:lnTo>
                    <a:cubicBezTo>
                      <a:pt x="139" y="1009"/>
                      <a:pt x="138" y="1008"/>
                      <a:pt x="136" y="1007"/>
                    </a:cubicBezTo>
                    <a:lnTo>
                      <a:pt x="101" y="974"/>
                    </a:lnTo>
                    <a:cubicBezTo>
                      <a:pt x="99" y="972"/>
                      <a:pt x="98" y="970"/>
                      <a:pt x="98" y="967"/>
                    </a:cubicBezTo>
                    <a:cubicBezTo>
                      <a:pt x="98" y="965"/>
                      <a:pt x="100" y="963"/>
                      <a:pt x="102" y="961"/>
                    </a:cubicBezTo>
                    <a:lnTo>
                      <a:pt x="137" y="936"/>
                    </a:lnTo>
                    <a:lnTo>
                      <a:pt x="144" y="950"/>
                    </a:lnTo>
                    <a:lnTo>
                      <a:pt x="96" y="965"/>
                    </a:lnTo>
                    <a:cubicBezTo>
                      <a:pt x="93" y="966"/>
                      <a:pt x="90" y="965"/>
                      <a:pt x="88" y="963"/>
                    </a:cubicBezTo>
                    <a:cubicBezTo>
                      <a:pt x="86" y="960"/>
                      <a:pt x="85" y="957"/>
                      <a:pt x="87" y="954"/>
                    </a:cubicBezTo>
                    <a:lnTo>
                      <a:pt x="139" y="857"/>
                    </a:lnTo>
                    <a:cubicBezTo>
                      <a:pt x="140" y="856"/>
                      <a:pt x="141" y="855"/>
                      <a:pt x="143" y="854"/>
                    </a:cubicBezTo>
                    <a:lnTo>
                      <a:pt x="338" y="767"/>
                    </a:lnTo>
                    <a:lnTo>
                      <a:pt x="334" y="776"/>
                    </a:lnTo>
                    <a:lnTo>
                      <a:pt x="316" y="685"/>
                    </a:lnTo>
                    <a:cubicBezTo>
                      <a:pt x="315" y="681"/>
                      <a:pt x="317" y="678"/>
                      <a:pt x="320" y="676"/>
                    </a:cubicBezTo>
                    <a:lnTo>
                      <a:pt x="351" y="658"/>
                    </a:lnTo>
                    <a:lnTo>
                      <a:pt x="359" y="672"/>
                    </a:lnTo>
                    <a:lnTo>
                      <a:pt x="268" y="717"/>
                    </a:lnTo>
                    <a:cubicBezTo>
                      <a:pt x="264" y="719"/>
                      <a:pt x="259" y="717"/>
                      <a:pt x="257" y="714"/>
                    </a:cubicBezTo>
                    <a:lnTo>
                      <a:pt x="237" y="677"/>
                    </a:lnTo>
                    <a:lnTo>
                      <a:pt x="244" y="681"/>
                    </a:lnTo>
                    <a:lnTo>
                      <a:pt x="101" y="686"/>
                    </a:lnTo>
                    <a:cubicBezTo>
                      <a:pt x="98" y="686"/>
                      <a:pt x="96" y="685"/>
                      <a:pt x="94" y="683"/>
                    </a:cubicBezTo>
                    <a:lnTo>
                      <a:pt x="56" y="628"/>
                    </a:lnTo>
                    <a:cubicBezTo>
                      <a:pt x="54" y="626"/>
                      <a:pt x="54" y="623"/>
                      <a:pt x="55" y="621"/>
                    </a:cubicBezTo>
                    <a:cubicBezTo>
                      <a:pt x="55" y="618"/>
                      <a:pt x="57" y="616"/>
                      <a:pt x="60" y="615"/>
                    </a:cubicBezTo>
                    <a:lnTo>
                      <a:pt x="95" y="604"/>
                    </a:lnTo>
                    <a:lnTo>
                      <a:pt x="95" y="619"/>
                    </a:lnTo>
                    <a:lnTo>
                      <a:pt x="6" y="591"/>
                    </a:lnTo>
                    <a:cubicBezTo>
                      <a:pt x="3" y="590"/>
                      <a:pt x="1" y="587"/>
                      <a:pt x="1" y="584"/>
                    </a:cubicBezTo>
                    <a:cubicBezTo>
                      <a:pt x="0" y="581"/>
                      <a:pt x="2" y="578"/>
                      <a:pt x="4" y="576"/>
                    </a:cubicBezTo>
                    <a:lnTo>
                      <a:pt x="164" y="485"/>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58" name="Freeform 14"/>
              <p:cNvSpPr>
                <a:spLocks/>
              </p:cNvSpPr>
              <p:nvPr/>
            </p:nvSpPr>
            <p:spPr bwMode="auto">
              <a:xfrm>
                <a:off x="1804" y="1875"/>
                <a:ext cx="18" cy="8"/>
              </a:xfrm>
              <a:custGeom>
                <a:avLst/>
                <a:gdLst/>
                <a:ahLst/>
                <a:cxnLst>
                  <a:cxn ang="0">
                    <a:pos x="0" y="0"/>
                  </a:cxn>
                  <a:cxn ang="0">
                    <a:pos x="1" y="8"/>
                  </a:cxn>
                  <a:cxn ang="0">
                    <a:pos x="18" y="5"/>
                  </a:cxn>
                  <a:cxn ang="0">
                    <a:pos x="0" y="0"/>
                  </a:cxn>
                </a:cxnLst>
                <a:rect l="0" t="0" r="r" b="b"/>
                <a:pathLst>
                  <a:path w="18" h="8">
                    <a:moveTo>
                      <a:pt x="0" y="0"/>
                    </a:moveTo>
                    <a:lnTo>
                      <a:pt x="1" y="8"/>
                    </a:lnTo>
                    <a:lnTo>
                      <a:pt x="18" y="5"/>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59" name="Freeform 15"/>
              <p:cNvSpPr>
                <a:spLocks noEditPoints="1"/>
              </p:cNvSpPr>
              <p:nvPr/>
            </p:nvSpPr>
            <p:spPr bwMode="auto">
              <a:xfrm>
                <a:off x="1801" y="1873"/>
                <a:ext cx="24" cy="12"/>
              </a:xfrm>
              <a:custGeom>
                <a:avLst/>
                <a:gdLst/>
                <a:ahLst/>
                <a:cxnLst>
                  <a:cxn ang="0">
                    <a:pos x="6" y="16"/>
                  </a:cxn>
                  <a:cxn ang="0">
                    <a:pos x="16" y="7"/>
                  </a:cxn>
                  <a:cxn ang="0">
                    <a:pos x="21" y="39"/>
                  </a:cxn>
                  <a:cxn ang="0">
                    <a:pos x="12" y="33"/>
                  </a:cxn>
                  <a:cxn ang="0">
                    <a:pos x="71" y="19"/>
                  </a:cxn>
                  <a:cxn ang="0">
                    <a:pos x="70" y="35"/>
                  </a:cxn>
                  <a:cxn ang="0">
                    <a:pos x="6" y="16"/>
                  </a:cxn>
                  <a:cxn ang="0">
                    <a:pos x="75" y="20"/>
                  </a:cxn>
                  <a:cxn ang="0">
                    <a:pos x="80" y="28"/>
                  </a:cxn>
                  <a:cxn ang="0">
                    <a:pos x="74" y="35"/>
                  </a:cxn>
                  <a:cxn ang="0">
                    <a:pos x="15" y="48"/>
                  </a:cxn>
                  <a:cxn ang="0">
                    <a:pos x="9" y="47"/>
                  </a:cxn>
                  <a:cxn ang="0">
                    <a:pos x="5" y="42"/>
                  </a:cxn>
                  <a:cxn ang="0">
                    <a:pos x="1" y="10"/>
                  </a:cxn>
                  <a:cxn ang="0">
                    <a:pos x="3" y="2"/>
                  </a:cxn>
                  <a:cxn ang="0">
                    <a:pos x="11" y="1"/>
                  </a:cxn>
                  <a:cxn ang="0">
                    <a:pos x="75" y="20"/>
                  </a:cxn>
                </a:cxnLst>
                <a:rect l="0" t="0" r="r" b="b"/>
                <a:pathLst>
                  <a:path w="81" h="49">
                    <a:moveTo>
                      <a:pt x="6" y="16"/>
                    </a:moveTo>
                    <a:lnTo>
                      <a:pt x="16" y="7"/>
                    </a:lnTo>
                    <a:lnTo>
                      <a:pt x="21" y="39"/>
                    </a:lnTo>
                    <a:lnTo>
                      <a:pt x="12" y="33"/>
                    </a:lnTo>
                    <a:lnTo>
                      <a:pt x="71" y="19"/>
                    </a:lnTo>
                    <a:lnTo>
                      <a:pt x="70" y="35"/>
                    </a:lnTo>
                    <a:lnTo>
                      <a:pt x="6" y="16"/>
                    </a:lnTo>
                    <a:close/>
                    <a:moveTo>
                      <a:pt x="75" y="20"/>
                    </a:moveTo>
                    <a:cubicBezTo>
                      <a:pt x="78" y="21"/>
                      <a:pt x="81" y="24"/>
                      <a:pt x="80" y="28"/>
                    </a:cubicBezTo>
                    <a:cubicBezTo>
                      <a:pt x="80" y="31"/>
                      <a:pt x="78" y="34"/>
                      <a:pt x="74" y="35"/>
                    </a:cubicBezTo>
                    <a:lnTo>
                      <a:pt x="15" y="48"/>
                    </a:lnTo>
                    <a:cubicBezTo>
                      <a:pt x="13" y="49"/>
                      <a:pt x="11" y="48"/>
                      <a:pt x="9" y="47"/>
                    </a:cubicBezTo>
                    <a:cubicBezTo>
                      <a:pt x="7" y="46"/>
                      <a:pt x="6" y="44"/>
                      <a:pt x="5" y="42"/>
                    </a:cubicBezTo>
                    <a:lnTo>
                      <a:pt x="1" y="10"/>
                    </a:lnTo>
                    <a:cubicBezTo>
                      <a:pt x="0" y="7"/>
                      <a:pt x="1" y="4"/>
                      <a:pt x="3" y="2"/>
                    </a:cubicBezTo>
                    <a:cubicBezTo>
                      <a:pt x="5" y="1"/>
                      <a:pt x="8" y="0"/>
                      <a:pt x="11" y="1"/>
                    </a:cubicBezTo>
                    <a:lnTo>
                      <a:pt x="75" y="20"/>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60" name="Freeform 16"/>
              <p:cNvSpPr>
                <a:spLocks/>
              </p:cNvSpPr>
              <p:nvPr/>
            </p:nvSpPr>
            <p:spPr bwMode="auto">
              <a:xfrm>
                <a:off x="3590" y="1590"/>
                <a:ext cx="195" cy="135"/>
              </a:xfrm>
              <a:custGeom>
                <a:avLst/>
                <a:gdLst/>
                <a:ahLst/>
                <a:cxnLst>
                  <a:cxn ang="0">
                    <a:pos x="0" y="65"/>
                  </a:cxn>
                  <a:cxn ang="0">
                    <a:pos x="2" y="100"/>
                  </a:cxn>
                  <a:cxn ang="0">
                    <a:pos x="16" y="111"/>
                  </a:cxn>
                  <a:cxn ang="0">
                    <a:pos x="5" y="128"/>
                  </a:cxn>
                  <a:cxn ang="0">
                    <a:pos x="27" y="135"/>
                  </a:cxn>
                  <a:cxn ang="0">
                    <a:pos x="77" y="128"/>
                  </a:cxn>
                  <a:cxn ang="0">
                    <a:pos x="87" y="109"/>
                  </a:cxn>
                  <a:cxn ang="0">
                    <a:pos x="121" y="98"/>
                  </a:cxn>
                  <a:cxn ang="0">
                    <a:pos x="124" y="81"/>
                  </a:cxn>
                  <a:cxn ang="0">
                    <a:pos x="136" y="77"/>
                  </a:cxn>
                  <a:cxn ang="0">
                    <a:pos x="131" y="68"/>
                  </a:cxn>
                  <a:cxn ang="0">
                    <a:pos x="143" y="67"/>
                  </a:cxn>
                  <a:cxn ang="0">
                    <a:pos x="152" y="50"/>
                  </a:cxn>
                  <a:cxn ang="0">
                    <a:pos x="148" y="34"/>
                  </a:cxn>
                  <a:cxn ang="0">
                    <a:pos x="194" y="22"/>
                  </a:cxn>
                  <a:cxn ang="0">
                    <a:pos x="195" y="18"/>
                  </a:cxn>
                  <a:cxn ang="0">
                    <a:pos x="178" y="15"/>
                  </a:cxn>
                  <a:cxn ang="0">
                    <a:pos x="154" y="27"/>
                  </a:cxn>
                  <a:cxn ang="0">
                    <a:pos x="142" y="0"/>
                  </a:cxn>
                  <a:cxn ang="0">
                    <a:pos x="121" y="20"/>
                  </a:cxn>
                  <a:cxn ang="0">
                    <a:pos x="61" y="18"/>
                  </a:cxn>
                  <a:cxn ang="0">
                    <a:pos x="30" y="49"/>
                  </a:cxn>
                  <a:cxn ang="0">
                    <a:pos x="10" y="40"/>
                  </a:cxn>
                  <a:cxn ang="0">
                    <a:pos x="0" y="65"/>
                  </a:cxn>
                </a:cxnLst>
                <a:rect l="0" t="0" r="r" b="b"/>
                <a:pathLst>
                  <a:path w="195" h="135">
                    <a:moveTo>
                      <a:pt x="0" y="65"/>
                    </a:moveTo>
                    <a:lnTo>
                      <a:pt x="2" y="100"/>
                    </a:lnTo>
                    <a:lnTo>
                      <a:pt x="16" y="111"/>
                    </a:lnTo>
                    <a:lnTo>
                      <a:pt x="5" y="128"/>
                    </a:lnTo>
                    <a:lnTo>
                      <a:pt x="27" y="135"/>
                    </a:lnTo>
                    <a:lnTo>
                      <a:pt x="77" y="128"/>
                    </a:lnTo>
                    <a:lnTo>
                      <a:pt x="87" y="109"/>
                    </a:lnTo>
                    <a:lnTo>
                      <a:pt x="121" y="98"/>
                    </a:lnTo>
                    <a:lnTo>
                      <a:pt x="124" y="81"/>
                    </a:lnTo>
                    <a:lnTo>
                      <a:pt x="136" y="77"/>
                    </a:lnTo>
                    <a:lnTo>
                      <a:pt x="131" y="68"/>
                    </a:lnTo>
                    <a:lnTo>
                      <a:pt x="143" y="67"/>
                    </a:lnTo>
                    <a:lnTo>
                      <a:pt x="152" y="50"/>
                    </a:lnTo>
                    <a:lnTo>
                      <a:pt x="148" y="34"/>
                    </a:lnTo>
                    <a:lnTo>
                      <a:pt x="194" y="22"/>
                    </a:lnTo>
                    <a:lnTo>
                      <a:pt x="195" y="18"/>
                    </a:lnTo>
                    <a:lnTo>
                      <a:pt x="178" y="15"/>
                    </a:lnTo>
                    <a:lnTo>
                      <a:pt x="154" y="27"/>
                    </a:lnTo>
                    <a:lnTo>
                      <a:pt x="142" y="0"/>
                    </a:lnTo>
                    <a:lnTo>
                      <a:pt x="121" y="20"/>
                    </a:lnTo>
                    <a:lnTo>
                      <a:pt x="61" y="18"/>
                    </a:lnTo>
                    <a:lnTo>
                      <a:pt x="30" y="49"/>
                    </a:lnTo>
                    <a:lnTo>
                      <a:pt x="10" y="40"/>
                    </a:lnTo>
                    <a:lnTo>
                      <a:pt x="0" y="65"/>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61" name="Freeform 17"/>
              <p:cNvSpPr>
                <a:spLocks noEditPoints="1"/>
              </p:cNvSpPr>
              <p:nvPr/>
            </p:nvSpPr>
            <p:spPr bwMode="auto">
              <a:xfrm>
                <a:off x="3588" y="1588"/>
                <a:ext cx="200" cy="139"/>
              </a:xfrm>
              <a:custGeom>
                <a:avLst/>
                <a:gdLst/>
                <a:ahLst/>
                <a:cxnLst>
                  <a:cxn ang="0">
                    <a:pos x="16" y="292"/>
                  </a:cxn>
                  <a:cxn ang="0">
                    <a:pos x="18" y="439"/>
                  </a:cxn>
                  <a:cxn ang="0">
                    <a:pos x="70" y="496"/>
                  </a:cxn>
                  <a:cxn ang="0">
                    <a:pos x="27" y="563"/>
                  </a:cxn>
                  <a:cxn ang="0">
                    <a:pos x="98" y="593"/>
                  </a:cxn>
                  <a:cxn ang="0">
                    <a:pos x="266" y="567"/>
                  </a:cxn>
                  <a:cxn ang="0">
                    <a:pos x="303" y="477"/>
                  </a:cxn>
                  <a:cxn ang="0">
                    <a:pos x="416" y="436"/>
                  </a:cxn>
                  <a:cxn ang="0">
                    <a:pos x="431" y="357"/>
                  </a:cxn>
                  <a:cxn ang="0">
                    <a:pos x="468" y="348"/>
                  </a:cxn>
                  <a:cxn ang="0">
                    <a:pos x="450" y="303"/>
                  </a:cxn>
                  <a:cxn ang="0">
                    <a:pos x="498" y="294"/>
                  </a:cxn>
                  <a:cxn ang="0">
                    <a:pos x="524" y="225"/>
                  </a:cxn>
                  <a:cxn ang="0">
                    <a:pos x="509" y="158"/>
                  </a:cxn>
                  <a:cxn ang="0">
                    <a:pos x="672" y="95"/>
                  </a:cxn>
                  <a:cxn ang="0">
                    <a:pos x="673" y="85"/>
                  </a:cxn>
                  <a:cxn ang="0">
                    <a:pos x="620" y="82"/>
                  </a:cxn>
                  <a:cxn ang="0">
                    <a:pos x="541" y="132"/>
                  </a:cxn>
                  <a:cxn ang="0">
                    <a:pos x="529" y="127"/>
                  </a:cxn>
                  <a:cxn ang="0">
                    <a:pos x="504" y="14"/>
                  </a:cxn>
                  <a:cxn ang="0">
                    <a:pos x="425" y="104"/>
                  </a:cxn>
                  <a:cxn ang="0">
                    <a:pos x="223" y="93"/>
                  </a:cxn>
                  <a:cxn ang="0">
                    <a:pos x="107" y="231"/>
                  </a:cxn>
                  <a:cxn ang="0">
                    <a:pos x="49" y="183"/>
                  </a:cxn>
                  <a:cxn ang="0">
                    <a:pos x="34" y="178"/>
                  </a:cxn>
                  <a:cxn ang="0">
                    <a:pos x="46" y="174"/>
                  </a:cxn>
                  <a:cxn ang="0">
                    <a:pos x="105" y="219"/>
                  </a:cxn>
                  <a:cxn ang="0">
                    <a:pos x="217" y="80"/>
                  </a:cxn>
                  <a:cxn ang="0">
                    <a:pos x="419" y="91"/>
                  </a:cxn>
                  <a:cxn ang="0">
                    <a:pos x="500" y="1"/>
                  </a:cxn>
                  <a:cxn ang="0">
                    <a:pos x="544" y="122"/>
                  </a:cxn>
                  <a:cxn ang="0">
                    <a:pos x="617" y="67"/>
                  </a:cxn>
                  <a:cxn ang="0">
                    <a:pos x="682" y="80"/>
                  </a:cxn>
                  <a:cxn ang="0">
                    <a:pos x="688" y="90"/>
                  </a:cxn>
                  <a:cxn ang="0">
                    <a:pos x="678" y="110"/>
                  </a:cxn>
                  <a:cxn ang="0">
                    <a:pos x="525" y="155"/>
                  </a:cxn>
                  <a:cxn ang="0">
                    <a:pos x="538" y="231"/>
                  </a:cxn>
                  <a:cxn ang="0">
                    <a:pos x="500" y="310"/>
                  </a:cxn>
                  <a:cxn ang="0">
                    <a:pos x="464" y="304"/>
                  </a:cxn>
                  <a:cxn ang="0">
                    <a:pos x="478" y="351"/>
                  </a:cxn>
                  <a:cxn ang="0">
                    <a:pos x="443" y="366"/>
                  </a:cxn>
                  <a:cxn ang="0">
                    <a:pos x="427" y="444"/>
                  </a:cxn>
                  <a:cxn ang="0">
                    <a:pos x="314" y="487"/>
                  </a:cxn>
                  <a:cxn ang="0">
                    <a:pos x="275" y="578"/>
                  </a:cxn>
                  <a:cxn ang="0">
                    <a:pos x="96" y="608"/>
                  </a:cxn>
                  <a:cxn ang="0">
                    <a:pos x="16" y="573"/>
                  </a:cxn>
                  <a:cxn ang="0">
                    <a:pos x="56" y="489"/>
                  </a:cxn>
                  <a:cxn ang="0">
                    <a:pos x="7" y="451"/>
                  </a:cxn>
                  <a:cxn ang="0">
                    <a:pos x="0" y="292"/>
                  </a:cxn>
                  <a:cxn ang="0">
                    <a:pos x="34" y="178"/>
                  </a:cxn>
                </a:cxnLst>
                <a:rect l="0" t="0" r="r" b="b"/>
                <a:pathLst>
                  <a:path w="689" h="609">
                    <a:moveTo>
                      <a:pt x="16" y="294"/>
                    </a:moveTo>
                    <a:lnTo>
                      <a:pt x="16" y="292"/>
                    </a:lnTo>
                    <a:lnTo>
                      <a:pt x="21" y="445"/>
                    </a:lnTo>
                    <a:lnTo>
                      <a:pt x="18" y="439"/>
                    </a:lnTo>
                    <a:lnTo>
                      <a:pt x="69" y="487"/>
                    </a:lnTo>
                    <a:cubicBezTo>
                      <a:pt x="71" y="489"/>
                      <a:pt x="72" y="493"/>
                      <a:pt x="70" y="496"/>
                    </a:cubicBezTo>
                    <a:lnTo>
                      <a:pt x="31" y="574"/>
                    </a:lnTo>
                    <a:lnTo>
                      <a:pt x="27" y="563"/>
                    </a:lnTo>
                    <a:lnTo>
                      <a:pt x="102" y="593"/>
                    </a:lnTo>
                    <a:lnTo>
                      <a:pt x="98" y="593"/>
                    </a:lnTo>
                    <a:lnTo>
                      <a:pt x="272" y="562"/>
                    </a:lnTo>
                    <a:lnTo>
                      <a:pt x="266" y="567"/>
                    </a:lnTo>
                    <a:lnTo>
                      <a:pt x="299" y="481"/>
                    </a:lnTo>
                    <a:cubicBezTo>
                      <a:pt x="299" y="479"/>
                      <a:pt x="301" y="477"/>
                      <a:pt x="303" y="477"/>
                    </a:cubicBezTo>
                    <a:lnTo>
                      <a:pt x="421" y="429"/>
                    </a:lnTo>
                    <a:lnTo>
                      <a:pt x="416" y="436"/>
                    </a:lnTo>
                    <a:lnTo>
                      <a:pt x="427" y="363"/>
                    </a:lnTo>
                    <a:cubicBezTo>
                      <a:pt x="427" y="361"/>
                      <a:pt x="429" y="358"/>
                      <a:pt x="431" y="357"/>
                    </a:cubicBezTo>
                    <a:lnTo>
                      <a:pt x="471" y="337"/>
                    </a:lnTo>
                    <a:lnTo>
                      <a:pt x="468" y="348"/>
                    </a:lnTo>
                    <a:lnTo>
                      <a:pt x="450" y="310"/>
                    </a:lnTo>
                    <a:cubicBezTo>
                      <a:pt x="449" y="308"/>
                      <a:pt x="449" y="305"/>
                      <a:pt x="450" y="303"/>
                    </a:cubicBezTo>
                    <a:cubicBezTo>
                      <a:pt x="451" y="301"/>
                      <a:pt x="453" y="299"/>
                      <a:pt x="456" y="299"/>
                    </a:cubicBezTo>
                    <a:lnTo>
                      <a:pt x="498" y="294"/>
                    </a:lnTo>
                    <a:lnTo>
                      <a:pt x="492" y="299"/>
                    </a:lnTo>
                    <a:lnTo>
                      <a:pt x="524" y="225"/>
                    </a:lnTo>
                    <a:lnTo>
                      <a:pt x="523" y="229"/>
                    </a:lnTo>
                    <a:lnTo>
                      <a:pt x="509" y="158"/>
                    </a:lnTo>
                    <a:cubicBezTo>
                      <a:pt x="509" y="154"/>
                      <a:pt x="511" y="151"/>
                      <a:pt x="515" y="149"/>
                    </a:cubicBezTo>
                    <a:lnTo>
                      <a:pt x="672" y="95"/>
                    </a:lnTo>
                    <a:lnTo>
                      <a:pt x="667" y="100"/>
                    </a:lnTo>
                    <a:lnTo>
                      <a:pt x="673" y="85"/>
                    </a:lnTo>
                    <a:lnTo>
                      <a:pt x="679" y="96"/>
                    </a:lnTo>
                    <a:lnTo>
                      <a:pt x="620" y="82"/>
                    </a:lnTo>
                    <a:lnTo>
                      <a:pt x="626" y="81"/>
                    </a:lnTo>
                    <a:lnTo>
                      <a:pt x="541" y="132"/>
                    </a:lnTo>
                    <a:cubicBezTo>
                      <a:pt x="538" y="133"/>
                      <a:pt x="536" y="133"/>
                      <a:pt x="534" y="132"/>
                    </a:cubicBezTo>
                    <a:cubicBezTo>
                      <a:pt x="531" y="131"/>
                      <a:pt x="530" y="130"/>
                      <a:pt x="529" y="127"/>
                    </a:cubicBezTo>
                    <a:lnTo>
                      <a:pt x="490" y="11"/>
                    </a:lnTo>
                    <a:lnTo>
                      <a:pt x="504" y="14"/>
                    </a:lnTo>
                    <a:lnTo>
                      <a:pt x="432" y="101"/>
                    </a:lnTo>
                    <a:cubicBezTo>
                      <a:pt x="430" y="103"/>
                      <a:pt x="428" y="104"/>
                      <a:pt x="425" y="104"/>
                    </a:cubicBezTo>
                    <a:lnTo>
                      <a:pt x="217" y="96"/>
                    </a:lnTo>
                    <a:lnTo>
                      <a:pt x="223" y="93"/>
                    </a:lnTo>
                    <a:lnTo>
                      <a:pt x="118" y="229"/>
                    </a:lnTo>
                    <a:cubicBezTo>
                      <a:pt x="115" y="233"/>
                      <a:pt x="111" y="233"/>
                      <a:pt x="107" y="231"/>
                    </a:cubicBezTo>
                    <a:lnTo>
                      <a:pt x="37" y="187"/>
                    </a:lnTo>
                    <a:lnTo>
                      <a:pt x="49" y="183"/>
                    </a:lnTo>
                    <a:lnTo>
                      <a:pt x="16" y="294"/>
                    </a:lnTo>
                    <a:close/>
                    <a:moveTo>
                      <a:pt x="34" y="178"/>
                    </a:moveTo>
                    <a:cubicBezTo>
                      <a:pt x="34" y="176"/>
                      <a:pt x="36" y="174"/>
                      <a:pt x="39" y="173"/>
                    </a:cubicBezTo>
                    <a:cubicBezTo>
                      <a:pt x="41" y="172"/>
                      <a:pt x="44" y="172"/>
                      <a:pt x="46" y="174"/>
                    </a:cubicBezTo>
                    <a:lnTo>
                      <a:pt x="116" y="218"/>
                    </a:lnTo>
                    <a:lnTo>
                      <a:pt x="105" y="219"/>
                    </a:lnTo>
                    <a:lnTo>
                      <a:pt x="211" y="83"/>
                    </a:lnTo>
                    <a:cubicBezTo>
                      <a:pt x="212" y="81"/>
                      <a:pt x="215" y="80"/>
                      <a:pt x="217" y="80"/>
                    </a:cubicBezTo>
                    <a:lnTo>
                      <a:pt x="426" y="88"/>
                    </a:lnTo>
                    <a:lnTo>
                      <a:pt x="419" y="91"/>
                    </a:lnTo>
                    <a:lnTo>
                      <a:pt x="492" y="3"/>
                    </a:lnTo>
                    <a:cubicBezTo>
                      <a:pt x="494" y="1"/>
                      <a:pt x="497" y="0"/>
                      <a:pt x="500" y="1"/>
                    </a:cubicBezTo>
                    <a:cubicBezTo>
                      <a:pt x="502" y="1"/>
                      <a:pt x="505" y="3"/>
                      <a:pt x="506" y="6"/>
                    </a:cubicBezTo>
                    <a:lnTo>
                      <a:pt x="544" y="122"/>
                    </a:lnTo>
                    <a:lnTo>
                      <a:pt x="532" y="118"/>
                    </a:lnTo>
                    <a:lnTo>
                      <a:pt x="617" y="67"/>
                    </a:lnTo>
                    <a:cubicBezTo>
                      <a:pt x="619" y="66"/>
                      <a:pt x="621" y="66"/>
                      <a:pt x="623" y="66"/>
                    </a:cubicBezTo>
                    <a:lnTo>
                      <a:pt x="682" y="80"/>
                    </a:lnTo>
                    <a:cubicBezTo>
                      <a:pt x="684" y="80"/>
                      <a:pt x="686" y="82"/>
                      <a:pt x="687" y="84"/>
                    </a:cubicBezTo>
                    <a:cubicBezTo>
                      <a:pt x="689" y="86"/>
                      <a:pt x="689" y="88"/>
                      <a:pt x="688" y="90"/>
                    </a:cubicBezTo>
                    <a:lnTo>
                      <a:pt x="683" y="106"/>
                    </a:lnTo>
                    <a:cubicBezTo>
                      <a:pt x="682" y="108"/>
                      <a:pt x="680" y="110"/>
                      <a:pt x="678" y="110"/>
                    </a:cubicBezTo>
                    <a:lnTo>
                      <a:pt x="520" y="164"/>
                    </a:lnTo>
                    <a:lnTo>
                      <a:pt x="525" y="155"/>
                    </a:lnTo>
                    <a:lnTo>
                      <a:pt x="539" y="226"/>
                    </a:lnTo>
                    <a:cubicBezTo>
                      <a:pt x="539" y="228"/>
                      <a:pt x="539" y="229"/>
                      <a:pt x="538" y="231"/>
                    </a:cubicBezTo>
                    <a:lnTo>
                      <a:pt x="507" y="305"/>
                    </a:lnTo>
                    <a:cubicBezTo>
                      <a:pt x="506" y="308"/>
                      <a:pt x="503" y="310"/>
                      <a:pt x="500" y="310"/>
                    </a:cubicBezTo>
                    <a:lnTo>
                      <a:pt x="458" y="315"/>
                    </a:lnTo>
                    <a:lnTo>
                      <a:pt x="464" y="304"/>
                    </a:lnTo>
                    <a:lnTo>
                      <a:pt x="482" y="341"/>
                    </a:lnTo>
                    <a:cubicBezTo>
                      <a:pt x="484" y="345"/>
                      <a:pt x="482" y="349"/>
                      <a:pt x="478" y="351"/>
                    </a:cubicBezTo>
                    <a:lnTo>
                      <a:pt x="439" y="371"/>
                    </a:lnTo>
                    <a:lnTo>
                      <a:pt x="443" y="366"/>
                    </a:lnTo>
                    <a:lnTo>
                      <a:pt x="432" y="438"/>
                    </a:lnTo>
                    <a:cubicBezTo>
                      <a:pt x="431" y="441"/>
                      <a:pt x="430" y="443"/>
                      <a:pt x="427" y="444"/>
                    </a:cubicBezTo>
                    <a:lnTo>
                      <a:pt x="309" y="492"/>
                    </a:lnTo>
                    <a:lnTo>
                      <a:pt x="314" y="487"/>
                    </a:lnTo>
                    <a:lnTo>
                      <a:pt x="281" y="573"/>
                    </a:lnTo>
                    <a:cubicBezTo>
                      <a:pt x="280" y="576"/>
                      <a:pt x="277" y="578"/>
                      <a:pt x="275" y="578"/>
                    </a:cubicBezTo>
                    <a:lnTo>
                      <a:pt x="100" y="608"/>
                    </a:lnTo>
                    <a:cubicBezTo>
                      <a:pt x="99" y="609"/>
                      <a:pt x="97" y="608"/>
                      <a:pt x="96" y="608"/>
                    </a:cubicBezTo>
                    <a:lnTo>
                      <a:pt x="21" y="578"/>
                    </a:lnTo>
                    <a:cubicBezTo>
                      <a:pt x="18" y="577"/>
                      <a:pt x="17" y="575"/>
                      <a:pt x="16" y="573"/>
                    </a:cubicBezTo>
                    <a:cubicBezTo>
                      <a:pt x="15" y="571"/>
                      <a:pt x="15" y="568"/>
                      <a:pt x="16" y="566"/>
                    </a:cubicBezTo>
                    <a:lnTo>
                      <a:pt x="56" y="489"/>
                    </a:lnTo>
                    <a:lnTo>
                      <a:pt x="58" y="498"/>
                    </a:lnTo>
                    <a:lnTo>
                      <a:pt x="7" y="451"/>
                    </a:lnTo>
                    <a:cubicBezTo>
                      <a:pt x="6" y="450"/>
                      <a:pt x="5" y="448"/>
                      <a:pt x="5" y="446"/>
                    </a:cubicBezTo>
                    <a:lnTo>
                      <a:pt x="0" y="292"/>
                    </a:lnTo>
                    <a:cubicBezTo>
                      <a:pt x="0" y="291"/>
                      <a:pt x="1" y="290"/>
                      <a:pt x="1" y="290"/>
                    </a:cubicBezTo>
                    <a:lnTo>
                      <a:pt x="34" y="178"/>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62" name="Freeform 18"/>
              <p:cNvSpPr>
                <a:spLocks/>
              </p:cNvSpPr>
              <p:nvPr/>
            </p:nvSpPr>
            <p:spPr bwMode="auto">
              <a:xfrm>
                <a:off x="3010" y="1528"/>
                <a:ext cx="23" cy="44"/>
              </a:xfrm>
              <a:custGeom>
                <a:avLst/>
                <a:gdLst/>
                <a:ahLst/>
                <a:cxnLst>
                  <a:cxn ang="0">
                    <a:pos x="0" y="33"/>
                  </a:cxn>
                  <a:cxn ang="0">
                    <a:pos x="1" y="10"/>
                  </a:cxn>
                  <a:cxn ang="0">
                    <a:pos x="12" y="0"/>
                  </a:cxn>
                  <a:cxn ang="0">
                    <a:pos x="23" y="26"/>
                  </a:cxn>
                  <a:cxn ang="0">
                    <a:pos x="13" y="44"/>
                  </a:cxn>
                  <a:cxn ang="0">
                    <a:pos x="0" y="33"/>
                  </a:cxn>
                </a:cxnLst>
                <a:rect l="0" t="0" r="r" b="b"/>
                <a:pathLst>
                  <a:path w="23" h="44">
                    <a:moveTo>
                      <a:pt x="0" y="33"/>
                    </a:moveTo>
                    <a:lnTo>
                      <a:pt x="1" y="10"/>
                    </a:lnTo>
                    <a:lnTo>
                      <a:pt x="12" y="0"/>
                    </a:lnTo>
                    <a:lnTo>
                      <a:pt x="23" y="26"/>
                    </a:lnTo>
                    <a:lnTo>
                      <a:pt x="13" y="44"/>
                    </a:lnTo>
                    <a:lnTo>
                      <a:pt x="0" y="33"/>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63" name="Freeform 19"/>
              <p:cNvSpPr>
                <a:spLocks noEditPoints="1"/>
              </p:cNvSpPr>
              <p:nvPr/>
            </p:nvSpPr>
            <p:spPr bwMode="auto">
              <a:xfrm>
                <a:off x="3008" y="1526"/>
                <a:ext cx="28" cy="48"/>
              </a:xfrm>
              <a:custGeom>
                <a:avLst/>
                <a:gdLst/>
                <a:ahLst/>
                <a:cxnLst>
                  <a:cxn ang="0">
                    <a:pos x="3" y="159"/>
                  </a:cxn>
                  <a:cxn ang="0">
                    <a:pos x="0" y="153"/>
                  </a:cxn>
                  <a:cxn ang="0">
                    <a:pos x="3" y="53"/>
                  </a:cxn>
                  <a:cxn ang="0">
                    <a:pos x="5" y="49"/>
                  </a:cxn>
                  <a:cxn ang="0">
                    <a:pos x="41" y="3"/>
                  </a:cxn>
                  <a:cxn ang="0">
                    <a:pos x="48" y="1"/>
                  </a:cxn>
                  <a:cxn ang="0">
                    <a:pos x="55" y="6"/>
                  </a:cxn>
                  <a:cxn ang="0">
                    <a:pos x="96" y="119"/>
                  </a:cxn>
                  <a:cxn ang="0">
                    <a:pos x="96" y="125"/>
                  </a:cxn>
                  <a:cxn ang="0">
                    <a:pos x="58" y="204"/>
                  </a:cxn>
                  <a:cxn ang="0">
                    <a:pos x="52" y="208"/>
                  </a:cxn>
                  <a:cxn ang="0">
                    <a:pos x="45" y="206"/>
                  </a:cxn>
                  <a:cxn ang="0">
                    <a:pos x="3" y="159"/>
                  </a:cxn>
                  <a:cxn ang="0">
                    <a:pos x="57" y="195"/>
                  </a:cxn>
                  <a:cxn ang="0">
                    <a:pos x="44" y="197"/>
                  </a:cxn>
                  <a:cxn ang="0">
                    <a:pos x="81" y="118"/>
                  </a:cxn>
                  <a:cxn ang="0">
                    <a:pos x="81" y="124"/>
                  </a:cxn>
                  <a:cxn ang="0">
                    <a:pos x="40" y="11"/>
                  </a:cxn>
                  <a:cxn ang="0">
                    <a:pos x="53" y="13"/>
                  </a:cxn>
                  <a:cxn ang="0">
                    <a:pos x="17" y="59"/>
                  </a:cxn>
                  <a:cxn ang="0">
                    <a:pos x="19" y="54"/>
                  </a:cxn>
                  <a:cxn ang="0">
                    <a:pos x="16" y="154"/>
                  </a:cxn>
                  <a:cxn ang="0">
                    <a:pos x="14" y="148"/>
                  </a:cxn>
                  <a:cxn ang="0">
                    <a:pos x="57" y="195"/>
                  </a:cxn>
                </a:cxnLst>
                <a:rect l="0" t="0" r="r" b="b"/>
                <a:pathLst>
                  <a:path w="97" h="209">
                    <a:moveTo>
                      <a:pt x="3" y="159"/>
                    </a:moveTo>
                    <a:cubicBezTo>
                      <a:pt x="1" y="158"/>
                      <a:pt x="0" y="156"/>
                      <a:pt x="0" y="153"/>
                    </a:cubicBezTo>
                    <a:lnTo>
                      <a:pt x="3" y="53"/>
                    </a:lnTo>
                    <a:cubicBezTo>
                      <a:pt x="3" y="52"/>
                      <a:pt x="4" y="50"/>
                      <a:pt x="5" y="49"/>
                    </a:cubicBezTo>
                    <a:lnTo>
                      <a:pt x="41" y="3"/>
                    </a:lnTo>
                    <a:cubicBezTo>
                      <a:pt x="43" y="1"/>
                      <a:pt x="46" y="0"/>
                      <a:pt x="48" y="1"/>
                    </a:cubicBezTo>
                    <a:cubicBezTo>
                      <a:pt x="51" y="1"/>
                      <a:pt x="54" y="3"/>
                      <a:pt x="55" y="6"/>
                    </a:cubicBezTo>
                    <a:lnTo>
                      <a:pt x="96" y="119"/>
                    </a:lnTo>
                    <a:cubicBezTo>
                      <a:pt x="97" y="121"/>
                      <a:pt x="97" y="123"/>
                      <a:pt x="96" y="125"/>
                    </a:cubicBezTo>
                    <a:lnTo>
                      <a:pt x="58" y="204"/>
                    </a:lnTo>
                    <a:cubicBezTo>
                      <a:pt x="57" y="206"/>
                      <a:pt x="55" y="208"/>
                      <a:pt x="52" y="208"/>
                    </a:cubicBezTo>
                    <a:cubicBezTo>
                      <a:pt x="50" y="209"/>
                      <a:pt x="47" y="208"/>
                      <a:pt x="45" y="206"/>
                    </a:cubicBezTo>
                    <a:lnTo>
                      <a:pt x="3" y="159"/>
                    </a:lnTo>
                    <a:close/>
                    <a:moveTo>
                      <a:pt x="57" y="195"/>
                    </a:moveTo>
                    <a:lnTo>
                      <a:pt x="44" y="197"/>
                    </a:lnTo>
                    <a:lnTo>
                      <a:pt x="81" y="118"/>
                    </a:lnTo>
                    <a:lnTo>
                      <a:pt x="81" y="124"/>
                    </a:lnTo>
                    <a:lnTo>
                      <a:pt x="40" y="11"/>
                    </a:lnTo>
                    <a:lnTo>
                      <a:pt x="53" y="13"/>
                    </a:lnTo>
                    <a:lnTo>
                      <a:pt x="17" y="59"/>
                    </a:lnTo>
                    <a:lnTo>
                      <a:pt x="19" y="54"/>
                    </a:lnTo>
                    <a:lnTo>
                      <a:pt x="16" y="154"/>
                    </a:lnTo>
                    <a:lnTo>
                      <a:pt x="14" y="148"/>
                    </a:lnTo>
                    <a:lnTo>
                      <a:pt x="57" y="195"/>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64" name="Freeform 20"/>
              <p:cNvSpPr>
                <a:spLocks/>
              </p:cNvSpPr>
              <p:nvPr/>
            </p:nvSpPr>
            <p:spPr bwMode="auto">
              <a:xfrm>
                <a:off x="2620" y="1616"/>
                <a:ext cx="284" cy="256"/>
              </a:xfrm>
              <a:custGeom>
                <a:avLst/>
                <a:gdLst/>
                <a:ahLst/>
                <a:cxnLst>
                  <a:cxn ang="0">
                    <a:pos x="0" y="137"/>
                  </a:cxn>
                  <a:cxn ang="0">
                    <a:pos x="2" y="141"/>
                  </a:cxn>
                  <a:cxn ang="0">
                    <a:pos x="53" y="173"/>
                  </a:cxn>
                  <a:cxn ang="0">
                    <a:pos x="165" y="244"/>
                  </a:cxn>
                  <a:cxn ang="0">
                    <a:pos x="166" y="256"/>
                  </a:cxn>
                  <a:cxn ang="0">
                    <a:pos x="178" y="254"/>
                  </a:cxn>
                  <a:cxn ang="0">
                    <a:pos x="199" y="249"/>
                  </a:cxn>
                  <a:cxn ang="0">
                    <a:pos x="284" y="194"/>
                  </a:cxn>
                  <a:cxn ang="0">
                    <a:pos x="251" y="157"/>
                  </a:cxn>
                  <a:cxn ang="0">
                    <a:pos x="251" y="98"/>
                  </a:cxn>
                  <a:cxn ang="0">
                    <a:pos x="247" y="72"/>
                  </a:cxn>
                  <a:cxn ang="0">
                    <a:pos x="224" y="45"/>
                  </a:cxn>
                  <a:cxn ang="0">
                    <a:pos x="236" y="36"/>
                  </a:cxn>
                  <a:cxn ang="0">
                    <a:pos x="242" y="0"/>
                  </a:cxn>
                  <a:cxn ang="0">
                    <a:pos x="141" y="6"/>
                  </a:cxn>
                  <a:cxn ang="0">
                    <a:pos x="90" y="27"/>
                  </a:cxn>
                  <a:cxn ang="0">
                    <a:pos x="103" y="70"/>
                  </a:cxn>
                  <a:cxn ang="0">
                    <a:pos x="81" y="72"/>
                  </a:cxn>
                  <a:cxn ang="0">
                    <a:pos x="69" y="76"/>
                  </a:cxn>
                  <a:cxn ang="0">
                    <a:pos x="71" y="88"/>
                  </a:cxn>
                  <a:cxn ang="0">
                    <a:pos x="8" y="114"/>
                  </a:cxn>
                  <a:cxn ang="0">
                    <a:pos x="0" y="137"/>
                  </a:cxn>
                </a:cxnLst>
                <a:rect l="0" t="0" r="r" b="b"/>
                <a:pathLst>
                  <a:path w="284" h="256">
                    <a:moveTo>
                      <a:pt x="0" y="137"/>
                    </a:moveTo>
                    <a:lnTo>
                      <a:pt x="2" y="141"/>
                    </a:lnTo>
                    <a:lnTo>
                      <a:pt x="53" y="173"/>
                    </a:lnTo>
                    <a:lnTo>
                      <a:pt x="165" y="244"/>
                    </a:lnTo>
                    <a:lnTo>
                      <a:pt x="166" y="256"/>
                    </a:lnTo>
                    <a:lnTo>
                      <a:pt x="178" y="254"/>
                    </a:lnTo>
                    <a:lnTo>
                      <a:pt x="199" y="249"/>
                    </a:lnTo>
                    <a:lnTo>
                      <a:pt x="284" y="194"/>
                    </a:lnTo>
                    <a:lnTo>
                      <a:pt x="251" y="157"/>
                    </a:lnTo>
                    <a:lnTo>
                      <a:pt x="251" y="98"/>
                    </a:lnTo>
                    <a:lnTo>
                      <a:pt x="247" y="72"/>
                    </a:lnTo>
                    <a:lnTo>
                      <a:pt x="224" y="45"/>
                    </a:lnTo>
                    <a:lnTo>
                      <a:pt x="236" y="36"/>
                    </a:lnTo>
                    <a:lnTo>
                      <a:pt x="242" y="0"/>
                    </a:lnTo>
                    <a:lnTo>
                      <a:pt x="141" y="6"/>
                    </a:lnTo>
                    <a:lnTo>
                      <a:pt x="90" y="27"/>
                    </a:lnTo>
                    <a:lnTo>
                      <a:pt x="103" y="70"/>
                    </a:lnTo>
                    <a:lnTo>
                      <a:pt x="81" y="72"/>
                    </a:lnTo>
                    <a:lnTo>
                      <a:pt x="69" y="76"/>
                    </a:lnTo>
                    <a:lnTo>
                      <a:pt x="71" y="88"/>
                    </a:lnTo>
                    <a:lnTo>
                      <a:pt x="8" y="114"/>
                    </a:lnTo>
                    <a:lnTo>
                      <a:pt x="0" y="137"/>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65" name="Freeform 21"/>
              <p:cNvSpPr>
                <a:spLocks noEditPoints="1"/>
              </p:cNvSpPr>
              <p:nvPr/>
            </p:nvSpPr>
            <p:spPr bwMode="auto">
              <a:xfrm>
                <a:off x="2618" y="1614"/>
                <a:ext cx="288" cy="260"/>
              </a:xfrm>
              <a:custGeom>
                <a:avLst/>
                <a:gdLst/>
                <a:ahLst/>
                <a:cxnLst>
                  <a:cxn ang="0">
                    <a:pos x="16" y="605"/>
                  </a:cxn>
                  <a:cxn ang="0">
                    <a:pos x="18" y="622"/>
                  </a:cxn>
                  <a:cxn ang="0">
                    <a:pos x="581" y="1069"/>
                  </a:cxn>
                  <a:cxn ang="0">
                    <a:pos x="588" y="1128"/>
                  </a:cxn>
                  <a:cxn ang="0">
                    <a:pos x="617" y="1112"/>
                  </a:cxn>
                  <a:cxn ang="0">
                    <a:pos x="689" y="1092"/>
                  </a:cxn>
                  <a:cxn ang="0">
                    <a:pos x="978" y="861"/>
                  </a:cxn>
                  <a:cxn ang="0">
                    <a:pos x="863" y="697"/>
                  </a:cxn>
                  <a:cxn ang="0">
                    <a:pos x="851" y="324"/>
                  </a:cxn>
                  <a:cxn ang="0">
                    <a:pos x="772" y="211"/>
                  </a:cxn>
                  <a:cxn ang="0">
                    <a:pos x="814" y="161"/>
                  </a:cxn>
                  <a:cxn ang="0">
                    <a:pos x="833" y="7"/>
                  </a:cxn>
                  <a:cxn ang="0">
                    <a:pos x="495" y="43"/>
                  </a:cxn>
                  <a:cxn ang="0">
                    <a:pos x="321" y="134"/>
                  </a:cxn>
                  <a:cxn ang="0">
                    <a:pos x="371" y="317"/>
                  </a:cxn>
                  <a:cxn ang="0">
                    <a:pos x="363" y="326"/>
                  </a:cxn>
                  <a:cxn ang="0">
                    <a:pos x="289" y="331"/>
                  </a:cxn>
                  <a:cxn ang="0">
                    <a:pos x="252" y="342"/>
                  </a:cxn>
                  <a:cxn ang="0">
                    <a:pos x="254" y="402"/>
                  </a:cxn>
                  <a:cxn ang="0">
                    <a:pos x="43" y="511"/>
                  </a:cxn>
                  <a:cxn ang="0">
                    <a:pos x="27" y="506"/>
                  </a:cxn>
                  <a:cxn ang="0">
                    <a:pos x="247" y="388"/>
                  </a:cxn>
                  <a:cxn ang="0">
                    <a:pos x="236" y="345"/>
                  </a:cxn>
                  <a:cxn ang="0">
                    <a:pos x="282" y="316"/>
                  </a:cxn>
                  <a:cxn ang="0">
                    <a:pos x="362" y="310"/>
                  </a:cxn>
                  <a:cxn ang="0">
                    <a:pos x="309" y="129"/>
                  </a:cxn>
                  <a:cxn ang="0">
                    <a:pos x="491" y="28"/>
                  </a:cxn>
                  <a:cxn ang="0">
                    <a:pos x="840" y="0"/>
                  </a:cxn>
                  <a:cxn ang="0">
                    <a:pos x="848" y="10"/>
                  </a:cxn>
                  <a:cxn ang="0">
                    <a:pos x="825" y="173"/>
                  </a:cxn>
                  <a:cxn ang="0">
                    <a:pos x="785" y="202"/>
                  </a:cxn>
                  <a:cxn ang="0">
                    <a:pos x="866" y="323"/>
                  </a:cxn>
                  <a:cxn ang="0">
                    <a:pos x="879" y="697"/>
                  </a:cxn>
                  <a:cxn ang="0">
                    <a:pos x="991" y="852"/>
                  </a:cxn>
                  <a:cxn ang="0">
                    <a:pos x="699" y="1105"/>
                  </a:cxn>
                  <a:cxn ang="0">
                    <a:pos x="621" y="1128"/>
                  </a:cxn>
                  <a:cxn ang="0">
                    <a:pos x="575" y="1135"/>
                  </a:cxn>
                  <a:cxn ang="0">
                    <a:pos x="568" y="1076"/>
                  </a:cxn>
                  <a:cxn ang="0">
                    <a:pos x="185" y="773"/>
                  </a:cxn>
                  <a:cxn ang="0">
                    <a:pos x="5" y="630"/>
                  </a:cxn>
                  <a:cxn ang="0">
                    <a:pos x="1" y="605"/>
                  </a:cxn>
                </a:cxnLst>
                <a:rect l="0" t="0" r="r" b="b"/>
                <a:pathLst>
                  <a:path w="993" h="1137">
                    <a:moveTo>
                      <a:pt x="16" y="609"/>
                    </a:moveTo>
                    <a:lnTo>
                      <a:pt x="16" y="605"/>
                    </a:lnTo>
                    <a:lnTo>
                      <a:pt x="20" y="627"/>
                    </a:lnTo>
                    <a:lnTo>
                      <a:pt x="18" y="622"/>
                    </a:lnTo>
                    <a:lnTo>
                      <a:pt x="195" y="760"/>
                    </a:lnTo>
                    <a:lnTo>
                      <a:pt x="581" y="1069"/>
                    </a:lnTo>
                    <a:cubicBezTo>
                      <a:pt x="583" y="1070"/>
                      <a:pt x="584" y="1072"/>
                      <a:pt x="584" y="1075"/>
                    </a:cubicBezTo>
                    <a:lnTo>
                      <a:pt x="588" y="1128"/>
                    </a:lnTo>
                    <a:lnTo>
                      <a:pt x="579" y="1121"/>
                    </a:lnTo>
                    <a:lnTo>
                      <a:pt x="617" y="1112"/>
                    </a:lnTo>
                    <a:lnTo>
                      <a:pt x="692" y="1091"/>
                    </a:lnTo>
                    <a:lnTo>
                      <a:pt x="689" y="1092"/>
                    </a:lnTo>
                    <a:lnTo>
                      <a:pt x="979" y="851"/>
                    </a:lnTo>
                    <a:lnTo>
                      <a:pt x="978" y="861"/>
                    </a:lnTo>
                    <a:lnTo>
                      <a:pt x="864" y="701"/>
                    </a:lnTo>
                    <a:cubicBezTo>
                      <a:pt x="863" y="700"/>
                      <a:pt x="863" y="698"/>
                      <a:pt x="863" y="697"/>
                    </a:cubicBezTo>
                    <a:lnTo>
                      <a:pt x="864" y="438"/>
                    </a:lnTo>
                    <a:lnTo>
                      <a:pt x="851" y="324"/>
                    </a:lnTo>
                    <a:lnTo>
                      <a:pt x="852" y="328"/>
                    </a:lnTo>
                    <a:lnTo>
                      <a:pt x="772" y="211"/>
                    </a:lnTo>
                    <a:cubicBezTo>
                      <a:pt x="769" y="208"/>
                      <a:pt x="770" y="204"/>
                      <a:pt x="773" y="201"/>
                    </a:cubicBezTo>
                    <a:lnTo>
                      <a:pt x="814" y="161"/>
                    </a:lnTo>
                    <a:lnTo>
                      <a:pt x="812" y="166"/>
                    </a:lnTo>
                    <a:lnTo>
                      <a:pt x="833" y="7"/>
                    </a:lnTo>
                    <a:lnTo>
                      <a:pt x="841" y="16"/>
                    </a:lnTo>
                    <a:lnTo>
                      <a:pt x="495" y="43"/>
                    </a:lnTo>
                    <a:lnTo>
                      <a:pt x="498" y="42"/>
                    </a:lnTo>
                    <a:lnTo>
                      <a:pt x="321" y="134"/>
                    </a:lnTo>
                    <a:lnTo>
                      <a:pt x="325" y="125"/>
                    </a:lnTo>
                    <a:lnTo>
                      <a:pt x="371" y="317"/>
                    </a:lnTo>
                    <a:cubicBezTo>
                      <a:pt x="371" y="319"/>
                      <a:pt x="371" y="321"/>
                      <a:pt x="369" y="323"/>
                    </a:cubicBezTo>
                    <a:cubicBezTo>
                      <a:pt x="368" y="325"/>
                      <a:pt x="366" y="326"/>
                      <a:pt x="363" y="326"/>
                    </a:cubicBezTo>
                    <a:lnTo>
                      <a:pt x="286" y="331"/>
                    </a:lnTo>
                    <a:lnTo>
                      <a:pt x="289" y="331"/>
                    </a:lnTo>
                    <a:lnTo>
                      <a:pt x="247" y="351"/>
                    </a:lnTo>
                    <a:lnTo>
                      <a:pt x="252" y="342"/>
                    </a:lnTo>
                    <a:lnTo>
                      <a:pt x="259" y="394"/>
                    </a:lnTo>
                    <a:cubicBezTo>
                      <a:pt x="259" y="397"/>
                      <a:pt x="257" y="401"/>
                      <a:pt x="254" y="402"/>
                    </a:cubicBezTo>
                    <a:lnTo>
                      <a:pt x="38" y="516"/>
                    </a:lnTo>
                    <a:lnTo>
                      <a:pt x="43" y="511"/>
                    </a:lnTo>
                    <a:lnTo>
                      <a:pt x="16" y="609"/>
                    </a:lnTo>
                    <a:close/>
                    <a:moveTo>
                      <a:pt x="27" y="506"/>
                    </a:moveTo>
                    <a:cubicBezTo>
                      <a:pt x="28" y="504"/>
                      <a:pt x="29" y="502"/>
                      <a:pt x="31" y="501"/>
                    </a:cubicBezTo>
                    <a:lnTo>
                      <a:pt x="247" y="388"/>
                    </a:lnTo>
                    <a:lnTo>
                      <a:pt x="243" y="396"/>
                    </a:lnTo>
                    <a:lnTo>
                      <a:pt x="236" y="345"/>
                    </a:lnTo>
                    <a:cubicBezTo>
                      <a:pt x="235" y="341"/>
                      <a:pt x="237" y="338"/>
                      <a:pt x="240" y="336"/>
                    </a:cubicBezTo>
                    <a:lnTo>
                      <a:pt x="282" y="316"/>
                    </a:lnTo>
                    <a:cubicBezTo>
                      <a:pt x="283" y="316"/>
                      <a:pt x="284" y="316"/>
                      <a:pt x="285" y="315"/>
                    </a:cubicBezTo>
                    <a:lnTo>
                      <a:pt x="362" y="310"/>
                    </a:lnTo>
                    <a:lnTo>
                      <a:pt x="355" y="320"/>
                    </a:lnTo>
                    <a:lnTo>
                      <a:pt x="309" y="129"/>
                    </a:lnTo>
                    <a:cubicBezTo>
                      <a:pt x="309" y="125"/>
                      <a:pt x="310" y="121"/>
                      <a:pt x="314" y="120"/>
                    </a:cubicBezTo>
                    <a:lnTo>
                      <a:pt x="491" y="28"/>
                    </a:lnTo>
                    <a:cubicBezTo>
                      <a:pt x="492" y="28"/>
                      <a:pt x="493" y="27"/>
                      <a:pt x="494" y="27"/>
                    </a:cubicBezTo>
                    <a:lnTo>
                      <a:pt x="840" y="0"/>
                    </a:lnTo>
                    <a:cubicBezTo>
                      <a:pt x="842" y="0"/>
                      <a:pt x="845" y="1"/>
                      <a:pt x="846" y="3"/>
                    </a:cubicBezTo>
                    <a:cubicBezTo>
                      <a:pt x="848" y="5"/>
                      <a:pt x="849" y="7"/>
                      <a:pt x="848" y="10"/>
                    </a:cubicBezTo>
                    <a:lnTo>
                      <a:pt x="828" y="168"/>
                    </a:lnTo>
                    <a:cubicBezTo>
                      <a:pt x="827" y="170"/>
                      <a:pt x="827" y="171"/>
                      <a:pt x="825" y="173"/>
                    </a:cubicBezTo>
                    <a:lnTo>
                      <a:pt x="784" y="213"/>
                    </a:lnTo>
                    <a:lnTo>
                      <a:pt x="785" y="202"/>
                    </a:lnTo>
                    <a:lnTo>
                      <a:pt x="865" y="319"/>
                    </a:lnTo>
                    <a:cubicBezTo>
                      <a:pt x="866" y="320"/>
                      <a:pt x="866" y="321"/>
                      <a:pt x="866" y="323"/>
                    </a:cubicBezTo>
                    <a:lnTo>
                      <a:pt x="880" y="439"/>
                    </a:lnTo>
                    <a:lnTo>
                      <a:pt x="879" y="697"/>
                    </a:lnTo>
                    <a:lnTo>
                      <a:pt x="877" y="692"/>
                    </a:lnTo>
                    <a:lnTo>
                      <a:pt x="991" y="852"/>
                    </a:lnTo>
                    <a:cubicBezTo>
                      <a:pt x="993" y="856"/>
                      <a:pt x="993" y="860"/>
                      <a:pt x="990" y="863"/>
                    </a:cubicBezTo>
                    <a:lnTo>
                      <a:pt x="699" y="1105"/>
                    </a:lnTo>
                    <a:cubicBezTo>
                      <a:pt x="698" y="1105"/>
                      <a:pt x="697" y="1106"/>
                      <a:pt x="696" y="1106"/>
                    </a:cubicBezTo>
                    <a:lnTo>
                      <a:pt x="621" y="1128"/>
                    </a:lnTo>
                    <a:lnTo>
                      <a:pt x="582" y="1136"/>
                    </a:lnTo>
                    <a:cubicBezTo>
                      <a:pt x="580" y="1137"/>
                      <a:pt x="577" y="1136"/>
                      <a:pt x="575" y="1135"/>
                    </a:cubicBezTo>
                    <a:cubicBezTo>
                      <a:pt x="574" y="1134"/>
                      <a:pt x="572" y="1131"/>
                      <a:pt x="572" y="1129"/>
                    </a:cubicBezTo>
                    <a:lnTo>
                      <a:pt x="568" y="1076"/>
                    </a:lnTo>
                    <a:lnTo>
                      <a:pt x="571" y="1081"/>
                    </a:lnTo>
                    <a:lnTo>
                      <a:pt x="185" y="773"/>
                    </a:lnTo>
                    <a:lnTo>
                      <a:pt x="8" y="635"/>
                    </a:lnTo>
                    <a:cubicBezTo>
                      <a:pt x="6" y="634"/>
                      <a:pt x="5" y="632"/>
                      <a:pt x="5" y="630"/>
                    </a:cubicBezTo>
                    <a:lnTo>
                      <a:pt x="1" y="608"/>
                    </a:lnTo>
                    <a:cubicBezTo>
                      <a:pt x="0" y="607"/>
                      <a:pt x="0" y="606"/>
                      <a:pt x="1" y="605"/>
                    </a:cubicBezTo>
                    <a:lnTo>
                      <a:pt x="27" y="506"/>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66" name="Freeform 22"/>
              <p:cNvSpPr>
                <a:spLocks/>
              </p:cNvSpPr>
              <p:nvPr/>
            </p:nvSpPr>
            <p:spPr bwMode="auto">
              <a:xfrm>
                <a:off x="1716" y="2413"/>
                <a:ext cx="273" cy="468"/>
              </a:xfrm>
              <a:custGeom>
                <a:avLst/>
                <a:gdLst/>
                <a:ahLst/>
                <a:cxnLst>
                  <a:cxn ang="0">
                    <a:pos x="0" y="433"/>
                  </a:cxn>
                  <a:cxn ang="0">
                    <a:pos x="2" y="444"/>
                  </a:cxn>
                  <a:cxn ang="0">
                    <a:pos x="14" y="440"/>
                  </a:cxn>
                  <a:cxn ang="0">
                    <a:pos x="18" y="464"/>
                  </a:cxn>
                  <a:cxn ang="0">
                    <a:pos x="69" y="468"/>
                  </a:cxn>
                  <a:cxn ang="0">
                    <a:pos x="55" y="457"/>
                  </a:cxn>
                  <a:cxn ang="0">
                    <a:pos x="65" y="425"/>
                  </a:cxn>
                  <a:cxn ang="0">
                    <a:pos x="75" y="431"/>
                  </a:cxn>
                  <a:cxn ang="0">
                    <a:pos x="106" y="386"/>
                  </a:cxn>
                  <a:cxn ang="0">
                    <a:pos x="82" y="361"/>
                  </a:cxn>
                  <a:cxn ang="0">
                    <a:pos x="109" y="346"/>
                  </a:cxn>
                  <a:cxn ang="0">
                    <a:pos x="113" y="322"/>
                  </a:cxn>
                  <a:cxn ang="0">
                    <a:pos x="126" y="312"/>
                  </a:cxn>
                  <a:cxn ang="0">
                    <a:pos x="115" y="308"/>
                  </a:cxn>
                  <a:cxn ang="0">
                    <a:pos x="136" y="308"/>
                  </a:cxn>
                  <a:cxn ang="0">
                    <a:pos x="133" y="297"/>
                  </a:cxn>
                  <a:cxn ang="0">
                    <a:pos x="124" y="305"/>
                  </a:cxn>
                  <a:cxn ang="0">
                    <a:pos x="115" y="297"/>
                  </a:cxn>
                  <a:cxn ang="0">
                    <a:pos x="114" y="280"/>
                  </a:cxn>
                  <a:cxn ang="0">
                    <a:pos x="151" y="282"/>
                  </a:cxn>
                  <a:cxn ang="0">
                    <a:pos x="154" y="247"/>
                  </a:cxn>
                  <a:cxn ang="0">
                    <a:pos x="214" y="241"/>
                  </a:cxn>
                  <a:cxn ang="0">
                    <a:pos x="231" y="217"/>
                  </a:cxn>
                  <a:cxn ang="0">
                    <a:pos x="207" y="174"/>
                  </a:cxn>
                  <a:cxn ang="0">
                    <a:pos x="219" y="119"/>
                  </a:cxn>
                  <a:cxn ang="0">
                    <a:pos x="273" y="74"/>
                  </a:cxn>
                  <a:cxn ang="0">
                    <a:pos x="272" y="54"/>
                  </a:cxn>
                  <a:cxn ang="0">
                    <a:pos x="260" y="54"/>
                  </a:cxn>
                  <a:cxn ang="0">
                    <a:pos x="246" y="78"/>
                  </a:cxn>
                  <a:cxn ang="0">
                    <a:pos x="208" y="76"/>
                  </a:cxn>
                  <a:cxn ang="0">
                    <a:pos x="216" y="49"/>
                  </a:cxn>
                  <a:cxn ang="0">
                    <a:pos x="149" y="7"/>
                  </a:cxn>
                  <a:cxn ang="0">
                    <a:pos x="127" y="4"/>
                  </a:cxn>
                  <a:cxn ang="0">
                    <a:pos x="125" y="13"/>
                  </a:cxn>
                  <a:cxn ang="0">
                    <a:pos x="100" y="0"/>
                  </a:cxn>
                  <a:cxn ang="0">
                    <a:pos x="85" y="15"/>
                  </a:cxn>
                  <a:cxn ang="0">
                    <a:pos x="83" y="32"/>
                  </a:cxn>
                  <a:cxn ang="0">
                    <a:pos x="68" y="39"/>
                  </a:cxn>
                  <a:cxn ang="0">
                    <a:pos x="69" y="71"/>
                  </a:cxn>
                  <a:cxn ang="0">
                    <a:pos x="52" y="89"/>
                  </a:cxn>
                  <a:cxn ang="0">
                    <a:pos x="39" y="135"/>
                  </a:cxn>
                  <a:cxn ang="0">
                    <a:pos x="49" y="178"/>
                  </a:cxn>
                  <a:cxn ang="0">
                    <a:pos x="31" y="215"/>
                  </a:cxn>
                  <a:cxn ang="0">
                    <a:pos x="18" y="306"/>
                  </a:cxn>
                  <a:cxn ang="0">
                    <a:pos x="28" y="339"/>
                  </a:cxn>
                  <a:cxn ang="0">
                    <a:pos x="18" y="342"/>
                  </a:cxn>
                  <a:cxn ang="0">
                    <a:pos x="23" y="371"/>
                  </a:cxn>
                  <a:cxn ang="0">
                    <a:pos x="0" y="433"/>
                  </a:cxn>
                </a:cxnLst>
                <a:rect l="0" t="0" r="r" b="b"/>
                <a:pathLst>
                  <a:path w="273" h="468">
                    <a:moveTo>
                      <a:pt x="0" y="433"/>
                    </a:moveTo>
                    <a:lnTo>
                      <a:pt x="2" y="444"/>
                    </a:lnTo>
                    <a:lnTo>
                      <a:pt x="14" y="440"/>
                    </a:lnTo>
                    <a:lnTo>
                      <a:pt x="18" y="464"/>
                    </a:lnTo>
                    <a:lnTo>
                      <a:pt x="69" y="468"/>
                    </a:lnTo>
                    <a:lnTo>
                      <a:pt x="55" y="457"/>
                    </a:lnTo>
                    <a:lnTo>
                      <a:pt x="65" y="425"/>
                    </a:lnTo>
                    <a:lnTo>
                      <a:pt x="75" y="431"/>
                    </a:lnTo>
                    <a:lnTo>
                      <a:pt x="106" y="386"/>
                    </a:lnTo>
                    <a:lnTo>
                      <a:pt x="82" y="361"/>
                    </a:lnTo>
                    <a:lnTo>
                      <a:pt x="109" y="346"/>
                    </a:lnTo>
                    <a:lnTo>
                      <a:pt x="113" y="322"/>
                    </a:lnTo>
                    <a:lnTo>
                      <a:pt x="126" y="312"/>
                    </a:lnTo>
                    <a:lnTo>
                      <a:pt x="115" y="308"/>
                    </a:lnTo>
                    <a:lnTo>
                      <a:pt x="136" y="308"/>
                    </a:lnTo>
                    <a:lnTo>
                      <a:pt x="133" y="297"/>
                    </a:lnTo>
                    <a:lnTo>
                      <a:pt x="124" y="305"/>
                    </a:lnTo>
                    <a:lnTo>
                      <a:pt x="115" y="297"/>
                    </a:lnTo>
                    <a:lnTo>
                      <a:pt x="114" y="280"/>
                    </a:lnTo>
                    <a:lnTo>
                      <a:pt x="151" y="282"/>
                    </a:lnTo>
                    <a:lnTo>
                      <a:pt x="154" y="247"/>
                    </a:lnTo>
                    <a:lnTo>
                      <a:pt x="214" y="241"/>
                    </a:lnTo>
                    <a:lnTo>
                      <a:pt x="231" y="217"/>
                    </a:lnTo>
                    <a:lnTo>
                      <a:pt x="207" y="174"/>
                    </a:lnTo>
                    <a:lnTo>
                      <a:pt x="219" y="119"/>
                    </a:lnTo>
                    <a:lnTo>
                      <a:pt x="273" y="74"/>
                    </a:lnTo>
                    <a:lnTo>
                      <a:pt x="272" y="54"/>
                    </a:lnTo>
                    <a:lnTo>
                      <a:pt x="260" y="54"/>
                    </a:lnTo>
                    <a:lnTo>
                      <a:pt x="246" y="78"/>
                    </a:lnTo>
                    <a:lnTo>
                      <a:pt x="208" y="76"/>
                    </a:lnTo>
                    <a:lnTo>
                      <a:pt x="216" y="49"/>
                    </a:lnTo>
                    <a:lnTo>
                      <a:pt x="149" y="7"/>
                    </a:lnTo>
                    <a:lnTo>
                      <a:pt x="127" y="4"/>
                    </a:lnTo>
                    <a:lnTo>
                      <a:pt x="125" y="13"/>
                    </a:lnTo>
                    <a:lnTo>
                      <a:pt x="100" y="0"/>
                    </a:lnTo>
                    <a:lnTo>
                      <a:pt x="85" y="15"/>
                    </a:lnTo>
                    <a:lnTo>
                      <a:pt x="83" y="32"/>
                    </a:lnTo>
                    <a:lnTo>
                      <a:pt x="68" y="39"/>
                    </a:lnTo>
                    <a:lnTo>
                      <a:pt x="69" y="71"/>
                    </a:lnTo>
                    <a:lnTo>
                      <a:pt x="52" y="89"/>
                    </a:lnTo>
                    <a:lnTo>
                      <a:pt x="39" y="135"/>
                    </a:lnTo>
                    <a:lnTo>
                      <a:pt x="49" y="178"/>
                    </a:lnTo>
                    <a:lnTo>
                      <a:pt x="31" y="215"/>
                    </a:lnTo>
                    <a:lnTo>
                      <a:pt x="18" y="306"/>
                    </a:lnTo>
                    <a:lnTo>
                      <a:pt x="28" y="339"/>
                    </a:lnTo>
                    <a:lnTo>
                      <a:pt x="18" y="342"/>
                    </a:lnTo>
                    <a:lnTo>
                      <a:pt x="23" y="371"/>
                    </a:lnTo>
                    <a:lnTo>
                      <a:pt x="0" y="433"/>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67" name="Freeform 23"/>
              <p:cNvSpPr>
                <a:spLocks noEditPoints="1"/>
              </p:cNvSpPr>
              <p:nvPr/>
            </p:nvSpPr>
            <p:spPr bwMode="auto">
              <a:xfrm>
                <a:off x="1713" y="2411"/>
                <a:ext cx="279" cy="472"/>
              </a:xfrm>
              <a:custGeom>
                <a:avLst/>
                <a:gdLst/>
                <a:ahLst/>
                <a:cxnLst>
                  <a:cxn ang="0">
                    <a:pos x="12" y="1941"/>
                  </a:cxn>
                  <a:cxn ang="0">
                    <a:pos x="80" y="2035"/>
                  </a:cxn>
                  <a:cxn ang="0">
                    <a:pos x="192" y="2011"/>
                  </a:cxn>
                  <a:cxn ang="0">
                    <a:pos x="239" y="1860"/>
                  </a:cxn>
                  <a:cxn ang="0">
                    <a:pos x="370" y="1704"/>
                  </a:cxn>
                  <a:cxn ang="0">
                    <a:pos x="381" y="1515"/>
                  </a:cxn>
                  <a:cxn ang="0">
                    <a:pos x="438" y="1369"/>
                  </a:cxn>
                  <a:cxn ang="0">
                    <a:pos x="407" y="1348"/>
                  </a:cxn>
                  <a:cxn ang="0">
                    <a:pos x="475" y="1314"/>
                  </a:cxn>
                  <a:cxn ang="0">
                    <a:pos x="400" y="1311"/>
                  </a:cxn>
                  <a:cxn ang="0">
                    <a:pos x="402" y="1224"/>
                  </a:cxn>
                  <a:cxn ang="0">
                    <a:pos x="541" y="1080"/>
                  </a:cxn>
                  <a:cxn ang="0">
                    <a:pos x="797" y="962"/>
                  </a:cxn>
                  <a:cxn ang="0">
                    <a:pos x="759" y="525"/>
                  </a:cxn>
                  <a:cxn ang="0">
                    <a:pos x="945" y="254"/>
                  </a:cxn>
                  <a:cxn ang="0">
                    <a:pos x="857" y="357"/>
                  </a:cxn>
                  <a:cxn ang="0">
                    <a:pos x="747" y="222"/>
                  </a:cxn>
                  <a:cxn ang="0">
                    <a:pos x="445" y="32"/>
                  </a:cxn>
                  <a:cxn ang="0">
                    <a:pos x="438" y="72"/>
                  </a:cxn>
                  <a:cxn ang="0">
                    <a:pos x="309" y="77"/>
                  </a:cxn>
                  <a:cxn ang="0">
                    <a:pos x="251" y="178"/>
                  </a:cxn>
                  <a:cxn ang="0">
                    <a:pos x="196" y="400"/>
                  </a:cxn>
                  <a:cxn ang="0">
                    <a:pos x="185" y="789"/>
                  </a:cxn>
                  <a:cxn ang="0">
                    <a:pos x="80" y="1344"/>
                  </a:cxn>
                  <a:cxn ang="0">
                    <a:pos x="81" y="1502"/>
                  </a:cxn>
                  <a:cxn ang="0">
                    <a:pos x="82" y="1630"/>
                  </a:cxn>
                  <a:cxn ang="0">
                    <a:pos x="102" y="1484"/>
                  </a:cxn>
                  <a:cxn ang="0">
                    <a:pos x="107" y="946"/>
                  </a:cxn>
                  <a:cxn ang="0">
                    <a:pos x="135" y="599"/>
                  </a:cxn>
                  <a:cxn ang="0">
                    <a:pos x="240" y="315"/>
                  </a:cxn>
                  <a:cxn ang="0">
                    <a:pos x="292" y="142"/>
                  </a:cxn>
                  <a:cxn ang="0">
                    <a:pos x="346" y="5"/>
                  </a:cxn>
                  <a:cxn ang="0">
                    <a:pos x="439" y="24"/>
                  </a:cxn>
                  <a:cxn ang="0">
                    <a:pos x="529" y="33"/>
                  </a:cxn>
                  <a:cxn ang="0">
                    <a:pos x="728" y="333"/>
                  </a:cxn>
                  <a:cxn ang="0">
                    <a:pos x="907" y="236"/>
                  </a:cxn>
                  <a:cxn ang="0">
                    <a:pos x="958" y="340"/>
                  </a:cxn>
                  <a:cxn ang="0">
                    <a:pos x="732" y="768"/>
                  </a:cxn>
                  <a:cxn ang="0">
                    <a:pos x="748" y="1071"/>
                  </a:cxn>
                  <a:cxn ang="0">
                    <a:pos x="529" y="1248"/>
                  </a:cxn>
                  <a:cxn ang="0">
                    <a:pos x="413" y="1300"/>
                  </a:cxn>
                  <a:cxn ang="0">
                    <a:pos x="471" y="1301"/>
                  </a:cxn>
                  <a:cxn ang="0">
                    <a:pos x="477" y="1364"/>
                  </a:cxn>
                  <a:cxn ang="0">
                    <a:pos x="452" y="1373"/>
                  </a:cxn>
                  <a:cxn ang="0">
                    <a:pos x="394" y="1523"/>
                  </a:cxn>
                  <a:cxn ang="0">
                    <a:pos x="383" y="1694"/>
                  </a:cxn>
                  <a:cxn ang="0">
                    <a:pos x="263" y="1900"/>
                  </a:cxn>
                  <a:cxn ang="0">
                    <a:pos x="204" y="2000"/>
                  </a:cxn>
                  <a:cxn ang="0">
                    <a:pos x="71" y="2044"/>
                  </a:cxn>
                  <a:cxn ang="0">
                    <a:pos x="18" y="1956"/>
                  </a:cxn>
                  <a:cxn ang="0">
                    <a:pos x="1" y="1901"/>
                  </a:cxn>
                </a:cxnLst>
                <a:rect l="0" t="0" r="r" b="b"/>
                <a:pathLst>
                  <a:path w="961" h="2066">
                    <a:moveTo>
                      <a:pt x="16" y="1906"/>
                    </a:moveTo>
                    <a:lnTo>
                      <a:pt x="16" y="1902"/>
                    </a:lnTo>
                    <a:lnTo>
                      <a:pt x="23" y="1947"/>
                    </a:lnTo>
                    <a:lnTo>
                      <a:pt x="12" y="1941"/>
                    </a:lnTo>
                    <a:lnTo>
                      <a:pt x="54" y="1924"/>
                    </a:lnTo>
                    <a:cubicBezTo>
                      <a:pt x="56" y="1924"/>
                      <a:pt x="59" y="1924"/>
                      <a:pt x="61" y="1925"/>
                    </a:cubicBezTo>
                    <a:cubicBezTo>
                      <a:pt x="63" y="1926"/>
                      <a:pt x="64" y="1928"/>
                      <a:pt x="65" y="1931"/>
                    </a:cubicBezTo>
                    <a:lnTo>
                      <a:pt x="80" y="2035"/>
                    </a:lnTo>
                    <a:lnTo>
                      <a:pt x="73" y="2028"/>
                    </a:lnTo>
                    <a:lnTo>
                      <a:pt x="247" y="2050"/>
                    </a:lnTo>
                    <a:lnTo>
                      <a:pt x="240" y="2063"/>
                    </a:lnTo>
                    <a:lnTo>
                      <a:pt x="192" y="2011"/>
                    </a:lnTo>
                    <a:cubicBezTo>
                      <a:pt x="190" y="2009"/>
                      <a:pt x="189" y="2006"/>
                      <a:pt x="190" y="2004"/>
                    </a:cubicBezTo>
                    <a:lnTo>
                      <a:pt x="226" y="1865"/>
                    </a:lnTo>
                    <a:cubicBezTo>
                      <a:pt x="227" y="1862"/>
                      <a:pt x="229" y="1860"/>
                      <a:pt x="231" y="1859"/>
                    </a:cubicBezTo>
                    <a:cubicBezTo>
                      <a:pt x="234" y="1858"/>
                      <a:pt x="237" y="1859"/>
                      <a:pt x="239" y="1860"/>
                    </a:cubicBezTo>
                    <a:lnTo>
                      <a:pt x="273" y="1887"/>
                    </a:lnTo>
                    <a:lnTo>
                      <a:pt x="261" y="1889"/>
                    </a:lnTo>
                    <a:lnTo>
                      <a:pt x="369" y="1695"/>
                    </a:lnTo>
                    <a:lnTo>
                      <a:pt x="370" y="1704"/>
                    </a:lnTo>
                    <a:lnTo>
                      <a:pt x="285" y="1592"/>
                    </a:lnTo>
                    <a:cubicBezTo>
                      <a:pt x="284" y="1590"/>
                      <a:pt x="284" y="1588"/>
                      <a:pt x="284" y="1586"/>
                    </a:cubicBezTo>
                    <a:cubicBezTo>
                      <a:pt x="284" y="1583"/>
                      <a:pt x="285" y="1582"/>
                      <a:pt x="287" y="1580"/>
                    </a:cubicBezTo>
                    <a:lnTo>
                      <a:pt x="381" y="1515"/>
                    </a:lnTo>
                    <a:lnTo>
                      <a:pt x="378" y="1521"/>
                    </a:lnTo>
                    <a:lnTo>
                      <a:pt x="392" y="1418"/>
                    </a:lnTo>
                    <a:cubicBezTo>
                      <a:pt x="392" y="1417"/>
                      <a:pt x="393" y="1415"/>
                      <a:pt x="394" y="1414"/>
                    </a:cubicBezTo>
                    <a:lnTo>
                      <a:pt x="438" y="1369"/>
                    </a:lnTo>
                    <a:lnTo>
                      <a:pt x="440" y="1381"/>
                    </a:lnTo>
                    <a:lnTo>
                      <a:pt x="403" y="1363"/>
                    </a:lnTo>
                    <a:cubicBezTo>
                      <a:pt x="400" y="1361"/>
                      <a:pt x="398" y="1358"/>
                      <a:pt x="399" y="1354"/>
                    </a:cubicBezTo>
                    <a:cubicBezTo>
                      <a:pt x="400" y="1350"/>
                      <a:pt x="403" y="1348"/>
                      <a:pt x="407" y="1348"/>
                    </a:cubicBezTo>
                    <a:lnTo>
                      <a:pt x="477" y="1348"/>
                    </a:lnTo>
                    <a:lnTo>
                      <a:pt x="469" y="1357"/>
                    </a:lnTo>
                    <a:lnTo>
                      <a:pt x="461" y="1310"/>
                    </a:lnTo>
                    <a:lnTo>
                      <a:pt x="475" y="1314"/>
                    </a:lnTo>
                    <a:lnTo>
                      <a:pt x="443" y="1348"/>
                    </a:lnTo>
                    <a:cubicBezTo>
                      <a:pt x="441" y="1350"/>
                      <a:pt x="439" y="1351"/>
                      <a:pt x="437" y="1350"/>
                    </a:cubicBezTo>
                    <a:cubicBezTo>
                      <a:pt x="434" y="1350"/>
                      <a:pt x="432" y="1349"/>
                      <a:pt x="431" y="1348"/>
                    </a:cubicBezTo>
                    <a:lnTo>
                      <a:pt x="400" y="1311"/>
                    </a:lnTo>
                    <a:cubicBezTo>
                      <a:pt x="399" y="1309"/>
                      <a:pt x="399" y="1308"/>
                      <a:pt x="399" y="1306"/>
                    </a:cubicBezTo>
                    <a:lnTo>
                      <a:pt x="393" y="1232"/>
                    </a:lnTo>
                    <a:cubicBezTo>
                      <a:pt x="393" y="1230"/>
                      <a:pt x="394" y="1228"/>
                      <a:pt x="395" y="1226"/>
                    </a:cubicBezTo>
                    <a:cubicBezTo>
                      <a:pt x="397" y="1225"/>
                      <a:pt x="399" y="1224"/>
                      <a:pt x="402" y="1224"/>
                    </a:cubicBezTo>
                    <a:lnTo>
                      <a:pt x="530" y="1232"/>
                    </a:lnTo>
                    <a:lnTo>
                      <a:pt x="522" y="1240"/>
                    </a:lnTo>
                    <a:lnTo>
                      <a:pt x="534" y="1087"/>
                    </a:lnTo>
                    <a:cubicBezTo>
                      <a:pt x="534" y="1083"/>
                      <a:pt x="537" y="1080"/>
                      <a:pt x="541" y="1080"/>
                    </a:cubicBezTo>
                    <a:lnTo>
                      <a:pt x="746" y="1055"/>
                    </a:lnTo>
                    <a:lnTo>
                      <a:pt x="740" y="1059"/>
                    </a:lnTo>
                    <a:lnTo>
                      <a:pt x="798" y="955"/>
                    </a:lnTo>
                    <a:lnTo>
                      <a:pt x="797" y="962"/>
                    </a:lnTo>
                    <a:lnTo>
                      <a:pt x="717" y="775"/>
                    </a:lnTo>
                    <a:cubicBezTo>
                      <a:pt x="716" y="773"/>
                      <a:pt x="716" y="772"/>
                      <a:pt x="717" y="770"/>
                    </a:cubicBezTo>
                    <a:lnTo>
                      <a:pt x="757" y="529"/>
                    </a:lnTo>
                    <a:cubicBezTo>
                      <a:pt x="757" y="527"/>
                      <a:pt x="758" y="526"/>
                      <a:pt x="759" y="525"/>
                    </a:cubicBezTo>
                    <a:lnTo>
                      <a:pt x="947" y="329"/>
                    </a:lnTo>
                    <a:lnTo>
                      <a:pt x="944" y="335"/>
                    </a:lnTo>
                    <a:lnTo>
                      <a:pt x="938" y="246"/>
                    </a:lnTo>
                    <a:lnTo>
                      <a:pt x="945" y="254"/>
                    </a:lnTo>
                    <a:lnTo>
                      <a:pt x="907" y="252"/>
                    </a:lnTo>
                    <a:lnTo>
                      <a:pt x="914" y="247"/>
                    </a:lnTo>
                    <a:lnTo>
                      <a:pt x="864" y="353"/>
                    </a:lnTo>
                    <a:cubicBezTo>
                      <a:pt x="863" y="356"/>
                      <a:pt x="860" y="358"/>
                      <a:pt x="857" y="357"/>
                    </a:cubicBezTo>
                    <a:lnTo>
                      <a:pt x="727" y="349"/>
                    </a:lnTo>
                    <a:cubicBezTo>
                      <a:pt x="724" y="349"/>
                      <a:pt x="722" y="348"/>
                      <a:pt x="721" y="346"/>
                    </a:cubicBezTo>
                    <a:cubicBezTo>
                      <a:pt x="719" y="344"/>
                      <a:pt x="719" y="341"/>
                      <a:pt x="719" y="339"/>
                    </a:cubicBezTo>
                    <a:lnTo>
                      <a:pt x="747" y="222"/>
                    </a:lnTo>
                    <a:lnTo>
                      <a:pt x="750" y="230"/>
                    </a:lnTo>
                    <a:lnTo>
                      <a:pt x="519" y="46"/>
                    </a:lnTo>
                    <a:lnTo>
                      <a:pt x="522" y="47"/>
                    </a:lnTo>
                    <a:lnTo>
                      <a:pt x="445" y="32"/>
                    </a:lnTo>
                    <a:lnTo>
                      <a:pt x="455" y="25"/>
                    </a:lnTo>
                    <a:lnTo>
                      <a:pt x="450" y="66"/>
                    </a:lnTo>
                    <a:cubicBezTo>
                      <a:pt x="450" y="68"/>
                      <a:pt x="448" y="71"/>
                      <a:pt x="446" y="72"/>
                    </a:cubicBezTo>
                    <a:cubicBezTo>
                      <a:pt x="444" y="73"/>
                      <a:pt x="441" y="73"/>
                      <a:pt x="438" y="72"/>
                    </a:cubicBezTo>
                    <a:lnTo>
                      <a:pt x="348" y="16"/>
                    </a:lnTo>
                    <a:lnTo>
                      <a:pt x="359" y="14"/>
                    </a:lnTo>
                    <a:lnTo>
                      <a:pt x="308" y="81"/>
                    </a:lnTo>
                    <a:lnTo>
                      <a:pt x="309" y="77"/>
                    </a:lnTo>
                    <a:lnTo>
                      <a:pt x="304" y="149"/>
                    </a:lnTo>
                    <a:cubicBezTo>
                      <a:pt x="304" y="152"/>
                      <a:pt x="302" y="154"/>
                      <a:pt x="300" y="155"/>
                    </a:cubicBezTo>
                    <a:lnTo>
                      <a:pt x="247" y="186"/>
                    </a:lnTo>
                    <a:lnTo>
                      <a:pt x="251" y="178"/>
                    </a:lnTo>
                    <a:lnTo>
                      <a:pt x="254" y="319"/>
                    </a:lnTo>
                    <a:cubicBezTo>
                      <a:pt x="254" y="321"/>
                      <a:pt x="254" y="323"/>
                      <a:pt x="253" y="324"/>
                    </a:cubicBezTo>
                    <a:lnTo>
                      <a:pt x="195" y="403"/>
                    </a:lnTo>
                    <a:lnTo>
                      <a:pt x="196" y="400"/>
                    </a:lnTo>
                    <a:lnTo>
                      <a:pt x="150" y="599"/>
                    </a:lnTo>
                    <a:lnTo>
                      <a:pt x="150" y="596"/>
                    </a:lnTo>
                    <a:lnTo>
                      <a:pt x="185" y="785"/>
                    </a:lnTo>
                    <a:cubicBezTo>
                      <a:pt x="185" y="786"/>
                      <a:pt x="185" y="788"/>
                      <a:pt x="185" y="789"/>
                    </a:cubicBezTo>
                    <a:lnTo>
                      <a:pt x="122" y="950"/>
                    </a:lnTo>
                    <a:lnTo>
                      <a:pt x="123" y="948"/>
                    </a:lnTo>
                    <a:lnTo>
                      <a:pt x="80" y="1347"/>
                    </a:lnTo>
                    <a:lnTo>
                      <a:pt x="80" y="1344"/>
                    </a:lnTo>
                    <a:lnTo>
                      <a:pt x="113" y="1490"/>
                    </a:lnTo>
                    <a:cubicBezTo>
                      <a:pt x="114" y="1494"/>
                      <a:pt x="112" y="1498"/>
                      <a:pt x="108" y="1499"/>
                    </a:cubicBezTo>
                    <a:lnTo>
                      <a:pt x="76" y="1511"/>
                    </a:lnTo>
                    <a:lnTo>
                      <a:pt x="81" y="1502"/>
                    </a:lnTo>
                    <a:lnTo>
                      <a:pt x="98" y="1631"/>
                    </a:lnTo>
                    <a:cubicBezTo>
                      <a:pt x="98" y="1632"/>
                      <a:pt x="98" y="1633"/>
                      <a:pt x="98" y="1634"/>
                    </a:cubicBezTo>
                    <a:lnTo>
                      <a:pt x="16" y="1906"/>
                    </a:lnTo>
                    <a:close/>
                    <a:moveTo>
                      <a:pt x="82" y="1630"/>
                    </a:moveTo>
                    <a:lnTo>
                      <a:pt x="82" y="1633"/>
                    </a:lnTo>
                    <a:lnTo>
                      <a:pt x="65" y="1504"/>
                    </a:lnTo>
                    <a:cubicBezTo>
                      <a:pt x="65" y="1501"/>
                      <a:pt x="67" y="1497"/>
                      <a:pt x="71" y="1496"/>
                    </a:cubicBezTo>
                    <a:lnTo>
                      <a:pt x="102" y="1484"/>
                    </a:lnTo>
                    <a:lnTo>
                      <a:pt x="97" y="1493"/>
                    </a:lnTo>
                    <a:lnTo>
                      <a:pt x="64" y="1348"/>
                    </a:lnTo>
                    <a:cubicBezTo>
                      <a:pt x="64" y="1347"/>
                      <a:pt x="64" y="1346"/>
                      <a:pt x="64" y="1345"/>
                    </a:cubicBezTo>
                    <a:lnTo>
                      <a:pt x="107" y="946"/>
                    </a:lnTo>
                    <a:cubicBezTo>
                      <a:pt x="107" y="946"/>
                      <a:pt x="107" y="945"/>
                      <a:pt x="107" y="944"/>
                    </a:cubicBezTo>
                    <a:lnTo>
                      <a:pt x="170" y="784"/>
                    </a:lnTo>
                    <a:lnTo>
                      <a:pt x="169" y="788"/>
                    </a:lnTo>
                    <a:lnTo>
                      <a:pt x="135" y="599"/>
                    </a:lnTo>
                    <a:cubicBezTo>
                      <a:pt x="134" y="598"/>
                      <a:pt x="134" y="597"/>
                      <a:pt x="135" y="595"/>
                    </a:cubicBezTo>
                    <a:lnTo>
                      <a:pt x="180" y="396"/>
                    </a:lnTo>
                    <a:cubicBezTo>
                      <a:pt x="181" y="395"/>
                      <a:pt x="181" y="394"/>
                      <a:pt x="182" y="393"/>
                    </a:cubicBezTo>
                    <a:lnTo>
                      <a:pt x="240" y="315"/>
                    </a:lnTo>
                    <a:lnTo>
                      <a:pt x="238" y="319"/>
                    </a:lnTo>
                    <a:lnTo>
                      <a:pt x="235" y="179"/>
                    </a:lnTo>
                    <a:cubicBezTo>
                      <a:pt x="235" y="176"/>
                      <a:pt x="237" y="173"/>
                      <a:pt x="239" y="172"/>
                    </a:cubicBezTo>
                    <a:lnTo>
                      <a:pt x="292" y="142"/>
                    </a:lnTo>
                    <a:lnTo>
                      <a:pt x="288" y="148"/>
                    </a:lnTo>
                    <a:lnTo>
                      <a:pt x="293" y="76"/>
                    </a:lnTo>
                    <a:cubicBezTo>
                      <a:pt x="294" y="74"/>
                      <a:pt x="294" y="73"/>
                      <a:pt x="295" y="72"/>
                    </a:cubicBezTo>
                    <a:lnTo>
                      <a:pt x="346" y="5"/>
                    </a:lnTo>
                    <a:cubicBezTo>
                      <a:pt x="349" y="1"/>
                      <a:pt x="353" y="0"/>
                      <a:pt x="357" y="3"/>
                    </a:cubicBezTo>
                    <a:lnTo>
                      <a:pt x="447" y="58"/>
                    </a:lnTo>
                    <a:lnTo>
                      <a:pt x="434" y="64"/>
                    </a:lnTo>
                    <a:lnTo>
                      <a:pt x="439" y="24"/>
                    </a:lnTo>
                    <a:cubicBezTo>
                      <a:pt x="439" y="21"/>
                      <a:pt x="440" y="19"/>
                      <a:pt x="442" y="18"/>
                    </a:cubicBezTo>
                    <a:cubicBezTo>
                      <a:pt x="444" y="17"/>
                      <a:pt x="446" y="16"/>
                      <a:pt x="448" y="17"/>
                    </a:cubicBezTo>
                    <a:lnTo>
                      <a:pt x="526" y="32"/>
                    </a:lnTo>
                    <a:cubicBezTo>
                      <a:pt x="527" y="32"/>
                      <a:pt x="528" y="33"/>
                      <a:pt x="529" y="33"/>
                    </a:cubicBezTo>
                    <a:lnTo>
                      <a:pt x="760" y="218"/>
                    </a:lnTo>
                    <a:cubicBezTo>
                      <a:pt x="762" y="219"/>
                      <a:pt x="763" y="223"/>
                      <a:pt x="763" y="226"/>
                    </a:cubicBezTo>
                    <a:lnTo>
                      <a:pt x="735" y="343"/>
                    </a:lnTo>
                    <a:lnTo>
                      <a:pt x="728" y="333"/>
                    </a:lnTo>
                    <a:lnTo>
                      <a:pt x="858" y="341"/>
                    </a:lnTo>
                    <a:lnTo>
                      <a:pt x="850" y="346"/>
                    </a:lnTo>
                    <a:lnTo>
                      <a:pt x="900" y="240"/>
                    </a:lnTo>
                    <a:cubicBezTo>
                      <a:pt x="901" y="238"/>
                      <a:pt x="904" y="236"/>
                      <a:pt x="907" y="236"/>
                    </a:cubicBezTo>
                    <a:lnTo>
                      <a:pt x="946" y="238"/>
                    </a:lnTo>
                    <a:cubicBezTo>
                      <a:pt x="950" y="238"/>
                      <a:pt x="953" y="241"/>
                      <a:pt x="954" y="245"/>
                    </a:cubicBezTo>
                    <a:lnTo>
                      <a:pt x="960" y="334"/>
                    </a:lnTo>
                    <a:cubicBezTo>
                      <a:pt x="961" y="336"/>
                      <a:pt x="960" y="338"/>
                      <a:pt x="958" y="340"/>
                    </a:cubicBezTo>
                    <a:lnTo>
                      <a:pt x="770" y="536"/>
                    </a:lnTo>
                    <a:lnTo>
                      <a:pt x="772" y="532"/>
                    </a:lnTo>
                    <a:lnTo>
                      <a:pt x="732" y="773"/>
                    </a:lnTo>
                    <a:lnTo>
                      <a:pt x="732" y="768"/>
                    </a:lnTo>
                    <a:lnTo>
                      <a:pt x="812" y="956"/>
                    </a:lnTo>
                    <a:cubicBezTo>
                      <a:pt x="813" y="958"/>
                      <a:pt x="813" y="961"/>
                      <a:pt x="812" y="963"/>
                    </a:cubicBezTo>
                    <a:lnTo>
                      <a:pt x="754" y="1067"/>
                    </a:lnTo>
                    <a:cubicBezTo>
                      <a:pt x="752" y="1069"/>
                      <a:pt x="750" y="1070"/>
                      <a:pt x="748" y="1071"/>
                    </a:cubicBezTo>
                    <a:lnTo>
                      <a:pt x="543" y="1096"/>
                    </a:lnTo>
                    <a:lnTo>
                      <a:pt x="550" y="1089"/>
                    </a:lnTo>
                    <a:lnTo>
                      <a:pt x="538" y="1241"/>
                    </a:lnTo>
                    <a:cubicBezTo>
                      <a:pt x="537" y="1245"/>
                      <a:pt x="533" y="1249"/>
                      <a:pt x="529" y="1248"/>
                    </a:cubicBezTo>
                    <a:lnTo>
                      <a:pt x="400" y="1240"/>
                    </a:lnTo>
                    <a:lnTo>
                      <a:pt x="409" y="1231"/>
                    </a:lnTo>
                    <a:lnTo>
                      <a:pt x="415" y="1305"/>
                    </a:lnTo>
                    <a:lnTo>
                      <a:pt x="413" y="1300"/>
                    </a:lnTo>
                    <a:lnTo>
                      <a:pt x="443" y="1337"/>
                    </a:lnTo>
                    <a:lnTo>
                      <a:pt x="431" y="1337"/>
                    </a:lnTo>
                    <a:lnTo>
                      <a:pt x="463" y="1303"/>
                    </a:lnTo>
                    <a:cubicBezTo>
                      <a:pt x="465" y="1301"/>
                      <a:pt x="468" y="1300"/>
                      <a:pt x="471" y="1301"/>
                    </a:cubicBezTo>
                    <a:cubicBezTo>
                      <a:pt x="474" y="1302"/>
                      <a:pt x="476" y="1305"/>
                      <a:pt x="477" y="1308"/>
                    </a:cubicBezTo>
                    <a:lnTo>
                      <a:pt x="485" y="1354"/>
                    </a:lnTo>
                    <a:cubicBezTo>
                      <a:pt x="485" y="1357"/>
                      <a:pt x="485" y="1359"/>
                      <a:pt x="483" y="1361"/>
                    </a:cubicBezTo>
                    <a:cubicBezTo>
                      <a:pt x="482" y="1363"/>
                      <a:pt x="479" y="1364"/>
                      <a:pt x="477" y="1364"/>
                    </a:cubicBezTo>
                    <a:lnTo>
                      <a:pt x="407" y="1364"/>
                    </a:lnTo>
                    <a:lnTo>
                      <a:pt x="410" y="1349"/>
                    </a:lnTo>
                    <a:lnTo>
                      <a:pt x="447" y="1367"/>
                    </a:lnTo>
                    <a:cubicBezTo>
                      <a:pt x="450" y="1368"/>
                      <a:pt x="451" y="1370"/>
                      <a:pt x="452" y="1373"/>
                    </a:cubicBezTo>
                    <a:cubicBezTo>
                      <a:pt x="452" y="1375"/>
                      <a:pt x="451" y="1378"/>
                      <a:pt x="450" y="1380"/>
                    </a:cubicBezTo>
                    <a:lnTo>
                      <a:pt x="405" y="1425"/>
                    </a:lnTo>
                    <a:lnTo>
                      <a:pt x="408" y="1421"/>
                    </a:lnTo>
                    <a:lnTo>
                      <a:pt x="394" y="1523"/>
                    </a:lnTo>
                    <a:cubicBezTo>
                      <a:pt x="393" y="1525"/>
                      <a:pt x="392" y="1527"/>
                      <a:pt x="390" y="1528"/>
                    </a:cubicBezTo>
                    <a:lnTo>
                      <a:pt x="296" y="1593"/>
                    </a:lnTo>
                    <a:lnTo>
                      <a:pt x="298" y="1582"/>
                    </a:lnTo>
                    <a:lnTo>
                      <a:pt x="383" y="1694"/>
                    </a:lnTo>
                    <a:cubicBezTo>
                      <a:pt x="384" y="1697"/>
                      <a:pt x="385" y="1700"/>
                      <a:pt x="383" y="1703"/>
                    </a:cubicBezTo>
                    <a:lnTo>
                      <a:pt x="275" y="1897"/>
                    </a:lnTo>
                    <a:cubicBezTo>
                      <a:pt x="274" y="1899"/>
                      <a:pt x="272" y="1901"/>
                      <a:pt x="270" y="1901"/>
                    </a:cubicBezTo>
                    <a:cubicBezTo>
                      <a:pt x="268" y="1902"/>
                      <a:pt x="265" y="1901"/>
                      <a:pt x="263" y="1900"/>
                    </a:cubicBezTo>
                    <a:lnTo>
                      <a:pt x="229" y="1873"/>
                    </a:lnTo>
                    <a:lnTo>
                      <a:pt x="242" y="1869"/>
                    </a:lnTo>
                    <a:lnTo>
                      <a:pt x="206" y="2008"/>
                    </a:lnTo>
                    <a:lnTo>
                      <a:pt x="204" y="2000"/>
                    </a:lnTo>
                    <a:lnTo>
                      <a:pt x="252" y="2052"/>
                    </a:lnTo>
                    <a:cubicBezTo>
                      <a:pt x="254" y="2054"/>
                      <a:pt x="255" y="2058"/>
                      <a:pt x="253" y="2061"/>
                    </a:cubicBezTo>
                    <a:cubicBezTo>
                      <a:pt x="252" y="2064"/>
                      <a:pt x="249" y="2066"/>
                      <a:pt x="245" y="2065"/>
                    </a:cubicBezTo>
                    <a:lnTo>
                      <a:pt x="71" y="2044"/>
                    </a:lnTo>
                    <a:cubicBezTo>
                      <a:pt x="67" y="2043"/>
                      <a:pt x="65" y="2040"/>
                      <a:pt x="64" y="2037"/>
                    </a:cubicBezTo>
                    <a:lnTo>
                      <a:pt x="49" y="1933"/>
                    </a:lnTo>
                    <a:lnTo>
                      <a:pt x="60" y="1939"/>
                    </a:lnTo>
                    <a:lnTo>
                      <a:pt x="18" y="1956"/>
                    </a:lnTo>
                    <a:cubicBezTo>
                      <a:pt x="16" y="1957"/>
                      <a:pt x="14" y="1957"/>
                      <a:pt x="11" y="1956"/>
                    </a:cubicBezTo>
                    <a:cubicBezTo>
                      <a:pt x="9" y="1954"/>
                      <a:pt x="8" y="1952"/>
                      <a:pt x="7" y="1950"/>
                    </a:cubicBezTo>
                    <a:lnTo>
                      <a:pt x="1" y="1905"/>
                    </a:lnTo>
                    <a:cubicBezTo>
                      <a:pt x="0" y="1903"/>
                      <a:pt x="0" y="1902"/>
                      <a:pt x="1" y="1901"/>
                    </a:cubicBezTo>
                    <a:lnTo>
                      <a:pt x="82" y="1630"/>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68" name="Freeform 24"/>
              <p:cNvSpPr>
                <a:spLocks/>
              </p:cNvSpPr>
              <p:nvPr/>
            </p:nvSpPr>
            <p:spPr bwMode="auto">
              <a:xfrm>
                <a:off x="1781" y="2889"/>
                <a:ext cx="51" cy="40"/>
              </a:xfrm>
              <a:custGeom>
                <a:avLst/>
                <a:gdLst/>
                <a:ahLst/>
                <a:cxnLst>
                  <a:cxn ang="0">
                    <a:pos x="0" y="0"/>
                  </a:cxn>
                  <a:cxn ang="0">
                    <a:pos x="1" y="40"/>
                  </a:cxn>
                  <a:cxn ang="0">
                    <a:pos x="51" y="36"/>
                  </a:cxn>
                  <a:cxn ang="0">
                    <a:pos x="11" y="20"/>
                  </a:cxn>
                  <a:cxn ang="0">
                    <a:pos x="0" y="0"/>
                  </a:cxn>
                </a:cxnLst>
                <a:rect l="0" t="0" r="r" b="b"/>
                <a:pathLst>
                  <a:path w="51" h="40">
                    <a:moveTo>
                      <a:pt x="0" y="0"/>
                    </a:moveTo>
                    <a:lnTo>
                      <a:pt x="1" y="40"/>
                    </a:lnTo>
                    <a:lnTo>
                      <a:pt x="51" y="36"/>
                    </a:lnTo>
                    <a:lnTo>
                      <a:pt x="11" y="20"/>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69" name="Freeform 25"/>
              <p:cNvSpPr>
                <a:spLocks noEditPoints="1"/>
              </p:cNvSpPr>
              <p:nvPr/>
            </p:nvSpPr>
            <p:spPr bwMode="auto">
              <a:xfrm>
                <a:off x="1778" y="2887"/>
                <a:ext cx="56" cy="44"/>
              </a:xfrm>
              <a:custGeom>
                <a:avLst/>
                <a:gdLst/>
                <a:ahLst/>
                <a:cxnLst>
                  <a:cxn ang="0">
                    <a:pos x="1" y="12"/>
                  </a:cxn>
                  <a:cxn ang="0">
                    <a:pos x="16" y="8"/>
                  </a:cxn>
                  <a:cxn ang="0">
                    <a:pos x="21" y="184"/>
                  </a:cxn>
                  <a:cxn ang="0">
                    <a:pos x="12" y="177"/>
                  </a:cxn>
                  <a:cxn ang="0">
                    <a:pos x="184" y="158"/>
                  </a:cxn>
                  <a:cxn ang="0">
                    <a:pos x="181" y="173"/>
                  </a:cxn>
                  <a:cxn ang="0">
                    <a:pos x="44" y="102"/>
                  </a:cxn>
                  <a:cxn ang="0">
                    <a:pos x="40" y="98"/>
                  </a:cxn>
                  <a:cxn ang="0">
                    <a:pos x="1" y="12"/>
                  </a:cxn>
                  <a:cxn ang="0">
                    <a:pos x="55" y="91"/>
                  </a:cxn>
                  <a:cxn ang="0">
                    <a:pos x="51" y="88"/>
                  </a:cxn>
                  <a:cxn ang="0">
                    <a:pos x="188" y="159"/>
                  </a:cxn>
                  <a:cxn ang="0">
                    <a:pos x="192" y="168"/>
                  </a:cxn>
                  <a:cxn ang="0">
                    <a:pos x="185" y="174"/>
                  </a:cxn>
                  <a:cxn ang="0">
                    <a:pos x="14" y="192"/>
                  </a:cxn>
                  <a:cxn ang="0">
                    <a:pos x="8" y="190"/>
                  </a:cxn>
                  <a:cxn ang="0">
                    <a:pos x="5" y="185"/>
                  </a:cxn>
                  <a:cxn ang="0">
                    <a:pos x="0" y="9"/>
                  </a:cxn>
                  <a:cxn ang="0">
                    <a:pos x="7" y="1"/>
                  </a:cxn>
                  <a:cxn ang="0">
                    <a:pos x="16" y="5"/>
                  </a:cxn>
                  <a:cxn ang="0">
                    <a:pos x="55" y="91"/>
                  </a:cxn>
                </a:cxnLst>
                <a:rect l="0" t="0" r="r" b="b"/>
                <a:pathLst>
                  <a:path w="193" h="193">
                    <a:moveTo>
                      <a:pt x="1" y="12"/>
                    </a:moveTo>
                    <a:lnTo>
                      <a:pt x="16" y="8"/>
                    </a:lnTo>
                    <a:lnTo>
                      <a:pt x="21" y="184"/>
                    </a:lnTo>
                    <a:lnTo>
                      <a:pt x="12" y="177"/>
                    </a:lnTo>
                    <a:lnTo>
                      <a:pt x="184" y="158"/>
                    </a:lnTo>
                    <a:lnTo>
                      <a:pt x="181" y="173"/>
                    </a:lnTo>
                    <a:lnTo>
                      <a:pt x="44" y="102"/>
                    </a:lnTo>
                    <a:cubicBezTo>
                      <a:pt x="42" y="101"/>
                      <a:pt x="41" y="100"/>
                      <a:pt x="40" y="98"/>
                    </a:cubicBezTo>
                    <a:lnTo>
                      <a:pt x="1" y="12"/>
                    </a:lnTo>
                    <a:close/>
                    <a:moveTo>
                      <a:pt x="55" y="91"/>
                    </a:moveTo>
                    <a:lnTo>
                      <a:pt x="51" y="88"/>
                    </a:lnTo>
                    <a:lnTo>
                      <a:pt x="188" y="159"/>
                    </a:lnTo>
                    <a:cubicBezTo>
                      <a:pt x="191" y="161"/>
                      <a:pt x="193" y="164"/>
                      <a:pt x="192" y="168"/>
                    </a:cubicBezTo>
                    <a:cubicBezTo>
                      <a:pt x="192" y="171"/>
                      <a:pt x="189" y="174"/>
                      <a:pt x="185" y="174"/>
                    </a:cubicBezTo>
                    <a:lnTo>
                      <a:pt x="14" y="192"/>
                    </a:lnTo>
                    <a:cubicBezTo>
                      <a:pt x="11" y="193"/>
                      <a:pt x="9" y="192"/>
                      <a:pt x="8" y="190"/>
                    </a:cubicBezTo>
                    <a:cubicBezTo>
                      <a:pt x="6" y="189"/>
                      <a:pt x="5" y="187"/>
                      <a:pt x="5" y="185"/>
                    </a:cubicBezTo>
                    <a:lnTo>
                      <a:pt x="0" y="9"/>
                    </a:lnTo>
                    <a:cubicBezTo>
                      <a:pt x="0" y="5"/>
                      <a:pt x="3" y="2"/>
                      <a:pt x="7" y="1"/>
                    </a:cubicBezTo>
                    <a:cubicBezTo>
                      <a:pt x="10" y="0"/>
                      <a:pt x="14" y="2"/>
                      <a:pt x="16" y="5"/>
                    </a:cubicBezTo>
                    <a:lnTo>
                      <a:pt x="55" y="9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70" name="Freeform 26"/>
              <p:cNvSpPr>
                <a:spLocks/>
              </p:cNvSpPr>
              <p:nvPr/>
            </p:nvSpPr>
            <p:spPr bwMode="auto">
              <a:xfrm>
                <a:off x="4324" y="2267"/>
                <a:ext cx="566" cy="398"/>
              </a:xfrm>
              <a:custGeom>
                <a:avLst/>
                <a:gdLst/>
                <a:ahLst/>
                <a:cxnLst>
                  <a:cxn ang="0">
                    <a:pos x="9" y="213"/>
                  </a:cxn>
                  <a:cxn ang="0">
                    <a:pos x="15" y="208"/>
                  </a:cxn>
                  <a:cxn ang="0">
                    <a:pos x="11" y="149"/>
                  </a:cxn>
                  <a:cxn ang="0">
                    <a:pos x="49" y="132"/>
                  </a:cxn>
                  <a:cxn ang="0">
                    <a:pos x="128" y="98"/>
                  </a:cxn>
                  <a:cxn ang="0">
                    <a:pos x="135" y="75"/>
                  </a:cxn>
                  <a:cxn ang="0">
                    <a:pos x="144" y="74"/>
                  </a:cxn>
                  <a:cxn ang="0">
                    <a:pos x="158" y="64"/>
                  </a:cxn>
                  <a:cxn ang="0">
                    <a:pos x="202" y="46"/>
                  </a:cxn>
                  <a:cxn ang="0">
                    <a:pos x="215" y="54"/>
                  </a:cxn>
                  <a:cxn ang="0">
                    <a:pos x="226" y="48"/>
                  </a:cxn>
                  <a:cxn ang="0">
                    <a:pos x="272" y="19"/>
                  </a:cxn>
                  <a:cxn ang="0">
                    <a:pos x="328" y="22"/>
                  </a:cxn>
                  <a:cxn ang="0">
                    <a:pos x="378" y="94"/>
                  </a:cxn>
                  <a:cxn ang="0">
                    <a:pos x="400" y="18"/>
                  </a:cxn>
                  <a:cxn ang="0">
                    <a:pos x="429" y="47"/>
                  </a:cxn>
                  <a:cxn ang="0">
                    <a:pos x="466" y="112"/>
                  </a:cxn>
                  <a:cxn ang="0">
                    <a:pos x="513" y="159"/>
                  </a:cxn>
                  <a:cxn ang="0">
                    <a:pos x="528" y="174"/>
                  </a:cxn>
                  <a:cxn ang="0">
                    <a:pos x="566" y="239"/>
                  </a:cxn>
                  <a:cxn ang="0">
                    <a:pos x="534" y="315"/>
                  </a:cxn>
                  <a:cxn ang="0">
                    <a:pos x="484" y="380"/>
                  </a:cxn>
                  <a:cxn ang="0">
                    <a:pos x="466" y="398"/>
                  </a:cxn>
                  <a:cxn ang="0">
                    <a:pos x="424" y="393"/>
                  </a:cxn>
                  <a:cxn ang="0">
                    <a:pos x="376" y="372"/>
                  </a:cxn>
                  <a:cxn ang="0">
                    <a:pos x="350" y="345"/>
                  </a:cxn>
                  <a:cxn ang="0">
                    <a:pos x="344" y="338"/>
                  </a:cxn>
                  <a:cxn ang="0">
                    <a:pos x="345" y="300"/>
                  </a:cxn>
                  <a:cxn ang="0">
                    <a:pos x="309" y="329"/>
                  </a:cxn>
                  <a:cxn ang="0">
                    <a:pos x="254" y="284"/>
                  </a:cxn>
                  <a:cxn ang="0">
                    <a:pos x="148" y="318"/>
                  </a:cxn>
                  <a:cxn ang="0">
                    <a:pos x="66" y="338"/>
                  </a:cxn>
                  <a:cxn ang="0">
                    <a:pos x="36" y="286"/>
                  </a:cxn>
                </a:cxnLst>
                <a:rect l="0" t="0" r="r" b="b"/>
                <a:pathLst>
                  <a:path w="566" h="398">
                    <a:moveTo>
                      <a:pt x="0" y="210"/>
                    </a:moveTo>
                    <a:lnTo>
                      <a:pt x="9" y="213"/>
                    </a:lnTo>
                    <a:lnTo>
                      <a:pt x="4" y="201"/>
                    </a:lnTo>
                    <a:lnTo>
                      <a:pt x="15" y="208"/>
                    </a:lnTo>
                    <a:lnTo>
                      <a:pt x="3" y="185"/>
                    </a:lnTo>
                    <a:lnTo>
                      <a:pt x="11" y="149"/>
                    </a:lnTo>
                    <a:lnTo>
                      <a:pt x="14" y="159"/>
                    </a:lnTo>
                    <a:lnTo>
                      <a:pt x="49" y="132"/>
                    </a:lnTo>
                    <a:lnTo>
                      <a:pt x="108" y="118"/>
                    </a:lnTo>
                    <a:lnTo>
                      <a:pt x="128" y="98"/>
                    </a:lnTo>
                    <a:lnTo>
                      <a:pt x="128" y="85"/>
                    </a:lnTo>
                    <a:lnTo>
                      <a:pt x="135" y="75"/>
                    </a:lnTo>
                    <a:lnTo>
                      <a:pt x="144" y="91"/>
                    </a:lnTo>
                    <a:lnTo>
                      <a:pt x="144" y="74"/>
                    </a:lnTo>
                    <a:lnTo>
                      <a:pt x="157" y="77"/>
                    </a:lnTo>
                    <a:lnTo>
                      <a:pt x="158" y="64"/>
                    </a:lnTo>
                    <a:lnTo>
                      <a:pt x="179" y="45"/>
                    </a:lnTo>
                    <a:lnTo>
                      <a:pt x="202" y="46"/>
                    </a:lnTo>
                    <a:lnTo>
                      <a:pt x="206" y="65"/>
                    </a:lnTo>
                    <a:lnTo>
                      <a:pt x="215" y="54"/>
                    </a:lnTo>
                    <a:lnTo>
                      <a:pt x="232" y="61"/>
                    </a:lnTo>
                    <a:lnTo>
                      <a:pt x="226" y="48"/>
                    </a:lnTo>
                    <a:lnTo>
                      <a:pt x="239" y="27"/>
                    </a:lnTo>
                    <a:lnTo>
                      <a:pt x="272" y="19"/>
                    </a:lnTo>
                    <a:lnTo>
                      <a:pt x="264" y="5"/>
                    </a:lnTo>
                    <a:lnTo>
                      <a:pt x="328" y="22"/>
                    </a:lnTo>
                    <a:lnTo>
                      <a:pt x="314" y="57"/>
                    </a:lnTo>
                    <a:lnTo>
                      <a:pt x="378" y="94"/>
                    </a:lnTo>
                    <a:lnTo>
                      <a:pt x="393" y="80"/>
                    </a:lnTo>
                    <a:lnTo>
                      <a:pt x="400" y="18"/>
                    </a:lnTo>
                    <a:lnTo>
                      <a:pt x="416" y="0"/>
                    </a:lnTo>
                    <a:lnTo>
                      <a:pt x="429" y="47"/>
                    </a:lnTo>
                    <a:lnTo>
                      <a:pt x="451" y="57"/>
                    </a:lnTo>
                    <a:lnTo>
                      <a:pt x="466" y="112"/>
                    </a:lnTo>
                    <a:lnTo>
                      <a:pt x="500" y="129"/>
                    </a:lnTo>
                    <a:lnTo>
                      <a:pt x="513" y="159"/>
                    </a:lnTo>
                    <a:lnTo>
                      <a:pt x="525" y="157"/>
                    </a:lnTo>
                    <a:lnTo>
                      <a:pt x="528" y="174"/>
                    </a:lnTo>
                    <a:lnTo>
                      <a:pt x="556" y="197"/>
                    </a:lnTo>
                    <a:lnTo>
                      <a:pt x="566" y="239"/>
                    </a:lnTo>
                    <a:lnTo>
                      <a:pt x="559" y="280"/>
                    </a:lnTo>
                    <a:lnTo>
                      <a:pt x="534" y="315"/>
                    </a:lnTo>
                    <a:lnTo>
                      <a:pt x="517" y="374"/>
                    </a:lnTo>
                    <a:lnTo>
                      <a:pt x="484" y="380"/>
                    </a:lnTo>
                    <a:lnTo>
                      <a:pt x="465" y="392"/>
                    </a:lnTo>
                    <a:lnTo>
                      <a:pt x="466" y="398"/>
                    </a:lnTo>
                    <a:lnTo>
                      <a:pt x="446" y="379"/>
                    </a:lnTo>
                    <a:lnTo>
                      <a:pt x="424" y="393"/>
                    </a:lnTo>
                    <a:lnTo>
                      <a:pt x="398" y="386"/>
                    </a:lnTo>
                    <a:lnTo>
                      <a:pt x="376" y="372"/>
                    </a:lnTo>
                    <a:lnTo>
                      <a:pt x="367" y="342"/>
                    </a:lnTo>
                    <a:lnTo>
                      <a:pt x="350" y="345"/>
                    </a:lnTo>
                    <a:lnTo>
                      <a:pt x="350" y="326"/>
                    </a:lnTo>
                    <a:lnTo>
                      <a:pt x="344" y="338"/>
                    </a:lnTo>
                    <a:lnTo>
                      <a:pt x="333" y="339"/>
                    </a:lnTo>
                    <a:lnTo>
                      <a:pt x="345" y="300"/>
                    </a:lnTo>
                    <a:lnTo>
                      <a:pt x="320" y="337"/>
                    </a:lnTo>
                    <a:lnTo>
                      <a:pt x="309" y="329"/>
                    </a:lnTo>
                    <a:lnTo>
                      <a:pt x="296" y="300"/>
                    </a:lnTo>
                    <a:lnTo>
                      <a:pt x="254" y="284"/>
                    </a:lnTo>
                    <a:lnTo>
                      <a:pt x="179" y="297"/>
                    </a:lnTo>
                    <a:lnTo>
                      <a:pt x="148" y="318"/>
                    </a:lnTo>
                    <a:lnTo>
                      <a:pt x="96" y="319"/>
                    </a:lnTo>
                    <a:lnTo>
                      <a:pt x="66" y="338"/>
                    </a:lnTo>
                    <a:lnTo>
                      <a:pt x="27" y="325"/>
                    </a:lnTo>
                    <a:lnTo>
                      <a:pt x="36" y="286"/>
                    </a:lnTo>
                    <a:lnTo>
                      <a:pt x="0" y="21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71" name="Freeform 27"/>
              <p:cNvSpPr>
                <a:spLocks noEditPoints="1"/>
              </p:cNvSpPr>
              <p:nvPr/>
            </p:nvSpPr>
            <p:spPr bwMode="auto">
              <a:xfrm>
                <a:off x="4321" y="2265"/>
                <a:ext cx="571" cy="403"/>
              </a:xfrm>
              <a:custGeom>
                <a:avLst/>
                <a:gdLst/>
                <a:ahLst/>
                <a:cxnLst>
                  <a:cxn ang="0">
                    <a:pos x="34" y="945"/>
                  </a:cxn>
                  <a:cxn ang="0">
                    <a:pos x="52" y="921"/>
                  </a:cxn>
                  <a:cxn ang="0">
                    <a:pos x="54" y="661"/>
                  </a:cxn>
                  <a:cxn ang="0">
                    <a:pos x="379" y="520"/>
                  </a:cxn>
                  <a:cxn ang="0">
                    <a:pos x="443" y="376"/>
                  </a:cxn>
                  <a:cxn ang="0">
                    <a:pos x="499" y="406"/>
                  </a:cxn>
                  <a:cxn ang="0">
                    <a:pos x="544" y="346"/>
                  </a:cxn>
                  <a:cxn ang="0">
                    <a:pos x="706" y="201"/>
                  </a:cxn>
                  <a:cxn ang="0">
                    <a:pos x="755" y="238"/>
                  </a:cxn>
                  <a:cxn ang="0">
                    <a:pos x="826" y="123"/>
                  </a:cxn>
                  <a:cxn ang="0">
                    <a:pos x="912" y="26"/>
                  </a:cxn>
                  <a:cxn ang="0">
                    <a:pos x="1097" y="254"/>
                  </a:cxn>
                  <a:cxn ang="0">
                    <a:pos x="1382" y="89"/>
                  </a:cxn>
                  <a:cxn ang="0">
                    <a:pos x="1497" y="212"/>
                  </a:cxn>
                  <a:cxn ang="0">
                    <a:pos x="1620" y="491"/>
                  </a:cxn>
                  <a:cxn ang="0">
                    <a:pos x="1820" y="689"/>
                  </a:cxn>
                  <a:cxn ang="0">
                    <a:pos x="1934" y="863"/>
                  </a:cxn>
                  <a:cxn ang="0">
                    <a:pos x="1945" y="1236"/>
                  </a:cxn>
                  <a:cxn ang="0">
                    <a:pos x="1681" y="1681"/>
                  </a:cxn>
                  <a:cxn ang="0">
                    <a:pos x="1620" y="1760"/>
                  </a:cxn>
                  <a:cxn ang="0">
                    <a:pos x="1470" y="1735"/>
                  </a:cxn>
                  <a:cxn ang="0">
                    <a:pos x="1265" y="1506"/>
                  </a:cxn>
                  <a:cxn ang="0">
                    <a:pos x="1207" y="1433"/>
                  </a:cxn>
                  <a:cxn ang="0">
                    <a:pos x="1151" y="1496"/>
                  </a:cxn>
                  <a:cxn ang="0">
                    <a:pos x="1115" y="1490"/>
                  </a:cxn>
                  <a:cxn ang="0">
                    <a:pos x="1026" y="1330"/>
                  </a:cxn>
                  <a:cxn ang="0">
                    <a:pos x="524" y="1405"/>
                  </a:cxn>
                  <a:cxn ang="0">
                    <a:pos x="235" y="1495"/>
                  </a:cxn>
                  <a:cxn ang="0">
                    <a:pos x="1" y="930"/>
                  </a:cxn>
                  <a:cxn ang="0">
                    <a:pos x="241" y="1480"/>
                  </a:cxn>
                  <a:cxn ang="0">
                    <a:pos x="514" y="1393"/>
                  </a:cxn>
                  <a:cxn ang="0">
                    <a:pos x="1033" y="1316"/>
                  </a:cxn>
                  <a:cxn ang="0">
                    <a:pos x="1106" y="1478"/>
                  </a:cxn>
                  <a:cxn ang="0">
                    <a:pos x="1157" y="1483"/>
                  </a:cxn>
                  <a:cxn ang="0">
                    <a:pos x="1223" y="1432"/>
                  </a:cxn>
                  <a:cxn ang="0">
                    <a:pos x="1281" y="1502"/>
                  </a:cxn>
                  <a:cxn ang="0">
                    <a:pos x="1474" y="1720"/>
                  </a:cxn>
                  <a:cxn ang="0">
                    <a:pos x="1623" y="1747"/>
                  </a:cxn>
                  <a:cxn ang="0">
                    <a:pos x="1677" y="1665"/>
                  </a:cxn>
                  <a:cxn ang="0">
                    <a:pos x="1931" y="1228"/>
                  </a:cxn>
                  <a:cxn ang="0">
                    <a:pos x="1923" y="874"/>
                  </a:cxn>
                  <a:cxn ang="0">
                    <a:pos x="1778" y="713"/>
                  </a:cxn>
                  <a:cxn ang="0">
                    <a:pos x="1608" y="499"/>
                  </a:cxn>
                  <a:cxn ang="0">
                    <a:pos x="1435" y="10"/>
                  </a:cxn>
                  <a:cxn ang="0">
                    <a:pos x="1372" y="364"/>
                  </a:cxn>
                  <a:cxn ang="0">
                    <a:pos x="1132" y="104"/>
                  </a:cxn>
                  <a:cxn ang="0">
                    <a:pos x="955" y="95"/>
                  </a:cxn>
                  <a:cxn ang="0">
                    <a:pos x="795" y="214"/>
                  </a:cxn>
                  <a:cxn ang="0">
                    <a:pos x="758" y="250"/>
                  </a:cxn>
                  <a:cxn ang="0">
                    <a:pos x="705" y="217"/>
                  </a:cxn>
                  <a:cxn ang="0">
                    <a:pos x="560" y="347"/>
                  </a:cxn>
                  <a:cxn ang="0">
                    <a:pos x="515" y="406"/>
                  </a:cxn>
                  <a:cxn ang="0">
                    <a:pos x="456" y="384"/>
                  </a:cxn>
                  <a:cxn ang="0">
                    <a:pos x="384" y="535"/>
                  </a:cxn>
                  <a:cxn ang="0">
                    <a:pos x="49" y="707"/>
                  </a:cxn>
                  <a:cxn ang="0">
                    <a:pos x="67" y="916"/>
                  </a:cxn>
                  <a:cxn ang="0">
                    <a:pos x="49" y="939"/>
                  </a:cxn>
                  <a:cxn ang="0">
                    <a:pos x="140" y="1259"/>
                  </a:cxn>
                </a:cxnLst>
                <a:rect l="0" t="0" r="r" b="b"/>
                <a:pathLst>
                  <a:path w="1969" h="1761">
                    <a:moveTo>
                      <a:pt x="1" y="930"/>
                    </a:moveTo>
                    <a:cubicBezTo>
                      <a:pt x="0" y="927"/>
                      <a:pt x="1" y="923"/>
                      <a:pt x="3" y="921"/>
                    </a:cubicBezTo>
                    <a:cubicBezTo>
                      <a:pt x="5" y="919"/>
                      <a:pt x="9" y="918"/>
                      <a:pt x="12" y="920"/>
                    </a:cubicBezTo>
                    <a:lnTo>
                      <a:pt x="45" y="934"/>
                    </a:lnTo>
                    <a:lnTo>
                      <a:pt x="34" y="945"/>
                    </a:lnTo>
                    <a:lnTo>
                      <a:pt x="15" y="893"/>
                    </a:lnTo>
                    <a:cubicBezTo>
                      <a:pt x="14" y="890"/>
                      <a:pt x="15" y="886"/>
                      <a:pt x="18" y="884"/>
                    </a:cubicBezTo>
                    <a:cubicBezTo>
                      <a:pt x="20" y="882"/>
                      <a:pt x="24" y="882"/>
                      <a:pt x="27" y="884"/>
                    </a:cubicBezTo>
                    <a:lnTo>
                      <a:pt x="65" y="912"/>
                    </a:lnTo>
                    <a:lnTo>
                      <a:pt x="52" y="921"/>
                    </a:lnTo>
                    <a:lnTo>
                      <a:pt x="14" y="820"/>
                    </a:lnTo>
                    <a:cubicBezTo>
                      <a:pt x="13" y="819"/>
                      <a:pt x="13" y="818"/>
                      <a:pt x="13" y="816"/>
                    </a:cubicBezTo>
                    <a:lnTo>
                      <a:pt x="38" y="662"/>
                    </a:lnTo>
                    <a:cubicBezTo>
                      <a:pt x="39" y="658"/>
                      <a:pt x="42" y="655"/>
                      <a:pt x="46" y="655"/>
                    </a:cubicBezTo>
                    <a:cubicBezTo>
                      <a:pt x="49" y="655"/>
                      <a:pt x="53" y="658"/>
                      <a:pt x="54" y="661"/>
                    </a:cubicBezTo>
                    <a:lnTo>
                      <a:pt x="65" y="703"/>
                    </a:lnTo>
                    <a:lnTo>
                      <a:pt x="52" y="699"/>
                    </a:lnTo>
                    <a:lnTo>
                      <a:pt x="173" y="580"/>
                    </a:lnTo>
                    <a:cubicBezTo>
                      <a:pt x="174" y="579"/>
                      <a:pt x="175" y="578"/>
                      <a:pt x="176" y="578"/>
                    </a:cubicBezTo>
                    <a:lnTo>
                      <a:pt x="379" y="520"/>
                    </a:lnTo>
                    <a:lnTo>
                      <a:pt x="375" y="522"/>
                    </a:lnTo>
                    <a:lnTo>
                      <a:pt x="445" y="431"/>
                    </a:lnTo>
                    <a:lnTo>
                      <a:pt x="443" y="436"/>
                    </a:lnTo>
                    <a:lnTo>
                      <a:pt x="442" y="380"/>
                    </a:lnTo>
                    <a:cubicBezTo>
                      <a:pt x="441" y="378"/>
                      <a:pt x="442" y="377"/>
                      <a:pt x="443" y="376"/>
                    </a:cubicBezTo>
                    <a:lnTo>
                      <a:pt x="469" y="333"/>
                    </a:lnTo>
                    <a:cubicBezTo>
                      <a:pt x="471" y="330"/>
                      <a:pt x="474" y="329"/>
                      <a:pt x="476" y="329"/>
                    </a:cubicBezTo>
                    <a:cubicBezTo>
                      <a:pt x="479" y="329"/>
                      <a:pt x="482" y="331"/>
                      <a:pt x="483" y="333"/>
                    </a:cubicBezTo>
                    <a:lnTo>
                      <a:pt x="514" y="403"/>
                    </a:lnTo>
                    <a:lnTo>
                      <a:pt x="499" y="406"/>
                    </a:lnTo>
                    <a:lnTo>
                      <a:pt x="499" y="332"/>
                    </a:lnTo>
                    <a:cubicBezTo>
                      <a:pt x="499" y="329"/>
                      <a:pt x="500" y="327"/>
                      <a:pt x="502" y="325"/>
                    </a:cubicBezTo>
                    <a:cubicBezTo>
                      <a:pt x="504" y="324"/>
                      <a:pt x="507" y="323"/>
                      <a:pt x="509" y="324"/>
                    </a:cubicBezTo>
                    <a:lnTo>
                      <a:pt x="555" y="339"/>
                    </a:lnTo>
                    <a:lnTo>
                      <a:pt x="544" y="346"/>
                    </a:lnTo>
                    <a:lnTo>
                      <a:pt x="547" y="290"/>
                    </a:lnTo>
                    <a:cubicBezTo>
                      <a:pt x="547" y="288"/>
                      <a:pt x="548" y="286"/>
                      <a:pt x="549" y="285"/>
                    </a:cubicBezTo>
                    <a:lnTo>
                      <a:pt x="622" y="201"/>
                    </a:lnTo>
                    <a:cubicBezTo>
                      <a:pt x="623" y="199"/>
                      <a:pt x="625" y="198"/>
                      <a:pt x="628" y="198"/>
                    </a:cubicBezTo>
                    <a:lnTo>
                      <a:pt x="706" y="201"/>
                    </a:lnTo>
                    <a:cubicBezTo>
                      <a:pt x="710" y="201"/>
                      <a:pt x="713" y="204"/>
                      <a:pt x="713" y="208"/>
                    </a:cubicBezTo>
                    <a:lnTo>
                      <a:pt x="729" y="294"/>
                    </a:lnTo>
                    <a:lnTo>
                      <a:pt x="714" y="291"/>
                    </a:lnTo>
                    <a:lnTo>
                      <a:pt x="745" y="241"/>
                    </a:lnTo>
                    <a:cubicBezTo>
                      <a:pt x="747" y="238"/>
                      <a:pt x="751" y="237"/>
                      <a:pt x="755" y="238"/>
                    </a:cubicBezTo>
                    <a:lnTo>
                      <a:pt x="813" y="266"/>
                    </a:lnTo>
                    <a:lnTo>
                      <a:pt x="802" y="277"/>
                    </a:lnTo>
                    <a:lnTo>
                      <a:pt x="780" y="220"/>
                    </a:lnTo>
                    <a:cubicBezTo>
                      <a:pt x="779" y="218"/>
                      <a:pt x="779" y="216"/>
                      <a:pt x="780" y="214"/>
                    </a:cubicBezTo>
                    <a:lnTo>
                      <a:pt x="826" y="123"/>
                    </a:lnTo>
                    <a:cubicBezTo>
                      <a:pt x="827" y="121"/>
                      <a:pt x="829" y="119"/>
                      <a:pt x="831" y="119"/>
                    </a:cubicBezTo>
                    <a:lnTo>
                      <a:pt x="945" y="84"/>
                    </a:lnTo>
                    <a:lnTo>
                      <a:pt x="940" y="95"/>
                    </a:lnTo>
                    <a:lnTo>
                      <a:pt x="911" y="35"/>
                    </a:lnTo>
                    <a:cubicBezTo>
                      <a:pt x="910" y="32"/>
                      <a:pt x="910" y="29"/>
                      <a:pt x="912" y="26"/>
                    </a:cubicBezTo>
                    <a:cubicBezTo>
                      <a:pt x="914" y="24"/>
                      <a:pt x="918" y="23"/>
                      <a:pt x="921" y="24"/>
                    </a:cubicBezTo>
                    <a:lnTo>
                      <a:pt x="1142" y="99"/>
                    </a:lnTo>
                    <a:cubicBezTo>
                      <a:pt x="1146" y="100"/>
                      <a:pt x="1149" y="104"/>
                      <a:pt x="1147" y="109"/>
                    </a:cubicBezTo>
                    <a:lnTo>
                      <a:pt x="1100" y="263"/>
                    </a:lnTo>
                    <a:lnTo>
                      <a:pt x="1097" y="254"/>
                    </a:lnTo>
                    <a:lnTo>
                      <a:pt x="1317" y="413"/>
                    </a:lnTo>
                    <a:lnTo>
                      <a:pt x="1306" y="414"/>
                    </a:lnTo>
                    <a:lnTo>
                      <a:pt x="1360" y="353"/>
                    </a:lnTo>
                    <a:lnTo>
                      <a:pt x="1358" y="358"/>
                    </a:lnTo>
                    <a:lnTo>
                      <a:pt x="1382" y="89"/>
                    </a:lnTo>
                    <a:cubicBezTo>
                      <a:pt x="1382" y="88"/>
                      <a:pt x="1383" y="86"/>
                      <a:pt x="1383" y="85"/>
                    </a:cubicBezTo>
                    <a:lnTo>
                      <a:pt x="1436" y="4"/>
                    </a:lnTo>
                    <a:cubicBezTo>
                      <a:pt x="1438" y="1"/>
                      <a:pt x="1441" y="0"/>
                      <a:pt x="1444" y="1"/>
                    </a:cubicBezTo>
                    <a:cubicBezTo>
                      <a:pt x="1447" y="1"/>
                      <a:pt x="1450" y="4"/>
                      <a:pt x="1451" y="7"/>
                    </a:cubicBezTo>
                    <a:lnTo>
                      <a:pt x="1497" y="212"/>
                    </a:lnTo>
                    <a:lnTo>
                      <a:pt x="1493" y="207"/>
                    </a:lnTo>
                    <a:lnTo>
                      <a:pt x="1569" y="254"/>
                    </a:lnTo>
                    <a:cubicBezTo>
                      <a:pt x="1571" y="255"/>
                      <a:pt x="1573" y="257"/>
                      <a:pt x="1573" y="259"/>
                    </a:cubicBezTo>
                    <a:lnTo>
                      <a:pt x="1623" y="496"/>
                    </a:lnTo>
                    <a:lnTo>
                      <a:pt x="1620" y="491"/>
                    </a:lnTo>
                    <a:lnTo>
                      <a:pt x="1738" y="565"/>
                    </a:lnTo>
                    <a:cubicBezTo>
                      <a:pt x="1740" y="566"/>
                      <a:pt x="1741" y="568"/>
                      <a:pt x="1741" y="570"/>
                    </a:cubicBezTo>
                    <a:lnTo>
                      <a:pt x="1784" y="702"/>
                    </a:lnTo>
                    <a:lnTo>
                      <a:pt x="1775" y="697"/>
                    </a:lnTo>
                    <a:lnTo>
                      <a:pt x="1820" y="689"/>
                    </a:lnTo>
                    <a:cubicBezTo>
                      <a:pt x="1822" y="688"/>
                      <a:pt x="1824" y="689"/>
                      <a:pt x="1826" y="690"/>
                    </a:cubicBezTo>
                    <a:cubicBezTo>
                      <a:pt x="1828" y="691"/>
                      <a:pt x="1829" y="693"/>
                      <a:pt x="1829" y="695"/>
                    </a:cubicBezTo>
                    <a:lnTo>
                      <a:pt x="1839" y="767"/>
                    </a:lnTo>
                    <a:lnTo>
                      <a:pt x="1837" y="762"/>
                    </a:lnTo>
                    <a:lnTo>
                      <a:pt x="1934" y="863"/>
                    </a:lnTo>
                    <a:cubicBezTo>
                      <a:pt x="1935" y="864"/>
                      <a:pt x="1936" y="866"/>
                      <a:pt x="1936" y="867"/>
                    </a:cubicBezTo>
                    <a:lnTo>
                      <a:pt x="1968" y="1052"/>
                    </a:lnTo>
                    <a:cubicBezTo>
                      <a:pt x="1968" y="1052"/>
                      <a:pt x="1969" y="1053"/>
                      <a:pt x="1968" y="1054"/>
                    </a:cubicBezTo>
                    <a:lnTo>
                      <a:pt x="1946" y="1233"/>
                    </a:lnTo>
                    <a:cubicBezTo>
                      <a:pt x="1946" y="1234"/>
                      <a:pt x="1946" y="1235"/>
                      <a:pt x="1945" y="1236"/>
                    </a:cubicBezTo>
                    <a:lnTo>
                      <a:pt x="1859" y="1390"/>
                    </a:lnTo>
                    <a:lnTo>
                      <a:pt x="1860" y="1388"/>
                    </a:lnTo>
                    <a:lnTo>
                      <a:pt x="1799" y="1647"/>
                    </a:lnTo>
                    <a:cubicBezTo>
                      <a:pt x="1798" y="1649"/>
                      <a:pt x="1796" y="1652"/>
                      <a:pt x="1793" y="1652"/>
                    </a:cubicBezTo>
                    <a:lnTo>
                      <a:pt x="1681" y="1681"/>
                    </a:lnTo>
                    <a:lnTo>
                      <a:pt x="1684" y="1679"/>
                    </a:lnTo>
                    <a:lnTo>
                      <a:pt x="1617" y="1729"/>
                    </a:lnTo>
                    <a:lnTo>
                      <a:pt x="1621" y="1722"/>
                    </a:lnTo>
                    <a:lnTo>
                      <a:pt x="1625" y="1751"/>
                    </a:lnTo>
                    <a:cubicBezTo>
                      <a:pt x="1625" y="1755"/>
                      <a:pt x="1623" y="1758"/>
                      <a:pt x="1620" y="1760"/>
                    </a:cubicBezTo>
                    <a:cubicBezTo>
                      <a:pt x="1617" y="1761"/>
                      <a:pt x="1613" y="1760"/>
                      <a:pt x="1611" y="1757"/>
                    </a:cubicBezTo>
                    <a:lnTo>
                      <a:pt x="1541" y="1670"/>
                    </a:lnTo>
                    <a:lnTo>
                      <a:pt x="1552" y="1671"/>
                    </a:lnTo>
                    <a:lnTo>
                      <a:pt x="1477" y="1734"/>
                    </a:lnTo>
                    <a:cubicBezTo>
                      <a:pt x="1475" y="1735"/>
                      <a:pt x="1472" y="1736"/>
                      <a:pt x="1470" y="1735"/>
                    </a:cubicBezTo>
                    <a:lnTo>
                      <a:pt x="1378" y="1707"/>
                    </a:lnTo>
                    <a:cubicBezTo>
                      <a:pt x="1377" y="1707"/>
                      <a:pt x="1376" y="1706"/>
                      <a:pt x="1375" y="1706"/>
                    </a:cubicBezTo>
                    <a:lnTo>
                      <a:pt x="1301" y="1643"/>
                    </a:lnTo>
                    <a:cubicBezTo>
                      <a:pt x="1300" y="1641"/>
                      <a:pt x="1299" y="1640"/>
                      <a:pt x="1299" y="1638"/>
                    </a:cubicBezTo>
                    <a:lnTo>
                      <a:pt x="1265" y="1506"/>
                    </a:lnTo>
                    <a:lnTo>
                      <a:pt x="1275" y="1512"/>
                    </a:lnTo>
                    <a:lnTo>
                      <a:pt x="1218" y="1526"/>
                    </a:lnTo>
                    <a:cubicBezTo>
                      <a:pt x="1216" y="1527"/>
                      <a:pt x="1213" y="1527"/>
                      <a:pt x="1211" y="1525"/>
                    </a:cubicBezTo>
                    <a:cubicBezTo>
                      <a:pt x="1209" y="1524"/>
                      <a:pt x="1208" y="1521"/>
                      <a:pt x="1208" y="1519"/>
                    </a:cubicBezTo>
                    <a:lnTo>
                      <a:pt x="1207" y="1433"/>
                    </a:lnTo>
                    <a:lnTo>
                      <a:pt x="1222" y="1435"/>
                    </a:lnTo>
                    <a:lnTo>
                      <a:pt x="1204" y="1491"/>
                    </a:lnTo>
                    <a:cubicBezTo>
                      <a:pt x="1203" y="1495"/>
                      <a:pt x="1200" y="1497"/>
                      <a:pt x="1197" y="1497"/>
                    </a:cubicBezTo>
                    <a:lnTo>
                      <a:pt x="1158" y="1499"/>
                    </a:lnTo>
                    <a:cubicBezTo>
                      <a:pt x="1156" y="1499"/>
                      <a:pt x="1153" y="1498"/>
                      <a:pt x="1151" y="1496"/>
                    </a:cubicBezTo>
                    <a:cubicBezTo>
                      <a:pt x="1150" y="1494"/>
                      <a:pt x="1149" y="1491"/>
                      <a:pt x="1150" y="1489"/>
                    </a:cubicBezTo>
                    <a:lnTo>
                      <a:pt x="1192" y="1318"/>
                    </a:lnTo>
                    <a:lnTo>
                      <a:pt x="1206" y="1324"/>
                    </a:lnTo>
                    <a:lnTo>
                      <a:pt x="1120" y="1486"/>
                    </a:lnTo>
                    <a:cubicBezTo>
                      <a:pt x="1119" y="1488"/>
                      <a:pt x="1117" y="1490"/>
                      <a:pt x="1115" y="1490"/>
                    </a:cubicBezTo>
                    <a:cubicBezTo>
                      <a:pt x="1112" y="1491"/>
                      <a:pt x="1110" y="1490"/>
                      <a:pt x="1108" y="1488"/>
                    </a:cubicBezTo>
                    <a:lnTo>
                      <a:pt x="1069" y="1455"/>
                    </a:lnTo>
                    <a:cubicBezTo>
                      <a:pt x="1068" y="1454"/>
                      <a:pt x="1067" y="1453"/>
                      <a:pt x="1067" y="1452"/>
                    </a:cubicBezTo>
                    <a:lnTo>
                      <a:pt x="1022" y="1326"/>
                    </a:lnTo>
                    <a:lnTo>
                      <a:pt x="1026" y="1330"/>
                    </a:lnTo>
                    <a:lnTo>
                      <a:pt x="883" y="1259"/>
                    </a:lnTo>
                    <a:lnTo>
                      <a:pt x="888" y="1260"/>
                    </a:lnTo>
                    <a:lnTo>
                      <a:pt x="628" y="1314"/>
                    </a:lnTo>
                    <a:lnTo>
                      <a:pt x="631" y="1313"/>
                    </a:lnTo>
                    <a:lnTo>
                      <a:pt x="524" y="1405"/>
                    </a:lnTo>
                    <a:cubicBezTo>
                      <a:pt x="523" y="1407"/>
                      <a:pt x="521" y="1407"/>
                      <a:pt x="519" y="1407"/>
                    </a:cubicBezTo>
                    <a:lnTo>
                      <a:pt x="340" y="1414"/>
                    </a:lnTo>
                    <a:lnTo>
                      <a:pt x="345" y="1412"/>
                    </a:lnTo>
                    <a:lnTo>
                      <a:pt x="243" y="1493"/>
                    </a:lnTo>
                    <a:cubicBezTo>
                      <a:pt x="241" y="1495"/>
                      <a:pt x="238" y="1496"/>
                      <a:pt x="235" y="1495"/>
                    </a:cubicBezTo>
                    <a:lnTo>
                      <a:pt x="100" y="1438"/>
                    </a:lnTo>
                    <a:cubicBezTo>
                      <a:pt x="97" y="1437"/>
                      <a:pt x="95" y="1433"/>
                      <a:pt x="95" y="1429"/>
                    </a:cubicBezTo>
                    <a:lnTo>
                      <a:pt x="124" y="1260"/>
                    </a:lnTo>
                    <a:lnTo>
                      <a:pt x="125" y="1265"/>
                    </a:lnTo>
                    <a:lnTo>
                      <a:pt x="1" y="930"/>
                    </a:lnTo>
                    <a:close/>
                    <a:moveTo>
                      <a:pt x="140" y="1259"/>
                    </a:moveTo>
                    <a:cubicBezTo>
                      <a:pt x="140" y="1260"/>
                      <a:pt x="140" y="1262"/>
                      <a:pt x="140" y="1263"/>
                    </a:cubicBezTo>
                    <a:lnTo>
                      <a:pt x="111" y="1432"/>
                    </a:lnTo>
                    <a:lnTo>
                      <a:pt x="106" y="1423"/>
                    </a:lnTo>
                    <a:lnTo>
                      <a:pt x="241" y="1480"/>
                    </a:lnTo>
                    <a:lnTo>
                      <a:pt x="233" y="1481"/>
                    </a:lnTo>
                    <a:lnTo>
                      <a:pt x="335" y="1400"/>
                    </a:lnTo>
                    <a:cubicBezTo>
                      <a:pt x="336" y="1399"/>
                      <a:pt x="338" y="1398"/>
                      <a:pt x="339" y="1398"/>
                    </a:cubicBezTo>
                    <a:lnTo>
                      <a:pt x="519" y="1391"/>
                    </a:lnTo>
                    <a:lnTo>
                      <a:pt x="514" y="1393"/>
                    </a:lnTo>
                    <a:lnTo>
                      <a:pt x="621" y="1300"/>
                    </a:lnTo>
                    <a:cubicBezTo>
                      <a:pt x="622" y="1300"/>
                      <a:pt x="623" y="1299"/>
                      <a:pt x="625" y="1299"/>
                    </a:cubicBezTo>
                    <a:lnTo>
                      <a:pt x="885" y="1244"/>
                    </a:lnTo>
                    <a:cubicBezTo>
                      <a:pt x="886" y="1244"/>
                      <a:pt x="888" y="1244"/>
                      <a:pt x="890" y="1245"/>
                    </a:cubicBezTo>
                    <a:lnTo>
                      <a:pt x="1033" y="1316"/>
                    </a:lnTo>
                    <a:cubicBezTo>
                      <a:pt x="1035" y="1317"/>
                      <a:pt x="1037" y="1318"/>
                      <a:pt x="1037" y="1320"/>
                    </a:cubicBezTo>
                    <a:lnTo>
                      <a:pt x="1082" y="1446"/>
                    </a:lnTo>
                    <a:lnTo>
                      <a:pt x="1079" y="1443"/>
                    </a:lnTo>
                    <a:lnTo>
                      <a:pt x="1118" y="1476"/>
                    </a:lnTo>
                    <a:lnTo>
                      <a:pt x="1106" y="1478"/>
                    </a:lnTo>
                    <a:lnTo>
                      <a:pt x="1192" y="1316"/>
                    </a:lnTo>
                    <a:cubicBezTo>
                      <a:pt x="1194" y="1312"/>
                      <a:pt x="1198" y="1311"/>
                      <a:pt x="1202" y="1312"/>
                    </a:cubicBezTo>
                    <a:cubicBezTo>
                      <a:pt x="1206" y="1314"/>
                      <a:pt x="1208" y="1318"/>
                      <a:pt x="1207" y="1322"/>
                    </a:cubicBezTo>
                    <a:lnTo>
                      <a:pt x="1165" y="1492"/>
                    </a:lnTo>
                    <a:lnTo>
                      <a:pt x="1157" y="1483"/>
                    </a:lnTo>
                    <a:lnTo>
                      <a:pt x="1196" y="1481"/>
                    </a:lnTo>
                    <a:lnTo>
                      <a:pt x="1189" y="1486"/>
                    </a:lnTo>
                    <a:lnTo>
                      <a:pt x="1207" y="1430"/>
                    </a:lnTo>
                    <a:cubicBezTo>
                      <a:pt x="1208" y="1426"/>
                      <a:pt x="1212" y="1424"/>
                      <a:pt x="1216" y="1425"/>
                    </a:cubicBezTo>
                    <a:cubicBezTo>
                      <a:pt x="1220" y="1425"/>
                      <a:pt x="1223" y="1428"/>
                      <a:pt x="1223" y="1432"/>
                    </a:cubicBezTo>
                    <a:lnTo>
                      <a:pt x="1224" y="1519"/>
                    </a:lnTo>
                    <a:lnTo>
                      <a:pt x="1214" y="1511"/>
                    </a:lnTo>
                    <a:lnTo>
                      <a:pt x="1271" y="1496"/>
                    </a:lnTo>
                    <a:cubicBezTo>
                      <a:pt x="1273" y="1496"/>
                      <a:pt x="1275" y="1496"/>
                      <a:pt x="1277" y="1497"/>
                    </a:cubicBezTo>
                    <a:cubicBezTo>
                      <a:pt x="1279" y="1498"/>
                      <a:pt x="1280" y="1500"/>
                      <a:pt x="1281" y="1502"/>
                    </a:cubicBezTo>
                    <a:lnTo>
                      <a:pt x="1314" y="1634"/>
                    </a:lnTo>
                    <a:lnTo>
                      <a:pt x="1312" y="1630"/>
                    </a:lnTo>
                    <a:lnTo>
                      <a:pt x="1385" y="1693"/>
                    </a:lnTo>
                    <a:lnTo>
                      <a:pt x="1383" y="1692"/>
                    </a:lnTo>
                    <a:lnTo>
                      <a:pt x="1474" y="1720"/>
                    </a:lnTo>
                    <a:lnTo>
                      <a:pt x="1467" y="1721"/>
                    </a:lnTo>
                    <a:lnTo>
                      <a:pt x="1542" y="1658"/>
                    </a:lnTo>
                    <a:cubicBezTo>
                      <a:pt x="1544" y="1657"/>
                      <a:pt x="1546" y="1656"/>
                      <a:pt x="1548" y="1657"/>
                    </a:cubicBezTo>
                    <a:cubicBezTo>
                      <a:pt x="1550" y="1657"/>
                      <a:pt x="1552" y="1658"/>
                      <a:pt x="1554" y="1660"/>
                    </a:cubicBezTo>
                    <a:lnTo>
                      <a:pt x="1623" y="1747"/>
                    </a:lnTo>
                    <a:lnTo>
                      <a:pt x="1609" y="1754"/>
                    </a:lnTo>
                    <a:lnTo>
                      <a:pt x="1605" y="1724"/>
                    </a:lnTo>
                    <a:cubicBezTo>
                      <a:pt x="1604" y="1721"/>
                      <a:pt x="1606" y="1718"/>
                      <a:pt x="1608" y="1716"/>
                    </a:cubicBezTo>
                    <a:lnTo>
                      <a:pt x="1675" y="1666"/>
                    </a:lnTo>
                    <a:cubicBezTo>
                      <a:pt x="1675" y="1666"/>
                      <a:pt x="1676" y="1665"/>
                      <a:pt x="1677" y="1665"/>
                    </a:cubicBezTo>
                    <a:lnTo>
                      <a:pt x="1789" y="1637"/>
                    </a:lnTo>
                    <a:lnTo>
                      <a:pt x="1783" y="1643"/>
                    </a:lnTo>
                    <a:lnTo>
                      <a:pt x="1844" y="1384"/>
                    </a:lnTo>
                    <a:cubicBezTo>
                      <a:pt x="1844" y="1384"/>
                      <a:pt x="1845" y="1383"/>
                      <a:pt x="1845" y="1382"/>
                    </a:cubicBezTo>
                    <a:lnTo>
                      <a:pt x="1931" y="1228"/>
                    </a:lnTo>
                    <a:lnTo>
                      <a:pt x="1930" y="1231"/>
                    </a:lnTo>
                    <a:lnTo>
                      <a:pt x="1953" y="1052"/>
                    </a:lnTo>
                    <a:lnTo>
                      <a:pt x="1953" y="1054"/>
                    </a:lnTo>
                    <a:lnTo>
                      <a:pt x="1921" y="870"/>
                    </a:lnTo>
                    <a:lnTo>
                      <a:pt x="1923" y="874"/>
                    </a:lnTo>
                    <a:lnTo>
                      <a:pt x="1825" y="773"/>
                    </a:lnTo>
                    <a:cubicBezTo>
                      <a:pt x="1824" y="772"/>
                      <a:pt x="1823" y="771"/>
                      <a:pt x="1823" y="769"/>
                    </a:cubicBezTo>
                    <a:lnTo>
                      <a:pt x="1813" y="698"/>
                    </a:lnTo>
                    <a:lnTo>
                      <a:pt x="1823" y="704"/>
                    </a:lnTo>
                    <a:lnTo>
                      <a:pt x="1778" y="713"/>
                    </a:lnTo>
                    <a:cubicBezTo>
                      <a:pt x="1774" y="713"/>
                      <a:pt x="1770" y="711"/>
                      <a:pt x="1769" y="707"/>
                    </a:cubicBezTo>
                    <a:lnTo>
                      <a:pt x="1726" y="575"/>
                    </a:lnTo>
                    <a:lnTo>
                      <a:pt x="1729" y="579"/>
                    </a:lnTo>
                    <a:lnTo>
                      <a:pt x="1611" y="504"/>
                    </a:lnTo>
                    <a:cubicBezTo>
                      <a:pt x="1609" y="503"/>
                      <a:pt x="1608" y="501"/>
                      <a:pt x="1608" y="499"/>
                    </a:cubicBezTo>
                    <a:lnTo>
                      <a:pt x="1557" y="262"/>
                    </a:lnTo>
                    <a:lnTo>
                      <a:pt x="1561" y="267"/>
                    </a:lnTo>
                    <a:lnTo>
                      <a:pt x="1485" y="221"/>
                    </a:lnTo>
                    <a:cubicBezTo>
                      <a:pt x="1483" y="220"/>
                      <a:pt x="1481" y="218"/>
                      <a:pt x="1481" y="216"/>
                    </a:cubicBezTo>
                    <a:lnTo>
                      <a:pt x="1435" y="10"/>
                    </a:lnTo>
                    <a:lnTo>
                      <a:pt x="1450" y="13"/>
                    </a:lnTo>
                    <a:lnTo>
                      <a:pt x="1397" y="94"/>
                    </a:lnTo>
                    <a:lnTo>
                      <a:pt x="1398" y="90"/>
                    </a:lnTo>
                    <a:lnTo>
                      <a:pt x="1374" y="359"/>
                    </a:lnTo>
                    <a:cubicBezTo>
                      <a:pt x="1374" y="361"/>
                      <a:pt x="1374" y="362"/>
                      <a:pt x="1372" y="364"/>
                    </a:cubicBezTo>
                    <a:lnTo>
                      <a:pt x="1318" y="425"/>
                    </a:lnTo>
                    <a:cubicBezTo>
                      <a:pt x="1315" y="428"/>
                      <a:pt x="1311" y="428"/>
                      <a:pt x="1307" y="426"/>
                    </a:cubicBezTo>
                    <a:lnTo>
                      <a:pt x="1088" y="267"/>
                    </a:lnTo>
                    <a:cubicBezTo>
                      <a:pt x="1085" y="265"/>
                      <a:pt x="1084" y="261"/>
                      <a:pt x="1085" y="258"/>
                    </a:cubicBezTo>
                    <a:lnTo>
                      <a:pt x="1132" y="104"/>
                    </a:lnTo>
                    <a:lnTo>
                      <a:pt x="1137" y="114"/>
                    </a:lnTo>
                    <a:lnTo>
                      <a:pt x="916" y="39"/>
                    </a:lnTo>
                    <a:lnTo>
                      <a:pt x="926" y="28"/>
                    </a:lnTo>
                    <a:lnTo>
                      <a:pt x="955" y="88"/>
                    </a:lnTo>
                    <a:cubicBezTo>
                      <a:pt x="956" y="90"/>
                      <a:pt x="956" y="92"/>
                      <a:pt x="955" y="95"/>
                    </a:cubicBezTo>
                    <a:cubicBezTo>
                      <a:pt x="954" y="97"/>
                      <a:pt x="952" y="98"/>
                      <a:pt x="950" y="99"/>
                    </a:cubicBezTo>
                    <a:lnTo>
                      <a:pt x="836" y="134"/>
                    </a:lnTo>
                    <a:lnTo>
                      <a:pt x="841" y="130"/>
                    </a:lnTo>
                    <a:lnTo>
                      <a:pt x="795" y="221"/>
                    </a:lnTo>
                    <a:lnTo>
                      <a:pt x="795" y="214"/>
                    </a:lnTo>
                    <a:lnTo>
                      <a:pt x="817" y="271"/>
                    </a:lnTo>
                    <a:cubicBezTo>
                      <a:pt x="819" y="274"/>
                      <a:pt x="818" y="277"/>
                      <a:pt x="815" y="280"/>
                    </a:cubicBezTo>
                    <a:cubicBezTo>
                      <a:pt x="813" y="282"/>
                      <a:pt x="809" y="282"/>
                      <a:pt x="806" y="281"/>
                    </a:cubicBezTo>
                    <a:lnTo>
                      <a:pt x="748" y="253"/>
                    </a:lnTo>
                    <a:lnTo>
                      <a:pt x="758" y="250"/>
                    </a:lnTo>
                    <a:lnTo>
                      <a:pt x="728" y="299"/>
                    </a:lnTo>
                    <a:cubicBezTo>
                      <a:pt x="726" y="302"/>
                      <a:pt x="723" y="304"/>
                      <a:pt x="719" y="303"/>
                    </a:cubicBezTo>
                    <a:cubicBezTo>
                      <a:pt x="716" y="303"/>
                      <a:pt x="714" y="300"/>
                      <a:pt x="713" y="297"/>
                    </a:cubicBezTo>
                    <a:lnTo>
                      <a:pt x="698" y="210"/>
                    </a:lnTo>
                    <a:lnTo>
                      <a:pt x="705" y="217"/>
                    </a:lnTo>
                    <a:lnTo>
                      <a:pt x="627" y="214"/>
                    </a:lnTo>
                    <a:lnTo>
                      <a:pt x="634" y="211"/>
                    </a:lnTo>
                    <a:lnTo>
                      <a:pt x="561" y="295"/>
                    </a:lnTo>
                    <a:lnTo>
                      <a:pt x="563" y="291"/>
                    </a:lnTo>
                    <a:lnTo>
                      <a:pt x="560" y="347"/>
                    </a:lnTo>
                    <a:cubicBezTo>
                      <a:pt x="560" y="350"/>
                      <a:pt x="559" y="352"/>
                      <a:pt x="557" y="353"/>
                    </a:cubicBezTo>
                    <a:cubicBezTo>
                      <a:pt x="555" y="355"/>
                      <a:pt x="552" y="355"/>
                      <a:pt x="550" y="354"/>
                    </a:cubicBezTo>
                    <a:lnTo>
                      <a:pt x="504" y="339"/>
                    </a:lnTo>
                    <a:lnTo>
                      <a:pt x="515" y="332"/>
                    </a:lnTo>
                    <a:lnTo>
                      <a:pt x="515" y="406"/>
                    </a:lnTo>
                    <a:cubicBezTo>
                      <a:pt x="515" y="410"/>
                      <a:pt x="512" y="413"/>
                      <a:pt x="508" y="414"/>
                    </a:cubicBezTo>
                    <a:cubicBezTo>
                      <a:pt x="504" y="415"/>
                      <a:pt x="501" y="413"/>
                      <a:pt x="499" y="410"/>
                    </a:cubicBezTo>
                    <a:lnTo>
                      <a:pt x="469" y="340"/>
                    </a:lnTo>
                    <a:lnTo>
                      <a:pt x="483" y="341"/>
                    </a:lnTo>
                    <a:lnTo>
                      <a:pt x="456" y="384"/>
                    </a:lnTo>
                    <a:lnTo>
                      <a:pt x="458" y="380"/>
                    </a:lnTo>
                    <a:lnTo>
                      <a:pt x="459" y="436"/>
                    </a:lnTo>
                    <a:cubicBezTo>
                      <a:pt x="459" y="438"/>
                      <a:pt x="458" y="440"/>
                      <a:pt x="457" y="441"/>
                    </a:cubicBezTo>
                    <a:lnTo>
                      <a:pt x="388" y="532"/>
                    </a:lnTo>
                    <a:cubicBezTo>
                      <a:pt x="387" y="534"/>
                      <a:pt x="385" y="535"/>
                      <a:pt x="384" y="535"/>
                    </a:cubicBezTo>
                    <a:lnTo>
                      <a:pt x="180" y="593"/>
                    </a:lnTo>
                    <a:lnTo>
                      <a:pt x="184" y="591"/>
                    </a:lnTo>
                    <a:lnTo>
                      <a:pt x="63" y="710"/>
                    </a:lnTo>
                    <a:cubicBezTo>
                      <a:pt x="61" y="712"/>
                      <a:pt x="58" y="713"/>
                      <a:pt x="55" y="712"/>
                    </a:cubicBezTo>
                    <a:cubicBezTo>
                      <a:pt x="52" y="712"/>
                      <a:pt x="50" y="710"/>
                      <a:pt x="49" y="707"/>
                    </a:cubicBezTo>
                    <a:lnTo>
                      <a:pt x="38" y="665"/>
                    </a:lnTo>
                    <a:lnTo>
                      <a:pt x="54" y="665"/>
                    </a:lnTo>
                    <a:lnTo>
                      <a:pt x="29" y="819"/>
                    </a:lnTo>
                    <a:lnTo>
                      <a:pt x="28" y="815"/>
                    </a:lnTo>
                    <a:lnTo>
                      <a:pt x="67" y="916"/>
                    </a:lnTo>
                    <a:cubicBezTo>
                      <a:pt x="69" y="919"/>
                      <a:pt x="68" y="923"/>
                      <a:pt x="65" y="925"/>
                    </a:cubicBezTo>
                    <a:cubicBezTo>
                      <a:pt x="62" y="927"/>
                      <a:pt x="58" y="927"/>
                      <a:pt x="55" y="925"/>
                    </a:cubicBezTo>
                    <a:lnTo>
                      <a:pt x="18" y="897"/>
                    </a:lnTo>
                    <a:lnTo>
                      <a:pt x="30" y="888"/>
                    </a:lnTo>
                    <a:lnTo>
                      <a:pt x="49" y="939"/>
                    </a:lnTo>
                    <a:cubicBezTo>
                      <a:pt x="50" y="942"/>
                      <a:pt x="50" y="945"/>
                      <a:pt x="47" y="948"/>
                    </a:cubicBezTo>
                    <a:cubicBezTo>
                      <a:pt x="45" y="950"/>
                      <a:pt x="42" y="950"/>
                      <a:pt x="39" y="949"/>
                    </a:cubicBezTo>
                    <a:lnTo>
                      <a:pt x="5" y="934"/>
                    </a:lnTo>
                    <a:lnTo>
                      <a:pt x="16" y="924"/>
                    </a:lnTo>
                    <a:lnTo>
                      <a:pt x="140" y="1259"/>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72" name="Freeform 28"/>
              <p:cNvSpPr>
                <a:spLocks/>
              </p:cNvSpPr>
              <p:nvPr/>
            </p:nvSpPr>
            <p:spPr bwMode="auto">
              <a:xfrm>
                <a:off x="4764" y="2691"/>
                <a:ext cx="52" cy="44"/>
              </a:xfrm>
              <a:custGeom>
                <a:avLst/>
                <a:gdLst/>
                <a:ahLst/>
                <a:cxnLst>
                  <a:cxn ang="0">
                    <a:pos x="0" y="8"/>
                  </a:cxn>
                  <a:cxn ang="0">
                    <a:pos x="1" y="0"/>
                  </a:cxn>
                  <a:cxn ang="0">
                    <a:pos x="27" y="6"/>
                  </a:cxn>
                  <a:cxn ang="0">
                    <a:pos x="47" y="1"/>
                  </a:cxn>
                  <a:cxn ang="0">
                    <a:pos x="52" y="12"/>
                  </a:cxn>
                  <a:cxn ang="0">
                    <a:pos x="52" y="25"/>
                  </a:cxn>
                  <a:cxn ang="0">
                    <a:pos x="32" y="44"/>
                  </a:cxn>
                  <a:cxn ang="0">
                    <a:pos x="19" y="43"/>
                  </a:cxn>
                  <a:cxn ang="0">
                    <a:pos x="0" y="8"/>
                  </a:cxn>
                </a:cxnLst>
                <a:rect l="0" t="0" r="r" b="b"/>
                <a:pathLst>
                  <a:path w="52" h="44">
                    <a:moveTo>
                      <a:pt x="0" y="8"/>
                    </a:moveTo>
                    <a:lnTo>
                      <a:pt x="1" y="0"/>
                    </a:lnTo>
                    <a:lnTo>
                      <a:pt x="27" y="6"/>
                    </a:lnTo>
                    <a:lnTo>
                      <a:pt x="47" y="1"/>
                    </a:lnTo>
                    <a:lnTo>
                      <a:pt x="52" y="12"/>
                    </a:lnTo>
                    <a:lnTo>
                      <a:pt x="52" y="25"/>
                    </a:lnTo>
                    <a:lnTo>
                      <a:pt x="32" y="44"/>
                    </a:lnTo>
                    <a:lnTo>
                      <a:pt x="19" y="43"/>
                    </a:lnTo>
                    <a:lnTo>
                      <a:pt x="0" y="8"/>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73" name="Freeform 29"/>
              <p:cNvSpPr>
                <a:spLocks noEditPoints="1"/>
              </p:cNvSpPr>
              <p:nvPr/>
            </p:nvSpPr>
            <p:spPr bwMode="auto">
              <a:xfrm>
                <a:off x="4762" y="2689"/>
                <a:ext cx="56" cy="48"/>
              </a:xfrm>
              <a:custGeom>
                <a:avLst/>
                <a:gdLst/>
                <a:ahLst/>
                <a:cxnLst>
                  <a:cxn ang="0">
                    <a:pos x="1" y="44"/>
                  </a:cxn>
                  <a:cxn ang="0">
                    <a:pos x="0" y="40"/>
                  </a:cxn>
                  <a:cxn ang="0">
                    <a:pos x="3" y="8"/>
                  </a:cxn>
                  <a:cxn ang="0">
                    <a:pos x="7" y="2"/>
                  </a:cxn>
                  <a:cxn ang="0">
                    <a:pos x="14" y="1"/>
                  </a:cxn>
                  <a:cxn ang="0">
                    <a:pos x="102" y="28"/>
                  </a:cxn>
                  <a:cxn ang="0">
                    <a:pos x="97" y="28"/>
                  </a:cxn>
                  <a:cxn ang="0">
                    <a:pos x="165" y="6"/>
                  </a:cxn>
                  <a:cxn ang="0">
                    <a:pos x="175" y="11"/>
                  </a:cxn>
                  <a:cxn ang="0">
                    <a:pos x="192" y="57"/>
                  </a:cxn>
                  <a:cxn ang="0">
                    <a:pos x="192" y="60"/>
                  </a:cxn>
                  <a:cxn ang="0">
                    <a:pos x="192" y="117"/>
                  </a:cxn>
                  <a:cxn ang="0">
                    <a:pos x="191" y="122"/>
                  </a:cxn>
                  <a:cxn ang="0">
                    <a:pos x="123" y="205"/>
                  </a:cxn>
                  <a:cxn ang="0">
                    <a:pos x="116" y="208"/>
                  </a:cxn>
                  <a:cxn ang="0">
                    <a:pos x="72" y="204"/>
                  </a:cxn>
                  <a:cxn ang="0">
                    <a:pos x="66" y="199"/>
                  </a:cxn>
                  <a:cxn ang="0">
                    <a:pos x="1" y="44"/>
                  </a:cxn>
                  <a:cxn ang="0">
                    <a:pos x="81" y="193"/>
                  </a:cxn>
                  <a:cxn ang="0">
                    <a:pos x="74" y="188"/>
                  </a:cxn>
                  <a:cxn ang="0">
                    <a:pos x="118" y="193"/>
                  </a:cxn>
                  <a:cxn ang="0">
                    <a:pos x="110" y="195"/>
                  </a:cxn>
                  <a:cxn ang="0">
                    <a:pos x="178" y="112"/>
                  </a:cxn>
                  <a:cxn ang="0">
                    <a:pos x="176" y="117"/>
                  </a:cxn>
                  <a:cxn ang="0">
                    <a:pos x="176" y="60"/>
                  </a:cxn>
                  <a:cxn ang="0">
                    <a:pos x="177" y="63"/>
                  </a:cxn>
                  <a:cxn ang="0">
                    <a:pos x="160" y="16"/>
                  </a:cxn>
                  <a:cxn ang="0">
                    <a:pos x="170" y="21"/>
                  </a:cxn>
                  <a:cxn ang="0">
                    <a:pos x="102" y="43"/>
                  </a:cxn>
                  <a:cxn ang="0">
                    <a:pos x="97" y="44"/>
                  </a:cxn>
                  <a:cxn ang="0">
                    <a:pos x="9" y="16"/>
                  </a:cxn>
                  <a:cxn ang="0">
                    <a:pos x="19" y="9"/>
                  </a:cxn>
                  <a:cxn ang="0">
                    <a:pos x="16" y="41"/>
                  </a:cxn>
                  <a:cxn ang="0">
                    <a:pos x="16" y="38"/>
                  </a:cxn>
                  <a:cxn ang="0">
                    <a:pos x="81" y="193"/>
                  </a:cxn>
                </a:cxnLst>
                <a:rect l="0" t="0" r="r" b="b"/>
                <a:pathLst>
                  <a:path w="192" h="209">
                    <a:moveTo>
                      <a:pt x="1" y="44"/>
                    </a:moveTo>
                    <a:cubicBezTo>
                      <a:pt x="1" y="43"/>
                      <a:pt x="0" y="41"/>
                      <a:pt x="0" y="40"/>
                    </a:cubicBezTo>
                    <a:lnTo>
                      <a:pt x="3" y="8"/>
                    </a:lnTo>
                    <a:cubicBezTo>
                      <a:pt x="4" y="5"/>
                      <a:pt x="5" y="3"/>
                      <a:pt x="7" y="2"/>
                    </a:cubicBezTo>
                    <a:cubicBezTo>
                      <a:pt x="9" y="0"/>
                      <a:pt x="11" y="0"/>
                      <a:pt x="14" y="1"/>
                    </a:cubicBezTo>
                    <a:lnTo>
                      <a:pt x="102" y="28"/>
                    </a:lnTo>
                    <a:lnTo>
                      <a:pt x="97" y="28"/>
                    </a:lnTo>
                    <a:lnTo>
                      <a:pt x="165" y="6"/>
                    </a:lnTo>
                    <a:cubicBezTo>
                      <a:pt x="169" y="4"/>
                      <a:pt x="173" y="6"/>
                      <a:pt x="175" y="11"/>
                    </a:cubicBezTo>
                    <a:lnTo>
                      <a:pt x="192" y="57"/>
                    </a:lnTo>
                    <a:cubicBezTo>
                      <a:pt x="192" y="58"/>
                      <a:pt x="192" y="59"/>
                      <a:pt x="192" y="60"/>
                    </a:cubicBezTo>
                    <a:lnTo>
                      <a:pt x="192" y="117"/>
                    </a:lnTo>
                    <a:cubicBezTo>
                      <a:pt x="192" y="118"/>
                      <a:pt x="192" y="120"/>
                      <a:pt x="191" y="122"/>
                    </a:cubicBezTo>
                    <a:lnTo>
                      <a:pt x="123" y="205"/>
                    </a:lnTo>
                    <a:cubicBezTo>
                      <a:pt x="121" y="208"/>
                      <a:pt x="118" y="209"/>
                      <a:pt x="116" y="208"/>
                    </a:cubicBezTo>
                    <a:lnTo>
                      <a:pt x="72" y="204"/>
                    </a:lnTo>
                    <a:cubicBezTo>
                      <a:pt x="70" y="203"/>
                      <a:pt x="67" y="201"/>
                      <a:pt x="66" y="199"/>
                    </a:cubicBezTo>
                    <a:lnTo>
                      <a:pt x="1" y="44"/>
                    </a:lnTo>
                    <a:close/>
                    <a:moveTo>
                      <a:pt x="81" y="193"/>
                    </a:moveTo>
                    <a:lnTo>
                      <a:pt x="74" y="188"/>
                    </a:lnTo>
                    <a:lnTo>
                      <a:pt x="118" y="193"/>
                    </a:lnTo>
                    <a:lnTo>
                      <a:pt x="110" y="195"/>
                    </a:lnTo>
                    <a:lnTo>
                      <a:pt x="178" y="112"/>
                    </a:lnTo>
                    <a:lnTo>
                      <a:pt x="176" y="117"/>
                    </a:lnTo>
                    <a:lnTo>
                      <a:pt x="176" y="60"/>
                    </a:lnTo>
                    <a:lnTo>
                      <a:pt x="177" y="63"/>
                    </a:lnTo>
                    <a:lnTo>
                      <a:pt x="160" y="16"/>
                    </a:lnTo>
                    <a:lnTo>
                      <a:pt x="170" y="21"/>
                    </a:lnTo>
                    <a:lnTo>
                      <a:pt x="102" y="43"/>
                    </a:lnTo>
                    <a:cubicBezTo>
                      <a:pt x="100" y="44"/>
                      <a:pt x="99" y="44"/>
                      <a:pt x="97" y="44"/>
                    </a:cubicBezTo>
                    <a:lnTo>
                      <a:pt x="9" y="16"/>
                    </a:lnTo>
                    <a:lnTo>
                      <a:pt x="19" y="9"/>
                    </a:lnTo>
                    <a:lnTo>
                      <a:pt x="16" y="41"/>
                    </a:lnTo>
                    <a:lnTo>
                      <a:pt x="16" y="38"/>
                    </a:lnTo>
                    <a:lnTo>
                      <a:pt x="81" y="193"/>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74" name="Freeform 30"/>
              <p:cNvSpPr>
                <a:spLocks/>
              </p:cNvSpPr>
              <p:nvPr/>
            </p:nvSpPr>
            <p:spPr bwMode="auto">
              <a:xfrm>
                <a:off x="2871" y="1425"/>
                <a:ext cx="111" cy="41"/>
              </a:xfrm>
              <a:custGeom>
                <a:avLst/>
                <a:gdLst/>
                <a:ahLst/>
                <a:cxnLst>
                  <a:cxn ang="0">
                    <a:pos x="0" y="23"/>
                  </a:cxn>
                  <a:cxn ang="0">
                    <a:pos x="2" y="25"/>
                  </a:cxn>
                  <a:cxn ang="0">
                    <a:pos x="2" y="32"/>
                  </a:cxn>
                  <a:cxn ang="0">
                    <a:pos x="15" y="34"/>
                  </a:cxn>
                  <a:cxn ang="0">
                    <a:pos x="37" y="30"/>
                  </a:cxn>
                  <a:cxn ang="0">
                    <a:pos x="62" y="41"/>
                  </a:cxn>
                  <a:cxn ang="0">
                    <a:pos x="97" y="33"/>
                  </a:cxn>
                  <a:cxn ang="0">
                    <a:pos x="111" y="13"/>
                  </a:cxn>
                  <a:cxn ang="0">
                    <a:pos x="105" y="0"/>
                  </a:cxn>
                  <a:cxn ang="0">
                    <a:pos x="62" y="2"/>
                  </a:cxn>
                  <a:cxn ang="0">
                    <a:pos x="49" y="23"/>
                  </a:cxn>
                  <a:cxn ang="0">
                    <a:pos x="0" y="23"/>
                  </a:cxn>
                </a:cxnLst>
                <a:rect l="0" t="0" r="r" b="b"/>
                <a:pathLst>
                  <a:path w="111" h="41">
                    <a:moveTo>
                      <a:pt x="0" y="23"/>
                    </a:moveTo>
                    <a:lnTo>
                      <a:pt x="2" y="25"/>
                    </a:lnTo>
                    <a:lnTo>
                      <a:pt x="2" y="32"/>
                    </a:lnTo>
                    <a:lnTo>
                      <a:pt x="15" y="34"/>
                    </a:lnTo>
                    <a:lnTo>
                      <a:pt x="37" y="30"/>
                    </a:lnTo>
                    <a:lnTo>
                      <a:pt x="62" y="41"/>
                    </a:lnTo>
                    <a:lnTo>
                      <a:pt x="97" y="33"/>
                    </a:lnTo>
                    <a:lnTo>
                      <a:pt x="111" y="13"/>
                    </a:lnTo>
                    <a:lnTo>
                      <a:pt x="105" y="0"/>
                    </a:lnTo>
                    <a:lnTo>
                      <a:pt x="62" y="2"/>
                    </a:lnTo>
                    <a:lnTo>
                      <a:pt x="49" y="23"/>
                    </a:lnTo>
                    <a:lnTo>
                      <a:pt x="0" y="23"/>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75" name="Freeform 31"/>
              <p:cNvSpPr>
                <a:spLocks noEditPoints="1"/>
              </p:cNvSpPr>
              <p:nvPr/>
            </p:nvSpPr>
            <p:spPr bwMode="auto">
              <a:xfrm>
                <a:off x="2869" y="1424"/>
                <a:ext cx="116" cy="44"/>
              </a:xfrm>
              <a:custGeom>
                <a:avLst/>
                <a:gdLst/>
                <a:ahLst/>
                <a:cxnLst>
                  <a:cxn ang="0">
                    <a:pos x="9" y="117"/>
                  </a:cxn>
                  <a:cxn ang="0">
                    <a:pos x="16" y="105"/>
                  </a:cxn>
                  <a:cxn ang="0">
                    <a:pos x="20" y="114"/>
                  </a:cxn>
                  <a:cxn ang="0">
                    <a:pos x="21" y="116"/>
                  </a:cxn>
                  <a:cxn ang="0">
                    <a:pos x="24" y="147"/>
                  </a:cxn>
                  <a:cxn ang="0">
                    <a:pos x="17" y="140"/>
                  </a:cxn>
                  <a:cxn ang="0">
                    <a:pos x="59" y="147"/>
                  </a:cxn>
                  <a:cxn ang="0">
                    <a:pos x="56" y="147"/>
                  </a:cxn>
                  <a:cxn ang="0">
                    <a:pos x="134" y="130"/>
                  </a:cxn>
                  <a:cxn ang="0">
                    <a:pos x="140" y="131"/>
                  </a:cxn>
                  <a:cxn ang="0">
                    <a:pos x="224" y="177"/>
                  </a:cxn>
                  <a:cxn ang="0">
                    <a:pos x="218" y="177"/>
                  </a:cxn>
                  <a:cxn ang="0">
                    <a:pos x="340" y="144"/>
                  </a:cxn>
                  <a:cxn ang="0">
                    <a:pos x="335" y="148"/>
                  </a:cxn>
                  <a:cxn ang="0">
                    <a:pos x="386" y="60"/>
                  </a:cxn>
                  <a:cxn ang="0">
                    <a:pos x="385" y="67"/>
                  </a:cxn>
                  <a:cxn ang="0">
                    <a:pos x="363" y="11"/>
                  </a:cxn>
                  <a:cxn ang="0">
                    <a:pos x="371" y="16"/>
                  </a:cxn>
                  <a:cxn ang="0">
                    <a:pos x="223" y="22"/>
                  </a:cxn>
                  <a:cxn ang="0">
                    <a:pos x="230" y="17"/>
                  </a:cxn>
                  <a:cxn ang="0">
                    <a:pos x="184" y="109"/>
                  </a:cxn>
                  <a:cxn ang="0">
                    <a:pos x="177" y="113"/>
                  </a:cxn>
                  <a:cxn ang="0">
                    <a:pos x="9" y="117"/>
                  </a:cxn>
                  <a:cxn ang="0">
                    <a:pos x="176" y="97"/>
                  </a:cxn>
                  <a:cxn ang="0">
                    <a:pos x="169" y="101"/>
                  </a:cxn>
                  <a:cxn ang="0">
                    <a:pos x="216" y="10"/>
                  </a:cxn>
                  <a:cxn ang="0">
                    <a:pos x="223" y="6"/>
                  </a:cxn>
                  <a:cxn ang="0">
                    <a:pos x="370" y="0"/>
                  </a:cxn>
                  <a:cxn ang="0">
                    <a:pos x="378" y="6"/>
                  </a:cxn>
                  <a:cxn ang="0">
                    <a:pos x="400" y="61"/>
                  </a:cxn>
                  <a:cxn ang="0">
                    <a:pos x="399" y="68"/>
                  </a:cxn>
                  <a:cxn ang="0">
                    <a:pos x="349" y="156"/>
                  </a:cxn>
                  <a:cxn ang="0">
                    <a:pos x="344" y="159"/>
                  </a:cxn>
                  <a:cxn ang="0">
                    <a:pos x="222" y="192"/>
                  </a:cxn>
                  <a:cxn ang="0">
                    <a:pos x="216" y="191"/>
                  </a:cxn>
                  <a:cxn ang="0">
                    <a:pos x="132" y="145"/>
                  </a:cxn>
                  <a:cxn ang="0">
                    <a:pos x="138" y="146"/>
                  </a:cxn>
                  <a:cxn ang="0">
                    <a:pos x="59" y="163"/>
                  </a:cxn>
                  <a:cxn ang="0">
                    <a:pos x="56" y="163"/>
                  </a:cxn>
                  <a:cxn ang="0">
                    <a:pos x="14" y="156"/>
                  </a:cxn>
                  <a:cxn ang="0">
                    <a:pos x="8" y="149"/>
                  </a:cxn>
                  <a:cxn ang="0">
                    <a:pos x="5" y="118"/>
                  </a:cxn>
                  <a:cxn ang="0">
                    <a:pos x="6" y="121"/>
                  </a:cxn>
                  <a:cxn ang="0">
                    <a:pos x="1" y="112"/>
                  </a:cxn>
                  <a:cxn ang="0">
                    <a:pos x="2" y="104"/>
                  </a:cxn>
                  <a:cxn ang="0">
                    <a:pos x="8" y="101"/>
                  </a:cxn>
                  <a:cxn ang="0">
                    <a:pos x="176" y="97"/>
                  </a:cxn>
                </a:cxnLst>
                <a:rect l="0" t="0" r="r" b="b"/>
                <a:pathLst>
                  <a:path w="401" h="193">
                    <a:moveTo>
                      <a:pt x="9" y="117"/>
                    </a:moveTo>
                    <a:lnTo>
                      <a:pt x="16" y="105"/>
                    </a:lnTo>
                    <a:lnTo>
                      <a:pt x="20" y="114"/>
                    </a:lnTo>
                    <a:cubicBezTo>
                      <a:pt x="20" y="114"/>
                      <a:pt x="21" y="115"/>
                      <a:pt x="21" y="116"/>
                    </a:cubicBezTo>
                    <a:lnTo>
                      <a:pt x="24" y="147"/>
                    </a:lnTo>
                    <a:lnTo>
                      <a:pt x="17" y="140"/>
                    </a:lnTo>
                    <a:lnTo>
                      <a:pt x="59" y="147"/>
                    </a:lnTo>
                    <a:lnTo>
                      <a:pt x="56" y="147"/>
                    </a:lnTo>
                    <a:lnTo>
                      <a:pt x="134" y="130"/>
                    </a:lnTo>
                    <a:cubicBezTo>
                      <a:pt x="136" y="130"/>
                      <a:pt x="138" y="130"/>
                      <a:pt x="140" y="131"/>
                    </a:cubicBezTo>
                    <a:lnTo>
                      <a:pt x="224" y="177"/>
                    </a:lnTo>
                    <a:lnTo>
                      <a:pt x="218" y="177"/>
                    </a:lnTo>
                    <a:lnTo>
                      <a:pt x="340" y="144"/>
                    </a:lnTo>
                    <a:lnTo>
                      <a:pt x="335" y="148"/>
                    </a:lnTo>
                    <a:lnTo>
                      <a:pt x="386" y="60"/>
                    </a:lnTo>
                    <a:lnTo>
                      <a:pt x="385" y="67"/>
                    </a:lnTo>
                    <a:lnTo>
                      <a:pt x="363" y="11"/>
                    </a:lnTo>
                    <a:lnTo>
                      <a:pt x="371" y="16"/>
                    </a:lnTo>
                    <a:lnTo>
                      <a:pt x="223" y="22"/>
                    </a:lnTo>
                    <a:lnTo>
                      <a:pt x="230" y="17"/>
                    </a:lnTo>
                    <a:lnTo>
                      <a:pt x="184" y="109"/>
                    </a:lnTo>
                    <a:cubicBezTo>
                      <a:pt x="182" y="111"/>
                      <a:pt x="180" y="113"/>
                      <a:pt x="177" y="113"/>
                    </a:cubicBezTo>
                    <a:lnTo>
                      <a:pt x="9" y="117"/>
                    </a:lnTo>
                    <a:close/>
                    <a:moveTo>
                      <a:pt x="176" y="97"/>
                    </a:moveTo>
                    <a:lnTo>
                      <a:pt x="169" y="101"/>
                    </a:lnTo>
                    <a:lnTo>
                      <a:pt x="216" y="10"/>
                    </a:lnTo>
                    <a:cubicBezTo>
                      <a:pt x="217" y="7"/>
                      <a:pt x="220" y="6"/>
                      <a:pt x="223" y="6"/>
                    </a:cubicBezTo>
                    <a:lnTo>
                      <a:pt x="370" y="0"/>
                    </a:lnTo>
                    <a:cubicBezTo>
                      <a:pt x="374" y="0"/>
                      <a:pt x="377" y="2"/>
                      <a:pt x="378" y="6"/>
                    </a:cubicBezTo>
                    <a:lnTo>
                      <a:pt x="400" y="61"/>
                    </a:lnTo>
                    <a:cubicBezTo>
                      <a:pt x="401" y="63"/>
                      <a:pt x="401" y="66"/>
                      <a:pt x="399" y="68"/>
                    </a:cubicBezTo>
                    <a:lnTo>
                      <a:pt x="349" y="156"/>
                    </a:lnTo>
                    <a:cubicBezTo>
                      <a:pt x="348" y="158"/>
                      <a:pt x="346" y="159"/>
                      <a:pt x="344" y="159"/>
                    </a:cubicBezTo>
                    <a:lnTo>
                      <a:pt x="222" y="192"/>
                    </a:lnTo>
                    <a:cubicBezTo>
                      <a:pt x="220" y="193"/>
                      <a:pt x="218" y="192"/>
                      <a:pt x="216" y="191"/>
                    </a:cubicBezTo>
                    <a:lnTo>
                      <a:pt x="132" y="145"/>
                    </a:lnTo>
                    <a:lnTo>
                      <a:pt x="138" y="146"/>
                    </a:lnTo>
                    <a:lnTo>
                      <a:pt x="59" y="163"/>
                    </a:lnTo>
                    <a:cubicBezTo>
                      <a:pt x="58" y="163"/>
                      <a:pt x="57" y="163"/>
                      <a:pt x="56" y="163"/>
                    </a:cubicBezTo>
                    <a:lnTo>
                      <a:pt x="14" y="156"/>
                    </a:lnTo>
                    <a:cubicBezTo>
                      <a:pt x="11" y="156"/>
                      <a:pt x="8" y="153"/>
                      <a:pt x="8" y="149"/>
                    </a:cubicBezTo>
                    <a:lnTo>
                      <a:pt x="5" y="118"/>
                    </a:lnTo>
                    <a:lnTo>
                      <a:pt x="6" y="121"/>
                    </a:lnTo>
                    <a:lnTo>
                      <a:pt x="1" y="112"/>
                    </a:lnTo>
                    <a:cubicBezTo>
                      <a:pt x="0" y="110"/>
                      <a:pt x="0" y="107"/>
                      <a:pt x="2" y="104"/>
                    </a:cubicBezTo>
                    <a:cubicBezTo>
                      <a:pt x="3" y="102"/>
                      <a:pt x="6" y="101"/>
                      <a:pt x="8" y="101"/>
                    </a:cubicBezTo>
                    <a:lnTo>
                      <a:pt x="176" y="97"/>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76" name="Freeform 32"/>
              <p:cNvSpPr>
                <a:spLocks/>
              </p:cNvSpPr>
              <p:nvPr/>
            </p:nvSpPr>
            <p:spPr bwMode="auto">
              <a:xfrm>
                <a:off x="3971" y="1766"/>
                <a:ext cx="65" cy="76"/>
              </a:xfrm>
              <a:custGeom>
                <a:avLst/>
                <a:gdLst/>
                <a:ahLst/>
                <a:cxnLst>
                  <a:cxn ang="0">
                    <a:pos x="0" y="22"/>
                  </a:cxn>
                  <a:cxn ang="0">
                    <a:pos x="9" y="31"/>
                  </a:cxn>
                  <a:cxn ang="0">
                    <a:pos x="14" y="66"/>
                  </a:cxn>
                  <a:cxn ang="0">
                    <a:pos x="31" y="64"/>
                  </a:cxn>
                  <a:cxn ang="0">
                    <a:pos x="40" y="48"/>
                  </a:cxn>
                  <a:cxn ang="0">
                    <a:pos x="52" y="52"/>
                  </a:cxn>
                  <a:cxn ang="0">
                    <a:pos x="60" y="76"/>
                  </a:cxn>
                  <a:cxn ang="0">
                    <a:pos x="65" y="63"/>
                  </a:cxn>
                  <a:cxn ang="0">
                    <a:pos x="58" y="38"/>
                  </a:cxn>
                  <a:cxn ang="0">
                    <a:pos x="52" y="47"/>
                  </a:cxn>
                  <a:cxn ang="0">
                    <a:pos x="43" y="35"/>
                  </a:cxn>
                  <a:cxn ang="0">
                    <a:pos x="59" y="19"/>
                  </a:cxn>
                  <a:cxn ang="0">
                    <a:pos x="28" y="17"/>
                  </a:cxn>
                  <a:cxn ang="0">
                    <a:pos x="9" y="0"/>
                  </a:cxn>
                  <a:cxn ang="0">
                    <a:pos x="3" y="9"/>
                  </a:cxn>
                  <a:cxn ang="0">
                    <a:pos x="9" y="17"/>
                  </a:cxn>
                  <a:cxn ang="0">
                    <a:pos x="0" y="22"/>
                  </a:cxn>
                </a:cxnLst>
                <a:rect l="0" t="0" r="r" b="b"/>
                <a:pathLst>
                  <a:path w="65" h="76">
                    <a:moveTo>
                      <a:pt x="0" y="22"/>
                    </a:moveTo>
                    <a:lnTo>
                      <a:pt x="9" y="31"/>
                    </a:lnTo>
                    <a:lnTo>
                      <a:pt x="14" y="66"/>
                    </a:lnTo>
                    <a:lnTo>
                      <a:pt x="31" y="64"/>
                    </a:lnTo>
                    <a:lnTo>
                      <a:pt x="40" y="48"/>
                    </a:lnTo>
                    <a:lnTo>
                      <a:pt x="52" y="52"/>
                    </a:lnTo>
                    <a:lnTo>
                      <a:pt x="60" y="76"/>
                    </a:lnTo>
                    <a:lnTo>
                      <a:pt x="65" y="63"/>
                    </a:lnTo>
                    <a:lnTo>
                      <a:pt x="58" y="38"/>
                    </a:lnTo>
                    <a:lnTo>
                      <a:pt x="52" y="47"/>
                    </a:lnTo>
                    <a:lnTo>
                      <a:pt x="43" y="35"/>
                    </a:lnTo>
                    <a:lnTo>
                      <a:pt x="59" y="19"/>
                    </a:lnTo>
                    <a:lnTo>
                      <a:pt x="28" y="17"/>
                    </a:lnTo>
                    <a:lnTo>
                      <a:pt x="9" y="0"/>
                    </a:lnTo>
                    <a:lnTo>
                      <a:pt x="3" y="9"/>
                    </a:lnTo>
                    <a:lnTo>
                      <a:pt x="9" y="17"/>
                    </a:lnTo>
                    <a:lnTo>
                      <a:pt x="0" y="22"/>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77" name="Freeform 33"/>
              <p:cNvSpPr>
                <a:spLocks noEditPoints="1"/>
              </p:cNvSpPr>
              <p:nvPr/>
            </p:nvSpPr>
            <p:spPr bwMode="auto">
              <a:xfrm>
                <a:off x="3969" y="1764"/>
                <a:ext cx="69" cy="80"/>
              </a:xfrm>
              <a:custGeom>
                <a:avLst/>
                <a:gdLst/>
                <a:ahLst/>
                <a:cxnLst>
                  <a:cxn ang="0">
                    <a:pos x="15" y="103"/>
                  </a:cxn>
                  <a:cxn ang="0">
                    <a:pos x="47" y="143"/>
                  </a:cxn>
                  <a:cxn ang="0">
                    <a:pos x="57" y="293"/>
                  </a:cxn>
                  <a:cxn ang="0">
                    <a:pos x="106" y="287"/>
                  </a:cxn>
                  <a:cxn ang="0">
                    <a:pos x="149" y="215"/>
                  </a:cxn>
                  <a:cxn ang="0">
                    <a:pos x="194" y="235"/>
                  </a:cxn>
                  <a:cxn ang="0">
                    <a:pos x="206" y="342"/>
                  </a:cxn>
                  <a:cxn ang="0">
                    <a:pos x="225" y="286"/>
                  </a:cxn>
                  <a:cxn ang="0">
                    <a:pos x="215" y="179"/>
                  </a:cxn>
                  <a:cxn ang="0">
                    <a:pos x="187" y="224"/>
                  </a:cxn>
                  <a:cxn ang="0">
                    <a:pos x="150" y="166"/>
                  </a:cxn>
                  <a:cxn ang="0">
                    <a:pos x="205" y="90"/>
                  </a:cxn>
                  <a:cxn ang="0">
                    <a:pos x="105" y="93"/>
                  </a:cxn>
                  <a:cxn ang="0">
                    <a:pos x="32" y="14"/>
                  </a:cxn>
                  <a:cxn ang="0">
                    <a:pos x="24" y="55"/>
                  </a:cxn>
                  <a:cxn ang="0">
                    <a:pos x="47" y="80"/>
                  </a:cxn>
                  <a:cxn ang="0">
                    <a:pos x="45" y="92"/>
                  </a:cxn>
                  <a:cxn ang="0">
                    <a:pos x="36" y="79"/>
                  </a:cxn>
                  <a:cxn ang="0">
                    <a:pos x="10" y="56"/>
                  </a:cxn>
                  <a:cxn ang="0">
                    <a:pos x="31" y="5"/>
                  </a:cxn>
                  <a:cxn ang="0">
                    <a:pos x="44" y="3"/>
                  </a:cxn>
                  <a:cxn ang="0">
                    <a:pos x="106" y="77"/>
                  </a:cxn>
                  <a:cxn ang="0">
                    <a:pos x="218" y="92"/>
                  </a:cxn>
                  <a:cxn ang="0">
                    <a:pos x="163" y="167"/>
                  </a:cxn>
                  <a:cxn ang="0">
                    <a:pos x="194" y="212"/>
                  </a:cxn>
                  <a:cxn ang="0">
                    <a:pos x="201" y="171"/>
                  </a:cxn>
                  <a:cxn ang="0">
                    <a:pos x="216" y="173"/>
                  </a:cxn>
                  <a:cxn ang="0">
                    <a:pos x="240" y="287"/>
                  </a:cxn>
                  <a:cxn ang="0">
                    <a:pos x="213" y="352"/>
                  </a:cxn>
                  <a:cxn ang="0">
                    <a:pos x="179" y="239"/>
                  </a:cxn>
                  <a:cxn ang="0">
                    <a:pos x="143" y="230"/>
                  </a:cxn>
                  <a:cxn ang="0">
                    <a:pos x="121" y="294"/>
                  </a:cxn>
                  <a:cxn ang="0">
                    <a:pos x="60" y="308"/>
                  </a:cxn>
                  <a:cxn ang="0">
                    <a:pos x="50" y="301"/>
                  </a:cxn>
                  <a:cxn ang="0">
                    <a:pos x="33" y="149"/>
                  </a:cxn>
                  <a:cxn ang="0">
                    <a:pos x="1" y="107"/>
                  </a:cxn>
                  <a:cxn ang="0">
                    <a:pos x="36" y="79"/>
                  </a:cxn>
                </a:cxnLst>
                <a:rect l="0" t="0" r="r" b="b"/>
                <a:pathLst>
                  <a:path w="241" h="353">
                    <a:moveTo>
                      <a:pt x="13" y="115"/>
                    </a:moveTo>
                    <a:lnTo>
                      <a:pt x="15" y="103"/>
                    </a:lnTo>
                    <a:lnTo>
                      <a:pt x="46" y="139"/>
                    </a:lnTo>
                    <a:cubicBezTo>
                      <a:pt x="47" y="140"/>
                      <a:pt x="47" y="141"/>
                      <a:pt x="47" y="143"/>
                    </a:cubicBezTo>
                    <a:lnTo>
                      <a:pt x="66" y="299"/>
                    </a:lnTo>
                    <a:lnTo>
                      <a:pt x="57" y="293"/>
                    </a:lnTo>
                    <a:lnTo>
                      <a:pt x="112" y="283"/>
                    </a:lnTo>
                    <a:lnTo>
                      <a:pt x="106" y="287"/>
                    </a:lnTo>
                    <a:lnTo>
                      <a:pt x="139" y="219"/>
                    </a:lnTo>
                    <a:cubicBezTo>
                      <a:pt x="141" y="215"/>
                      <a:pt x="145" y="213"/>
                      <a:pt x="149" y="215"/>
                    </a:cubicBezTo>
                    <a:lnTo>
                      <a:pt x="189" y="229"/>
                    </a:lnTo>
                    <a:cubicBezTo>
                      <a:pt x="192" y="230"/>
                      <a:pt x="194" y="232"/>
                      <a:pt x="194" y="235"/>
                    </a:cubicBezTo>
                    <a:lnTo>
                      <a:pt x="221" y="343"/>
                    </a:lnTo>
                    <a:lnTo>
                      <a:pt x="206" y="342"/>
                    </a:lnTo>
                    <a:lnTo>
                      <a:pt x="225" y="282"/>
                    </a:lnTo>
                    <a:lnTo>
                      <a:pt x="225" y="286"/>
                    </a:lnTo>
                    <a:lnTo>
                      <a:pt x="200" y="177"/>
                    </a:lnTo>
                    <a:lnTo>
                      <a:pt x="215" y="179"/>
                    </a:lnTo>
                    <a:lnTo>
                      <a:pt x="194" y="219"/>
                    </a:lnTo>
                    <a:cubicBezTo>
                      <a:pt x="192" y="222"/>
                      <a:pt x="190" y="224"/>
                      <a:pt x="187" y="224"/>
                    </a:cubicBezTo>
                    <a:cubicBezTo>
                      <a:pt x="184" y="224"/>
                      <a:pt x="181" y="222"/>
                      <a:pt x="180" y="219"/>
                    </a:cubicBezTo>
                    <a:lnTo>
                      <a:pt x="150" y="166"/>
                    </a:lnTo>
                    <a:cubicBezTo>
                      <a:pt x="148" y="163"/>
                      <a:pt x="149" y="159"/>
                      <a:pt x="151" y="157"/>
                    </a:cubicBezTo>
                    <a:lnTo>
                      <a:pt x="205" y="90"/>
                    </a:lnTo>
                    <a:lnTo>
                      <a:pt x="210" y="103"/>
                    </a:lnTo>
                    <a:lnTo>
                      <a:pt x="105" y="93"/>
                    </a:lnTo>
                    <a:cubicBezTo>
                      <a:pt x="103" y="93"/>
                      <a:pt x="101" y="92"/>
                      <a:pt x="100" y="90"/>
                    </a:cubicBezTo>
                    <a:lnTo>
                      <a:pt x="32" y="14"/>
                    </a:lnTo>
                    <a:lnTo>
                      <a:pt x="45" y="12"/>
                    </a:lnTo>
                    <a:lnTo>
                      <a:pt x="24" y="55"/>
                    </a:lnTo>
                    <a:lnTo>
                      <a:pt x="23" y="46"/>
                    </a:lnTo>
                    <a:lnTo>
                      <a:pt x="47" y="80"/>
                    </a:lnTo>
                    <a:cubicBezTo>
                      <a:pt x="49" y="82"/>
                      <a:pt x="49" y="84"/>
                      <a:pt x="49" y="86"/>
                    </a:cubicBezTo>
                    <a:cubicBezTo>
                      <a:pt x="48" y="89"/>
                      <a:pt x="47" y="90"/>
                      <a:pt x="45" y="92"/>
                    </a:cubicBezTo>
                    <a:lnTo>
                      <a:pt x="13" y="115"/>
                    </a:lnTo>
                    <a:close/>
                    <a:moveTo>
                      <a:pt x="36" y="79"/>
                    </a:moveTo>
                    <a:lnTo>
                      <a:pt x="34" y="90"/>
                    </a:lnTo>
                    <a:lnTo>
                      <a:pt x="10" y="56"/>
                    </a:lnTo>
                    <a:cubicBezTo>
                      <a:pt x="8" y="53"/>
                      <a:pt x="8" y="50"/>
                      <a:pt x="9" y="47"/>
                    </a:cubicBezTo>
                    <a:lnTo>
                      <a:pt x="31" y="5"/>
                    </a:lnTo>
                    <a:cubicBezTo>
                      <a:pt x="32" y="2"/>
                      <a:pt x="35" y="1"/>
                      <a:pt x="37" y="1"/>
                    </a:cubicBezTo>
                    <a:cubicBezTo>
                      <a:pt x="40" y="0"/>
                      <a:pt x="42" y="1"/>
                      <a:pt x="44" y="3"/>
                    </a:cubicBezTo>
                    <a:lnTo>
                      <a:pt x="112" y="80"/>
                    </a:lnTo>
                    <a:lnTo>
                      <a:pt x="106" y="77"/>
                    </a:lnTo>
                    <a:lnTo>
                      <a:pt x="212" y="87"/>
                    </a:lnTo>
                    <a:cubicBezTo>
                      <a:pt x="215" y="87"/>
                      <a:pt x="217" y="89"/>
                      <a:pt x="218" y="92"/>
                    </a:cubicBezTo>
                    <a:cubicBezTo>
                      <a:pt x="219" y="95"/>
                      <a:pt x="219" y="98"/>
                      <a:pt x="217" y="100"/>
                    </a:cubicBezTo>
                    <a:lnTo>
                      <a:pt x="163" y="167"/>
                    </a:lnTo>
                    <a:lnTo>
                      <a:pt x="164" y="158"/>
                    </a:lnTo>
                    <a:lnTo>
                      <a:pt x="194" y="212"/>
                    </a:lnTo>
                    <a:lnTo>
                      <a:pt x="180" y="212"/>
                    </a:lnTo>
                    <a:lnTo>
                      <a:pt x="201" y="171"/>
                    </a:lnTo>
                    <a:cubicBezTo>
                      <a:pt x="203" y="168"/>
                      <a:pt x="206" y="166"/>
                      <a:pt x="209" y="167"/>
                    </a:cubicBezTo>
                    <a:cubicBezTo>
                      <a:pt x="213" y="167"/>
                      <a:pt x="215" y="170"/>
                      <a:pt x="216" y="173"/>
                    </a:cubicBezTo>
                    <a:lnTo>
                      <a:pt x="240" y="282"/>
                    </a:lnTo>
                    <a:cubicBezTo>
                      <a:pt x="241" y="284"/>
                      <a:pt x="241" y="285"/>
                      <a:pt x="240" y="287"/>
                    </a:cubicBezTo>
                    <a:lnTo>
                      <a:pt x="221" y="347"/>
                    </a:lnTo>
                    <a:cubicBezTo>
                      <a:pt x="220" y="350"/>
                      <a:pt x="217" y="353"/>
                      <a:pt x="213" y="352"/>
                    </a:cubicBezTo>
                    <a:cubicBezTo>
                      <a:pt x="210" y="352"/>
                      <a:pt x="207" y="350"/>
                      <a:pt x="206" y="346"/>
                    </a:cubicBezTo>
                    <a:lnTo>
                      <a:pt x="179" y="239"/>
                    </a:lnTo>
                    <a:lnTo>
                      <a:pt x="184" y="244"/>
                    </a:lnTo>
                    <a:lnTo>
                      <a:pt x="143" y="230"/>
                    </a:lnTo>
                    <a:lnTo>
                      <a:pt x="153" y="226"/>
                    </a:lnTo>
                    <a:lnTo>
                      <a:pt x="121" y="294"/>
                    </a:lnTo>
                    <a:cubicBezTo>
                      <a:pt x="120" y="296"/>
                      <a:pt x="118" y="298"/>
                      <a:pt x="115" y="299"/>
                    </a:cubicBezTo>
                    <a:lnTo>
                      <a:pt x="60" y="308"/>
                    </a:lnTo>
                    <a:cubicBezTo>
                      <a:pt x="58" y="309"/>
                      <a:pt x="55" y="308"/>
                      <a:pt x="54" y="307"/>
                    </a:cubicBezTo>
                    <a:cubicBezTo>
                      <a:pt x="52" y="306"/>
                      <a:pt x="51" y="304"/>
                      <a:pt x="50" y="301"/>
                    </a:cubicBezTo>
                    <a:lnTo>
                      <a:pt x="32" y="145"/>
                    </a:lnTo>
                    <a:lnTo>
                      <a:pt x="33" y="149"/>
                    </a:lnTo>
                    <a:lnTo>
                      <a:pt x="2" y="113"/>
                    </a:lnTo>
                    <a:cubicBezTo>
                      <a:pt x="1" y="111"/>
                      <a:pt x="0" y="109"/>
                      <a:pt x="1" y="107"/>
                    </a:cubicBezTo>
                    <a:cubicBezTo>
                      <a:pt x="1" y="105"/>
                      <a:pt x="2" y="103"/>
                      <a:pt x="4" y="101"/>
                    </a:cubicBezTo>
                    <a:lnTo>
                      <a:pt x="36" y="79"/>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78" name="Freeform 34"/>
              <p:cNvSpPr>
                <a:spLocks/>
              </p:cNvSpPr>
              <p:nvPr/>
            </p:nvSpPr>
            <p:spPr bwMode="auto">
              <a:xfrm>
                <a:off x="2783" y="1381"/>
                <a:ext cx="46" cy="30"/>
              </a:xfrm>
              <a:custGeom>
                <a:avLst/>
                <a:gdLst/>
                <a:ahLst/>
                <a:cxnLst>
                  <a:cxn ang="0">
                    <a:pos x="0" y="6"/>
                  </a:cxn>
                  <a:cxn ang="0">
                    <a:pos x="11" y="2"/>
                  </a:cxn>
                  <a:cxn ang="0">
                    <a:pos x="32" y="0"/>
                  </a:cxn>
                  <a:cxn ang="0">
                    <a:pos x="46" y="13"/>
                  </a:cxn>
                  <a:cxn ang="0">
                    <a:pos x="46" y="21"/>
                  </a:cxn>
                  <a:cxn ang="0">
                    <a:pos x="41" y="30"/>
                  </a:cxn>
                  <a:cxn ang="0">
                    <a:pos x="0" y="6"/>
                  </a:cxn>
                </a:cxnLst>
                <a:rect l="0" t="0" r="r" b="b"/>
                <a:pathLst>
                  <a:path w="46" h="30">
                    <a:moveTo>
                      <a:pt x="0" y="6"/>
                    </a:moveTo>
                    <a:lnTo>
                      <a:pt x="11" y="2"/>
                    </a:lnTo>
                    <a:lnTo>
                      <a:pt x="32" y="0"/>
                    </a:lnTo>
                    <a:lnTo>
                      <a:pt x="46" y="13"/>
                    </a:lnTo>
                    <a:lnTo>
                      <a:pt x="46" y="21"/>
                    </a:lnTo>
                    <a:lnTo>
                      <a:pt x="41" y="30"/>
                    </a:lnTo>
                    <a:lnTo>
                      <a:pt x="0" y="6"/>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79" name="Freeform 35"/>
              <p:cNvSpPr>
                <a:spLocks noEditPoints="1"/>
              </p:cNvSpPr>
              <p:nvPr/>
            </p:nvSpPr>
            <p:spPr bwMode="auto">
              <a:xfrm>
                <a:off x="2781" y="1380"/>
                <a:ext cx="51" cy="33"/>
              </a:xfrm>
              <a:custGeom>
                <a:avLst/>
                <a:gdLst/>
                <a:ahLst/>
                <a:cxnLst>
                  <a:cxn ang="0">
                    <a:pos x="4" y="39"/>
                  </a:cxn>
                  <a:cxn ang="0">
                    <a:pos x="0" y="31"/>
                  </a:cxn>
                  <a:cxn ang="0">
                    <a:pos x="5" y="25"/>
                  </a:cxn>
                  <a:cxn ang="0">
                    <a:pos x="42" y="8"/>
                  </a:cxn>
                  <a:cxn ang="0">
                    <a:pos x="45" y="7"/>
                  </a:cxn>
                  <a:cxn ang="0">
                    <a:pos x="116" y="0"/>
                  </a:cxn>
                  <a:cxn ang="0">
                    <a:pos x="123" y="3"/>
                  </a:cxn>
                  <a:cxn ang="0">
                    <a:pos x="171" y="55"/>
                  </a:cxn>
                  <a:cxn ang="0">
                    <a:pos x="174" y="60"/>
                  </a:cxn>
                  <a:cxn ang="0">
                    <a:pos x="176" y="100"/>
                  </a:cxn>
                  <a:cxn ang="0">
                    <a:pos x="176" y="104"/>
                  </a:cxn>
                  <a:cxn ang="0">
                    <a:pos x="157" y="140"/>
                  </a:cxn>
                  <a:cxn ang="0">
                    <a:pos x="152" y="144"/>
                  </a:cxn>
                  <a:cxn ang="0">
                    <a:pos x="145" y="143"/>
                  </a:cxn>
                  <a:cxn ang="0">
                    <a:pos x="4" y="39"/>
                  </a:cxn>
                  <a:cxn ang="0">
                    <a:pos x="155" y="130"/>
                  </a:cxn>
                  <a:cxn ang="0">
                    <a:pos x="143" y="133"/>
                  </a:cxn>
                  <a:cxn ang="0">
                    <a:pos x="161" y="96"/>
                  </a:cxn>
                  <a:cxn ang="0">
                    <a:pos x="160" y="101"/>
                  </a:cxn>
                  <a:cxn ang="0">
                    <a:pos x="158" y="61"/>
                  </a:cxn>
                  <a:cxn ang="0">
                    <a:pos x="160" y="66"/>
                  </a:cxn>
                  <a:cxn ang="0">
                    <a:pos x="111" y="14"/>
                  </a:cxn>
                  <a:cxn ang="0">
                    <a:pos x="118" y="16"/>
                  </a:cxn>
                  <a:cxn ang="0">
                    <a:pos x="46" y="23"/>
                  </a:cxn>
                  <a:cxn ang="0">
                    <a:pos x="49" y="22"/>
                  </a:cxn>
                  <a:cxn ang="0">
                    <a:pos x="12" y="39"/>
                  </a:cxn>
                  <a:cxn ang="0">
                    <a:pos x="13" y="26"/>
                  </a:cxn>
                  <a:cxn ang="0">
                    <a:pos x="155" y="130"/>
                  </a:cxn>
                </a:cxnLst>
                <a:rect l="0" t="0" r="r" b="b"/>
                <a:pathLst>
                  <a:path w="177" h="145">
                    <a:moveTo>
                      <a:pt x="4" y="39"/>
                    </a:moveTo>
                    <a:cubicBezTo>
                      <a:pt x="1" y="37"/>
                      <a:pt x="0" y="34"/>
                      <a:pt x="0" y="31"/>
                    </a:cubicBezTo>
                    <a:cubicBezTo>
                      <a:pt x="1" y="29"/>
                      <a:pt x="3" y="26"/>
                      <a:pt x="5" y="25"/>
                    </a:cubicBezTo>
                    <a:lnTo>
                      <a:pt x="42" y="8"/>
                    </a:lnTo>
                    <a:cubicBezTo>
                      <a:pt x="43" y="7"/>
                      <a:pt x="44" y="7"/>
                      <a:pt x="45" y="7"/>
                    </a:cubicBezTo>
                    <a:lnTo>
                      <a:pt x="116" y="0"/>
                    </a:lnTo>
                    <a:cubicBezTo>
                      <a:pt x="119" y="0"/>
                      <a:pt x="121" y="1"/>
                      <a:pt x="123" y="3"/>
                    </a:cubicBezTo>
                    <a:lnTo>
                      <a:pt x="171" y="55"/>
                    </a:lnTo>
                    <a:cubicBezTo>
                      <a:pt x="173" y="56"/>
                      <a:pt x="173" y="58"/>
                      <a:pt x="174" y="60"/>
                    </a:cubicBezTo>
                    <a:lnTo>
                      <a:pt x="176" y="100"/>
                    </a:lnTo>
                    <a:cubicBezTo>
                      <a:pt x="177" y="101"/>
                      <a:pt x="176" y="102"/>
                      <a:pt x="176" y="104"/>
                    </a:cubicBezTo>
                    <a:lnTo>
                      <a:pt x="157" y="140"/>
                    </a:lnTo>
                    <a:cubicBezTo>
                      <a:pt x="156" y="142"/>
                      <a:pt x="154" y="144"/>
                      <a:pt x="152" y="144"/>
                    </a:cubicBezTo>
                    <a:cubicBezTo>
                      <a:pt x="149" y="145"/>
                      <a:pt x="147" y="144"/>
                      <a:pt x="145" y="143"/>
                    </a:cubicBezTo>
                    <a:lnTo>
                      <a:pt x="4" y="39"/>
                    </a:lnTo>
                    <a:close/>
                    <a:moveTo>
                      <a:pt x="155" y="130"/>
                    </a:moveTo>
                    <a:lnTo>
                      <a:pt x="143" y="133"/>
                    </a:lnTo>
                    <a:lnTo>
                      <a:pt x="161" y="96"/>
                    </a:lnTo>
                    <a:lnTo>
                      <a:pt x="160" y="101"/>
                    </a:lnTo>
                    <a:lnTo>
                      <a:pt x="158" y="61"/>
                    </a:lnTo>
                    <a:lnTo>
                      <a:pt x="160" y="66"/>
                    </a:lnTo>
                    <a:lnTo>
                      <a:pt x="111" y="14"/>
                    </a:lnTo>
                    <a:lnTo>
                      <a:pt x="118" y="16"/>
                    </a:lnTo>
                    <a:lnTo>
                      <a:pt x="46" y="23"/>
                    </a:lnTo>
                    <a:lnTo>
                      <a:pt x="49" y="22"/>
                    </a:lnTo>
                    <a:lnTo>
                      <a:pt x="12" y="39"/>
                    </a:lnTo>
                    <a:lnTo>
                      <a:pt x="13" y="26"/>
                    </a:lnTo>
                    <a:lnTo>
                      <a:pt x="155" y="130"/>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80" name="Freeform 36"/>
              <p:cNvSpPr>
                <a:spLocks/>
              </p:cNvSpPr>
              <p:nvPr/>
            </p:nvSpPr>
            <p:spPr bwMode="auto">
              <a:xfrm>
                <a:off x="3985" y="1740"/>
                <a:ext cx="42" cy="22"/>
              </a:xfrm>
              <a:custGeom>
                <a:avLst/>
                <a:gdLst/>
                <a:ahLst/>
                <a:cxnLst>
                  <a:cxn ang="0">
                    <a:pos x="0" y="13"/>
                  </a:cxn>
                  <a:cxn ang="0">
                    <a:pos x="5" y="22"/>
                  </a:cxn>
                  <a:cxn ang="0">
                    <a:pos x="42" y="18"/>
                  </a:cxn>
                  <a:cxn ang="0">
                    <a:pos x="39" y="6"/>
                  </a:cxn>
                  <a:cxn ang="0">
                    <a:pos x="13" y="0"/>
                  </a:cxn>
                  <a:cxn ang="0">
                    <a:pos x="0" y="13"/>
                  </a:cxn>
                </a:cxnLst>
                <a:rect l="0" t="0" r="r" b="b"/>
                <a:pathLst>
                  <a:path w="42" h="22">
                    <a:moveTo>
                      <a:pt x="0" y="13"/>
                    </a:moveTo>
                    <a:lnTo>
                      <a:pt x="5" y="22"/>
                    </a:lnTo>
                    <a:lnTo>
                      <a:pt x="42" y="18"/>
                    </a:lnTo>
                    <a:lnTo>
                      <a:pt x="39" y="6"/>
                    </a:lnTo>
                    <a:lnTo>
                      <a:pt x="13" y="0"/>
                    </a:lnTo>
                    <a:lnTo>
                      <a:pt x="0" y="13"/>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81" name="Freeform 37"/>
              <p:cNvSpPr>
                <a:spLocks noEditPoints="1"/>
              </p:cNvSpPr>
              <p:nvPr/>
            </p:nvSpPr>
            <p:spPr bwMode="auto">
              <a:xfrm>
                <a:off x="3983" y="1738"/>
                <a:ext cx="46" cy="26"/>
              </a:xfrm>
              <a:custGeom>
                <a:avLst/>
                <a:gdLst/>
                <a:ahLst/>
                <a:cxnLst>
                  <a:cxn ang="0">
                    <a:pos x="15" y="72"/>
                  </a:cxn>
                  <a:cxn ang="0">
                    <a:pos x="16" y="64"/>
                  </a:cxn>
                  <a:cxn ang="0">
                    <a:pos x="34" y="101"/>
                  </a:cxn>
                  <a:cxn ang="0">
                    <a:pos x="25" y="97"/>
                  </a:cxn>
                  <a:cxn ang="0">
                    <a:pos x="151" y="80"/>
                  </a:cxn>
                  <a:cxn ang="0">
                    <a:pos x="145" y="89"/>
                  </a:cxn>
                  <a:cxn ang="0">
                    <a:pos x="136" y="37"/>
                  </a:cxn>
                  <a:cxn ang="0">
                    <a:pos x="142" y="44"/>
                  </a:cxn>
                  <a:cxn ang="0">
                    <a:pos x="53" y="16"/>
                  </a:cxn>
                  <a:cxn ang="0">
                    <a:pos x="61" y="13"/>
                  </a:cxn>
                  <a:cxn ang="0">
                    <a:pos x="15" y="72"/>
                  </a:cxn>
                  <a:cxn ang="0">
                    <a:pos x="49" y="3"/>
                  </a:cxn>
                  <a:cxn ang="0">
                    <a:pos x="57" y="1"/>
                  </a:cxn>
                  <a:cxn ang="0">
                    <a:pos x="147" y="28"/>
                  </a:cxn>
                  <a:cxn ang="0">
                    <a:pos x="152" y="35"/>
                  </a:cxn>
                  <a:cxn ang="0">
                    <a:pos x="160" y="87"/>
                  </a:cxn>
                  <a:cxn ang="0">
                    <a:pos x="159" y="93"/>
                  </a:cxn>
                  <a:cxn ang="0">
                    <a:pos x="153" y="96"/>
                  </a:cxn>
                  <a:cxn ang="0">
                    <a:pos x="27" y="112"/>
                  </a:cxn>
                  <a:cxn ang="0">
                    <a:pos x="19" y="108"/>
                  </a:cxn>
                  <a:cxn ang="0">
                    <a:pos x="1" y="70"/>
                  </a:cxn>
                  <a:cxn ang="0">
                    <a:pos x="2" y="62"/>
                  </a:cxn>
                  <a:cxn ang="0">
                    <a:pos x="49" y="3"/>
                  </a:cxn>
                </a:cxnLst>
                <a:rect l="0" t="0" r="r" b="b"/>
                <a:pathLst>
                  <a:path w="161" h="113">
                    <a:moveTo>
                      <a:pt x="15" y="72"/>
                    </a:moveTo>
                    <a:lnTo>
                      <a:pt x="16" y="64"/>
                    </a:lnTo>
                    <a:lnTo>
                      <a:pt x="34" y="101"/>
                    </a:lnTo>
                    <a:lnTo>
                      <a:pt x="25" y="97"/>
                    </a:lnTo>
                    <a:lnTo>
                      <a:pt x="151" y="80"/>
                    </a:lnTo>
                    <a:lnTo>
                      <a:pt x="145" y="89"/>
                    </a:lnTo>
                    <a:lnTo>
                      <a:pt x="136" y="37"/>
                    </a:lnTo>
                    <a:lnTo>
                      <a:pt x="142" y="44"/>
                    </a:lnTo>
                    <a:lnTo>
                      <a:pt x="53" y="16"/>
                    </a:lnTo>
                    <a:lnTo>
                      <a:pt x="61" y="13"/>
                    </a:lnTo>
                    <a:lnTo>
                      <a:pt x="15" y="72"/>
                    </a:lnTo>
                    <a:close/>
                    <a:moveTo>
                      <a:pt x="49" y="3"/>
                    </a:moveTo>
                    <a:cubicBezTo>
                      <a:pt x="51" y="1"/>
                      <a:pt x="54" y="0"/>
                      <a:pt x="57" y="1"/>
                    </a:cubicBezTo>
                    <a:lnTo>
                      <a:pt x="147" y="28"/>
                    </a:lnTo>
                    <a:cubicBezTo>
                      <a:pt x="150" y="29"/>
                      <a:pt x="152" y="32"/>
                      <a:pt x="152" y="35"/>
                    </a:cubicBezTo>
                    <a:lnTo>
                      <a:pt x="160" y="87"/>
                    </a:lnTo>
                    <a:cubicBezTo>
                      <a:pt x="161" y="89"/>
                      <a:pt x="160" y="91"/>
                      <a:pt x="159" y="93"/>
                    </a:cubicBezTo>
                    <a:cubicBezTo>
                      <a:pt x="158" y="95"/>
                      <a:pt x="156" y="96"/>
                      <a:pt x="153" y="96"/>
                    </a:cubicBezTo>
                    <a:lnTo>
                      <a:pt x="27" y="112"/>
                    </a:lnTo>
                    <a:cubicBezTo>
                      <a:pt x="24" y="113"/>
                      <a:pt x="21" y="111"/>
                      <a:pt x="19" y="108"/>
                    </a:cubicBezTo>
                    <a:lnTo>
                      <a:pt x="1" y="70"/>
                    </a:lnTo>
                    <a:cubicBezTo>
                      <a:pt x="0" y="68"/>
                      <a:pt x="0" y="64"/>
                      <a:pt x="2" y="62"/>
                    </a:cubicBezTo>
                    <a:lnTo>
                      <a:pt x="49" y="3"/>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82" name="Freeform 38"/>
              <p:cNvSpPr>
                <a:spLocks/>
              </p:cNvSpPr>
              <p:nvPr/>
            </p:nvSpPr>
            <p:spPr bwMode="auto">
              <a:xfrm>
                <a:off x="1767" y="2248"/>
                <a:ext cx="167" cy="180"/>
              </a:xfrm>
              <a:custGeom>
                <a:avLst/>
                <a:gdLst/>
                <a:ahLst/>
                <a:cxnLst>
                  <a:cxn ang="0">
                    <a:pos x="0" y="19"/>
                  </a:cxn>
                  <a:cxn ang="0">
                    <a:pos x="12" y="38"/>
                  </a:cxn>
                  <a:cxn ang="0">
                    <a:pos x="3" y="78"/>
                  </a:cxn>
                  <a:cxn ang="0">
                    <a:pos x="12" y="83"/>
                  </a:cxn>
                  <a:cxn ang="0">
                    <a:pos x="8" y="89"/>
                  </a:cxn>
                  <a:cxn ang="0">
                    <a:pos x="0" y="106"/>
                  </a:cxn>
                  <a:cxn ang="0">
                    <a:pos x="15" y="130"/>
                  </a:cxn>
                  <a:cxn ang="0">
                    <a:pos x="24" y="178"/>
                  </a:cxn>
                  <a:cxn ang="0">
                    <a:pos x="34" y="180"/>
                  </a:cxn>
                  <a:cxn ang="0">
                    <a:pos x="48" y="165"/>
                  </a:cxn>
                  <a:cxn ang="0">
                    <a:pos x="75" y="177"/>
                  </a:cxn>
                  <a:cxn ang="0">
                    <a:pos x="76" y="168"/>
                  </a:cxn>
                  <a:cxn ang="0">
                    <a:pos x="98" y="171"/>
                  </a:cxn>
                  <a:cxn ang="0">
                    <a:pos x="107" y="136"/>
                  </a:cxn>
                  <a:cxn ang="0">
                    <a:pos x="148" y="130"/>
                  </a:cxn>
                  <a:cxn ang="0">
                    <a:pos x="161" y="142"/>
                  </a:cxn>
                  <a:cxn ang="0">
                    <a:pos x="167" y="114"/>
                  </a:cxn>
                  <a:cxn ang="0">
                    <a:pos x="158" y="91"/>
                  </a:cxn>
                  <a:cxn ang="0">
                    <a:pos x="134" y="90"/>
                  </a:cxn>
                  <a:cxn ang="0">
                    <a:pos x="124" y="54"/>
                  </a:cxn>
                  <a:cxn ang="0">
                    <a:pos x="62" y="31"/>
                  </a:cxn>
                  <a:cxn ang="0">
                    <a:pos x="58" y="0"/>
                  </a:cxn>
                  <a:cxn ang="0">
                    <a:pos x="17" y="20"/>
                  </a:cxn>
                  <a:cxn ang="0">
                    <a:pos x="0" y="19"/>
                  </a:cxn>
                </a:cxnLst>
                <a:rect l="0" t="0" r="r" b="b"/>
                <a:pathLst>
                  <a:path w="167" h="180">
                    <a:moveTo>
                      <a:pt x="0" y="19"/>
                    </a:moveTo>
                    <a:lnTo>
                      <a:pt x="12" y="38"/>
                    </a:lnTo>
                    <a:lnTo>
                      <a:pt x="3" y="78"/>
                    </a:lnTo>
                    <a:lnTo>
                      <a:pt x="12" y="83"/>
                    </a:lnTo>
                    <a:lnTo>
                      <a:pt x="8" y="89"/>
                    </a:lnTo>
                    <a:lnTo>
                      <a:pt x="0" y="106"/>
                    </a:lnTo>
                    <a:lnTo>
                      <a:pt x="15" y="130"/>
                    </a:lnTo>
                    <a:lnTo>
                      <a:pt x="24" y="178"/>
                    </a:lnTo>
                    <a:lnTo>
                      <a:pt x="34" y="180"/>
                    </a:lnTo>
                    <a:lnTo>
                      <a:pt x="48" y="165"/>
                    </a:lnTo>
                    <a:lnTo>
                      <a:pt x="75" y="177"/>
                    </a:lnTo>
                    <a:lnTo>
                      <a:pt x="76" y="168"/>
                    </a:lnTo>
                    <a:lnTo>
                      <a:pt x="98" y="171"/>
                    </a:lnTo>
                    <a:lnTo>
                      <a:pt x="107" y="136"/>
                    </a:lnTo>
                    <a:lnTo>
                      <a:pt x="148" y="130"/>
                    </a:lnTo>
                    <a:lnTo>
                      <a:pt x="161" y="142"/>
                    </a:lnTo>
                    <a:lnTo>
                      <a:pt x="167" y="114"/>
                    </a:lnTo>
                    <a:lnTo>
                      <a:pt x="158" y="91"/>
                    </a:lnTo>
                    <a:lnTo>
                      <a:pt x="134" y="90"/>
                    </a:lnTo>
                    <a:lnTo>
                      <a:pt x="124" y="54"/>
                    </a:lnTo>
                    <a:lnTo>
                      <a:pt x="62" y="31"/>
                    </a:lnTo>
                    <a:lnTo>
                      <a:pt x="58" y="0"/>
                    </a:lnTo>
                    <a:lnTo>
                      <a:pt x="17" y="20"/>
                    </a:lnTo>
                    <a:lnTo>
                      <a:pt x="0" y="19"/>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83" name="Freeform 39"/>
              <p:cNvSpPr>
                <a:spLocks noEditPoints="1"/>
              </p:cNvSpPr>
              <p:nvPr/>
            </p:nvSpPr>
            <p:spPr bwMode="auto">
              <a:xfrm>
                <a:off x="1764" y="2247"/>
                <a:ext cx="172" cy="183"/>
              </a:xfrm>
              <a:custGeom>
                <a:avLst/>
                <a:gdLst/>
                <a:ahLst/>
                <a:cxnLst>
                  <a:cxn ang="0">
                    <a:pos x="16" y="85"/>
                  </a:cxn>
                  <a:cxn ang="0">
                    <a:pos x="58" y="173"/>
                  </a:cxn>
                  <a:cxn ang="0">
                    <a:pos x="26" y="342"/>
                  </a:cxn>
                  <a:cxn ang="0">
                    <a:pos x="57" y="374"/>
                  </a:cxn>
                  <a:cxn ang="0">
                    <a:pos x="44" y="397"/>
                  </a:cxn>
                  <a:cxn ang="0">
                    <a:pos x="18" y="464"/>
                  </a:cxn>
                  <a:cxn ang="0">
                    <a:pos x="69" y="572"/>
                  </a:cxn>
                  <a:cxn ang="0">
                    <a:pos x="93" y="778"/>
                  </a:cxn>
                  <a:cxn ang="0">
                    <a:pos x="119" y="788"/>
                  </a:cxn>
                  <a:cxn ang="0">
                    <a:pos x="181" y="719"/>
                  </a:cxn>
                  <a:cxn ang="0">
                    <a:pos x="259" y="780"/>
                  </a:cxn>
                  <a:cxn ang="0">
                    <a:pos x="266" y="734"/>
                  </a:cxn>
                  <a:cxn ang="0">
                    <a:pos x="350" y="748"/>
                  </a:cxn>
                  <a:cxn ang="0">
                    <a:pos x="370" y="600"/>
                  </a:cxn>
                  <a:cxn ang="0">
                    <a:pos x="518" y="565"/>
                  </a:cxn>
                  <a:cxn ang="0">
                    <a:pos x="572" y="621"/>
                  </a:cxn>
                  <a:cxn ang="0">
                    <a:pos x="577" y="503"/>
                  </a:cxn>
                  <a:cxn ang="0">
                    <a:pos x="545" y="405"/>
                  </a:cxn>
                  <a:cxn ang="0">
                    <a:pos x="472" y="406"/>
                  </a:cxn>
                  <a:cxn ang="0">
                    <a:pos x="430" y="245"/>
                  </a:cxn>
                  <a:cxn ang="0">
                    <a:pos x="220" y="149"/>
                  </a:cxn>
                  <a:cxn ang="0">
                    <a:pos x="203" y="9"/>
                  </a:cxn>
                  <a:cxn ang="0">
                    <a:pos x="71" y="99"/>
                  </a:cxn>
                  <a:cxn ang="0">
                    <a:pos x="8" y="96"/>
                  </a:cxn>
                  <a:cxn ang="0">
                    <a:pos x="63" y="85"/>
                  </a:cxn>
                  <a:cxn ang="0">
                    <a:pos x="215" y="1"/>
                  </a:cxn>
                  <a:cxn ang="0">
                    <a:pos x="232" y="141"/>
                  </a:cxn>
                  <a:cxn ang="0">
                    <a:pos x="441" y="236"/>
                  </a:cxn>
                  <a:cxn ang="0">
                    <a:pos x="480" y="396"/>
                  </a:cxn>
                  <a:cxn ang="0">
                    <a:pos x="553" y="395"/>
                  </a:cxn>
                  <a:cxn ang="0">
                    <a:pos x="592" y="502"/>
                  </a:cxn>
                  <a:cxn ang="0">
                    <a:pos x="574" y="627"/>
                  </a:cxn>
                  <a:cxn ang="0">
                    <a:pos x="560" y="631"/>
                  </a:cxn>
                  <a:cxn ang="0">
                    <a:pos x="521" y="581"/>
                  </a:cxn>
                  <a:cxn ang="0">
                    <a:pos x="386" y="603"/>
                  </a:cxn>
                  <a:cxn ang="0">
                    <a:pos x="353" y="762"/>
                  </a:cxn>
                  <a:cxn ang="0">
                    <a:pos x="269" y="749"/>
                  </a:cxn>
                  <a:cxn ang="0">
                    <a:pos x="275" y="782"/>
                  </a:cxn>
                  <a:cxn ang="0">
                    <a:pos x="262" y="788"/>
                  </a:cxn>
                  <a:cxn ang="0">
                    <a:pos x="183" y="731"/>
                  </a:cxn>
                  <a:cxn ang="0">
                    <a:pos x="123" y="800"/>
                  </a:cxn>
                  <a:cxn ang="0">
                    <a:pos x="84" y="787"/>
                  </a:cxn>
                  <a:cxn ang="0">
                    <a:pos x="54" y="576"/>
                  </a:cxn>
                  <a:cxn ang="0">
                    <a:pos x="4" y="465"/>
                  </a:cxn>
                  <a:cxn ang="0">
                    <a:pos x="29" y="391"/>
                  </a:cxn>
                  <a:cxn ang="0">
                    <a:pos x="45" y="376"/>
                  </a:cxn>
                  <a:cxn ang="0">
                    <a:pos x="13" y="347"/>
                  </a:cxn>
                  <a:cxn ang="0">
                    <a:pos x="43" y="175"/>
                  </a:cxn>
                  <a:cxn ang="0">
                    <a:pos x="2" y="84"/>
                  </a:cxn>
                  <a:cxn ang="0">
                    <a:pos x="67" y="84"/>
                  </a:cxn>
                </a:cxnLst>
                <a:rect l="0" t="0" r="r" b="b"/>
                <a:pathLst>
                  <a:path w="593" h="801">
                    <a:moveTo>
                      <a:pt x="8" y="96"/>
                    </a:moveTo>
                    <a:lnTo>
                      <a:pt x="16" y="85"/>
                    </a:lnTo>
                    <a:lnTo>
                      <a:pt x="57" y="168"/>
                    </a:lnTo>
                    <a:cubicBezTo>
                      <a:pt x="58" y="170"/>
                      <a:pt x="58" y="171"/>
                      <a:pt x="58" y="173"/>
                    </a:cubicBezTo>
                    <a:lnTo>
                      <a:pt x="29" y="349"/>
                    </a:lnTo>
                    <a:lnTo>
                      <a:pt x="26" y="342"/>
                    </a:lnTo>
                    <a:lnTo>
                      <a:pt x="55" y="363"/>
                    </a:lnTo>
                    <a:cubicBezTo>
                      <a:pt x="58" y="366"/>
                      <a:pt x="59" y="370"/>
                      <a:pt x="57" y="374"/>
                    </a:cubicBezTo>
                    <a:lnTo>
                      <a:pt x="43" y="399"/>
                    </a:lnTo>
                    <a:lnTo>
                      <a:pt x="44" y="397"/>
                    </a:lnTo>
                    <a:lnTo>
                      <a:pt x="19" y="470"/>
                    </a:lnTo>
                    <a:lnTo>
                      <a:pt x="18" y="464"/>
                    </a:lnTo>
                    <a:lnTo>
                      <a:pt x="68" y="569"/>
                    </a:lnTo>
                    <a:cubicBezTo>
                      <a:pt x="69" y="570"/>
                      <a:pt x="69" y="571"/>
                      <a:pt x="69" y="572"/>
                    </a:cubicBezTo>
                    <a:lnTo>
                      <a:pt x="100" y="785"/>
                    </a:lnTo>
                    <a:lnTo>
                      <a:pt x="93" y="778"/>
                    </a:lnTo>
                    <a:lnTo>
                      <a:pt x="127" y="785"/>
                    </a:lnTo>
                    <a:lnTo>
                      <a:pt x="119" y="788"/>
                    </a:lnTo>
                    <a:lnTo>
                      <a:pt x="170" y="721"/>
                    </a:lnTo>
                    <a:cubicBezTo>
                      <a:pt x="173" y="718"/>
                      <a:pt x="177" y="717"/>
                      <a:pt x="181" y="719"/>
                    </a:cubicBezTo>
                    <a:lnTo>
                      <a:pt x="271" y="774"/>
                    </a:lnTo>
                    <a:lnTo>
                      <a:pt x="259" y="780"/>
                    </a:lnTo>
                    <a:lnTo>
                      <a:pt x="263" y="740"/>
                    </a:lnTo>
                    <a:cubicBezTo>
                      <a:pt x="263" y="738"/>
                      <a:pt x="264" y="736"/>
                      <a:pt x="266" y="734"/>
                    </a:cubicBezTo>
                    <a:cubicBezTo>
                      <a:pt x="268" y="733"/>
                      <a:pt x="270" y="733"/>
                      <a:pt x="272" y="733"/>
                    </a:cubicBezTo>
                    <a:lnTo>
                      <a:pt x="350" y="748"/>
                    </a:lnTo>
                    <a:lnTo>
                      <a:pt x="341" y="754"/>
                    </a:lnTo>
                    <a:lnTo>
                      <a:pt x="370" y="600"/>
                    </a:lnTo>
                    <a:cubicBezTo>
                      <a:pt x="370" y="596"/>
                      <a:pt x="373" y="594"/>
                      <a:pt x="376" y="593"/>
                    </a:cubicBezTo>
                    <a:lnTo>
                      <a:pt x="518" y="565"/>
                    </a:lnTo>
                    <a:cubicBezTo>
                      <a:pt x="520" y="564"/>
                      <a:pt x="523" y="565"/>
                      <a:pt x="525" y="567"/>
                    </a:cubicBezTo>
                    <a:lnTo>
                      <a:pt x="572" y="621"/>
                    </a:lnTo>
                    <a:lnTo>
                      <a:pt x="559" y="625"/>
                    </a:lnTo>
                    <a:lnTo>
                      <a:pt x="577" y="503"/>
                    </a:lnTo>
                    <a:lnTo>
                      <a:pt x="577" y="507"/>
                    </a:lnTo>
                    <a:lnTo>
                      <a:pt x="545" y="405"/>
                    </a:lnTo>
                    <a:lnTo>
                      <a:pt x="552" y="411"/>
                    </a:lnTo>
                    <a:lnTo>
                      <a:pt x="472" y="406"/>
                    </a:lnTo>
                    <a:cubicBezTo>
                      <a:pt x="468" y="406"/>
                      <a:pt x="465" y="403"/>
                      <a:pt x="464" y="400"/>
                    </a:cubicBezTo>
                    <a:lnTo>
                      <a:pt x="430" y="245"/>
                    </a:lnTo>
                    <a:lnTo>
                      <a:pt x="434" y="250"/>
                    </a:lnTo>
                    <a:lnTo>
                      <a:pt x="220" y="149"/>
                    </a:lnTo>
                    <a:cubicBezTo>
                      <a:pt x="218" y="148"/>
                      <a:pt x="216" y="145"/>
                      <a:pt x="216" y="142"/>
                    </a:cubicBezTo>
                    <a:lnTo>
                      <a:pt x="203" y="9"/>
                    </a:lnTo>
                    <a:lnTo>
                      <a:pt x="215" y="15"/>
                    </a:lnTo>
                    <a:lnTo>
                      <a:pt x="71" y="99"/>
                    </a:lnTo>
                    <a:cubicBezTo>
                      <a:pt x="69" y="99"/>
                      <a:pt x="68" y="100"/>
                      <a:pt x="66" y="100"/>
                    </a:cubicBezTo>
                    <a:lnTo>
                      <a:pt x="8" y="96"/>
                    </a:lnTo>
                    <a:close/>
                    <a:moveTo>
                      <a:pt x="67" y="84"/>
                    </a:moveTo>
                    <a:lnTo>
                      <a:pt x="63" y="85"/>
                    </a:lnTo>
                    <a:lnTo>
                      <a:pt x="207" y="2"/>
                    </a:lnTo>
                    <a:cubicBezTo>
                      <a:pt x="209" y="0"/>
                      <a:pt x="212" y="0"/>
                      <a:pt x="215" y="1"/>
                    </a:cubicBezTo>
                    <a:cubicBezTo>
                      <a:pt x="217" y="3"/>
                      <a:pt x="219" y="5"/>
                      <a:pt x="219" y="8"/>
                    </a:cubicBezTo>
                    <a:lnTo>
                      <a:pt x="232" y="141"/>
                    </a:lnTo>
                    <a:lnTo>
                      <a:pt x="227" y="134"/>
                    </a:lnTo>
                    <a:lnTo>
                      <a:pt x="441" y="236"/>
                    </a:lnTo>
                    <a:cubicBezTo>
                      <a:pt x="443" y="237"/>
                      <a:pt x="445" y="239"/>
                      <a:pt x="445" y="241"/>
                    </a:cubicBezTo>
                    <a:lnTo>
                      <a:pt x="480" y="396"/>
                    </a:lnTo>
                    <a:lnTo>
                      <a:pt x="473" y="390"/>
                    </a:lnTo>
                    <a:lnTo>
                      <a:pt x="553" y="395"/>
                    </a:lnTo>
                    <a:cubicBezTo>
                      <a:pt x="556" y="395"/>
                      <a:pt x="559" y="397"/>
                      <a:pt x="560" y="401"/>
                    </a:cubicBezTo>
                    <a:lnTo>
                      <a:pt x="592" y="502"/>
                    </a:lnTo>
                    <a:cubicBezTo>
                      <a:pt x="592" y="503"/>
                      <a:pt x="593" y="504"/>
                      <a:pt x="592" y="506"/>
                    </a:cubicBezTo>
                    <a:lnTo>
                      <a:pt x="574" y="627"/>
                    </a:lnTo>
                    <a:cubicBezTo>
                      <a:pt x="574" y="630"/>
                      <a:pt x="572" y="633"/>
                      <a:pt x="569" y="634"/>
                    </a:cubicBezTo>
                    <a:cubicBezTo>
                      <a:pt x="566" y="635"/>
                      <a:pt x="562" y="634"/>
                      <a:pt x="560" y="631"/>
                    </a:cubicBezTo>
                    <a:lnTo>
                      <a:pt x="513" y="578"/>
                    </a:lnTo>
                    <a:lnTo>
                      <a:pt x="521" y="581"/>
                    </a:lnTo>
                    <a:lnTo>
                      <a:pt x="379" y="609"/>
                    </a:lnTo>
                    <a:lnTo>
                      <a:pt x="386" y="603"/>
                    </a:lnTo>
                    <a:lnTo>
                      <a:pt x="356" y="757"/>
                    </a:lnTo>
                    <a:cubicBezTo>
                      <a:pt x="356" y="759"/>
                      <a:pt x="355" y="761"/>
                      <a:pt x="353" y="762"/>
                    </a:cubicBezTo>
                    <a:cubicBezTo>
                      <a:pt x="351" y="764"/>
                      <a:pt x="349" y="764"/>
                      <a:pt x="347" y="764"/>
                    </a:cubicBezTo>
                    <a:lnTo>
                      <a:pt x="269" y="749"/>
                    </a:lnTo>
                    <a:lnTo>
                      <a:pt x="279" y="742"/>
                    </a:lnTo>
                    <a:lnTo>
                      <a:pt x="275" y="782"/>
                    </a:lnTo>
                    <a:cubicBezTo>
                      <a:pt x="274" y="784"/>
                      <a:pt x="273" y="787"/>
                      <a:pt x="270" y="788"/>
                    </a:cubicBezTo>
                    <a:cubicBezTo>
                      <a:pt x="268" y="789"/>
                      <a:pt x="265" y="789"/>
                      <a:pt x="262" y="788"/>
                    </a:cubicBezTo>
                    <a:lnTo>
                      <a:pt x="172" y="733"/>
                    </a:lnTo>
                    <a:lnTo>
                      <a:pt x="183" y="731"/>
                    </a:lnTo>
                    <a:lnTo>
                      <a:pt x="131" y="797"/>
                    </a:lnTo>
                    <a:cubicBezTo>
                      <a:pt x="130" y="800"/>
                      <a:pt x="126" y="801"/>
                      <a:pt x="123" y="800"/>
                    </a:cubicBezTo>
                    <a:lnTo>
                      <a:pt x="90" y="794"/>
                    </a:lnTo>
                    <a:cubicBezTo>
                      <a:pt x="87" y="793"/>
                      <a:pt x="84" y="790"/>
                      <a:pt x="84" y="787"/>
                    </a:cubicBezTo>
                    <a:lnTo>
                      <a:pt x="53" y="574"/>
                    </a:lnTo>
                    <a:lnTo>
                      <a:pt x="54" y="576"/>
                    </a:lnTo>
                    <a:lnTo>
                      <a:pt x="4" y="471"/>
                    </a:lnTo>
                    <a:cubicBezTo>
                      <a:pt x="3" y="469"/>
                      <a:pt x="3" y="467"/>
                      <a:pt x="4" y="465"/>
                    </a:cubicBezTo>
                    <a:lnTo>
                      <a:pt x="29" y="392"/>
                    </a:lnTo>
                    <a:cubicBezTo>
                      <a:pt x="29" y="392"/>
                      <a:pt x="29" y="391"/>
                      <a:pt x="29" y="391"/>
                    </a:cubicBezTo>
                    <a:lnTo>
                      <a:pt x="43" y="366"/>
                    </a:lnTo>
                    <a:lnTo>
                      <a:pt x="45" y="376"/>
                    </a:lnTo>
                    <a:lnTo>
                      <a:pt x="16" y="354"/>
                    </a:lnTo>
                    <a:cubicBezTo>
                      <a:pt x="14" y="353"/>
                      <a:pt x="13" y="350"/>
                      <a:pt x="13" y="347"/>
                    </a:cubicBezTo>
                    <a:lnTo>
                      <a:pt x="42" y="170"/>
                    </a:lnTo>
                    <a:lnTo>
                      <a:pt x="43" y="175"/>
                    </a:lnTo>
                    <a:lnTo>
                      <a:pt x="1" y="92"/>
                    </a:lnTo>
                    <a:cubicBezTo>
                      <a:pt x="0" y="89"/>
                      <a:pt x="0" y="86"/>
                      <a:pt x="2" y="84"/>
                    </a:cubicBezTo>
                    <a:cubicBezTo>
                      <a:pt x="3" y="82"/>
                      <a:pt x="6" y="80"/>
                      <a:pt x="9" y="80"/>
                    </a:cubicBezTo>
                    <a:lnTo>
                      <a:pt x="67" y="84"/>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84" name="Freeform 40"/>
              <p:cNvSpPr>
                <a:spLocks/>
              </p:cNvSpPr>
              <p:nvPr/>
            </p:nvSpPr>
            <p:spPr bwMode="auto">
              <a:xfrm>
                <a:off x="1711" y="2055"/>
                <a:ext cx="543" cy="530"/>
              </a:xfrm>
              <a:custGeom>
                <a:avLst/>
                <a:gdLst/>
                <a:ahLst/>
                <a:cxnLst>
                  <a:cxn ang="0">
                    <a:pos x="12" y="192"/>
                  </a:cxn>
                  <a:cxn ang="0">
                    <a:pos x="46" y="191"/>
                  </a:cxn>
                  <a:cxn ang="0">
                    <a:pos x="58" y="213"/>
                  </a:cxn>
                  <a:cxn ang="0">
                    <a:pos x="117" y="195"/>
                  </a:cxn>
                  <a:cxn ang="0">
                    <a:pos x="182" y="249"/>
                  </a:cxn>
                  <a:cxn ang="0">
                    <a:pos x="215" y="286"/>
                  </a:cxn>
                  <a:cxn ang="0">
                    <a:pos x="219" y="337"/>
                  </a:cxn>
                  <a:cxn ang="0">
                    <a:pos x="252" y="368"/>
                  </a:cxn>
                  <a:cxn ang="0">
                    <a:pos x="270" y="390"/>
                  </a:cxn>
                  <a:cxn ang="0">
                    <a:pos x="279" y="414"/>
                  </a:cxn>
                  <a:cxn ang="0">
                    <a:pos x="226" y="479"/>
                  </a:cxn>
                  <a:cxn ang="0">
                    <a:pos x="279" y="504"/>
                  </a:cxn>
                  <a:cxn ang="0">
                    <a:pos x="284" y="530"/>
                  </a:cxn>
                  <a:cxn ang="0">
                    <a:pos x="354" y="411"/>
                  </a:cxn>
                  <a:cxn ang="0">
                    <a:pos x="441" y="375"/>
                  </a:cxn>
                  <a:cxn ang="0">
                    <a:pos x="482" y="302"/>
                  </a:cxn>
                  <a:cxn ang="0">
                    <a:pos x="538" y="187"/>
                  </a:cxn>
                  <a:cxn ang="0">
                    <a:pos x="534" y="138"/>
                  </a:cxn>
                  <a:cxn ang="0">
                    <a:pos x="478" y="109"/>
                  </a:cxn>
                  <a:cxn ang="0">
                    <a:pos x="403" y="88"/>
                  </a:cxn>
                  <a:cxn ang="0">
                    <a:pos x="360" y="77"/>
                  </a:cxn>
                  <a:cxn ang="0">
                    <a:pos x="341" y="92"/>
                  </a:cxn>
                  <a:cxn ang="0">
                    <a:pos x="324" y="91"/>
                  </a:cxn>
                  <a:cxn ang="0">
                    <a:pos x="334" y="48"/>
                  </a:cxn>
                  <a:cxn ang="0">
                    <a:pos x="290" y="41"/>
                  </a:cxn>
                  <a:cxn ang="0">
                    <a:pos x="242" y="43"/>
                  </a:cxn>
                  <a:cxn ang="0">
                    <a:pos x="195" y="35"/>
                  </a:cxn>
                  <a:cxn ang="0">
                    <a:pos x="185" y="0"/>
                  </a:cxn>
                  <a:cxn ang="0">
                    <a:pos x="127" y="11"/>
                  </a:cxn>
                  <a:cxn ang="0">
                    <a:pos x="147" y="39"/>
                  </a:cxn>
                  <a:cxn ang="0">
                    <a:pos x="97" y="51"/>
                  </a:cxn>
                  <a:cxn ang="0">
                    <a:pos x="56" y="47"/>
                  </a:cxn>
                  <a:cxn ang="0">
                    <a:pos x="53" y="61"/>
                  </a:cxn>
                  <a:cxn ang="0">
                    <a:pos x="54" y="123"/>
                  </a:cxn>
                  <a:cxn ang="0">
                    <a:pos x="0" y="168"/>
                  </a:cxn>
                </a:cxnLst>
                <a:rect l="0" t="0" r="r" b="b"/>
                <a:pathLst>
                  <a:path w="543" h="530">
                    <a:moveTo>
                      <a:pt x="0" y="168"/>
                    </a:moveTo>
                    <a:lnTo>
                      <a:pt x="12" y="192"/>
                    </a:lnTo>
                    <a:lnTo>
                      <a:pt x="31" y="201"/>
                    </a:lnTo>
                    <a:lnTo>
                      <a:pt x="46" y="191"/>
                    </a:lnTo>
                    <a:lnTo>
                      <a:pt x="46" y="213"/>
                    </a:lnTo>
                    <a:lnTo>
                      <a:pt x="58" y="213"/>
                    </a:lnTo>
                    <a:lnTo>
                      <a:pt x="75" y="214"/>
                    </a:lnTo>
                    <a:lnTo>
                      <a:pt x="117" y="195"/>
                    </a:lnTo>
                    <a:lnTo>
                      <a:pt x="120" y="225"/>
                    </a:lnTo>
                    <a:lnTo>
                      <a:pt x="182" y="249"/>
                    </a:lnTo>
                    <a:lnTo>
                      <a:pt x="192" y="284"/>
                    </a:lnTo>
                    <a:lnTo>
                      <a:pt x="215" y="286"/>
                    </a:lnTo>
                    <a:lnTo>
                      <a:pt x="225" y="309"/>
                    </a:lnTo>
                    <a:lnTo>
                      <a:pt x="219" y="337"/>
                    </a:lnTo>
                    <a:lnTo>
                      <a:pt x="223" y="363"/>
                    </a:lnTo>
                    <a:lnTo>
                      <a:pt x="252" y="368"/>
                    </a:lnTo>
                    <a:lnTo>
                      <a:pt x="256" y="386"/>
                    </a:lnTo>
                    <a:lnTo>
                      <a:pt x="270" y="390"/>
                    </a:lnTo>
                    <a:lnTo>
                      <a:pt x="268" y="414"/>
                    </a:lnTo>
                    <a:lnTo>
                      <a:pt x="279" y="414"/>
                    </a:lnTo>
                    <a:lnTo>
                      <a:pt x="281" y="434"/>
                    </a:lnTo>
                    <a:lnTo>
                      <a:pt x="226" y="479"/>
                    </a:lnTo>
                    <a:lnTo>
                      <a:pt x="237" y="477"/>
                    </a:lnTo>
                    <a:lnTo>
                      <a:pt x="279" y="504"/>
                    </a:lnTo>
                    <a:lnTo>
                      <a:pt x="287" y="516"/>
                    </a:lnTo>
                    <a:lnTo>
                      <a:pt x="284" y="530"/>
                    </a:lnTo>
                    <a:lnTo>
                      <a:pt x="351" y="451"/>
                    </a:lnTo>
                    <a:lnTo>
                      <a:pt x="354" y="411"/>
                    </a:lnTo>
                    <a:lnTo>
                      <a:pt x="408" y="375"/>
                    </a:lnTo>
                    <a:lnTo>
                      <a:pt x="441" y="375"/>
                    </a:lnTo>
                    <a:lnTo>
                      <a:pt x="454" y="363"/>
                    </a:lnTo>
                    <a:lnTo>
                      <a:pt x="482" y="302"/>
                    </a:lnTo>
                    <a:lnTo>
                      <a:pt x="485" y="243"/>
                    </a:lnTo>
                    <a:lnTo>
                      <a:pt x="538" y="187"/>
                    </a:lnTo>
                    <a:lnTo>
                      <a:pt x="543" y="162"/>
                    </a:lnTo>
                    <a:lnTo>
                      <a:pt x="534" y="138"/>
                    </a:lnTo>
                    <a:lnTo>
                      <a:pt x="513" y="134"/>
                    </a:lnTo>
                    <a:lnTo>
                      <a:pt x="478" y="109"/>
                    </a:lnTo>
                    <a:lnTo>
                      <a:pt x="410" y="104"/>
                    </a:lnTo>
                    <a:lnTo>
                      <a:pt x="403" y="88"/>
                    </a:lnTo>
                    <a:lnTo>
                      <a:pt x="373" y="77"/>
                    </a:lnTo>
                    <a:lnTo>
                      <a:pt x="360" y="77"/>
                    </a:lnTo>
                    <a:lnTo>
                      <a:pt x="342" y="100"/>
                    </a:lnTo>
                    <a:lnTo>
                      <a:pt x="341" y="92"/>
                    </a:lnTo>
                    <a:lnTo>
                      <a:pt x="312" y="96"/>
                    </a:lnTo>
                    <a:lnTo>
                      <a:pt x="324" y="91"/>
                    </a:lnTo>
                    <a:lnTo>
                      <a:pt x="312" y="73"/>
                    </a:lnTo>
                    <a:lnTo>
                      <a:pt x="334" y="48"/>
                    </a:lnTo>
                    <a:lnTo>
                      <a:pt x="311" y="15"/>
                    </a:lnTo>
                    <a:lnTo>
                      <a:pt x="290" y="41"/>
                    </a:lnTo>
                    <a:lnTo>
                      <a:pt x="271" y="39"/>
                    </a:lnTo>
                    <a:lnTo>
                      <a:pt x="242" y="43"/>
                    </a:lnTo>
                    <a:lnTo>
                      <a:pt x="202" y="48"/>
                    </a:lnTo>
                    <a:lnTo>
                      <a:pt x="195" y="35"/>
                    </a:lnTo>
                    <a:lnTo>
                      <a:pt x="198" y="9"/>
                    </a:lnTo>
                    <a:lnTo>
                      <a:pt x="185" y="0"/>
                    </a:lnTo>
                    <a:lnTo>
                      <a:pt x="151" y="16"/>
                    </a:lnTo>
                    <a:lnTo>
                      <a:pt x="127" y="11"/>
                    </a:lnTo>
                    <a:lnTo>
                      <a:pt x="134" y="36"/>
                    </a:lnTo>
                    <a:lnTo>
                      <a:pt x="147" y="39"/>
                    </a:lnTo>
                    <a:lnTo>
                      <a:pt x="114" y="58"/>
                    </a:lnTo>
                    <a:lnTo>
                      <a:pt x="97" y="51"/>
                    </a:lnTo>
                    <a:lnTo>
                      <a:pt x="90" y="41"/>
                    </a:lnTo>
                    <a:lnTo>
                      <a:pt x="56" y="47"/>
                    </a:lnTo>
                    <a:lnTo>
                      <a:pt x="66" y="60"/>
                    </a:lnTo>
                    <a:lnTo>
                      <a:pt x="53" y="61"/>
                    </a:lnTo>
                    <a:lnTo>
                      <a:pt x="61" y="85"/>
                    </a:lnTo>
                    <a:lnTo>
                      <a:pt x="54" y="123"/>
                    </a:lnTo>
                    <a:lnTo>
                      <a:pt x="19" y="137"/>
                    </a:lnTo>
                    <a:lnTo>
                      <a:pt x="0" y="168"/>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85" name="Freeform 41"/>
              <p:cNvSpPr>
                <a:spLocks noEditPoints="1"/>
              </p:cNvSpPr>
              <p:nvPr/>
            </p:nvSpPr>
            <p:spPr bwMode="auto">
              <a:xfrm>
                <a:off x="1709" y="2053"/>
                <a:ext cx="547" cy="534"/>
              </a:xfrm>
              <a:custGeom>
                <a:avLst/>
                <a:gdLst/>
                <a:ahLst/>
                <a:cxnLst>
                  <a:cxn ang="0">
                    <a:pos x="119" y="880"/>
                  </a:cxn>
                  <a:cxn ang="0">
                    <a:pos x="174" y="942"/>
                  </a:cxn>
                  <a:cxn ang="0">
                    <a:pos x="407" y="855"/>
                  </a:cxn>
                  <a:cxn ang="0">
                    <a:pos x="640" y="1091"/>
                  </a:cxn>
                  <a:cxn ang="0">
                    <a:pos x="759" y="1257"/>
                  </a:cxn>
                  <a:cxn ang="0">
                    <a:pos x="785" y="1598"/>
                  </a:cxn>
                  <a:cxn ang="0">
                    <a:pos x="893" y="1692"/>
                  </a:cxn>
                  <a:cxn ang="0">
                    <a:pos x="970" y="1813"/>
                  </a:cxn>
                  <a:cxn ang="0">
                    <a:pos x="786" y="2098"/>
                  </a:cxn>
                  <a:cxn ang="0">
                    <a:pos x="1005" y="2263"/>
                  </a:cxn>
                  <a:cxn ang="0">
                    <a:pos x="1209" y="1983"/>
                  </a:cxn>
                  <a:cxn ang="0">
                    <a:pos x="1528" y="1643"/>
                  </a:cxn>
                  <a:cxn ang="0">
                    <a:pos x="1661" y="1331"/>
                  </a:cxn>
                  <a:cxn ang="0">
                    <a:pos x="1873" y="716"/>
                  </a:cxn>
                  <a:cxn ang="0">
                    <a:pos x="1773" y="603"/>
                  </a:cxn>
                  <a:cxn ang="0">
                    <a:pos x="1392" y="396"/>
                  </a:cxn>
                  <a:cxn ang="0">
                    <a:pos x="1257" y="351"/>
                  </a:cxn>
                  <a:cxn ang="0">
                    <a:pos x="1185" y="420"/>
                  </a:cxn>
                  <a:cxn ang="0">
                    <a:pos x="1118" y="413"/>
                  </a:cxn>
                  <a:cxn ang="0">
                    <a:pos x="1074" y="78"/>
                  </a:cxn>
                  <a:cxn ang="0">
                    <a:pos x="943" y="187"/>
                  </a:cxn>
                  <a:cxn ang="0">
                    <a:pos x="672" y="160"/>
                  </a:cxn>
                  <a:cxn ang="0">
                    <a:pos x="532" y="86"/>
                  </a:cxn>
                  <a:cxn ang="0">
                    <a:pos x="471" y="160"/>
                  </a:cxn>
                  <a:cxn ang="0">
                    <a:pos x="396" y="269"/>
                  </a:cxn>
                  <a:cxn ang="0">
                    <a:pos x="204" y="222"/>
                  </a:cxn>
                  <a:cxn ang="0">
                    <a:pos x="192" y="286"/>
                  </a:cxn>
                  <a:cxn ang="0">
                    <a:pos x="200" y="555"/>
                  </a:cxn>
                  <a:cxn ang="0">
                    <a:pos x="71" y="600"/>
                  </a:cxn>
                  <a:cxn ang="0">
                    <a:pos x="183" y="280"/>
                  </a:cxn>
                  <a:cxn ang="0">
                    <a:pos x="195" y="219"/>
                  </a:cxn>
                  <a:cxn ang="0">
                    <a:pos x="350" y="229"/>
                  </a:cxn>
                  <a:cxn ang="0">
                    <a:pos x="512" y="189"/>
                  </a:cxn>
                  <a:cxn ang="0">
                    <a:pos x="447" y="51"/>
                  </a:cxn>
                  <a:cxn ang="0">
                    <a:pos x="696" y="45"/>
                  </a:cxn>
                  <a:cxn ang="0">
                    <a:pos x="704" y="212"/>
                  </a:cxn>
                  <a:cxn ang="0">
                    <a:pos x="1003" y="184"/>
                  </a:cxn>
                  <a:cxn ang="0">
                    <a:pos x="1167" y="222"/>
                  </a:cxn>
                  <a:cxn ang="0">
                    <a:pos x="1129" y="416"/>
                  </a:cxn>
                  <a:cxn ang="0">
                    <a:pos x="1192" y="412"/>
                  </a:cxn>
                  <a:cxn ang="0">
                    <a:pos x="1293" y="337"/>
                  </a:cxn>
                  <a:cxn ang="0">
                    <a:pos x="1422" y="455"/>
                  </a:cxn>
                  <a:cxn ang="0">
                    <a:pos x="1853" y="604"/>
                  </a:cxn>
                  <a:cxn ang="0">
                    <a:pos x="1870" y="831"/>
                  </a:cxn>
                  <a:cxn ang="0">
                    <a:pos x="1582" y="1599"/>
                  </a:cxn>
                  <a:cxn ang="0">
                    <a:pos x="1420" y="1657"/>
                  </a:cxn>
                  <a:cxn ang="0">
                    <a:pos x="993" y="2333"/>
                  </a:cxn>
                  <a:cxn ang="0">
                    <a:pos x="962" y="2218"/>
                  </a:cxn>
                  <a:cxn ang="0">
                    <a:pos x="781" y="2110"/>
                  </a:cxn>
                  <a:cxn ang="0">
                    <a:pos x="969" y="1829"/>
                  </a:cxn>
                  <a:cxn ang="0">
                    <a:pos x="937" y="1723"/>
                  </a:cxn>
                  <a:cxn ang="0">
                    <a:pos x="775" y="1607"/>
                  </a:cxn>
                  <a:cxn ang="0">
                    <a:pos x="775" y="1364"/>
                  </a:cxn>
                  <a:cxn ang="0">
                    <a:pos x="628" y="1100"/>
                  </a:cxn>
                  <a:cxn ang="0">
                    <a:pos x="415" y="869"/>
                  </a:cxn>
                  <a:cxn ang="0">
                    <a:pos x="158" y="942"/>
                  </a:cxn>
                  <a:cxn ang="0">
                    <a:pos x="46" y="857"/>
                  </a:cxn>
                </a:cxnLst>
                <a:rect l="0" t="0" r="r" b="b"/>
                <a:pathLst>
                  <a:path w="1889" h="2337">
                    <a:moveTo>
                      <a:pt x="16" y="746"/>
                    </a:moveTo>
                    <a:lnTo>
                      <a:pt x="16" y="740"/>
                    </a:lnTo>
                    <a:lnTo>
                      <a:pt x="57" y="847"/>
                    </a:lnTo>
                    <a:lnTo>
                      <a:pt x="54" y="843"/>
                    </a:lnTo>
                    <a:lnTo>
                      <a:pt x="119" y="880"/>
                    </a:lnTo>
                    <a:lnTo>
                      <a:pt x="110" y="881"/>
                    </a:lnTo>
                    <a:lnTo>
                      <a:pt x="161" y="839"/>
                    </a:lnTo>
                    <a:cubicBezTo>
                      <a:pt x="163" y="837"/>
                      <a:pt x="167" y="836"/>
                      <a:pt x="170" y="838"/>
                    </a:cubicBezTo>
                    <a:cubicBezTo>
                      <a:pt x="172" y="839"/>
                      <a:pt x="174" y="842"/>
                      <a:pt x="174" y="845"/>
                    </a:cubicBezTo>
                    <a:lnTo>
                      <a:pt x="174" y="942"/>
                    </a:lnTo>
                    <a:lnTo>
                      <a:pt x="166" y="934"/>
                    </a:lnTo>
                    <a:lnTo>
                      <a:pt x="209" y="934"/>
                    </a:lnTo>
                    <a:lnTo>
                      <a:pt x="267" y="938"/>
                    </a:lnTo>
                    <a:lnTo>
                      <a:pt x="263" y="939"/>
                    </a:lnTo>
                    <a:lnTo>
                      <a:pt x="407" y="855"/>
                    </a:lnTo>
                    <a:cubicBezTo>
                      <a:pt x="409" y="853"/>
                      <a:pt x="412" y="853"/>
                      <a:pt x="414" y="855"/>
                    </a:cubicBezTo>
                    <a:cubicBezTo>
                      <a:pt x="417" y="856"/>
                      <a:pt x="419" y="858"/>
                      <a:pt x="419" y="861"/>
                    </a:cubicBezTo>
                    <a:lnTo>
                      <a:pt x="431" y="995"/>
                    </a:lnTo>
                    <a:lnTo>
                      <a:pt x="427" y="989"/>
                    </a:lnTo>
                    <a:lnTo>
                      <a:pt x="640" y="1091"/>
                    </a:lnTo>
                    <a:cubicBezTo>
                      <a:pt x="642" y="1092"/>
                      <a:pt x="643" y="1094"/>
                      <a:pt x="644" y="1096"/>
                    </a:cubicBezTo>
                    <a:lnTo>
                      <a:pt x="679" y="1252"/>
                    </a:lnTo>
                    <a:lnTo>
                      <a:pt x="671" y="1246"/>
                    </a:lnTo>
                    <a:lnTo>
                      <a:pt x="751" y="1251"/>
                    </a:lnTo>
                    <a:cubicBezTo>
                      <a:pt x="755" y="1251"/>
                      <a:pt x="758" y="1253"/>
                      <a:pt x="759" y="1257"/>
                    </a:cubicBezTo>
                    <a:lnTo>
                      <a:pt x="790" y="1359"/>
                    </a:lnTo>
                    <a:cubicBezTo>
                      <a:pt x="791" y="1360"/>
                      <a:pt x="791" y="1361"/>
                      <a:pt x="791" y="1362"/>
                    </a:cubicBezTo>
                    <a:lnTo>
                      <a:pt x="773" y="1485"/>
                    </a:lnTo>
                    <a:lnTo>
                      <a:pt x="773" y="1483"/>
                    </a:lnTo>
                    <a:lnTo>
                      <a:pt x="785" y="1598"/>
                    </a:lnTo>
                    <a:lnTo>
                      <a:pt x="779" y="1591"/>
                    </a:lnTo>
                    <a:lnTo>
                      <a:pt x="878" y="1613"/>
                    </a:lnTo>
                    <a:cubicBezTo>
                      <a:pt x="882" y="1614"/>
                      <a:pt x="884" y="1616"/>
                      <a:pt x="885" y="1620"/>
                    </a:cubicBezTo>
                    <a:lnTo>
                      <a:pt x="898" y="1698"/>
                    </a:lnTo>
                    <a:lnTo>
                      <a:pt x="893" y="1692"/>
                    </a:lnTo>
                    <a:lnTo>
                      <a:pt x="941" y="1707"/>
                    </a:lnTo>
                    <a:cubicBezTo>
                      <a:pt x="945" y="1708"/>
                      <a:pt x="947" y="1712"/>
                      <a:pt x="947" y="1716"/>
                    </a:cubicBezTo>
                    <a:lnTo>
                      <a:pt x="939" y="1820"/>
                    </a:lnTo>
                    <a:lnTo>
                      <a:pt x="931" y="1811"/>
                    </a:lnTo>
                    <a:lnTo>
                      <a:pt x="970" y="1813"/>
                    </a:lnTo>
                    <a:cubicBezTo>
                      <a:pt x="974" y="1813"/>
                      <a:pt x="977" y="1816"/>
                      <a:pt x="977" y="1820"/>
                    </a:cubicBezTo>
                    <a:lnTo>
                      <a:pt x="984" y="1909"/>
                    </a:lnTo>
                    <a:cubicBezTo>
                      <a:pt x="984" y="1911"/>
                      <a:pt x="984" y="1913"/>
                      <a:pt x="982" y="1915"/>
                    </a:cubicBezTo>
                    <a:lnTo>
                      <a:pt x="794" y="2111"/>
                    </a:lnTo>
                    <a:lnTo>
                      <a:pt x="786" y="2098"/>
                    </a:lnTo>
                    <a:lnTo>
                      <a:pt x="822" y="2086"/>
                    </a:lnTo>
                    <a:cubicBezTo>
                      <a:pt x="824" y="2085"/>
                      <a:pt x="827" y="2086"/>
                      <a:pt x="829" y="2088"/>
                    </a:cubicBezTo>
                    <a:lnTo>
                      <a:pt x="974" y="2208"/>
                    </a:lnTo>
                    <a:cubicBezTo>
                      <a:pt x="975" y="2209"/>
                      <a:pt x="976" y="2210"/>
                      <a:pt x="976" y="2211"/>
                    </a:cubicBezTo>
                    <a:lnTo>
                      <a:pt x="1005" y="2263"/>
                    </a:lnTo>
                    <a:cubicBezTo>
                      <a:pt x="1006" y="2264"/>
                      <a:pt x="1007" y="2266"/>
                      <a:pt x="1006" y="2268"/>
                    </a:cubicBezTo>
                    <a:lnTo>
                      <a:pt x="994" y="2330"/>
                    </a:lnTo>
                    <a:lnTo>
                      <a:pt x="979" y="2324"/>
                    </a:lnTo>
                    <a:lnTo>
                      <a:pt x="1210" y="1979"/>
                    </a:lnTo>
                    <a:lnTo>
                      <a:pt x="1209" y="1983"/>
                    </a:lnTo>
                    <a:lnTo>
                      <a:pt x="1221" y="1808"/>
                    </a:lnTo>
                    <a:cubicBezTo>
                      <a:pt x="1221" y="1806"/>
                      <a:pt x="1222" y="1804"/>
                      <a:pt x="1224" y="1803"/>
                    </a:cubicBezTo>
                    <a:lnTo>
                      <a:pt x="1409" y="1645"/>
                    </a:lnTo>
                    <a:cubicBezTo>
                      <a:pt x="1411" y="1644"/>
                      <a:pt x="1413" y="1643"/>
                      <a:pt x="1415" y="1643"/>
                    </a:cubicBezTo>
                    <a:lnTo>
                      <a:pt x="1528" y="1643"/>
                    </a:lnTo>
                    <a:lnTo>
                      <a:pt x="1522" y="1646"/>
                    </a:lnTo>
                    <a:lnTo>
                      <a:pt x="1569" y="1591"/>
                    </a:lnTo>
                    <a:lnTo>
                      <a:pt x="1567" y="1593"/>
                    </a:lnTo>
                    <a:lnTo>
                      <a:pt x="1661" y="1328"/>
                    </a:lnTo>
                    <a:lnTo>
                      <a:pt x="1661" y="1331"/>
                    </a:lnTo>
                    <a:lnTo>
                      <a:pt x="1673" y="1073"/>
                    </a:lnTo>
                    <a:cubicBezTo>
                      <a:pt x="1673" y="1071"/>
                      <a:pt x="1674" y="1069"/>
                      <a:pt x="1675" y="1068"/>
                    </a:cubicBezTo>
                    <a:lnTo>
                      <a:pt x="1857" y="822"/>
                    </a:lnTo>
                    <a:lnTo>
                      <a:pt x="1856" y="825"/>
                    </a:lnTo>
                    <a:lnTo>
                      <a:pt x="1873" y="716"/>
                    </a:lnTo>
                    <a:lnTo>
                      <a:pt x="1873" y="720"/>
                    </a:lnTo>
                    <a:lnTo>
                      <a:pt x="1844" y="614"/>
                    </a:lnTo>
                    <a:lnTo>
                      <a:pt x="1850" y="620"/>
                    </a:lnTo>
                    <a:lnTo>
                      <a:pt x="1777" y="605"/>
                    </a:lnTo>
                    <a:cubicBezTo>
                      <a:pt x="1775" y="604"/>
                      <a:pt x="1774" y="604"/>
                      <a:pt x="1773" y="603"/>
                    </a:cubicBezTo>
                    <a:lnTo>
                      <a:pt x="1651" y="492"/>
                    </a:lnTo>
                    <a:lnTo>
                      <a:pt x="1656" y="494"/>
                    </a:lnTo>
                    <a:lnTo>
                      <a:pt x="1421" y="471"/>
                    </a:lnTo>
                    <a:cubicBezTo>
                      <a:pt x="1417" y="470"/>
                      <a:pt x="1415" y="468"/>
                      <a:pt x="1414" y="465"/>
                    </a:cubicBezTo>
                    <a:lnTo>
                      <a:pt x="1392" y="396"/>
                    </a:lnTo>
                    <a:lnTo>
                      <a:pt x="1396" y="401"/>
                    </a:lnTo>
                    <a:lnTo>
                      <a:pt x="1290" y="353"/>
                    </a:lnTo>
                    <a:lnTo>
                      <a:pt x="1293" y="353"/>
                    </a:lnTo>
                    <a:lnTo>
                      <a:pt x="1250" y="355"/>
                    </a:lnTo>
                    <a:lnTo>
                      <a:pt x="1257" y="351"/>
                    </a:lnTo>
                    <a:lnTo>
                      <a:pt x="1193" y="452"/>
                    </a:lnTo>
                    <a:cubicBezTo>
                      <a:pt x="1191" y="455"/>
                      <a:pt x="1188" y="456"/>
                      <a:pt x="1184" y="455"/>
                    </a:cubicBezTo>
                    <a:cubicBezTo>
                      <a:pt x="1181" y="455"/>
                      <a:pt x="1179" y="452"/>
                      <a:pt x="1178" y="448"/>
                    </a:cubicBezTo>
                    <a:lnTo>
                      <a:pt x="1176" y="413"/>
                    </a:lnTo>
                    <a:lnTo>
                      <a:pt x="1185" y="420"/>
                    </a:lnTo>
                    <a:lnTo>
                      <a:pt x="1084" y="437"/>
                    </a:lnTo>
                    <a:cubicBezTo>
                      <a:pt x="1080" y="438"/>
                      <a:pt x="1076" y="435"/>
                      <a:pt x="1075" y="432"/>
                    </a:cubicBezTo>
                    <a:cubicBezTo>
                      <a:pt x="1074" y="428"/>
                      <a:pt x="1076" y="424"/>
                      <a:pt x="1079" y="422"/>
                    </a:cubicBezTo>
                    <a:lnTo>
                      <a:pt x="1122" y="402"/>
                    </a:lnTo>
                    <a:lnTo>
                      <a:pt x="1118" y="413"/>
                    </a:lnTo>
                    <a:lnTo>
                      <a:pt x="1078" y="334"/>
                    </a:lnTo>
                    <a:cubicBezTo>
                      <a:pt x="1077" y="331"/>
                      <a:pt x="1077" y="328"/>
                      <a:pt x="1079" y="326"/>
                    </a:cubicBezTo>
                    <a:lnTo>
                      <a:pt x="1153" y="214"/>
                    </a:lnTo>
                    <a:lnTo>
                      <a:pt x="1153" y="222"/>
                    </a:lnTo>
                    <a:lnTo>
                      <a:pt x="1074" y="78"/>
                    </a:lnTo>
                    <a:lnTo>
                      <a:pt x="1088" y="78"/>
                    </a:lnTo>
                    <a:lnTo>
                      <a:pt x="1016" y="192"/>
                    </a:lnTo>
                    <a:cubicBezTo>
                      <a:pt x="1015" y="195"/>
                      <a:pt x="1012" y="196"/>
                      <a:pt x="1008" y="196"/>
                    </a:cubicBezTo>
                    <a:lnTo>
                      <a:pt x="941" y="187"/>
                    </a:lnTo>
                    <a:lnTo>
                      <a:pt x="943" y="187"/>
                    </a:lnTo>
                    <a:lnTo>
                      <a:pt x="843" y="204"/>
                    </a:lnTo>
                    <a:lnTo>
                      <a:pt x="707" y="228"/>
                    </a:lnTo>
                    <a:cubicBezTo>
                      <a:pt x="703" y="228"/>
                      <a:pt x="699" y="226"/>
                      <a:pt x="698" y="223"/>
                    </a:cubicBezTo>
                    <a:lnTo>
                      <a:pt x="673" y="164"/>
                    </a:lnTo>
                    <a:cubicBezTo>
                      <a:pt x="673" y="163"/>
                      <a:pt x="672" y="162"/>
                      <a:pt x="672" y="160"/>
                    </a:cubicBezTo>
                    <a:lnTo>
                      <a:pt x="682" y="50"/>
                    </a:lnTo>
                    <a:lnTo>
                      <a:pt x="685" y="56"/>
                    </a:lnTo>
                    <a:lnTo>
                      <a:pt x="640" y="14"/>
                    </a:lnTo>
                    <a:lnTo>
                      <a:pt x="650" y="15"/>
                    </a:lnTo>
                    <a:lnTo>
                      <a:pt x="532" y="86"/>
                    </a:lnTo>
                    <a:cubicBezTo>
                      <a:pt x="531" y="87"/>
                      <a:pt x="528" y="87"/>
                      <a:pt x="526" y="87"/>
                    </a:cubicBezTo>
                    <a:lnTo>
                      <a:pt x="443" y="67"/>
                    </a:lnTo>
                    <a:lnTo>
                      <a:pt x="453" y="57"/>
                    </a:lnTo>
                    <a:lnTo>
                      <a:pt x="477" y="166"/>
                    </a:lnTo>
                    <a:lnTo>
                      <a:pt x="471" y="160"/>
                    </a:lnTo>
                    <a:lnTo>
                      <a:pt x="517" y="173"/>
                    </a:lnTo>
                    <a:cubicBezTo>
                      <a:pt x="520" y="174"/>
                      <a:pt x="522" y="177"/>
                      <a:pt x="522" y="180"/>
                    </a:cubicBezTo>
                    <a:cubicBezTo>
                      <a:pt x="523" y="183"/>
                      <a:pt x="522" y="186"/>
                      <a:pt x="519" y="188"/>
                    </a:cubicBezTo>
                    <a:lnTo>
                      <a:pt x="404" y="268"/>
                    </a:lnTo>
                    <a:cubicBezTo>
                      <a:pt x="402" y="270"/>
                      <a:pt x="399" y="270"/>
                      <a:pt x="396" y="269"/>
                    </a:cubicBezTo>
                    <a:lnTo>
                      <a:pt x="339" y="240"/>
                    </a:lnTo>
                    <a:cubicBezTo>
                      <a:pt x="338" y="240"/>
                      <a:pt x="337" y="239"/>
                      <a:pt x="336" y="237"/>
                    </a:cubicBezTo>
                    <a:lnTo>
                      <a:pt x="310" y="195"/>
                    </a:lnTo>
                    <a:lnTo>
                      <a:pt x="318" y="199"/>
                    </a:lnTo>
                    <a:lnTo>
                      <a:pt x="204" y="222"/>
                    </a:lnTo>
                    <a:lnTo>
                      <a:pt x="209" y="211"/>
                    </a:lnTo>
                    <a:lnTo>
                      <a:pt x="243" y="269"/>
                    </a:lnTo>
                    <a:cubicBezTo>
                      <a:pt x="245" y="272"/>
                      <a:pt x="245" y="274"/>
                      <a:pt x="244" y="277"/>
                    </a:cubicBezTo>
                    <a:cubicBezTo>
                      <a:pt x="243" y="279"/>
                      <a:pt x="240" y="281"/>
                      <a:pt x="237" y="281"/>
                    </a:cubicBezTo>
                    <a:lnTo>
                      <a:pt x="192" y="286"/>
                    </a:lnTo>
                    <a:lnTo>
                      <a:pt x="199" y="276"/>
                    </a:lnTo>
                    <a:lnTo>
                      <a:pt x="226" y="379"/>
                    </a:lnTo>
                    <a:cubicBezTo>
                      <a:pt x="227" y="380"/>
                      <a:pt x="227" y="381"/>
                      <a:pt x="227" y="382"/>
                    </a:cubicBezTo>
                    <a:lnTo>
                      <a:pt x="204" y="549"/>
                    </a:lnTo>
                    <a:cubicBezTo>
                      <a:pt x="204" y="552"/>
                      <a:pt x="202" y="554"/>
                      <a:pt x="200" y="555"/>
                    </a:cubicBezTo>
                    <a:lnTo>
                      <a:pt x="78" y="614"/>
                    </a:lnTo>
                    <a:lnTo>
                      <a:pt x="82" y="610"/>
                    </a:lnTo>
                    <a:lnTo>
                      <a:pt x="16" y="746"/>
                    </a:lnTo>
                    <a:close/>
                    <a:moveTo>
                      <a:pt x="68" y="603"/>
                    </a:moveTo>
                    <a:cubicBezTo>
                      <a:pt x="68" y="602"/>
                      <a:pt x="70" y="600"/>
                      <a:pt x="71" y="600"/>
                    </a:cubicBezTo>
                    <a:lnTo>
                      <a:pt x="193" y="541"/>
                    </a:lnTo>
                    <a:lnTo>
                      <a:pt x="189" y="547"/>
                    </a:lnTo>
                    <a:lnTo>
                      <a:pt x="211" y="380"/>
                    </a:lnTo>
                    <a:lnTo>
                      <a:pt x="211" y="383"/>
                    </a:lnTo>
                    <a:lnTo>
                      <a:pt x="183" y="280"/>
                    </a:lnTo>
                    <a:cubicBezTo>
                      <a:pt x="183" y="278"/>
                      <a:pt x="183" y="276"/>
                      <a:pt x="184" y="274"/>
                    </a:cubicBezTo>
                    <a:cubicBezTo>
                      <a:pt x="186" y="272"/>
                      <a:pt x="188" y="271"/>
                      <a:pt x="190" y="270"/>
                    </a:cubicBezTo>
                    <a:lnTo>
                      <a:pt x="236" y="265"/>
                    </a:lnTo>
                    <a:lnTo>
                      <a:pt x="230" y="277"/>
                    </a:lnTo>
                    <a:lnTo>
                      <a:pt x="195" y="219"/>
                    </a:lnTo>
                    <a:cubicBezTo>
                      <a:pt x="194" y="216"/>
                      <a:pt x="194" y="214"/>
                      <a:pt x="195" y="211"/>
                    </a:cubicBezTo>
                    <a:cubicBezTo>
                      <a:pt x="196" y="209"/>
                      <a:pt x="198" y="207"/>
                      <a:pt x="200" y="207"/>
                    </a:cubicBezTo>
                    <a:lnTo>
                      <a:pt x="315" y="183"/>
                    </a:lnTo>
                    <a:cubicBezTo>
                      <a:pt x="318" y="183"/>
                      <a:pt x="322" y="184"/>
                      <a:pt x="324" y="187"/>
                    </a:cubicBezTo>
                    <a:lnTo>
                      <a:pt x="350" y="229"/>
                    </a:lnTo>
                    <a:lnTo>
                      <a:pt x="347" y="226"/>
                    </a:lnTo>
                    <a:lnTo>
                      <a:pt x="403" y="254"/>
                    </a:lnTo>
                    <a:lnTo>
                      <a:pt x="395" y="255"/>
                    </a:lnTo>
                    <a:lnTo>
                      <a:pt x="510" y="175"/>
                    </a:lnTo>
                    <a:lnTo>
                      <a:pt x="512" y="189"/>
                    </a:lnTo>
                    <a:lnTo>
                      <a:pt x="467" y="175"/>
                    </a:lnTo>
                    <a:cubicBezTo>
                      <a:pt x="464" y="175"/>
                      <a:pt x="462" y="172"/>
                      <a:pt x="461" y="169"/>
                    </a:cubicBezTo>
                    <a:lnTo>
                      <a:pt x="438" y="60"/>
                    </a:lnTo>
                    <a:cubicBezTo>
                      <a:pt x="437" y="58"/>
                      <a:pt x="438" y="55"/>
                      <a:pt x="440" y="53"/>
                    </a:cubicBezTo>
                    <a:cubicBezTo>
                      <a:pt x="442" y="51"/>
                      <a:pt x="445" y="50"/>
                      <a:pt x="447" y="51"/>
                    </a:cubicBezTo>
                    <a:lnTo>
                      <a:pt x="530" y="71"/>
                    </a:lnTo>
                    <a:lnTo>
                      <a:pt x="524" y="72"/>
                    </a:lnTo>
                    <a:lnTo>
                      <a:pt x="642" y="2"/>
                    </a:lnTo>
                    <a:cubicBezTo>
                      <a:pt x="645" y="0"/>
                      <a:pt x="649" y="0"/>
                      <a:pt x="651" y="3"/>
                    </a:cubicBezTo>
                    <a:lnTo>
                      <a:pt x="696" y="45"/>
                    </a:lnTo>
                    <a:cubicBezTo>
                      <a:pt x="697" y="46"/>
                      <a:pt x="698" y="49"/>
                      <a:pt x="698" y="51"/>
                    </a:cubicBezTo>
                    <a:lnTo>
                      <a:pt x="688" y="162"/>
                    </a:lnTo>
                    <a:lnTo>
                      <a:pt x="688" y="158"/>
                    </a:lnTo>
                    <a:lnTo>
                      <a:pt x="713" y="217"/>
                    </a:lnTo>
                    <a:lnTo>
                      <a:pt x="704" y="212"/>
                    </a:lnTo>
                    <a:lnTo>
                      <a:pt x="841" y="188"/>
                    </a:lnTo>
                    <a:lnTo>
                      <a:pt x="940" y="172"/>
                    </a:lnTo>
                    <a:cubicBezTo>
                      <a:pt x="941" y="171"/>
                      <a:pt x="942" y="171"/>
                      <a:pt x="943" y="172"/>
                    </a:cubicBezTo>
                    <a:lnTo>
                      <a:pt x="1010" y="180"/>
                    </a:lnTo>
                    <a:lnTo>
                      <a:pt x="1003" y="184"/>
                    </a:lnTo>
                    <a:lnTo>
                      <a:pt x="1075" y="70"/>
                    </a:lnTo>
                    <a:cubicBezTo>
                      <a:pt x="1076" y="67"/>
                      <a:pt x="1079" y="66"/>
                      <a:pt x="1082" y="66"/>
                    </a:cubicBezTo>
                    <a:cubicBezTo>
                      <a:pt x="1084" y="66"/>
                      <a:pt x="1087" y="68"/>
                      <a:pt x="1088" y="70"/>
                    </a:cubicBezTo>
                    <a:lnTo>
                      <a:pt x="1167" y="214"/>
                    </a:lnTo>
                    <a:cubicBezTo>
                      <a:pt x="1169" y="217"/>
                      <a:pt x="1168" y="220"/>
                      <a:pt x="1167" y="222"/>
                    </a:cubicBezTo>
                    <a:lnTo>
                      <a:pt x="1092" y="335"/>
                    </a:lnTo>
                    <a:lnTo>
                      <a:pt x="1093" y="327"/>
                    </a:lnTo>
                    <a:lnTo>
                      <a:pt x="1133" y="405"/>
                    </a:lnTo>
                    <a:cubicBezTo>
                      <a:pt x="1134" y="407"/>
                      <a:pt x="1134" y="410"/>
                      <a:pt x="1133" y="412"/>
                    </a:cubicBezTo>
                    <a:cubicBezTo>
                      <a:pt x="1132" y="414"/>
                      <a:pt x="1131" y="415"/>
                      <a:pt x="1129" y="416"/>
                    </a:cubicBezTo>
                    <a:lnTo>
                      <a:pt x="1086" y="436"/>
                    </a:lnTo>
                    <a:lnTo>
                      <a:pt x="1081" y="421"/>
                    </a:lnTo>
                    <a:lnTo>
                      <a:pt x="1182" y="405"/>
                    </a:lnTo>
                    <a:cubicBezTo>
                      <a:pt x="1185" y="404"/>
                      <a:pt x="1187" y="405"/>
                      <a:pt x="1189" y="406"/>
                    </a:cubicBezTo>
                    <a:cubicBezTo>
                      <a:pt x="1190" y="408"/>
                      <a:pt x="1191" y="410"/>
                      <a:pt x="1192" y="412"/>
                    </a:cubicBezTo>
                    <a:lnTo>
                      <a:pt x="1194" y="447"/>
                    </a:lnTo>
                    <a:lnTo>
                      <a:pt x="1180" y="443"/>
                    </a:lnTo>
                    <a:lnTo>
                      <a:pt x="1243" y="343"/>
                    </a:lnTo>
                    <a:cubicBezTo>
                      <a:pt x="1245" y="341"/>
                      <a:pt x="1247" y="339"/>
                      <a:pt x="1250" y="339"/>
                    </a:cubicBezTo>
                    <a:lnTo>
                      <a:pt x="1293" y="337"/>
                    </a:lnTo>
                    <a:cubicBezTo>
                      <a:pt x="1294" y="337"/>
                      <a:pt x="1295" y="338"/>
                      <a:pt x="1296" y="338"/>
                    </a:cubicBezTo>
                    <a:lnTo>
                      <a:pt x="1403" y="387"/>
                    </a:lnTo>
                    <a:cubicBezTo>
                      <a:pt x="1405" y="388"/>
                      <a:pt x="1406" y="389"/>
                      <a:pt x="1407" y="392"/>
                    </a:cubicBezTo>
                    <a:lnTo>
                      <a:pt x="1429" y="460"/>
                    </a:lnTo>
                    <a:lnTo>
                      <a:pt x="1422" y="455"/>
                    </a:lnTo>
                    <a:lnTo>
                      <a:pt x="1657" y="478"/>
                    </a:lnTo>
                    <a:cubicBezTo>
                      <a:pt x="1659" y="478"/>
                      <a:pt x="1661" y="479"/>
                      <a:pt x="1662" y="480"/>
                    </a:cubicBezTo>
                    <a:lnTo>
                      <a:pt x="1784" y="591"/>
                    </a:lnTo>
                    <a:lnTo>
                      <a:pt x="1780" y="589"/>
                    </a:lnTo>
                    <a:lnTo>
                      <a:pt x="1853" y="604"/>
                    </a:lnTo>
                    <a:cubicBezTo>
                      <a:pt x="1856" y="605"/>
                      <a:pt x="1858" y="607"/>
                      <a:pt x="1859" y="610"/>
                    </a:cubicBezTo>
                    <a:lnTo>
                      <a:pt x="1888" y="715"/>
                    </a:lnTo>
                    <a:cubicBezTo>
                      <a:pt x="1888" y="716"/>
                      <a:pt x="1889" y="718"/>
                      <a:pt x="1888" y="719"/>
                    </a:cubicBezTo>
                    <a:lnTo>
                      <a:pt x="1872" y="828"/>
                    </a:lnTo>
                    <a:cubicBezTo>
                      <a:pt x="1872" y="829"/>
                      <a:pt x="1871" y="830"/>
                      <a:pt x="1870" y="831"/>
                    </a:cubicBezTo>
                    <a:lnTo>
                      <a:pt x="1688" y="1078"/>
                    </a:lnTo>
                    <a:lnTo>
                      <a:pt x="1689" y="1073"/>
                    </a:lnTo>
                    <a:lnTo>
                      <a:pt x="1677" y="1331"/>
                    </a:lnTo>
                    <a:cubicBezTo>
                      <a:pt x="1677" y="1332"/>
                      <a:pt x="1677" y="1333"/>
                      <a:pt x="1676" y="1334"/>
                    </a:cubicBezTo>
                    <a:lnTo>
                      <a:pt x="1582" y="1599"/>
                    </a:lnTo>
                    <a:cubicBezTo>
                      <a:pt x="1582" y="1600"/>
                      <a:pt x="1582" y="1600"/>
                      <a:pt x="1581" y="1601"/>
                    </a:cubicBezTo>
                    <a:lnTo>
                      <a:pt x="1534" y="1656"/>
                    </a:lnTo>
                    <a:cubicBezTo>
                      <a:pt x="1532" y="1658"/>
                      <a:pt x="1530" y="1659"/>
                      <a:pt x="1528" y="1659"/>
                    </a:cubicBezTo>
                    <a:lnTo>
                      <a:pt x="1415" y="1659"/>
                    </a:lnTo>
                    <a:lnTo>
                      <a:pt x="1420" y="1657"/>
                    </a:lnTo>
                    <a:lnTo>
                      <a:pt x="1234" y="1815"/>
                    </a:lnTo>
                    <a:lnTo>
                      <a:pt x="1237" y="1809"/>
                    </a:lnTo>
                    <a:lnTo>
                      <a:pt x="1225" y="1984"/>
                    </a:lnTo>
                    <a:cubicBezTo>
                      <a:pt x="1225" y="1985"/>
                      <a:pt x="1224" y="1986"/>
                      <a:pt x="1223" y="1988"/>
                    </a:cubicBezTo>
                    <a:lnTo>
                      <a:pt x="993" y="2333"/>
                    </a:lnTo>
                    <a:cubicBezTo>
                      <a:pt x="990" y="2336"/>
                      <a:pt x="986" y="2337"/>
                      <a:pt x="983" y="2336"/>
                    </a:cubicBezTo>
                    <a:cubicBezTo>
                      <a:pt x="979" y="2334"/>
                      <a:pt x="977" y="2331"/>
                      <a:pt x="978" y="2327"/>
                    </a:cubicBezTo>
                    <a:lnTo>
                      <a:pt x="991" y="2265"/>
                    </a:lnTo>
                    <a:lnTo>
                      <a:pt x="991" y="2270"/>
                    </a:lnTo>
                    <a:lnTo>
                      <a:pt x="962" y="2218"/>
                    </a:lnTo>
                    <a:lnTo>
                      <a:pt x="964" y="2221"/>
                    </a:lnTo>
                    <a:lnTo>
                      <a:pt x="819" y="2100"/>
                    </a:lnTo>
                    <a:lnTo>
                      <a:pt x="827" y="2101"/>
                    </a:lnTo>
                    <a:lnTo>
                      <a:pt x="791" y="2113"/>
                    </a:lnTo>
                    <a:cubicBezTo>
                      <a:pt x="787" y="2114"/>
                      <a:pt x="783" y="2113"/>
                      <a:pt x="781" y="2110"/>
                    </a:cubicBezTo>
                    <a:cubicBezTo>
                      <a:pt x="780" y="2107"/>
                      <a:pt x="780" y="2103"/>
                      <a:pt x="782" y="2100"/>
                    </a:cubicBezTo>
                    <a:lnTo>
                      <a:pt x="970" y="1904"/>
                    </a:lnTo>
                    <a:lnTo>
                      <a:pt x="968" y="1910"/>
                    </a:lnTo>
                    <a:lnTo>
                      <a:pt x="961" y="1821"/>
                    </a:lnTo>
                    <a:lnTo>
                      <a:pt x="969" y="1829"/>
                    </a:lnTo>
                    <a:lnTo>
                      <a:pt x="930" y="1827"/>
                    </a:lnTo>
                    <a:cubicBezTo>
                      <a:pt x="928" y="1827"/>
                      <a:pt x="926" y="1826"/>
                      <a:pt x="925" y="1824"/>
                    </a:cubicBezTo>
                    <a:cubicBezTo>
                      <a:pt x="923" y="1823"/>
                      <a:pt x="922" y="1820"/>
                      <a:pt x="923" y="1818"/>
                    </a:cubicBezTo>
                    <a:lnTo>
                      <a:pt x="931" y="1714"/>
                    </a:lnTo>
                    <a:lnTo>
                      <a:pt x="937" y="1723"/>
                    </a:lnTo>
                    <a:lnTo>
                      <a:pt x="888" y="1707"/>
                    </a:lnTo>
                    <a:cubicBezTo>
                      <a:pt x="885" y="1707"/>
                      <a:pt x="883" y="1704"/>
                      <a:pt x="883" y="1701"/>
                    </a:cubicBezTo>
                    <a:lnTo>
                      <a:pt x="869" y="1622"/>
                    </a:lnTo>
                    <a:lnTo>
                      <a:pt x="875" y="1629"/>
                    </a:lnTo>
                    <a:lnTo>
                      <a:pt x="775" y="1607"/>
                    </a:lnTo>
                    <a:cubicBezTo>
                      <a:pt x="772" y="1606"/>
                      <a:pt x="770" y="1604"/>
                      <a:pt x="769" y="1600"/>
                    </a:cubicBezTo>
                    <a:lnTo>
                      <a:pt x="757" y="1484"/>
                    </a:lnTo>
                    <a:cubicBezTo>
                      <a:pt x="757" y="1484"/>
                      <a:pt x="757" y="1483"/>
                      <a:pt x="757" y="1482"/>
                    </a:cubicBezTo>
                    <a:lnTo>
                      <a:pt x="775" y="1360"/>
                    </a:lnTo>
                    <a:lnTo>
                      <a:pt x="775" y="1364"/>
                    </a:lnTo>
                    <a:lnTo>
                      <a:pt x="743" y="1261"/>
                    </a:lnTo>
                    <a:lnTo>
                      <a:pt x="750" y="1267"/>
                    </a:lnTo>
                    <a:lnTo>
                      <a:pt x="670" y="1262"/>
                    </a:lnTo>
                    <a:cubicBezTo>
                      <a:pt x="667" y="1262"/>
                      <a:pt x="664" y="1259"/>
                      <a:pt x="663" y="1256"/>
                    </a:cubicBezTo>
                    <a:lnTo>
                      <a:pt x="628" y="1100"/>
                    </a:lnTo>
                    <a:lnTo>
                      <a:pt x="633" y="1105"/>
                    </a:lnTo>
                    <a:lnTo>
                      <a:pt x="420" y="1003"/>
                    </a:lnTo>
                    <a:cubicBezTo>
                      <a:pt x="417" y="1002"/>
                      <a:pt x="416" y="999"/>
                      <a:pt x="415" y="997"/>
                    </a:cubicBezTo>
                    <a:lnTo>
                      <a:pt x="403" y="862"/>
                    </a:lnTo>
                    <a:lnTo>
                      <a:pt x="415" y="869"/>
                    </a:lnTo>
                    <a:lnTo>
                      <a:pt x="271" y="952"/>
                    </a:lnTo>
                    <a:cubicBezTo>
                      <a:pt x="270" y="953"/>
                      <a:pt x="268" y="954"/>
                      <a:pt x="267" y="954"/>
                    </a:cubicBezTo>
                    <a:lnTo>
                      <a:pt x="209" y="950"/>
                    </a:lnTo>
                    <a:lnTo>
                      <a:pt x="166" y="950"/>
                    </a:lnTo>
                    <a:cubicBezTo>
                      <a:pt x="162" y="950"/>
                      <a:pt x="158" y="947"/>
                      <a:pt x="158" y="942"/>
                    </a:cubicBezTo>
                    <a:lnTo>
                      <a:pt x="158" y="845"/>
                    </a:lnTo>
                    <a:lnTo>
                      <a:pt x="171" y="851"/>
                    </a:lnTo>
                    <a:lnTo>
                      <a:pt x="120" y="893"/>
                    </a:lnTo>
                    <a:cubicBezTo>
                      <a:pt x="117" y="895"/>
                      <a:pt x="114" y="895"/>
                      <a:pt x="111" y="894"/>
                    </a:cubicBezTo>
                    <a:lnTo>
                      <a:pt x="46" y="857"/>
                    </a:lnTo>
                    <a:cubicBezTo>
                      <a:pt x="44" y="856"/>
                      <a:pt x="43" y="855"/>
                      <a:pt x="42" y="853"/>
                    </a:cubicBezTo>
                    <a:lnTo>
                      <a:pt x="1" y="746"/>
                    </a:lnTo>
                    <a:cubicBezTo>
                      <a:pt x="0" y="743"/>
                      <a:pt x="0" y="741"/>
                      <a:pt x="1" y="739"/>
                    </a:cubicBezTo>
                    <a:lnTo>
                      <a:pt x="68" y="603"/>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86" name="Freeform 42"/>
              <p:cNvSpPr>
                <a:spLocks/>
              </p:cNvSpPr>
              <p:nvPr/>
            </p:nvSpPr>
            <p:spPr bwMode="auto">
              <a:xfrm>
                <a:off x="1493" y="1875"/>
                <a:ext cx="14" cy="37"/>
              </a:xfrm>
              <a:custGeom>
                <a:avLst/>
                <a:gdLst/>
                <a:ahLst/>
                <a:cxnLst>
                  <a:cxn ang="0">
                    <a:pos x="0" y="8"/>
                  </a:cxn>
                  <a:cxn ang="0">
                    <a:pos x="5" y="37"/>
                  </a:cxn>
                  <a:cxn ang="0">
                    <a:pos x="14" y="0"/>
                  </a:cxn>
                  <a:cxn ang="0">
                    <a:pos x="0" y="8"/>
                  </a:cxn>
                </a:cxnLst>
                <a:rect l="0" t="0" r="r" b="b"/>
                <a:pathLst>
                  <a:path w="14" h="37">
                    <a:moveTo>
                      <a:pt x="0" y="8"/>
                    </a:moveTo>
                    <a:lnTo>
                      <a:pt x="5" y="37"/>
                    </a:lnTo>
                    <a:lnTo>
                      <a:pt x="14" y="0"/>
                    </a:lnTo>
                    <a:lnTo>
                      <a:pt x="0" y="8"/>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87" name="Freeform 43"/>
              <p:cNvSpPr>
                <a:spLocks noEditPoints="1"/>
              </p:cNvSpPr>
              <p:nvPr/>
            </p:nvSpPr>
            <p:spPr bwMode="auto">
              <a:xfrm>
                <a:off x="1490" y="1873"/>
                <a:ext cx="19" cy="41"/>
              </a:xfrm>
              <a:custGeom>
                <a:avLst/>
                <a:gdLst/>
                <a:ahLst/>
                <a:cxnLst>
                  <a:cxn ang="0">
                    <a:pos x="13" y="50"/>
                  </a:cxn>
                  <a:cxn ang="0">
                    <a:pos x="16" y="42"/>
                  </a:cxn>
                  <a:cxn ang="0">
                    <a:pos x="35" y="167"/>
                  </a:cxn>
                  <a:cxn ang="0">
                    <a:pos x="19" y="167"/>
                  </a:cxn>
                  <a:cxn ang="0">
                    <a:pos x="49" y="7"/>
                  </a:cxn>
                  <a:cxn ang="0">
                    <a:pos x="61" y="15"/>
                  </a:cxn>
                  <a:cxn ang="0">
                    <a:pos x="13" y="50"/>
                  </a:cxn>
                  <a:cxn ang="0">
                    <a:pos x="52" y="2"/>
                  </a:cxn>
                  <a:cxn ang="0">
                    <a:pos x="61" y="2"/>
                  </a:cxn>
                  <a:cxn ang="0">
                    <a:pos x="64" y="10"/>
                  </a:cxn>
                  <a:cxn ang="0">
                    <a:pos x="35" y="170"/>
                  </a:cxn>
                  <a:cxn ang="0">
                    <a:pos x="27" y="176"/>
                  </a:cxn>
                  <a:cxn ang="0">
                    <a:pos x="19" y="170"/>
                  </a:cxn>
                  <a:cxn ang="0">
                    <a:pos x="1" y="44"/>
                  </a:cxn>
                  <a:cxn ang="0">
                    <a:pos x="4" y="37"/>
                  </a:cxn>
                  <a:cxn ang="0">
                    <a:pos x="52" y="2"/>
                  </a:cxn>
                </a:cxnLst>
                <a:rect l="0" t="0" r="r" b="b"/>
                <a:pathLst>
                  <a:path w="65" h="177">
                    <a:moveTo>
                      <a:pt x="13" y="50"/>
                    </a:moveTo>
                    <a:lnTo>
                      <a:pt x="16" y="42"/>
                    </a:lnTo>
                    <a:lnTo>
                      <a:pt x="35" y="167"/>
                    </a:lnTo>
                    <a:lnTo>
                      <a:pt x="19" y="167"/>
                    </a:lnTo>
                    <a:lnTo>
                      <a:pt x="49" y="7"/>
                    </a:lnTo>
                    <a:lnTo>
                      <a:pt x="61" y="15"/>
                    </a:lnTo>
                    <a:lnTo>
                      <a:pt x="13" y="50"/>
                    </a:lnTo>
                    <a:close/>
                    <a:moveTo>
                      <a:pt x="52" y="2"/>
                    </a:moveTo>
                    <a:cubicBezTo>
                      <a:pt x="54" y="0"/>
                      <a:pt x="58" y="0"/>
                      <a:pt x="61" y="2"/>
                    </a:cubicBezTo>
                    <a:cubicBezTo>
                      <a:pt x="64" y="3"/>
                      <a:pt x="65" y="7"/>
                      <a:pt x="64" y="10"/>
                    </a:cubicBezTo>
                    <a:lnTo>
                      <a:pt x="35" y="170"/>
                    </a:lnTo>
                    <a:cubicBezTo>
                      <a:pt x="35" y="174"/>
                      <a:pt x="31" y="177"/>
                      <a:pt x="27" y="176"/>
                    </a:cubicBezTo>
                    <a:cubicBezTo>
                      <a:pt x="23" y="176"/>
                      <a:pt x="20" y="174"/>
                      <a:pt x="19" y="170"/>
                    </a:cubicBezTo>
                    <a:lnTo>
                      <a:pt x="1" y="44"/>
                    </a:lnTo>
                    <a:cubicBezTo>
                      <a:pt x="0" y="41"/>
                      <a:pt x="1" y="39"/>
                      <a:pt x="4" y="37"/>
                    </a:cubicBezTo>
                    <a:lnTo>
                      <a:pt x="52" y="2"/>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88" name="Freeform 44"/>
              <p:cNvSpPr>
                <a:spLocks/>
              </p:cNvSpPr>
              <p:nvPr/>
            </p:nvSpPr>
            <p:spPr bwMode="auto">
              <a:xfrm>
                <a:off x="3057" y="1502"/>
                <a:ext cx="83" cy="44"/>
              </a:xfrm>
              <a:custGeom>
                <a:avLst/>
                <a:gdLst/>
                <a:ahLst/>
                <a:cxnLst>
                  <a:cxn ang="0">
                    <a:pos x="0" y="31"/>
                  </a:cxn>
                  <a:cxn ang="0">
                    <a:pos x="4" y="0"/>
                  </a:cxn>
                  <a:cxn ang="0">
                    <a:pos x="83" y="7"/>
                  </a:cxn>
                  <a:cxn ang="0">
                    <a:pos x="69" y="26"/>
                  </a:cxn>
                  <a:cxn ang="0">
                    <a:pos x="75" y="35"/>
                  </a:cxn>
                  <a:cxn ang="0">
                    <a:pos x="54" y="37"/>
                  </a:cxn>
                  <a:cxn ang="0">
                    <a:pos x="41" y="44"/>
                  </a:cxn>
                  <a:cxn ang="0">
                    <a:pos x="8" y="43"/>
                  </a:cxn>
                  <a:cxn ang="0">
                    <a:pos x="0" y="31"/>
                  </a:cxn>
                </a:cxnLst>
                <a:rect l="0" t="0" r="r" b="b"/>
                <a:pathLst>
                  <a:path w="83" h="44">
                    <a:moveTo>
                      <a:pt x="0" y="31"/>
                    </a:moveTo>
                    <a:lnTo>
                      <a:pt x="4" y="0"/>
                    </a:lnTo>
                    <a:lnTo>
                      <a:pt x="83" y="7"/>
                    </a:lnTo>
                    <a:lnTo>
                      <a:pt x="69" y="26"/>
                    </a:lnTo>
                    <a:lnTo>
                      <a:pt x="75" y="35"/>
                    </a:lnTo>
                    <a:lnTo>
                      <a:pt x="54" y="37"/>
                    </a:lnTo>
                    <a:lnTo>
                      <a:pt x="41" y="44"/>
                    </a:lnTo>
                    <a:lnTo>
                      <a:pt x="8" y="43"/>
                    </a:lnTo>
                    <a:lnTo>
                      <a:pt x="0" y="3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89" name="Freeform 45"/>
              <p:cNvSpPr>
                <a:spLocks noEditPoints="1"/>
              </p:cNvSpPr>
              <p:nvPr/>
            </p:nvSpPr>
            <p:spPr bwMode="auto">
              <a:xfrm>
                <a:off x="3054" y="1500"/>
                <a:ext cx="89" cy="48"/>
              </a:xfrm>
              <a:custGeom>
                <a:avLst/>
                <a:gdLst/>
                <a:ahLst/>
                <a:cxnLst>
                  <a:cxn ang="0">
                    <a:pos x="1" y="144"/>
                  </a:cxn>
                  <a:cxn ang="0">
                    <a:pos x="1" y="140"/>
                  </a:cxn>
                  <a:cxn ang="0">
                    <a:pos x="17" y="8"/>
                  </a:cxn>
                  <a:cxn ang="0">
                    <a:pos x="25" y="1"/>
                  </a:cxn>
                  <a:cxn ang="0">
                    <a:pos x="297" y="30"/>
                  </a:cxn>
                  <a:cxn ang="0">
                    <a:pos x="304" y="35"/>
                  </a:cxn>
                  <a:cxn ang="0">
                    <a:pos x="303" y="43"/>
                  </a:cxn>
                  <a:cxn ang="0">
                    <a:pos x="253" y="123"/>
                  </a:cxn>
                  <a:cxn ang="0">
                    <a:pos x="253" y="115"/>
                  </a:cxn>
                  <a:cxn ang="0">
                    <a:pos x="274" y="158"/>
                  </a:cxn>
                  <a:cxn ang="0">
                    <a:pos x="274" y="165"/>
                  </a:cxn>
                  <a:cxn ang="0">
                    <a:pos x="268" y="169"/>
                  </a:cxn>
                  <a:cxn ang="0">
                    <a:pos x="194" y="175"/>
                  </a:cxn>
                  <a:cxn ang="0">
                    <a:pos x="199" y="174"/>
                  </a:cxn>
                  <a:cxn ang="0">
                    <a:pos x="155" y="207"/>
                  </a:cxn>
                  <a:cxn ang="0">
                    <a:pos x="150" y="208"/>
                  </a:cxn>
                  <a:cxn ang="0">
                    <a:pos x="36" y="205"/>
                  </a:cxn>
                  <a:cxn ang="0">
                    <a:pos x="29" y="201"/>
                  </a:cxn>
                  <a:cxn ang="0">
                    <a:pos x="1" y="144"/>
                  </a:cxn>
                  <a:cxn ang="0">
                    <a:pos x="44" y="194"/>
                  </a:cxn>
                  <a:cxn ang="0">
                    <a:pos x="37" y="189"/>
                  </a:cxn>
                  <a:cxn ang="0">
                    <a:pos x="150" y="192"/>
                  </a:cxn>
                  <a:cxn ang="0">
                    <a:pos x="145" y="194"/>
                  </a:cxn>
                  <a:cxn ang="0">
                    <a:pos x="189" y="161"/>
                  </a:cxn>
                  <a:cxn ang="0">
                    <a:pos x="193" y="159"/>
                  </a:cxn>
                  <a:cxn ang="0">
                    <a:pos x="266" y="153"/>
                  </a:cxn>
                  <a:cxn ang="0">
                    <a:pos x="260" y="165"/>
                  </a:cxn>
                  <a:cxn ang="0">
                    <a:pos x="239" y="122"/>
                  </a:cxn>
                  <a:cxn ang="0">
                    <a:pos x="239" y="114"/>
                  </a:cxn>
                  <a:cxn ang="0">
                    <a:pos x="290" y="34"/>
                  </a:cxn>
                  <a:cxn ang="0">
                    <a:pos x="296" y="46"/>
                  </a:cxn>
                  <a:cxn ang="0">
                    <a:pos x="24" y="16"/>
                  </a:cxn>
                  <a:cxn ang="0">
                    <a:pos x="32" y="9"/>
                  </a:cxn>
                  <a:cxn ang="0">
                    <a:pos x="16" y="142"/>
                  </a:cxn>
                  <a:cxn ang="0">
                    <a:pos x="16" y="137"/>
                  </a:cxn>
                  <a:cxn ang="0">
                    <a:pos x="44" y="194"/>
                  </a:cxn>
                </a:cxnLst>
                <a:rect l="0" t="0" r="r" b="b"/>
                <a:pathLst>
                  <a:path w="305" h="209">
                    <a:moveTo>
                      <a:pt x="1" y="144"/>
                    </a:moveTo>
                    <a:cubicBezTo>
                      <a:pt x="1" y="143"/>
                      <a:pt x="0" y="141"/>
                      <a:pt x="1" y="140"/>
                    </a:cubicBezTo>
                    <a:lnTo>
                      <a:pt x="17" y="8"/>
                    </a:lnTo>
                    <a:cubicBezTo>
                      <a:pt x="17" y="3"/>
                      <a:pt x="21" y="0"/>
                      <a:pt x="25" y="1"/>
                    </a:cubicBezTo>
                    <a:lnTo>
                      <a:pt x="297" y="30"/>
                    </a:lnTo>
                    <a:cubicBezTo>
                      <a:pt x="300" y="31"/>
                      <a:pt x="302" y="32"/>
                      <a:pt x="304" y="35"/>
                    </a:cubicBezTo>
                    <a:cubicBezTo>
                      <a:pt x="305" y="37"/>
                      <a:pt x="305" y="40"/>
                      <a:pt x="303" y="43"/>
                    </a:cubicBezTo>
                    <a:lnTo>
                      <a:pt x="253" y="123"/>
                    </a:lnTo>
                    <a:lnTo>
                      <a:pt x="253" y="115"/>
                    </a:lnTo>
                    <a:lnTo>
                      <a:pt x="274" y="158"/>
                    </a:lnTo>
                    <a:cubicBezTo>
                      <a:pt x="275" y="160"/>
                      <a:pt x="275" y="163"/>
                      <a:pt x="274" y="165"/>
                    </a:cubicBezTo>
                    <a:cubicBezTo>
                      <a:pt x="273" y="167"/>
                      <a:pt x="270" y="169"/>
                      <a:pt x="268" y="169"/>
                    </a:cubicBezTo>
                    <a:lnTo>
                      <a:pt x="194" y="175"/>
                    </a:lnTo>
                    <a:lnTo>
                      <a:pt x="199" y="174"/>
                    </a:lnTo>
                    <a:lnTo>
                      <a:pt x="155" y="207"/>
                    </a:lnTo>
                    <a:cubicBezTo>
                      <a:pt x="153" y="208"/>
                      <a:pt x="151" y="209"/>
                      <a:pt x="150" y="208"/>
                    </a:cubicBezTo>
                    <a:lnTo>
                      <a:pt x="36" y="205"/>
                    </a:lnTo>
                    <a:cubicBezTo>
                      <a:pt x="33" y="205"/>
                      <a:pt x="31" y="204"/>
                      <a:pt x="29" y="201"/>
                    </a:cubicBezTo>
                    <a:lnTo>
                      <a:pt x="1" y="144"/>
                    </a:lnTo>
                    <a:close/>
                    <a:moveTo>
                      <a:pt x="44" y="194"/>
                    </a:moveTo>
                    <a:lnTo>
                      <a:pt x="37" y="189"/>
                    </a:lnTo>
                    <a:lnTo>
                      <a:pt x="150" y="192"/>
                    </a:lnTo>
                    <a:lnTo>
                      <a:pt x="145" y="194"/>
                    </a:lnTo>
                    <a:lnTo>
                      <a:pt x="189" y="161"/>
                    </a:lnTo>
                    <a:cubicBezTo>
                      <a:pt x="190" y="160"/>
                      <a:pt x="192" y="160"/>
                      <a:pt x="193" y="159"/>
                    </a:cubicBezTo>
                    <a:lnTo>
                      <a:pt x="266" y="153"/>
                    </a:lnTo>
                    <a:lnTo>
                      <a:pt x="260" y="165"/>
                    </a:lnTo>
                    <a:lnTo>
                      <a:pt x="239" y="122"/>
                    </a:lnTo>
                    <a:cubicBezTo>
                      <a:pt x="237" y="120"/>
                      <a:pt x="238" y="117"/>
                      <a:pt x="239" y="114"/>
                    </a:cubicBezTo>
                    <a:lnTo>
                      <a:pt x="290" y="34"/>
                    </a:lnTo>
                    <a:lnTo>
                      <a:pt x="296" y="46"/>
                    </a:lnTo>
                    <a:lnTo>
                      <a:pt x="24" y="16"/>
                    </a:lnTo>
                    <a:lnTo>
                      <a:pt x="32" y="9"/>
                    </a:lnTo>
                    <a:lnTo>
                      <a:pt x="16" y="142"/>
                    </a:lnTo>
                    <a:lnTo>
                      <a:pt x="16" y="137"/>
                    </a:lnTo>
                    <a:lnTo>
                      <a:pt x="44" y="194"/>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90" name="Freeform 46"/>
              <p:cNvSpPr>
                <a:spLocks/>
              </p:cNvSpPr>
              <p:nvPr/>
            </p:nvSpPr>
            <p:spPr bwMode="auto">
              <a:xfrm>
                <a:off x="4031" y="1744"/>
                <a:ext cx="126" cy="245"/>
              </a:xfrm>
              <a:custGeom>
                <a:avLst/>
                <a:gdLst/>
                <a:ahLst/>
                <a:cxnLst>
                  <a:cxn ang="0">
                    <a:pos x="0" y="101"/>
                  </a:cxn>
                  <a:cxn ang="0">
                    <a:pos x="6" y="87"/>
                  </a:cxn>
                  <a:cxn ang="0">
                    <a:pos x="42" y="22"/>
                  </a:cxn>
                  <a:cxn ang="0">
                    <a:pos x="67" y="14"/>
                  </a:cxn>
                  <a:cxn ang="0">
                    <a:pos x="73" y="0"/>
                  </a:cxn>
                  <a:cxn ang="0">
                    <a:pos x="90" y="8"/>
                  </a:cxn>
                  <a:cxn ang="0">
                    <a:pos x="90" y="20"/>
                  </a:cxn>
                  <a:cxn ang="0">
                    <a:pos x="75" y="60"/>
                  </a:cxn>
                  <a:cxn ang="0">
                    <a:pos x="91" y="56"/>
                  </a:cxn>
                  <a:cxn ang="0">
                    <a:pos x="99" y="83"/>
                  </a:cxn>
                  <a:cxn ang="0">
                    <a:pos x="126" y="90"/>
                  </a:cxn>
                  <a:cxn ang="0">
                    <a:pos x="112" y="103"/>
                  </a:cxn>
                  <a:cxn ang="0">
                    <a:pos x="83" y="119"/>
                  </a:cxn>
                  <a:cxn ang="0">
                    <a:pos x="75" y="135"/>
                  </a:cxn>
                  <a:cxn ang="0">
                    <a:pos x="91" y="164"/>
                  </a:cxn>
                  <a:cxn ang="0">
                    <a:pos x="85" y="182"/>
                  </a:cxn>
                  <a:cxn ang="0">
                    <a:pos x="104" y="221"/>
                  </a:cxn>
                  <a:cxn ang="0">
                    <a:pos x="90" y="245"/>
                  </a:cxn>
                  <a:cxn ang="0">
                    <a:pos x="76" y="161"/>
                  </a:cxn>
                  <a:cxn ang="0">
                    <a:pos x="64" y="148"/>
                  </a:cxn>
                  <a:cxn ang="0">
                    <a:pos x="44" y="170"/>
                  </a:cxn>
                  <a:cxn ang="0">
                    <a:pos x="29" y="166"/>
                  </a:cxn>
                  <a:cxn ang="0">
                    <a:pos x="31" y="135"/>
                  </a:cxn>
                  <a:cxn ang="0">
                    <a:pos x="0" y="101"/>
                  </a:cxn>
                </a:cxnLst>
                <a:rect l="0" t="0" r="r" b="b"/>
                <a:pathLst>
                  <a:path w="126" h="245">
                    <a:moveTo>
                      <a:pt x="0" y="101"/>
                    </a:moveTo>
                    <a:lnTo>
                      <a:pt x="6" y="87"/>
                    </a:lnTo>
                    <a:lnTo>
                      <a:pt x="42" y="22"/>
                    </a:lnTo>
                    <a:lnTo>
                      <a:pt x="67" y="14"/>
                    </a:lnTo>
                    <a:lnTo>
                      <a:pt x="73" y="0"/>
                    </a:lnTo>
                    <a:lnTo>
                      <a:pt x="90" y="8"/>
                    </a:lnTo>
                    <a:lnTo>
                      <a:pt x="90" y="20"/>
                    </a:lnTo>
                    <a:lnTo>
                      <a:pt x="75" y="60"/>
                    </a:lnTo>
                    <a:lnTo>
                      <a:pt x="91" y="56"/>
                    </a:lnTo>
                    <a:lnTo>
                      <a:pt x="99" y="83"/>
                    </a:lnTo>
                    <a:lnTo>
                      <a:pt x="126" y="90"/>
                    </a:lnTo>
                    <a:lnTo>
                      <a:pt x="112" y="103"/>
                    </a:lnTo>
                    <a:lnTo>
                      <a:pt x="83" y="119"/>
                    </a:lnTo>
                    <a:lnTo>
                      <a:pt x="75" y="135"/>
                    </a:lnTo>
                    <a:lnTo>
                      <a:pt x="91" y="164"/>
                    </a:lnTo>
                    <a:lnTo>
                      <a:pt x="85" y="182"/>
                    </a:lnTo>
                    <a:lnTo>
                      <a:pt x="104" y="221"/>
                    </a:lnTo>
                    <a:lnTo>
                      <a:pt x="90" y="245"/>
                    </a:lnTo>
                    <a:lnTo>
                      <a:pt x="76" y="161"/>
                    </a:lnTo>
                    <a:lnTo>
                      <a:pt x="64" y="148"/>
                    </a:lnTo>
                    <a:lnTo>
                      <a:pt x="44" y="170"/>
                    </a:lnTo>
                    <a:lnTo>
                      <a:pt x="29" y="166"/>
                    </a:lnTo>
                    <a:lnTo>
                      <a:pt x="31" y="135"/>
                    </a:lnTo>
                    <a:lnTo>
                      <a:pt x="0" y="10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91" name="Freeform 47"/>
              <p:cNvSpPr>
                <a:spLocks noEditPoints="1"/>
              </p:cNvSpPr>
              <p:nvPr/>
            </p:nvSpPr>
            <p:spPr bwMode="auto">
              <a:xfrm>
                <a:off x="4029" y="1742"/>
                <a:ext cx="130" cy="249"/>
              </a:xfrm>
              <a:custGeom>
                <a:avLst/>
                <a:gdLst/>
                <a:ahLst/>
                <a:cxnLst>
                  <a:cxn ang="0">
                    <a:pos x="1" y="447"/>
                  </a:cxn>
                  <a:cxn ang="0">
                    <a:pos x="146" y="105"/>
                  </a:cxn>
                  <a:cxn ang="0">
                    <a:pos x="234" y="63"/>
                  </a:cxn>
                  <a:cxn ang="0">
                    <a:pos x="251" y="6"/>
                  </a:cxn>
                  <a:cxn ang="0">
                    <a:pos x="262" y="2"/>
                  </a:cxn>
                  <a:cxn ang="0">
                    <a:pos x="326" y="43"/>
                  </a:cxn>
                  <a:cxn ang="0">
                    <a:pos x="327" y="101"/>
                  </a:cxn>
                  <a:cxn ang="0">
                    <a:pos x="264" y="262"/>
                  </a:cxn>
                  <a:cxn ang="0">
                    <a:pos x="326" y="248"/>
                  </a:cxn>
                  <a:cxn ang="0">
                    <a:pos x="357" y="371"/>
                  </a:cxn>
                  <a:cxn ang="0">
                    <a:pos x="443" y="397"/>
                  </a:cxn>
                  <a:cxn ang="0">
                    <a:pos x="447" y="410"/>
                  </a:cxn>
                  <a:cxn ang="0">
                    <a:pos x="400" y="466"/>
                  </a:cxn>
                  <a:cxn ang="0">
                    <a:pos x="300" y="534"/>
                  </a:cxn>
                  <a:cxn ang="0">
                    <a:pos x="274" y="596"/>
                  </a:cxn>
                  <a:cxn ang="0">
                    <a:pos x="329" y="731"/>
                  </a:cxn>
                  <a:cxn ang="0">
                    <a:pos x="307" y="803"/>
                  </a:cxn>
                  <a:cxn ang="0">
                    <a:pos x="375" y="979"/>
                  </a:cxn>
                  <a:cxn ang="0">
                    <a:pos x="318" y="1088"/>
                  </a:cxn>
                  <a:cxn ang="0">
                    <a:pos x="261" y="715"/>
                  </a:cxn>
                  <a:cxn ang="0">
                    <a:pos x="221" y="661"/>
                  </a:cxn>
                  <a:cxn ang="0">
                    <a:pos x="165" y="759"/>
                  </a:cxn>
                  <a:cxn ang="0">
                    <a:pos x="104" y="742"/>
                  </a:cxn>
                  <a:cxn ang="0">
                    <a:pos x="107" y="601"/>
                  </a:cxn>
                  <a:cxn ang="0">
                    <a:pos x="2" y="454"/>
                  </a:cxn>
                  <a:cxn ang="0">
                    <a:pos x="123" y="602"/>
                  </a:cxn>
                  <a:cxn ang="0">
                    <a:pos x="109" y="727"/>
                  </a:cxn>
                  <a:cxn ang="0">
                    <a:pos x="152" y="750"/>
                  </a:cxn>
                  <a:cxn ang="0">
                    <a:pos x="228" y="648"/>
                  </a:cxn>
                  <a:cxn ang="0">
                    <a:pos x="276" y="710"/>
                  </a:cxn>
                  <a:cxn ang="0">
                    <a:pos x="327" y="1079"/>
                  </a:cxn>
                  <a:cxn ang="0">
                    <a:pos x="360" y="972"/>
                  </a:cxn>
                  <a:cxn ang="0">
                    <a:pos x="292" y="809"/>
                  </a:cxn>
                  <a:cxn ang="0">
                    <a:pos x="314" y="727"/>
                  </a:cxn>
                  <a:cxn ang="0">
                    <a:pos x="259" y="603"/>
                  </a:cxn>
                  <a:cxn ang="0">
                    <a:pos x="285" y="528"/>
                  </a:cxn>
                  <a:cxn ang="0">
                    <a:pos x="390" y="453"/>
                  </a:cxn>
                  <a:cxn ang="0">
                    <a:pos x="434" y="400"/>
                  </a:cxn>
                  <a:cxn ang="0">
                    <a:pos x="347" y="381"/>
                  </a:cxn>
                  <a:cxn ang="0">
                    <a:pos x="314" y="257"/>
                  </a:cxn>
                  <a:cxn ang="0">
                    <a:pos x="269" y="278"/>
                  </a:cxn>
                  <a:cxn ang="0">
                    <a:pos x="259" y="267"/>
                  </a:cxn>
                  <a:cxn ang="0">
                    <a:pos x="311" y="99"/>
                  </a:cxn>
                  <a:cxn ang="0">
                    <a:pos x="314" y="50"/>
                  </a:cxn>
                  <a:cxn ang="0">
                    <a:pos x="266" y="11"/>
                  </a:cxn>
                  <a:cxn ang="0">
                    <a:pos x="241" y="77"/>
                  </a:cxn>
                  <a:cxn ang="0">
                    <a:pos x="161" y="112"/>
                  </a:cxn>
                  <a:cxn ang="0">
                    <a:pos x="16" y="452"/>
                  </a:cxn>
                  <a:cxn ang="0">
                    <a:pos x="121" y="596"/>
                  </a:cxn>
                </a:cxnLst>
                <a:rect l="0" t="0" r="r" b="b"/>
                <a:pathLst>
                  <a:path w="449" h="1089">
                    <a:moveTo>
                      <a:pt x="2" y="454"/>
                    </a:moveTo>
                    <a:cubicBezTo>
                      <a:pt x="0" y="452"/>
                      <a:pt x="0" y="450"/>
                      <a:pt x="1" y="447"/>
                    </a:cubicBezTo>
                    <a:lnTo>
                      <a:pt x="20" y="386"/>
                    </a:lnTo>
                    <a:lnTo>
                      <a:pt x="146" y="105"/>
                    </a:lnTo>
                    <a:cubicBezTo>
                      <a:pt x="147" y="103"/>
                      <a:pt x="148" y="102"/>
                      <a:pt x="150" y="101"/>
                    </a:cubicBezTo>
                    <a:lnTo>
                      <a:pt x="234" y="63"/>
                    </a:lnTo>
                    <a:lnTo>
                      <a:pt x="230" y="68"/>
                    </a:lnTo>
                    <a:lnTo>
                      <a:pt x="251" y="6"/>
                    </a:lnTo>
                    <a:cubicBezTo>
                      <a:pt x="251" y="4"/>
                      <a:pt x="253" y="2"/>
                      <a:pt x="255" y="1"/>
                    </a:cubicBezTo>
                    <a:cubicBezTo>
                      <a:pt x="258" y="0"/>
                      <a:pt x="260" y="0"/>
                      <a:pt x="262" y="2"/>
                    </a:cubicBezTo>
                    <a:lnTo>
                      <a:pt x="322" y="37"/>
                    </a:lnTo>
                    <a:cubicBezTo>
                      <a:pt x="324" y="38"/>
                      <a:pt x="326" y="40"/>
                      <a:pt x="326" y="43"/>
                    </a:cubicBezTo>
                    <a:lnTo>
                      <a:pt x="327" y="98"/>
                    </a:lnTo>
                    <a:cubicBezTo>
                      <a:pt x="327" y="99"/>
                      <a:pt x="327" y="100"/>
                      <a:pt x="327" y="101"/>
                    </a:cubicBezTo>
                    <a:lnTo>
                      <a:pt x="274" y="272"/>
                    </a:lnTo>
                    <a:lnTo>
                      <a:pt x="264" y="262"/>
                    </a:lnTo>
                    <a:lnTo>
                      <a:pt x="320" y="247"/>
                    </a:lnTo>
                    <a:cubicBezTo>
                      <a:pt x="322" y="247"/>
                      <a:pt x="324" y="247"/>
                      <a:pt x="326" y="248"/>
                    </a:cubicBezTo>
                    <a:cubicBezTo>
                      <a:pt x="328" y="249"/>
                      <a:pt x="329" y="251"/>
                      <a:pt x="330" y="253"/>
                    </a:cubicBezTo>
                    <a:lnTo>
                      <a:pt x="357" y="371"/>
                    </a:lnTo>
                    <a:lnTo>
                      <a:pt x="352" y="365"/>
                    </a:lnTo>
                    <a:lnTo>
                      <a:pt x="443" y="397"/>
                    </a:lnTo>
                    <a:cubicBezTo>
                      <a:pt x="446" y="398"/>
                      <a:pt x="447" y="400"/>
                      <a:pt x="448" y="402"/>
                    </a:cubicBezTo>
                    <a:cubicBezTo>
                      <a:pt x="449" y="405"/>
                      <a:pt x="448" y="408"/>
                      <a:pt x="447" y="410"/>
                    </a:cubicBezTo>
                    <a:lnTo>
                      <a:pt x="401" y="465"/>
                    </a:lnTo>
                    <a:cubicBezTo>
                      <a:pt x="401" y="465"/>
                      <a:pt x="400" y="466"/>
                      <a:pt x="400" y="466"/>
                    </a:cubicBezTo>
                    <a:lnTo>
                      <a:pt x="297" y="538"/>
                    </a:lnTo>
                    <a:lnTo>
                      <a:pt x="300" y="534"/>
                    </a:lnTo>
                    <a:lnTo>
                      <a:pt x="274" y="602"/>
                    </a:lnTo>
                    <a:lnTo>
                      <a:pt x="274" y="596"/>
                    </a:lnTo>
                    <a:lnTo>
                      <a:pt x="329" y="726"/>
                    </a:lnTo>
                    <a:cubicBezTo>
                      <a:pt x="330" y="728"/>
                      <a:pt x="330" y="730"/>
                      <a:pt x="329" y="731"/>
                    </a:cubicBezTo>
                    <a:lnTo>
                      <a:pt x="307" y="808"/>
                    </a:lnTo>
                    <a:lnTo>
                      <a:pt x="307" y="803"/>
                    </a:lnTo>
                    <a:lnTo>
                      <a:pt x="375" y="973"/>
                    </a:lnTo>
                    <a:cubicBezTo>
                      <a:pt x="376" y="975"/>
                      <a:pt x="376" y="977"/>
                      <a:pt x="375" y="979"/>
                    </a:cubicBezTo>
                    <a:lnTo>
                      <a:pt x="326" y="1084"/>
                    </a:lnTo>
                    <a:cubicBezTo>
                      <a:pt x="325" y="1087"/>
                      <a:pt x="321" y="1089"/>
                      <a:pt x="318" y="1088"/>
                    </a:cubicBezTo>
                    <a:cubicBezTo>
                      <a:pt x="314" y="1088"/>
                      <a:pt x="312" y="1085"/>
                      <a:pt x="311" y="1082"/>
                    </a:cubicBezTo>
                    <a:lnTo>
                      <a:pt x="261" y="715"/>
                    </a:lnTo>
                    <a:lnTo>
                      <a:pt x="263" y="719"/>
                    </a:lnTo>
                    <a:lnTo>
                      <a:pt x="221" y="661"/>
                    </a:lnTo>
                    <a:lnTo>
                      <a:pt x="234" y="661"/>
                    </a:lnTo>
                    <a:lnTo>
                      <a:pt x="165" y="759"/>
                    </a:lnTo>
                    <a:cubicBezTo>
                      <a:pt x="163" y="762"/>
                      <a:pt x="159" y="763"/>
                      <a:pt x="156" y="762"/>
                    </a:cubicBezTo>
                    <a:lnTo>
                      <a:pt x="104" y="742"/>
                    </a:lnTo>
                    <a:cubicBezTo>
                      <a:pt x="100" y="740"/>
                      <a:pt x="98" y="737"/>
                      <a:pt x="98" y="734"/>
                    </a:cubicBezTo>
                    <a:lnTo>
                      <a:pt x="107" y="601"/>
                    </a:lnTo>
                    <a:lnTo>
                      <a:pt x="108" y="606"/>
                    </a:lnTo>
                    <a:lnTo>
                      <a:pt x="2" y="454"/>
                    </a:lnTo>
                    <a:close/>
                    <a:moveTo>
                      <a:pt x="121" y="596"/>
                    </a:moveTo>
                    <a:cubicBezTo>
                      <a:pt x="122" y="598"/>
                      <a:pt x="123" y="600"/>
                      <a:pt x="123" y="602"/>
                    </a:cubicBezTo>
                    <a:lnTo>
                      <a:pt x="114" y="735"/>
                    </a:lnTo>
                    <a:lnTo>
                      <a:pt x="109" y="727"/>
                    </a:lnTo>
                    <a:lnTo>
                      <a:pt x="162" y="747"/>
                    </a:lnTo>
                    <a:lnTo>
                      <a:pt x="152" y="750"/>
                    </a:lnTo>
                    <a:lnTo>
                      <a:pt x="221" y="651"/>
                    </a:lnTo>
                    <a:cubicBezTo>
                      <a:pt x="223" y="649"/>
                      <a:pt x="225" y="648"/>
                      <a:pt x="228" y="648"/>
                    </a:cubicBezTo>
                    <a:cubicBezTo>
                      <a:pt x="230" y="648"/>
                      <a:pt x="233" y="649"/>
                      <a:pt x="234" y="651"/>
                    </a:cubicBezTo>
                    <a:lnTo>
                      <a:pt x="276" y="710"/>
                    </a:lnTo>
                    <a:cubicBezTo>
                      <a:pt x="277" y="711"/>
                      <a:pt x="277" y="712"/>
                      <a:pt x="277" y="713"/>
                    </a:cubicBezTo>
                    <a:lnTo>
                      <a:pt x="327" y="1079"/>
                    </a:lnTo>
                    <a:lnTo>
                      <a:pt x="312" y="1077"/>
                    </a:lnTo>
                    <a:lnTo>
                      <a:pt x="360" y="972"/>
                    </a:lnTo>
                    <a:lnTo>
                      <a:pt x="360" y="979"/>
                    </a:lnTo>
                    <a:lnTo>
                      <a:pt x="292" y="809"/>
                    </a:lnTo>
                    <a:cubicBezTo>
                      <a:pt x="292" y="807"/>
                      <a:pt x="291" y="805"/>
                      <a:pt x="292" y="804"/>
                    </a:cubicBezTo>
                    <a:lnTo>
                      <a:pt x="314" y="727"/>
                    </a:lnTo>
                    <a:lnTo>
                      <a:pt x="314" y="732"/>
                    </a:lnTo>
                    <a:lnTo>
                      <a:pt x="259" y="603"/>
                    </a:lnTo>
                    <a:cubicBezTo>
                      <a:pt x="258" y="601"/>
                      <a:pt x="258" y="598"/>
                      <a:pt x="259" y="597"/>
                    </a:cubicBezTo>
                    <a:lnTo>
                      <a:pt x="285" y="528"/>
                    </a:lnTo>
                    <a:cubicBezTo>
                      <a:pt x="286" y="527"/>
                      <a:pt x="287" y="526"/>
                      <a:pt x="288" y="525"/>
                    </a:cubicBezTo>
                    <a:lnTo>
                      <a:pt x="390" y="453"/>
                    </a:lnTo>
                    <a:lnTo>
                      <a:pt x="389" y="454"/>
                    </a:lnTo>
                    <a:lnTo>
                      <a:pt x="434" y="400"/>
                    </a:lnTo>
                    <a:lnTo>
                      <a:pt x="438" y="412"/>
                    </a:lnTo>
                    <a:lnTo>
                      <a:pt x="347" y="381"/>
                    </a:lnTo>
                    <a:cubicBezTo>
                      <a:pt x="344" y="380"/>
                      <a:pt x="342" y="378"/>
                      <a:pt x="342" y="375"/>
                    </a:cubicBezTo>
                    <a:lnTo>
                      <a:pt x="314" y="257"/>
                    </a:lnTo>
                    <a:lnTo>
                      <a:pt x="324" y="263"/>
                    </a:lnTo>
                    <a:lnTo>
                      <a:pt x="269" y="278"/>
                    </a:lnTo>
                    <a:cubicBezTo>
                      <a:pt x="266" y="278"/>
                      <a:pt x="263" y="277"/>
                      <a:pt x="261" y="275"/>
                    </a:cubicBezTo>
                    <a:cubicBezTo>
                      <a:pt x="259" y="273"/>
                      <a:pt x="258" y="270"/>
                      <a:pt x="259" y="267"/>
                    </a:cubicBezTo>
                    <a:lnTo>
                      <a:pt x="311" y="96"/>
                    </a:lnTo>
                    <a:lnTo>
                      <a:pt x="311" y="99"/>
                    </a:lnTo>
                    <a:lnTo>
                      <a:pt x="310" y="44"/>
                    </a:lnTo>
                    <a:lnTo>
                      <a:pt x="314" y="50"/>
                    </a:lnTo>
                    <a:lnTo>
                      <a:pt x="254" y="15"/>
                    </a:lnTo>
                    <a:lnTo>
                      <a:pt x="266" y="11"/>
                    </a:lnTo>
                    <a:lnTo>
                      <a:pt x="245" y="73"/>
                    </a:lnTo>
                    <a:cubicBezTo>
                      <a:pt x="244" y="75"/>
                      <a:pt x="243" y="76"/>
                      <a:pt x="241" y="77"/>
                    </a:cubicBezTo>
                    <a:lnTo>
                      <a:pt x="157" y="116"/>
                    </a:lnTo>
                    <a:lnTo>
                      <a:pt x="161" y="112"/>
                    </a:lnTo>
                    <a:lnTo>
                      <a:pt x="35" y="390"/>
                    </a:lnTo>
                    <a:lnTo>
                      <a:pt x="16" y="452"/>
                    </a:lnTo>
                    <a:lnTo>
                      <a:pt x="15" y="445"/>
                    </a:lnTo>
                    <a:lnTo>
                      <a:pt x="121" y="596"/>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92" name="Freeform 48"/>
              <p:cNvSpPr>
                <a:spLocks/>
              </p:cNvSpPr>
              <p:nvPr/>
            </p:nvSpPr>
            <p:spPr bwMode="auto">
              <a:xfrm>
                <a:off x="4175" y="1930"/>
                <a:ext cx="70" cy="55"/>
              </a:xfrm>
              <a:custGeom>
                <a:avLst/>
                <a:gdLst/>
                <a:ahLst/>
                <a:cxnLst>
                  <a:cxn ang="0">
                    <a:pos x="0" y="11"/>
                  </a:cxn>
                  <a:cxn ang="0">
                    <a:pos x="5" y="39"/>
                  </a:cxn>
                  <a:cxn ang="0">
                    <a:pos x="15" y="53"/>
                  </a:cxn>
                  <a:cxn ang="0">
                    <a:pos x="28" y="55"/>
                  </a:cxn>
                  <a:cxn ang="0">
                    <a:pos x="70" y="29"/>
                  </a:cxn>
                  <a:cxn ang="0">
                    <a:pos x="68" y="0"/>
                  </a:cxn>
                  <a:cxn ang="0">
                    <a:pos x="37" y="5"/>
                  </a:cxn>
                  <a:cxn ang="0">
                    <a:pos x="10" y="4"/>
                  </a:cxn>
                  <a:cxn ang="0">
                    <a:pos x="0" y="11"/>
                  </a:cxn>
                </a:cxnLst>
                <a:rect l="0" t="0" r="r" b="b"/>
                <a:pathLst>
                  <a:path w="70" h="55">
                    <a:moveTo>
                      <a:pt x="0" y="11"/>
                    </a:moveTo>
                    <a:lnTo>
                      <a:pt x="5" y="39"/>
                    </a:lnTo>
                    <a:lnTo>
                      <a:pt x="15" y="53"/>
                    </a:lnTo>
                    <a:lnTo>
                      <a:pt x="28" y="55"/>
                    </a:lnTo>
                    <a:lnTo>
                      <a:pt x="70" y="29"/>
                    </a:lnTo>
                    <a:lnTo>
                      <a:pt x="68" y="0"/>
                    </a:lnTo>
                    <a:lnTo>
                      <a:pt x="37" y="5"/>
                    </a:lnTo>
                    <a:lnTo>
                      <a:pt x="10" y="4"/>
                    </a:lnTo>
                    <a:lnTo>
                      <a:pt x="0" y="1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93" name="Freeform 49"/>
              <p:cNvSpPr>
                <a:spLocks noEditPoints="1"/>
              </p:cNvSpPr>
              <p:nvPr/>
            </p:nvSpPr>
            <p:spPr bwMode="auto">
              <a:xfrm>
                <a:off x="4173" y="1928"/>
                <a:ext cx="74" cy="59"/>
              </a:xfrm>
              <a:custGeom>
                <a:avLst/>
                <a:gdLst/>
                <a:ahLst/>
                <a:cxnLst>
                  <a:cxn ang="0">
                    <a:pos x="14" y="62"/>
                  </a:cxn>
                  <a:cxn ang="0">
                    <a:pos x="16" y="56"/>
                  </a:cxn>
                  <a:cxn ang="0">
                    <a:pos x="34" y="175"/>
                  </a:cxn>
                  <a:cxn ang="0">
                    <a:pos x="34" y="172"/>
                  </a:cxn>
                  <a:cxn ang="0">
                    <a:pos x="65" y="235"/>
                  </a:cxn>
                  <a:cxn ang="0">
                    <a:pos x="60" y="231"/>
                  </a:cxn>
                  <a:cxn ang="0">
                    <a:pos x="107" y="241"/>
                  </a:cxn>
                  <a:cxn ang="0">
                    <a:pos x="100" y="242"/>
                  </a:cxn>
                  <a:cxn ang="0">
                    <a:pos x="244" y="129"/>
                  </a:cxn>
                  <a:cxn ang="0">
                    <a:pos x="240" y="136"/>
                  </a:cxn>
                  <a:cxn ang="0">
                    <a:pos x="235" y="9"/>
                  </a:cxn>
                  <a:cxn ang="0">
                    <a:pos x="244" y="16"/>
                  </a:cxn>
                  <a:cxn ang="0">
                    <a:pos x="135" y="36"/>
                  </a:cxn>
                  <a:cxn ang="0">
                    <a:pos x="134" y="36"/>
                  </a:cxn>
                  <a:cxn ang="0">
                    <a:pos x="41" y="31"/>
                  </a:cxn>
                  <a:cxn ang="0">
                    <a:pos x="47" y="29"/>
                  </a:cxn>
                  <a:cxn ang="0">
                    <a:pos x="14" y="62"/>
                  </a:cxn>
                  <a:cxn ang="0">
                    <a:pos x="36" y="17"/>
                  </a:cxn>
                  <a:cxn ang="0">
                    <a:pos x="42" y="15"/>
                  </a:cxn>
                  <a:cxn ang="0">
                    <a:pos x="134" y="20"/>
                  </a:cxn>
                  <a:cxn ang="0">
                    <a:pos x="133" y="20"/>
                  </a:cxn>
                  <a:cxn ang="0">
                    <a:pos x="242" y="1"/>
                  </a:cxn>
                  <a:cxn ang="0">
                    <a:pos x="248" y="2"/>
                  </a:cxn>
                  <a:cxn ang="0">
                    <a:pos x="251" y="8"/>
                  </a:cxn>
                  <a:cxn ang="0">
                    <a:pos x="256" y="135"/>
                  </a:cxn>
                  <a:cxn ang="0">
                    <a:pos x="253" y="142"/>
                  </a:cxn>
                  <a:cxn ang="0">
                    <a:pos x="110" y="255"/>
                  </a:cxn>
                  <a:cxn ang="0">
                    <a:pos x="103" y="256"/>
                  </a:cxn>
                  <a:cxn ang="0">
                    <a:pos x="57" y="247"/>
                  </a:cxn>
                  <a:cxn ang="0">
                    <a:pos x="51" y="242"/>
                  </a:cxn>
                  <a:cxn ang="0">
                    <a:pos x="19" y="180"/>
                  </a:cxn>
                  <a:cxn ang="0">
                    <a:pos x="18" y="177"/>
                  </a:cxn>
                  <a:cxn ang="0">
                    <a:pos x="1" y="58"/>
                  </a:cxn>
                  <a:cxn ang="0">
                    <a:pos x="3" y="51"/>
                  </a:cxn>
                  <a:cxn ang="0">
                    <a:pos x="36" y="17"/>
                  </a:cxn>
                </a:cxnLst>
                <a:rect l="0" t="0" r="r" b="b"/>
                <a:pathLst>
                  <a:path w="257" h="257">
                    <a:moveTo>
                      <a:pt x="14" y="62"/>
                    </a:moveTo>
                    <a:lnTo>
                      <a:pt x="16" y="56"/>
                    </a:lnTo>
                    <a:lnTo>
                      <a:pt x="34" y="175"/>
                    </a:lnTo>
                    <a:lnTo>
                      <a:pt x="34" y="172"/>
                    </a:lnTo>
                    <a:lnTo>
                      <a:pt x="65" y="235"/>
                    </a:lnTo>
                    <a:lnTo>
                      <a:pt x="60" y="231"/>
                    </a:lnTo>
                    <a:lnTo>
                      <a:pt x="107" y="241"/>
                    </a:lnTo>
                    <a:lnTo>
                      <a:pt x="100" y="242"/>
                    </a:lnTo>
                    <a:lnTo>
                      <a:pt x="244" y="129"/>
                    </a:lnTo>
                    <a:lnTo>
                      <a:pt x="240" y="136"/>
                    </a:lnTo>
                    <a:lnTo>
                      <a:pt x="235" y="9"/>
                    </a:lnTo>
                    <a:lnTo>
                      <a:pt x="244" y="16"/>
                    </a:lnTo>
                    <a:lnTo>
                      <a:pt x="135" y="36"/>
                    </a:lnTo>
                    <a:cubicBezTo>
                      <a:pt x="135" y="36"/>
                      <a:pt x="134" y="36"/>
                      <a:pt x="134" y="36"/>
                    </a:cubicBezTo>
                    <a:lnTo>
                      <a:pt x="41" y="31"/>
                    </a:lnTo>
                    <a:lnTo>
                      <a:pt x="47" y="29"/>
                    </a:lnTo>
                    <a:lnTo>
                      <a:pt x="14" y="62"/>
                    </a:lnTo>
                    <a:close/>
                    <a:moveTo>
                      <a:pt x="36" y="17"/>
                    </a:moveTo>
                    <a:cubicBezTo>
                      <a:pt x="37" y="16"/>
                      <a:pt x="40" y="15"/>
                      <a:pt x="42" y="15"/>
                    </a:cubicBezTo>
                    <a:lnTo>
                      <a:pt x="134" y="20"/>
                    </a:lnTo>
                    <a:lnTo>
                      <a:pt x="133" y="20"/>
                    </a:lnTo>
                    <a:lnTo>
                      <a:pt x="242" y="1"/>
                    </a:lnTo>
                    <a:cubicBezTo>
                      <a:pt x="244" y="0"/>
                      <a:pt x="246" y="1"/>
                      <a:pt x="248" y="2"/>
                    </a:cubicBezTo>
                    <a:cubicBezTo>
                      <a:pt x="250" y="4"/>
                      <a:pt x="251" y="6"/>
                      <a:pt x="251" y="8"/>
                    </a:cubicBezTo>
                    <a:lnTo>
                      <a:pt x="256" y="135"/>
                    </a:lnTo>
                    <a:cubicBezTo>
                      <a:pt x="257" y="138"/>
                      <a:pt x="255" y="140"/>
                      <a:pt x="253" y="142"/>
                    </a:cubicBezTo>
                    <a:lnTo>
                      <a:pt x="110" y="255"/>
                    </a:lnTo>
                    <a:cubicBezTo>
                      <a:pt x="108" y="256"/>
                      <a:pt x="106" y="257"/>
                      <a:pt x="103" y="256"/>
                    </a:cubicBezTo>
                    <a:lnTo>
                      <a:pt x="57" y="247"/>
                    </a:lnTo>
                    <a:cubicBezTo>
                      <a:pt x="54" y="246"/>
                      <a:pt x="52" y="245"/>
                      <a:pt x="51" y="242"/>
                    </a:cubicBezTo>
                    <a:lnTo>
                      <a:pt x="19" y="180"/>
                    </a:lnTo>
                    <a:cubicBezTo>
                      <a:pt x="19" y="179"/>
                      <a:pt x="19" y="178"/>
                      <a:pt x="18" y="177"/>
                    </a:cubicBezTo>
                    <a:lnTo>
                      <a:pt x="1" y="58"/>
                    </a:lnTo>
                    <a:cubicBezTo>
                      <a:pt x="0" y="55"/>
                      <a:pt x="1" y="53"/>
                      <a:pt x="3" y="51"/>
                    </a:cubicBezTo>
                    <a:lnTo>
                      <a:pt x="36" y="17"/>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94" name="Freeform 50"/>
              <p:cNvSpPr>
                <a:spLocks/>
              </p:cNvSpPr>
              <p:nvPr/>
            </p:nvSpPr>
            <p:spPr bwMode="auto">
              <a:xfrm>
                <a:off x="773" y="961"/>
                <a:ext cx="1193" cy="578"/>
              </a:xfrm>
              <a:custGeom>
                <a:avLst/>
                <a:gdLst/>
                <a:ahLst/>
                <a:cxnLst>
                  <a:cxn ang="0">
                    <a:pos x="90" y="69"/>
                  </a:cxn>
                  <a:cxn ang="0">
                    <a:pos x="139" y="60"/>
                  </a:cxn>
                  <a:cxn ang="0">
                    <a:pos x="213" y="62"/>
                  </a:cxn>
                  <a:cxn ang="0">
                    <a:pos x="327" y="71"/>
                  </a:cxn>
                  <a:cxn ang="0">
                    <a:pos x="369" y="97"/>
                  </a:cxn>
                  <a:cxn ang="0">
                    <a:pos x="472" y="113"/>
                  </a:cxn>
                  <a:cxn ang="0">
                    <a:pos x="451" y="85"/>
                  </a:cxn>
                  <a:cxn ang="0">
                    <a:pos x="541" y="99"/>
                  </a:cxn>
                  <a:cxn ang="0">
                    <a:pos x="612" y="92"/>
                  </a:cxn>
                  <a:cxn ang="0">
                    <a:pos x="620" y="92"/>
                  </a:cxn>
                  <a:cxn ang="0">
                    <a:pos x="636" y="91"/>
                  </a:cxn>
                  <a:cxn ang="0">
                    <a:pos x="662" y="59"/>
                  </a:cxn>
                  <a:cxn ang="0">
                    <a:pos x="641" y="0"/>
                  </a:cxn>
                  <a:cxn ang="0">
                    <a:pos x="680" y="43"/>
                  </a:cxn>
                  <a:cxn ang="0">
                    <a:pos x="694" y="62"/>
                  </a:cxn>
                  <a:cxn ang="0">
                    <a:pos x="744" y="88"/>
                  </a:cxn>
                  <a:cxn ang="0">
                    <a:pos x="773" y="79"/>
                  </a:cxn>
                  <a:cxn ang="0">
                    <a:pos x="833" y="68"/>
                  </a:cxn>
                  <a:cxn ang="0">
                    <a:pos x="833" y="114"/>
                  </a:cxn>
                  <a:cxn ang="0">
                    <a:pos x="762" y="126"/>
                  </a:cxn>
                  <a:cxn ang="0">
                    <a:pos x="728" y="152"/>
                  </a:cxn>
                  <a:cxn ang="0">
                    <a:pos x="705" y="192"/>
                  </a:cxn>
                  <a:cxn ang="0">
                    <a:pos x="680" y="207"/>
                  </a:cxn>
                  <a:cxn ang="0">
                    <a:pos x="649" y="234"/>
                  </a:cxn>
                  <a:cxn ang="0">
                    <a:pos x="676" y="321"/>
                  </a:cxn>
                  <a:cxn ang="0">
                    <a:pos x="773" y="360"/>
                  </a:cxn>
                  <a:cxn ang="0">
                    <a:pos x="832" y="406"/>
                  </a:cxn>
                  <a:cxn ang="0">
                    <a:pos x="857" y="428"/>
                  </a:cxn>
                  <a:cxn ang="0">
                    <a:pos x="906" y="333"/>
                  </a:cxn>
                  <a:cxn ang="0">
                    <a:pos x="894" y="270"/>
                  </a:cxn>
                  <a:cxn ang="0">
                    <a:pos x="889" y="231"/>
                  </a:cxn>
                  <a:cxn ang="0">
                    <a:pos x="939" y="212"/>
                  </a:cxn>
                  <a:cxn ang="0">
                    <a:pos x="1001" y="260"/>
                  </a:cxn>
                  <a:cxn ang="0">
                    <a:pos x="981" y="292"/>
                  </a:cxn>
                  <a:cxn ang="0">
                    <a:pos x="1022" y="289"/>
                  </a:cxn>
                  <a:cxn ang="0">
                    <a:pos x="1060" y="272"/>
                  </a:cxn>
                  <a:cxn ang="0">
                    <a:pos x="1073" y="283"/>
                  </a:cxn>
                  <a:cxn ang="0">
                    <a:pos x="1097" y="293"/>
                  </a:cxn>
                  <a:cxn ang="0">
                    <a:pos x="1100" y="312"/>
                  </a:cxn>
                  <a:cxn ang="0">
                    <a:pos x="1105" y="334"/>
                  </a:cxn>
                  <a:cxn ang="0">
                    <a:pos x="1169" y="364"/>
                  </a:cxn>
                  <a:cxn ang="0">
                    <a:pos x="1172" y="385"/>
                  </a:cxn>
                  <a:cxn ang="0">
                    <a:pos x="1193" y="407"/>
                  </a:cxn>
                  <a:cxn ang="0">
                    <a:pos x="979" y="499"/>
                  </a:cxn>
                  <a:cxn ang="0">
                    <a:pos x="1042" y="478"/>
                  </a:cxn>
                  <a:cxn ang="0">
                    <a:pos x="1115" y="520"/>
                  </a:cxn>
                  <a:cxn ang="0">
                    <a:pos x="1118" y="525"/>
                  </a:cxn>
                  <a:cxn ang="0">
                    <a:pos x="1087" y="523"/>
                  </a:cxn>
                  <a:cxn ang="0">
                    <a:pos x="1025" y="517"/>
                  </a:cxn>
                  <a:cxn ang="0">
                    <a:pos x="913" y="537"/>
                  </a:cxn>
                  <a:cxn ang="0">
                    <a:pos x="870" y="564"/>
                  </a:cxn>
                  <a:cxn ang="0">
                    <a:pos x="819" y="560"/>
                  </a:cxn>
                  <a:cxn ang="0">
                    <a:pos x="858" y="532"/>
                  </a:cxn>
                  <a:cxn ang="0">
                    <a:pos x="784" y="480"/>
                  </a:cxn>
                  <a:cxn ang="0">
                    <a:pos x="753" y="475"/>
                  </a:cxn>
                  <a:cxn ang="0">
                    <a:pos x="641" y="455"/>
                  </a:cxn>
                  <a:cxn ang="0">
                    <a:pos x="230" y="446"/>
                  </a:cxn>
                  <a:cxn ang="0">
                    <a:pos x="183" y="404"/>
                  </a:cxn>
                  <a:cxn ang="0">
                    <a:pos x="154" y="337"/>
                  </a:cxn>
                  <a:cxn ang="0">
                    <a:pos x="42" y="275"/>
                  </a:cxn>
                </a:cxnLst>
                <a:rect l="0" t="0" r="r" b="b"/>
                <a:pathLst>
                  <a:path w="1193" h="578">
                    <a:moveTo>
                      <a:pt x="0" y="257"/>
                    </a:moveTo>
                    <a:lnTo>
                      <a:pt x="0" y="53"/>
                    </a:lnTo>
                    <a:lnTo>
                      <a:pt x="96" y="80"/>
                    </a:lnTo>
                    <a:lnTo>
                      <a:pt x="90" y="69"/>
                    </a:lnTo>
                    <a:lnTo>
                      <a:pt x="100" y="63"/>
                    </a:lnTo>
                    <a:lnTo>
                      <a:pt x="158" y="41"/>
                    </a:lnTo>
                    <a:lnTo>
                      <a:pt x="113" y="68"/>
                    </a:lnTo>
                    <a:lnTo>
                      <a:pt x="139" y="60"/>
                    </a:lnTo>
                    <a:lnTo>
                      <a:pt x="139" y="66"/>
                    </a:lnTo>
                    <a:lnTo>
                      <a:pt x="188" y="42"/>
                    </a:lnTo>
                    <a:lnTo>
                      <a:pt x="181" y="34"/>
                    </a:lnTo>
                    <a:lnTo>
                      <a:pt x="213" y="62"/>
                    </a:lnTo>
                    <a:lnTo>
                      <a:pt x="233" y="45"/>
                    </a:lnTo>
                    <a:lnTo>
                      <a:pt x="231" y="62"/>
                    </a:lnTo>
                    <a:lnTo>
                      <a:pt x="257" y="50"/>
                    </a:lnTo>
                    <a:lnTo>
                      <a:pt x="327" y="71"/>
                    </a:lnTo>
                    <a:lnTo>
                      <a:pt x="360" y="71"/>
                    </a:lnTo>
                    <a:lnTo>
                      <a:pt x="378" y="83"/>
                    </a:lnTo>
                    <a:lnTo>
                      <a:pt x="356" y="92"/>
                    </a:lnTo>
                    <a:lnTo>
                      <a:pt x="369" y="97"/>
                    </a:lnTo>
                    <a:lnTo>
                      <a:pt x="433" y="92"/>
                    </a:lnTo>
                    <a:lnTo>
                      <a:pt x="461" y="109"/>
                    </a:lnTo>
                    <a:lnTo>
                      <a:pt x="464" y="120"/>
                    </a:lnTo>
                    <a:lnTo>
                      <a:pt x="472" y="113"/>
                    </a:lnTo>
                    <a:lnTo>
                      <a:pt x="461" y="97"/>
                    </a:lnTo>
                    <a:lnTo>
                      <a:pt x="490" y="78"/>
                    </a:lnTo>
                    <a:lnTo>
                      <a:pt x="461" y="90"/>
                    </a:lnTo>
                    <a:lnTo>
                      <a:pt x="451" y="85"/>
                    </a:lnTo>
                    <a:lnTo>
                      <a:pt x="487" y="70"/>
                    </a:lnTo>
                    <a:lnTo>
                      <a:pt x="507" y="91"/>
                    </a:lnTo>
                    <a:lnTo>
                      <a:pt x="527" y="90"/>
                    </a:lnTo>
                    <a:lnTo>
                      <a:pt x="541" y="99"/>
                    </a:lnTo>
                    <a:lnTo>
                      <a:pt x="596" y="97"/>
                    </a:lnTo>
                    <a:lnTo>
                      <a:pt x="595" y="91"/>
                    </a:lnTo>
                    <a:lnTo>
                      <a:pt x="610" y="102"/>
                    </a:lnTo>
                    <a:lnTo>
                      <a:pt x="612" y="92"/>
                    </a:lnTo>
                    <a:lnTo>
                      <a:pt x="601" y="96"/>
                    </a:lnTo>
                    <a:lnTo>
                      <a:pt x="592" y="84"/>
                    </a:lnTo>
                    <a:lnTo>
                      <a:pt x="612" y="83"/>
                    </a:lnTo>
                    <a:lnTo>
                      <a:pt x="620" y="92"/>
                    </a:lnTo>
                    <a:lnTo>
                      <a:pt x="628" y="89"/>
                    </a:lnTo>
                    <a:lnTo>
                      <a:pt x="625" y="104"/>
                    </a:lnTo>
                    <a:lnTo>
                      <a:pt x="639" y="111"/>
                    </a:lnTo>
                    <a:lnTo>
                      <a:pt x="636" y="91"/>
                    </a:lnTo>
                    <a:lnTo>
                      <a:pt x="664" y="79"/>
                    </a:lnTo>
                    <a:lnTo>
                      <a:pt x="656" y="69"/>
                    </a:lnTo>
                    <a:lnTo>
                      <a:pt x="648" y="76"/>
                    </a:lnTo>
                    <a:lnTo>
                      <a:pt x="662" y="59"/>
                    </a:lnTo>
                    <a:lnTo>
                      <a:pt x="622" y="46"/>
                    </a:lnTo>
                    <a:lnTo>
                      <a:pt x="626" y="17"/>
                    </a:lnTo>
                    <a:lnTo>
                      <a:pt x="636" y="17"/>
                    </a:lnTo>
                    <a:lnTo>
                      <a:pt x="641" y="0"/>
                    </a:lnTo>
                    <a:lnTo>
                      <a:pt x="671" y="17"/>
                    </a:lnTo>
                    <a:lnTo>
                      <a:pt x="672" y="27"/>
                    </a:lnTo>
                    <a:lnTo>
                      <a:pt x="692" y="43"/>
                    </a:lnTo>
                    <a:lnTo>
                      <a:pt x="680" y="43"/>
                    </a:lnTo>
                    <a:lnTo>
                      <a:pt x="685" y="48"/>
                    </a:lnTo>
                    <a:lnTo>
                      <a:pt x="677" y="55"/>
                    </a:lnTo>
                    <a:lnTo>
                      <a:pt x="702" y="59"/>
                    </a:lnTo>
                    <a:lnTo>
                      <a:pt x="694" y="62"/>
                    </a:lnTo>
                    <a:lnTo>
                      <a:pt x="709" y="88"/>
                    </a:lnTo>
                    <a:lnTo>
                      <a:pt x="721" y="65"/>
                    </a:lnTo>
                    <a:lnTo>
                      <a:pt x="739" y="74"/>
                    </a:lnTo>
                    <a:lnTo>
                      <a:pt x="744" y="88"/>
                    </a:lnTo>
                    <a:lnTo>
                      <a:pt x="735" y="92"/>
                    </a:lnTo>
                    <a:lnTo>
                      <a:pt x="751" y="111"/>
                    </a:lnTo>
                    <a:lnTo>
                      <a:pt x="761" y="107"/>
                    </a:lnTo>
                    <a:lnTo>
                      <a:pt x="773" y="79"/>
                    </a:lnTo>
                    <a:lnTo>
                      <a:pt x="788" y="76"/>
                    </a:lnTo>
                    <a:lnTo>
                      <a:pt x="777" y="52"/>
                    </a:lnTo>
                    <a:lnTo>
                      <a:pt x="817" y="54"/>
                    </a:lnTo>
                    <a:lnTo>
                      <a:pt x="833" y="68"/>
                    </a:lnTo>
                    <a:lnTo>
                      <a:pt x="827" y="75"/>
                    </a:lnTo>
                    <a:lnTo>
                      <a:pt x="835" y="79"/>
                    </a:lnTo>
                    <a:lnTo>
                      <a:pt x="817" y="83"/>
                    </a:lnTo>
                    <a:lnTo>
                      <a:pt x="833" y="114"/>
                    </a:lnTo>
                    <a:lnTo>
                      <a:pt x="807" y="130"/>
                    </a:lnTo>
                    <a:lnTo>
                      <a:pt x="798" y="123"/>
                    </a:lnTo>
                    <a:lnTo>
                      <a:pt x="802" y="133"/>
                    </a:lnTo>
                    <a:lnTo>
                      <a:pt x="762" y="126"/>
                    </a:lnTo>
                    <a:lnTo>
                      <a:pt x="769" y="136"/>
                    </a:lnTo>
                    <a:lnTo>
                      <a:pt x="753" y="151"/>
                    </a:lnTo>
                    <a:lnTo>
                      <a:pt x="712" y="139"/>
                    </a:lnTo>
                    <a:lnTo>
                      <a:pt x="728" y="152"/>
                    </a:lnTo>
                    <a:lnTo>
                      <a:pt x="757" y="155"/>
                    </a:lnTo>
                    <a:lnTo>
                      <a:pt x="736" y="180"/>
                    </a:lnTo>
                    <a:lnTo>
                      <a:pt x="715" y="178"/>
                    </a:lnTo>
                    <a:lnTo>
                      <a:pt x="705" y="192"/>
                    </a:lnTo>
                    <a:lnTo>
                      <a:pt x="666" y="180"/>
                    </a:lnTo>
                    <a:lnTo>
                      <a:pt x="702" y="192"/>
                    </a:lnTo>
                    <a:lnTo>
                      <a:pt x="705" y="202"/>
                    </a:lnTo>
                    <a:lnTo>
                      <a:pt x="680" y="207"/>
                    </a:lnTo>
                    <a:lnTo>
                      <a:pt x="685" y="209"/>
                    </a:lnTo>
                    <a:lnTo>
                      <a:pt x="678" y="210"/>
                    </a:lnTo>
                    <a:lnTo>
                      <a:pt x="678" y="220"/>
                    </a:lnTo>
                    <a:lnTo>
                      <a:pt x="649" y="234"/>
                    </a:lnTo>
                    <a:lnTo>
                      <a:pt x="643" y="281"/>
                    </a:lnTo>
                    <a:lnTo>
                      <a:pt x="654" y="291"/>
                    </a:lnTo>
                    <a:lnTo>
                      <a:pt x="669" y="285"/>
                    </a:lnTo>
                    <a:lnTo>
                      <a:pt x="676" y="321"/>
                    </a:lnTo>
                    <a:lnTo>
                      <a:pt x="698" y="314"/>
                    </a:lnTo>
                    <a:lnTo>
                      <a:pt x="724" y="324"/>
                    </a:lnTo>
                    <a:lnTo>
                      <a:pt x="778" y="350"/>
                    </a:lnTo>
                    <a:lnTo>
                      <a:pt x="773" y="360"/>
                    </a:lnTo>
                    <a:lnTo>
                      <a:pt x="780" y="352"/>
                    </a:lnTo>
                    <a:lnTo>
                      <a:pt x="820" y="354"/>
                    </a:lnTo>
                    <a:lnTo>
                      <a:pt x="820" y="393"/>
                    </a:lnTo>
                    <a:lnTo>
                      <a:pt x="832" y="406"/>
                    </a:lnTo>
                    <a:lnTo>
                      <a:pt x="823" y="409"/>
                    </a:lnTo>
                    <a:lnTo>
                      <a:pt x="843" y="416"/>
                    </a:lnTo>
                    <a:lnTo>
                      <a:pt x="838" y="428"/>
                    </a:lnTo>
                    <a:lnTo>
                      <a:pt x="857" y="428"/>
                    </a:lnTo>
                    <a:lnTo>
                      <a:pt x="883" y="407"/>
                    </a:lnTo>
                    <a:lnTo>
                      <a:pt x="872" y="402"/>
                    </a:lnTo>
                    <a:lnTo>
                      <a:pt x="857" y="365"/>
                    </a:lnTo>
                    <a:lnTo>
                      <a:pt x="906" y="333"/>
                    </a:lnTo>
                    <a:lnTo>
                      <a:pt x="899" y="333"/>
                    </a:lnTo>
                    <a:lnTo>
                      <a:pt x="888" y="295"/>
                    </a:lnTo>
                    <a:lnTo>
                      <a:pt x="870" y="285"/>
                    </a:lnTo>
                    <a:lnTo>
                      <a:pt x="894" y="270"/>
                    </a:lnTo>
                    <a:lnTo>
                      <a:pt x="885" y="261"/>
                    </a:lnTo>
                    <a:lnTo>
                      <a:pt x="889" y="247"/>
                    </a:lnTo>
                    <a:lnTo>
                      <a:pt x="879" y="245"/>
                    </a:lnTo>
                    <a:lnTo>
                      <a:pt x="889" y="231"/>
                    </a:lnTo>
                    <a:lnTo>
                      <a:pt x="878" y="222"/>
                    </a:lnTo>
                    <a:lnTo>
                      <a:pt x="884" y="211"/>
                    </a:lnTo>
                    <a:lnTo>
                      <a:pt x="922" y="218"/>
                    </a:lnTo>
                    <a:lnTo>
                      <a:pt x="939" y="212"/>
                    </a:lnTo>
                    <a:lnTo>
                      <a:pt x="971" y="231"/>
                    </a:lnTo>
                    <a:lnTo>
                      <a:pt x="971" y="239"/>
                    </a:lnTo>
                    <a:lnTo>
                      <a:pt x="999" y="241"/>
                    </a:lnTo>
                    <a:lnTo>
                      <a:pt x="1001" y="260"/>
                    </a:lnTo>
                    <a:lnTo>
                      <a:pt x="976" y="261"/>
                    </a:lnTo>
                    <a:lnTo>
                      <a:pt x="998" y="264"/>
                    </a:lnTo>
                    <a:lnTo>
                      <a:pt x="1005" y="276"/>
                    </a:lnTo>
                    <a:lnTo>
                      <a:pt x="981" y="292"/>
                    </a:lnTo>
                    <a:lnTo>
                      <a:pt x="1014" y="283"/>
                    </a:lnTo>
                    <a:lnTo>
                      <a:pt x="1016" y="298"/>
                    </a:lnTo>
                    <a:lnTo>
                      <a:pt x="1002" y="304"/>
                    </a:lnTo>
                    <a:lnTo>
                      <a:pt x="1022" y="289"/>
                    </a:lnTo>
                    <a:lnTo>
                      <a:pt x="1025" y="299"/>
                    </a:lnTo>
                    <a:lnTo>
                      <a:pt x="1043" y="284"/>
                    </a:lnTo>
                    <a:lnTo>
                      <a:pt x="1047" y="292"/>
                    </a:lnTo>
                    <a:lnTo>
                      <a:pt x="1060" y="272"/>
                    </a:lnTo>
                    <a:lnTo>
                      <a:pt x="1056" y="268"/>
                    </a:lnTo>
                    <a:lnTo>
                      <a:pt x="1070" y="257"/>
                    </a:lnTo>
                    <a:lnTo>
                      <a:pt x="1087" y="278"/>
                    </a:lnTo>
                    <a:lnTo>
                      <a:pt x="1073" y="283"/>
                    </a:lnTo>
                    <a:lnTo>
                      <a:pt x="1088" y="280"/>
                    </a:lnTo>
                    <a:lnTo>
                      <a:pt x="1094" y="289"/>
                    </a:lnTo>
                    <a:lnTo>
                      <a:pt x="1084" y="291"/>
                    </a:lnTo>
                    <a:lnTo>
                      <a:pt x="1097" y="293"/>
                    </a:lnTo>
                    <a:lnTo>
                      <a:pt x="1088" y="299"/>
                    </a:lnTo>
                    <a:lnTo>
                      <a:pt x="1098" y="298"/>
                    </a:lnTo>
                    <a:lnTo>
                      <a:pt x="1105" y="308"/>
                    </a:lnTo>
                    <a:lnTo>
                      <a:pt x="1100" y="312"/>
                    </a:lnTo>
                    <a:lnTo>
                      <a:pt x="1114" y="319"/>
                    </a:lnTo>
                    <a:lnTo>
                      <a:pt x="1093" y="327"/>
                    </a:lnTo>
                    <a:lnTo>
                      <a:pt x="1108" y="327"/>
                    </a:lnTo>
                    <a:lnTo>
                      <a:pt x="1105" y="334"/>
                    </a:lnTo>
                    <a:lnTo>
                      <a:pt x="1128" y="342"/>
                    </a:lnTo>
                    <a:lnTo>
                      <a:pt x="1137" y="359"/>
                    </a:lnTo>
                    <a:lnTo>
                      <a:pt x="1146" y="353"/>
                    </a:lnTo>
                    <a:lnTo>
                      <a:pt x="1169" y="364"/>
                    </a:lnTo>
                    <a:lnTo>
                      <a:pt x="1118" y="380"/>
                    </a:lnTo>
                    <a:lnTo>
                      <a:pt x="1128" y="388"/>
                    </a:lnTo>
                    <a:lnTo>
                      <a:pt x="1172" y="371"/>
                    </a:lnTo>
                    <a:lnTo>
                      <a:pt x="1172" y="385"/>
                    </a:lnTo>
                    <a:lnTo>
                      <a:pt x="1192" y="383"/>
                    </a:lnTo>
                    <a:lnTo>
                      <a:pt x="1193" y="390"/>
                    </a:lnTo>
                    <a:lnTo>
                      <a:pt x="1184" y="390"/>
                    </a:lnTo>
                    <a:lnTo>
                      <a:pt x="1193" y="407"/>
                    </a:lnTo>
                    <a:lnTo>
                      <a:pt x="1133" y="441"/>
                    </a:lnTo>
                    <a:lnTo>
                      <a:pt x="1046" y="441"/>
                    </a:lnTo>
                    <a:lnTo>
                      <a:pt x="1009" y="465"/>
                    </a:lnTo>
                    <a:lnTo>
                      <a:pt x="979" y="499"/>
                    </a:lnTo>
                    <a:lnTo>
                      <a:pt x="1009" y="473"/>
                    </a:lnTo>
                    <a:lnTo>
                      <a:pt x="1056" y="457"/>
                    </a:lnTo>
                    <a:lnTo>
                      <a:pt x="1073" y="470"/>
                    </a:lnTo>
                    <a:lnTo>
                      <a:pt x="1042" y="478"/>
                    </a:lnTo>
                    <a:lnTo>
                      <a:pt x="1066" y="484"/>
                    </a:lnTo>
                    <a:lnTo>
                      <a:pt x="1060" y="494"/>
                    </a:lnTo>
                    <a:lnTo>
                      <a:pt x="1079" y="513"/>
                    </a:lnTo>
                    <a:lnTo>
                      <a:pt x="1115" y="520"/>
                    </a:lnTo>
                    <a:lnTo>
                      <a:pt x="1125" y="496"/>
                    </a:lnTo>
                    <a:lnTo>
                      <a:pt x="1125" y="511"/>
                    </a:lnTo>
                    <a:lnTo>
                      <a:pt x="1135" y="509"/>
                    </a:lnTo>
                    <a:lnTo>
                      <a:pt x="1118" y="525"/>
                    </a:lnTo>
                    <a:lnTo>
                      <a:pt x="1074" y="535"/>
                    </a:lnTo>
                    <a:lnTo>
                      <a:pt x="1059" y="553"/>
                    </a:lnTo>
                    <a:lnTo>
                      <a:pt x="1047" y="537"/>
                    </a:lnTo>
                    <a:lnTo>
                      <a:pt x="1087" y="523"/>
                    </a:lnTo>
                    <a:lnTo>
                      <a:pt x="1066" y="524"/>
                    </a:lnTo>
                    <a:lnTo>
                      <a:pt x="1070" y="513"/>
                    </a:lnTo>
                    <a:lnTo>
                      <a:pt x="1035" y="525"/>
                    </a:lnTo>
                    <a:lnTo>
                      <a:pt x="1025" y="517"/>
                    </a:lnTo>
                    <a:lnTo>
                      <a:pt x="1025" y="496"/>
                    </a:lnTo>
                    <a:lnTo>
                      <a:pt x="1001" y="490"/>
                    </a:lnTo>
                    <a:lnTo>
                      <a:pt x="984" y="524"/>
                    </a:lnTo>
                    <a:lnTo>
                      <a:pt x="913" y="537"/>
                    </a:lnTo>
                    <a:lnTo>
                      <a:pt x="864" y="551"/>
                    </a:lnTo>
                    <a:lnTo>
                      <a:pt x="856" y="557"/>
                    </a:lnTo>
                    <a:lnTo>
                      <a:pt x="867" y="559"/>
                    </a:lnTo>
                    <a:lnTo>
                      <a:pt x="870" y="564"/>
                    </a:lnTo>
                    <a:lnTo>
                      <a:pt x="810" y="578"/>
                    </a:lnTo>
                    <a:lnTo>
                      <a:pt x="813" y="571"/>
                    </a:lnTo>
                    <a:lnTo>
                      <a:pt x="817" y="567"/>
                    </a:lnTo>
                    <a:lnTo>
                      <a:pt x="819" y="560"/>
                    </a:lnTo>
                    <a:lnTo>
                      <a:pt x="828" y="555"/>
                    </a:lnTo>
                    <a:lnTo>
                      <a:pt x="830" y="525"/>
                    </a:lnTo>
                    <a:lnTo>
                      <a:pt x="840" y="535"/>
                    </a:lnTo>
                    <a:lnTo>
                      <a:pt x="858" y="532"/>
                    </a:lnTo>
                    <a:lnTo>
                      <a:pt x="842" y="513"/>
                    </a:lnTo>
                    <a:lnTo>
                      <a:pt x="791" y="504"/>
                    </a:lnTo>
                    <a:lnTo>
                      <a:pt x="789" y="504"/>
                    </a:lnTo>
                    <a:lnTo>
                      <a:pt x="784" y="480"/>
                    </a:lnTo>
                    <a:lnTo>
                      <a:pt x="773" y="482"/>
                    </a:lnTo>
                    <a:lnTo>
                      <a:pt x="764" y="467"/>
                    </a:lnTo>
                    <a:lnTo>
                      <a:pt x="753" y="467"/>
                    </a:lnTo>
                    <a:lnTo>
                      <a:pt x="753" y="475"/>
                    </a:lnTo>
                    <a:lnTo>
                      <a:pt x="740" y="462"/>
                    </a:lnTo>
                    <a:lnTo>
                      <a:pt x="716" y="480"/>
                    </a:lnTo>
                    <a:lnTo>
                      <a:pt x="650" y="467"/>
                    </a:lnTo>
                    <a:lnTo>
                      <a:pt x="641" y="455"/>
                    </a:lnTo>
                    <a:lnTo>
                      <a:pt x="641" y="463"/>
                    </a:lnTo>
                    <a:lnTo>
                      <a:pt x="256" y="463"/>
                    </a:lnTo>
                    <a:lnTo>
                      <a:pt x="250" y="450"/>
                    </a:lnTo>
                    <a:lnTo>
                      <a:pt x="230" y="446"/>
                    </a:lnTo>
                    <a:lnTo>
                      <a:pt x="230" y="437"/>
                    </a:lnTo>
                    <a:lnTo>
                      <a:pt x="188" y="426"/>
                    </a:lnTo>
                    <a:lnTo>
                      <a:pt x="192" y="420"/>
                    </a:lnTo>
                    <a:lnTo>
                      <a:pt x="183" y="404"/>
                    </a:lnTo>
                    <a:lnTo>
                      <a:pt x="172" y="402"/>
                    </a:lnTo>
                    <a:lnTo>
                      <a:pt x="148" y="367"/>
                    </a:lnTo>
                    <a:lnTo>
                      <a:pt x="152" y="356"/>
                    </a:lnTo>
                    <a:lnTo>
                      <a:pt x="154" y="337"/>
                    </a:lnTo>
                    <a:lnTo>
                      <a:pt x="127" y="327"/>
                    </a:lnTo>
                    <a:lnTo>
                      <a:pt x="78" y="266"/>
                    </a:lnTo>
                    <a:lnTo>
                      <a:pt x="49" y="283"/>
                    </a:lnTo>
                    <a:lnTo>
                      <a:pt x="42" y="275"/>
                    </a:lnTo>
                    <a:lnTo>
                      <a:pt x="40" y="273"/>
                    </a:lnTo>
                    <a:lnTo>
                      <a:pt x="26" y="257"/>
                    </a:lnTo>
                    <a:lnTo>
                      <a:pt x="0" y="257"/>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95" name="Freeform 51"/>
              <p:cNvSpPr>
                <a:spLocks noEditPoints="1"/>
              </p:cNvSpPr>
              <p:nvPr/>
            </p:nvSpPr>
            <p:spPr bwMode="auto">
              <a:xfrm>
                <a:off x="771" y="959"/>
                <a:ext cx="1198" cy="582"/>
              </a:xfrm>
              <a:custGeom>
                <a:avLst/>
                <a:gdLst/>
                <a:ahLst/>
                <a:cxnLst>
                  <a:cxn ang="0">
                    <a:pos x="483" y="264"/>
                  </a:cxn>
                  <a:cxn ang="0">
                    <a:pos x="887" y="221"/>
                  </a:cxn>
                  <a:cxn ang="0">
                    <a:pos x="1615" y="534"/>
                  </a:cxn>
                  <a:cxn ang="0">
                    <a:pos x="1825" y="395"/>
                  </a:cxn>
                  <a:cxn ang="0">
                    <a:pos x="2045" y="369"/>
                  </a:cxn>
                  <a:cxn ang="0">
                    <a:pos x="2275" y="317"/>
                  </a:cxn>
                  <a:cxn ang="0">
                    <a:pos x="2330" y="129"/>
                  </a:cxn>
                  <a:cxn ang="0">
                    <a:pos x="2442" y="388"/>
                  </a:cxn>
                  <a:cxn ang="0">
                    <a:pos x="2715" y="342"/>
                  </a:cxn>
                  <a:cxn ang="0">
                    <a:pos x="2793" y="584"/>
                  </a:cxn>
                  <a:cxn ang="0">
                    <a:pos x="2617" y="678"/>
                  </a:cxn>
                  <a:cxn ang="0">
                    <a:pos x="2354" y="907"/>
                  </a:cxn>
                  <a:cxn ang="0">
                    <a:pos x="2345" y="1411"/>
                  </a:cxn>
                  <a:cxn ang="0">
                    <a:pos x="2878" y="1793"/>
                  </a:cxn>
                  <a:cxn ang="0">
                    <a:pos x="3106" y="1472"/>
                  </a:cxn>
                  <a:cxn ang="0">
                    <a:pos x="3067" y="1025"/>
                  </a:cxn>
                  <a:cxn ang="0">
                    <a:pos x="3457" y="1154"/>
                  </a:cxn>
                  <a:cxn ang="0">
                    <a:pos x="3525" y="1267"/>
                  </a:cxn>
                  <a:cxn ang="0">
                    <a:pos x="3761" y="1219"/>
                  </a:cxn>
                  <a:cxn ang="0">
                    <a:pos x="3790" y="1304"/>
                  </a:cxn>
                  <a:cxn ang="0">
                    <a:pos x="3904" y="1500"/>
                  </a:cxn>
                  <a:cxn ang="0">
                    <a:pos x="4114" y="1675"/>
                  </a:cxn>
                  <a:cxn ang="0">
                    <a:pos x="3479" y="2073"/>
                  </a:cxn>
                  <a:cxn ang="0">
                    <a:pos x="3844" y="2281"/>
                  </a:cxn>
                  <a:cxn ang="0">
                    <a:pos x="3608" y="2355"/>
                  </a:cxn>
                  <a:cxn ang="0">
                    <a:pos x="3408" y="2303"/>
                  </a:cxn>
                  <a:cxn ang="0">
                    <a:pos x="2818" y="2485"/>
                  </a:cxn>
                  <a:cxn ang="0">
                    <a:pos x="2727" y="2223"/>
                  </a:cxn>
                  <a:cxn ang="0">
                    <a:pos x="2245" y="2061"/>
                  </a:cxn>
                  <a:cxn ang="0">
                    <a:pos x="664" y="1840"/>
                  </a:cxn>
                  <a:cxn ang="0">
                    <a:pos x="175" y="1254"/>
                  </a:cxn>
                  <a:cxn ang="0">
                    <a:pos x="269" y="1165"/>
                  </a:cxn>
                  <a:cxn ang="0">
                    <a:pos x="661" y="1875"/>
                  </a:cxn>
                  <a:cxn ang="0">
                    <a:pos x="2476" y="2100"/>
                  </a:cxn>
                  <a:cxn ang="0">
                    <a:pos x="2735" y="2214"/>
                  </a:cxn>
                  <a:cxn ang="0">
                    <a:pos x="2832" y="2491"/>
                  </a:cxn>
                  <a:cxn ang="0">
                    <a:pos x="3393" y="2298"/>
                  </a:cxn>
                  <a:cxn ang="0">
                    <a:pos x="3618" y="2365"/>
                  </a:cxn>
                  <a:cxn ang="0">
                    <a:pos x="3723" y="2262"/>
                  </a:cxn>
                  <a:cxn ang="0">
                    <a:pos x="3374" y="2187"/>
                  </a:cxn>
                  <a:cxn ang="0">
                    <a:pos x="4042" y="1701"/>
                  </a:cxn>
                  <a:cxn ang="0">
                    <a:pos x="3894" y="1510"/>
                  </a:cxn>
                  <a:cxn ang="0">
                    <a:pos x="3793" y="1320"/>
                  </a:cxn>
                  <a:cxn ang="0">
                    <a:pos x="3747" y="1227"/>
                  </a:cxn>
                  <a:cxn ang="0">
                    <a:pos x="3467" y="1344"/>
                  </a:cxn>
                  <a:cxn ang="0">
                    <a:pos x="3449" y="1147"/>
                  </a:cxn>
                  <a:cxn ang="0">
                    <a:pos x="3044" y="1085"/>
                  </a:cxn>
                  <a:cxn ang="0">
                    <a:pos x="2965" y="1611"/>
                  </a:cxn>
                  <a:cxn ang="0">
                    <a:pos x="2873" y="1778"/>
                  </a:cxn>
                  <a:cxn ang="0">
                    <a:pos x="2333" y="1419"/>
                  </a:cxn>
                  <a:cxn ang="0">
                    <a:pos x="2342" y="912"/>
                  </a:cxn>
                  <a:cxn ang="0">
                    <a:pos x="2514" y="682"/>
                  </a:cxn>
                  <a:cxn ang="0">
                    <a:pos x="2794" y="572"/>
                  </a:cxn>
                  <a:cxn ang="0">
                    <a:pos x="2693" y="233"/>
                  </a:cxn>
                  <a:cxn ang="0">
                    <a:pos x="2488" y="300"/>
                  </a:cxn>
                  <a:cxn ang="0">
                    <a:pos x="2393" y="190"/>
                  </a:cxn>
                  <a:cxn ang="0">
                    <a:pos x="2248" y="347"/>
                  </a:cxn>
                  <a:cxn ang="0">
                    <a:pos x="2147" y="417"/>
                  </a:cxn>
                  <a:cxn ang="0">
                    <a:pos x="2069" y="440"/>
                  </a:cxn>
                  <a:cxn ang="0">
                    <a:pos x="1600" y="441"/>
                  </a:cxn>
                  <a:cxn ang="0">
                    <a:pos x="1304" y="376"/>
                  </a:cxn>
                  <a:cxn ang="0">
                    <a:pos x="661" y="187"/>
                  </a:cxn>
                  <a:cxn ang="0">
                    <a:pos x="343" y="359"/>
                  </a:cxn>
                </a:cxnLst>
                <a:rect l="0" t="0" r="r" b="b"/>
                <a:pathLst>
                  <a:path w="4129" h="2545">
                    <a:moveTo>
                      <a:pt x="8" y="1139"/>
                    </a:moveTo>
                    <a:cubicBezTo>
                      <a:pt x="4" y="1139"/>
                      <a:pt x="0" y="1136"/>
                      <a:pt x="0" y="1131"/>
                    </a:cubicBezTo>
                    <a:lnTo>
                      <a:pt x="0" y="243"/>
                    </a:lnTo>
                    <a:cubicBezTo>
                      <a:pt x="0" y="240"/>
                      <a:pt x="2" y="238"/>
                      <a:pt x="4" y="236"/>
                    </a:cubicBezTo>
                    <a:cubicBezTo>
                      <a:pt x="6" y="235"/>
                      <a:pt x="9" y="234"/>
                      <a:pt x="11" y="235"/>
                    </a:cubicBezTo>
                    <a:lnTo>
                      <a:pt x="339" y="354"/>
                    </a:lnTo>
                    <a:lnTo>
                      <a:pt x="329" y="364"/>
                    </a:lnTo>
                    <a:lnTo>
                      <a:pt x="309" y="314"/>
                    </a:lnTo>
                    <a:cubicBezTo>
                      <a:pt x="308" y="311"/>
                      <a:pt x="309" y="307"/>
                      <a:pt x="311" y="305"/>
                    </a:cubicBezTo>
                    <a:lnTo>
                      <a:pt x="346" y="277"/>
                    </a:lnTo>
                    <a:cubicBezTo>
                      <a:pt x="347" y="276"/>
                      <a:pt x="347" y="276"/>
                      <a:pt x="348" y="276"/>
                    </a:cubicBezTo>
                    <a:lnTo>
                      <a:pt x="548" y="180"/>
                    </a:lnTo>
                    <a:cubicBezTo>
                      <a:pt x="551" y="178"/>
                      <a:pt x="556" y="180"/>
                      <a:pt x="558" y="183"/>
                    </a:cubicBezTo>
                    <a:cubicBezTo>
                      <a:pt x="560" y="187"/>
                      <a:pt x="559" y="191"/>
                      <a:pt x="556" y="194"/>
                    </a:cubicBezTo>
                    <a:lnTo>
                      <a:pt x="402" y="313"/>
                    </a:lnTo>
                    <a:lnTo>
                      <a:pt x="394" y="299"/>
                    </a:lnTo>
                    <a:lnTo>
                      <a:pt x="483" y="264"/>
                    </a:lnTo>
                    <a:cubicBezTo>
                      <a:pt x="485" y="263"/>
                      <a:pt x="488" y="263"/>
                      <a:pt x="490" y="265"/>
                    </a:cubicBezTo>
                    <a:cubicBezTo>
                      <a:pt x="493" y="266"/>
                      <a:pt x="494" y="268"/>
                      <a:pt x="494" y="271"/>
                    </a:cubicBezTo>
                    <a:lnTo>
                      <a:pt x="494" y="296"/>
                    </a:lnTo>
                    <a:lnTo>
                      <a:pt x="482" y="289"/>
                    </a:lnTo>
                    <a:lnTo>
                      <a:pt x="650" y="184"/>
                    </a:lnTo>
                    <a:lnTo>
                      <a:pt x="647" y="195"/>
                    </a:lnTo>
                    <a:lnTo>
                      <a:pt x="625" y="160"/>
                    </a:lnTo>
                    <a:cubicBezTo>
                      <a:pt x="623" y="156"/>
                      <a:pt x="623" y="152"/>
                      <a:pt x="627" y="149"/>
                    </a:cubicBezTo>
                    <a:cubicBezTo>
                      <a:pt x="630" y="147"/>
                      <a:pt x="635" y="147"/>
                      <a:pt x="638" y="150"/>
                    </a:cubicBezTo>
                    <a:lnTo>
                      <a:pt x="746" y="276"/>
                    </a:lnTo>
                    <a:lnTo>
                      <a:pt x="734" y="276"/>
                    </a:lnTo>
                    <a:lnTo>
                      <a:pt x="803" y="202"/>
                    </a:lnTo>
                    <a:cubicBezTo>
                      <a:pt x="806" y="200"/>
                      <a:pt x="809" y="199"/>
                      <a:pt x="813" y="200"/>
                    </a:cubicBezTo>
                    <a:cubicBezTo>
                      <a:pt x="816" y="202"/>
                      <a:pt x="818" y="205"/>
                      <a:pt x="817" y="208"/>
                    </a:cubicBezTo>
                    <a:lnTo>
                      <a:pt x="810" y="282"/>
                    </a:lnTo>
                    <a:lnTo>
                      <a:pt x="798" y="274"/>
                    </a:lnTo>
                    <a:lnTo>
                      <a:pt x="887" y="221"/>
                    </a:lnTo>
                    <a:cubicBezTo>
                      <a:pt x="889" y="220"/>
                      <a:pt x="892" y="219"/>
                      <a:pt x="894" y="220"/>
                    </a:cubicBezTo>
                    <a:lnTo>
                      <a:pt x="1138" y="312"/>
                    </a:lnTo>
                    <a:lnTo>
                      <a:pt x="1135" y="312"/>
                    </a:lnTo>
                    <a:lnTo>
                      <a:pt x="1246" y="310"/>
                    </a:lnTo>
                    <a:cubicBezTo>
                      <a:pt x="1248" y="310"/>
                      <a:pt x="1250" y="311"/>
                      <a:pt x="1251" y="312"/>
                    </a:cubicBezTo>
                    <a:lnTo>
                      <a:pt x="1314" y="364"/>
                    </a:lnTo>
                    <a:cubicBezTo>
                      <a:pt x="1316" y="365"/>
                      <a:pt x="1317" y="368"/>
                      <a:pt x="1317" y="371"/>
                    </a:cubicBezTo>
                    <a:cubicBezTo>
                      <a:pt x="1317" y="373"/>
                      <a:pt x="1315" y="375"/>
                      <a:pt x="1313" y="377"/>
                    </a:cubicBezTo>
                    <a:lnTo>
                      <a:pt x="1238" y="420"/>
                    </a:lnTo>
                    <a:lnTo>
                      <a:pt x="1237" y="406"/>
                    </a:lnTo>
                    <a:lnTo>
                      <a:pt x="1282" y="428"/>
                    </a:lnTo>
                    <a:lnTo>
                      <a:pt x="1277" y="427"/>
                    </a:lnTo>
                    <a:lnTo>
                      <a:pt x="1497" y="402"/>
                    </a:lnTo>
                    <a:cubicBezTo>
                      <a:pt x="1499" y="402"/>
                      <a:pt x="1501" y="402"/>
                      <a:pt x="1502" y="404"/>
                    </a:cubicBezTo>
                    <a:lnTo>
                      <a:pt x="1600" y="477"/>
                    </a:lnTo>
                    <a:cubicBezTo>
                      <a:pt x="1601" y="478"/>
                      <a:pt x="1602" y="480"/>
                      <a:pt x="1602" y="482"/>
                    </a:cubicBezTo>
                    <a:lnTo>
                      <a:pt x="1615" y="534"/>
                    </a:lnTo>
                    <a:lnTo>
                      <a:pt x="1601" y="531"/>
                    </a:lnTo>
                    <a:lnTo>
                      <a:pt x="1626" y="497"/>
                    </a:lnTo>
                    <a:lnTo>
                      <a:pt x="1625" y="506"/>
                    </a:lnTo>
                    <a:lnTo>
                      <a:pt x="1588" y="439"/>
                    </a:lnTo>
                    <a:cubicBezTo>
                      <a:pt x="1586" y="436"/>
                      <a:pt x="1587" y="431"/>
                      <a:pt x="1590" y="429"/>
                    </a:cubicBezTo>
                    <a:lnTo>
                      <a:pt x="1692" y="345"/>
                    </a:lnTo>
                    <a:lnTo>
                      <a:pt x="1701" y="359"/>
                    </a:lnTo>
                    <a:lnTo>
                      <a:pt x="1601" y="410"/>
                    </a:lnTo>
                    <a:cubicBezTo>
                      <a:pt x="1599" y="412"/>
                      <a:pt x="1596" y="412"/>
                      <a:pt x="1593" y="410"/>
                    </a:cubicBezTo>
                    <a:lnTo>
                      <a:pt x="1557" y="387"/>
                    </a:lnTo>
                    <a:cubicBezTo>
                      <a:pt x="1555" y="385"/>
                      <a:pt x="1553" y="382"/>
                      <a:pt x="1553" y="380"/>
                    </a:cubicBezTo>
                    <a:cubicBezTo>
                      <a:pt x="1554" y="377"/>
                      <a:pt x="1555" y="374"/>
                      <a:pt x="1558" y="373"/>
                    </a:cubicBezTo>
                    <a:lnTo>
                      <a:pt x="1681" y="308"/>
                    </a:lnTo>
                    <a:cubicBezTo>
                      <a:pt x="1685" y="306"/>
                      <a:pt x="1689" y="307"/>
                      <a:pt x="1691" y="310"/>
                    </a:cubicBezTo>
                    <a:lnTo>
                      <a:pt x="1759" y="402"/>
                    </a:lnTo>
                    <a:lnTo>
                      <a:pt x="1753" y="399"/>
                    </a:lnTo>
                    <a:lnTo>
                      <a:pt x="1825" y="395"/>
                    </a:lnTo>
                    <a:cubicBezTo>
                      <a:pt x="1827" y="395"/>
                      <a:pt x="1829" y="396"/>
                      <a:pt x="1830" y="397"/>
                    </a:cubicBezTo>
                    <a:lnTo>
                      <a:pt x="1876" y="437"/>
                    </a:lnTo>
                    <a:lnTo>
                      <a:pt x="1871" y="435"/>
                    </a:lnTo>
                    <a:lnTo>
                      <a:pt x="2062" y="427"/>
                    </a:lnTo>
                    <a:lnTo>
                      <a:pt x="2055" y="437"/>
                    </a:lnTo>
                    <a:lnTo>
                      <a:pt x="2049" y="408"/>
                    </a:lnTo>
                    <a:cubicBezTo>
                      <a:pt x="2048" y="405"/>
                      <a:pt x="2050" y="401"/>
                      <a:pt x="2053" y="400"/>
                    </a:cubicBezTo>
                    <a:cubicBezTo>
                      <a:pt x="2056" y="398"/>
                      <a:pt x="2060" y="398"/>
                      <a:pt x="2062" y="401"/>
                    </a:cubicBezTo>
                    <a:lnTo>
                      <a:pt x="2115" y="451"/>
                    </a:lnTo>
                    <a:lnTo>
                      <a:pt x="2102" y="455"/>
                    </a:lnTo>
                    <a:lnTo>
                      <a:pt x="2110" y="412"/>
                    </a:lnTo>
                    <a:lnTo>
                      <a:pt x="2121" y="421"/>
                    </a:lnTo>
                    <a:lnTo>
                      <a:pt x="2080" y="436"/>
                    </a:lnTo>
                    <a:cubicBezTo>
                      <a:pt x="2077" y="437"/>
                      <a:pt x="2073" y="436"/>
                      <a:pt x="2071" y="433"/>
                    </a:cubicBezTo>
                    <a:lnTo>
                      <a:pt x="2039" y="381"/>
                    </a:lnTo>
                    <a:cubicBezTo>
                      <a:pt x="2037" y="378"/>
                      <a:pt x="2037" y="375"/>
                      <a:pt x="2039" y="373"/>
                    </a:cubicBezTo>
                    <a:cubicBezTo>
                      <a:pt x="2040" y="370"/>
                      <a:pt x="2042" y="369"/>
                      <a:pt x="2045" y="369"/>
                    </a:cubicBezTo>
                    <a:lnTo>
                      <a:pt x="2116" y="362"/>
                    </a:lnTo>
                    <a:cubicBezTo>
                      <a:pt x="2119" y="362"/>
                      <a:pt x="2121" y="363"/>
                      <a:pt x="2123" y="365"/>
                    </a:cubicBezTo>
                    <a:lnTo>
                      <a:pt x="2151" y="405"/>
                    </a:lnTo>
                    <a:lnTo>
                      <a:pt x="2141" y="403"/>
                    </a:lnTo>
                    <a:lnTo>
                      <a:pt x="2169" y="391"/>
                    </a:lnTo>
                    <a:cubicBezTo>
                      <a:pt x="2172" y="390"/>
                      <a:pt x="2175" y="390"/>
                      <a:pt x="2177" y="392"/>
                    </a:cubicBezTo>
                    <a:cubicBezTo>
                      <a:pt x="2179" y="394"/>
                      <a:pt x="2180" y="397"/>
                      <a:pt x="2180" y="400"/>
                    </a:cubicBezTo>
                    <a:lnTo>
                      <a:pt x="2169" y="463"/>
                    </a:lnTo>
                    <a:lnTo>
                      <a:pt x="2165" y="455"/>
                    </a:lnTo>
                    <a:lnTo>
                      <a:pt x="2215" y="487"/>
                    </a:lnTo>
                    <a:lnTo>
                      <a:pt x="2203" y="495"/>
                    </a:lnTo>
                    <a:lnTo>
                      <a:pt x="2190" y="408"/>
                    </a:lnTo>
                    <a:cubicBezTo>
                      <a:pt x="2190" y="404"/>
                      <a:pt x="2192" y="401"/>
                      <a:pt x="2195" y="400"/>
                    </a:cubicBezTo>
                    <a:lnTo>
                      <a:pt x="2290" y="348"/>
                    </a:lnTo>
                    <a:lnTo>
                      <a:pt x="2287" y="359"/>
                    </a:lnTo>
                    <a:lnTo>
                      <a:pt x="2262" y="315"/>
                    </a:lnTo>
                    <a:lnTo>
                      <a:pt x="2275" y="317"/>
                    </a:lnTo>
                    <a:lnTo>
                      <a:pt x="2247" y="348"/>
                    </a:lnTo>
                    <a:cubicBezTo>
                      <a:pt x="2245" y="351"/>
                      <a:pt x="2240" y="352"/>
                      <a:pt x="2237" y="350"/>
                    </a:cubicBezTo>
                    <a:cubicBezTo>
                      <a:pt x="2233" y="347"/>
                      <a:pt x="2232" y="342"/>
                      <a:pt x="2235" y="339"/>
                    </a:cubicBezTo>
                    <a:lnTo>
                      <a:pt x="2283" y="262"/>
                    </a:lnTo>
                    <a:lnTo>
                      <a:pt x="2287" y="274"/>
                    </a:lnTo>
                    <a:lnTo>
                      <a:pt x="2147" y="218"/>
                    </a:lnTo>
                    <a:cubicBezTo>
                      <a:pt x="2144" y="217"/>
                      <a:pt x="2141" y="214"/>
                      <a:pt x="2142" y="210"/>
                    </a:cubicBezTo>
                    <a:lnTo>
                      <a:pt x="2156" y="81"/>
                    </a:lnTo>
                    <a:cubicBezTo>
                      <a:pt x="2156" y="77"/>
                      <a:pt x="2160" y="74"/>
                      <a:pt x="2164" y="74"/>
                    </a:cubicBezTo>
                    <a:lnTo>
                      <a:pt x="2199" y="77"/>
                    </a:lnTo>
                    <a:lnTo>
                      <a:pt x="2191" y="84"/>
                    </a:lnTo>
                    <a:lnTo>
                      <a:pt x="2207" y="7"/>
                    </a:lnTo>
                    <a:cubicBezTo>
                      <a:pt x="2208" y="4"/>
                      <a:pt x="2210" y="2"/>
                      <a:pt x="2212" y="1"/>
                    </a:cubicBezTo>
                    <a:cubicBezTo>
                      <a:pt x="2215" y="0"/>
                      <a:pt x="2217" y="0"/>
                      <a:pt x="2220" y="2"/>
                    </a:cubicBezTo>
                    <a:lnTo>
                      <a:pt x="2325" y="76"/>
                    </a:lnTo>
                    <a:cubicBezTo>
                      <a:pt x="2327" y="77"/>
                      <a:pt x="2328" y="79"/>
                      <a:pt x="2329" y="82"/>
                    </a:cubicBezTo>
                    <a:lnTo>
                      <a:pt x="2330" y="129"/>
                    </a:lnTo>
                    <a:lnTo>
                      <a:pt x="2327" y="123"/>
                    </a:lnTo>
                    <a:lnTo>
                      <a:pt x="2398" y="192"/>
                    </a:lnTo>
                    <a:cubicBezTo>
                      <a:pt x="2401" y="194"/>
                      <a:pt x="2401" y="198"/>
                      <a:pt x="2400" y="201"/>
                    </a:cubicBezTo>
                    <a:cubicBezTo>
                      <a:pt x="2399" y="204"/>
                      <a:pt x="2396" y="206"/>
                      <a:pt x="2392" y="206"/>
                    </a:cubicBezTo>
                    <a:lnTo>
                      <a:pt x="2349" y="204"/>
                    </a:lnTo>
                    <a:lnTo>
                      <a:pt x="2356" y="191"/>
                    </a:lnTo>
                    <a:lnTo>
                      <a:pt x="2374" y="214"/>
                    </a:lnTo>
                    <a:cubicBezTo>
                      <a:pt x="2376" y="218"/>
                      <a:pt x="2376" y="222"/>
                      <a:pt x="2373" y="225"/>
                    </a:cubicBezTo>
                    <a:lnTo>
                      <a:pt x="2346" y="253"/>
                    </a:lnTo>
                    <a:lnTo>
                      <a:pt x="2342" y="240"/>
                    </a:lnTo>
                    <a:lnTo>
                      <a:pt x="2428" y="258"/>
                    </a:lnTo>
                    <a:cubicBezTo>
                      <a:pt x="2431" y="259"/>
                      <a:pt x="2433" y="262"/>
                      <a:pt x="2434" y="265"/>
                    </a:cubicBezTo>
                    <a:cubicBezTo>
                      <a:pt x="2434" y="268"/>
                      <a:pt x="2433" y="271"/>
                      <a:pt x="2430" y="273"/>
                    </a:cubicBezTo>
                    <a:lnTo>
                      <a:pt x="2404" y="288"/>
                    </a:lnTo>
                    <a:lnTo>
                      <a:pt x="2407" y="278"/>
                    </a:lnTo>
                    <a:lnTo>
                      <a:pt x="2457" y="388"/>
                    </a:lnTo>
                    <a:lnTo>
                      <a:pt x="2442" y="388"/>
                    </a:lnTo>
                    <a:lnTo>
                      <a:pt x="2485" y="290"/>
                    </a:lnTo>
                    <a:cubicBezTo>
                      <a:pt x="2486" y="288"/>
                      <a:pt x="2488" y="286"/>
                      <a:pt x="2490" y="285"/>
                    </a:cubicBezTo>
                    <a:cubicBezTo>
                      <a:pt x="2493" y="285"/>
                      <a:pt x="2495" y="285"/>
                      <a:pt x="2497" y="286"/>
                    </a:cubicBezTo>
                    <a:lnTo>
                      <a:pt x="2558" y="326"/>
                    </a:lnTo>
                    <a:cubicBezTo>
                      <a:pt x="2560" y="327"/>
                      <a:pt x="2561" y="329"/>
                      <a:pt x="2561" y="331"/>
                    </a:cubicBezTo>
                    <a:lnTo>
                      <a:pt x="2578" y="393"/>
                    </a:lnTo>
                    <a:cubicBezTo>
                      <a:pt x="2579" y="396"/>
                      <a:pt x="2578" y="400"/>
                      <a:pt x="2575" y="402"/>
                    </a:cubicBezTo>
                    <a:lnTo>
                      <a:pt x="2545" y="420"/>
                    </a:lnTo>
                    <a:lnTo>
                      <a:pt x="2548" y="409"/>
                    </a:lnTo>
                    <a:lnTo>
                      <a:pt x="2603" y="489"/>
                    </a:lnTo>
                    <a:lnTo>
                      <a:pt x="2593" y="487"/>
                    </a:lnTo>
                    <a:lnTo>
                      <a:pt x="2628" y="468"/>
                    </a:lnTo>
                    <a:lnTo>
                      <a:pt x="2624" y="473"/>
                    </a:lnTo>
                    <a:lnTo>
                      <a:pt x="2665" y="351"/>
                    </a:lnTo>
                    <a:cubicBezTo>
                      <a:pt x="2666" y="348"/>
                      <a:pt x="2668" y="346"/>
                      <a:pt x="2671" y="345"/>
                    </a:cubicBezTo>
                    <a:lnTo>
                      <a:pt x="2721" y="332"/>
                    </a:lnTo>
                    <a:lnTo>
                      <a:pt x="2715" y="342"/>
                    </a:lnTo>
                    <a:lnTo>
                      <a:pt x="2678" y="239"/>
                    </a:lnTo>
                    <a:cubicBezTo>
                      <a:pt x="2677" y="236"/>
                      <a:pt x="2677" y="233"/>
                      <a:pt x="2679" y="231"/>
                    </a:cubicBezTo>
                    <a:cubicBezTo>
                      <a:pt x="2681" y="229"/>
                      <a:pt x="2683" y="228"/>
                      <a:pt x="2686" y="228"/>
                    </a:cubicBezTo>
                    <a:lnTo>
                      <a:pt x="2823" y="236"/>
                    </a:lnTo>
                    <a:cubicBezTo>
                      <a:pt x="2825" y="237"/>
                      <a:pt x="2827" y="237"/>
                      <a:pt x="2829" y="239"/>
                    </a:cubicBezTo>
                    <a:lnTo>
                      <a:pt x="2886" y="301"/>
                    </a:lnTo>
                    <a:cubicBezTo>
                      <a:pt x="2888" y="304"/>
                      <a:pt x="2889" y="308"/>
                      <a:pt x="2886" y="311"/>
                    </a:cubicBezTo>
                    <a:lnTo>
                      <a:pt x="2864" y="341"/>
                    </a:lnTo>
                    <a:lnTo>
                      <a:pt x="2862" y="330"/>
                    </a:lnTo>
                    <a:lnTo>
                      <a:pt x="2888" y="346"/>
                    </a:lnTo>
                    <a:cubicBezTo>
                      <a:pt x="2891" y="348"/>
                      <a:pt x="2892" y="351"/>
                      <a:pt x="2892" y="354"/>
                    </a:cubicBezTo>
                    <a:cubicBezTo>
                      <a:pt x="2891" y="357"/>
                      <a:pt x="2889" y="360"/>
                      <a:pt x="2886" y="361"/>
                    </a:cubicBezTo>
                    <a:lnTo>
                      <a:pt x="2827" y="379"/>
                    </a:lnTo>
                    <a:lnTo>
                      <a:pt x="2832" y="369"/>
                    </a:lnTo>
                    <a:lnTo>
                      <a:pt x="2886" y="504"/>
                    </a:lnTo>
                    <a:cubicBezTo>
                      <a:pt x="2887" y="507"/>
                      <a:pt x="2886" y="511"/>
                      <a:pt x="2883" y="513"/>
                    </a:cubicBezTo>
                    <a:lnTo>
                      <a:pt x="2793" y="584"/>
                    </a:lnTo>
                    <a:cubicBezTo>
                      <a:pt x="2790" y="586"/>
                      <a:pt x="2785" y="586"/>
                      <a:pt x="2783" y="583"/>
                    </a:cubicBezTo>
                    <a:lnTo>
                      <a:pt x="2751" y="551"/>
                    </a:lnTo>
                    <a:lnTo>
                      <a:pt x="2764" y="543"/>
                    </a:lnTo>
                    <a:lnTo>
                      <a:pt x="2779" y="590"/>
                    </a:lnTo>
                    <a:cubicBezTo>
                      <a:pt x="2780" y="593"/>
                      <a:pt x="2779" y="596"/>
                      <a:pt x="2777" y="598"/>
                    </a:cubicBezTo>
                    <a:cubicBezTo>
                      <a:pt x="2775" y="600"/>
                      <a:pt x="2772" y="601"/>
                      <a:pt x="2770" y="600"/>
                    </a:cubicBezTo>
                    <a:lnTo>
                      <a:pt x="2631" y="567"/>
                    </a:lnTo>
                    <a:lnTo>
                      <a:pt x="2640" y="555"/>
                    </a:lnTo>
                    <a:lnTo>
                      <a:pt x="2666" y="600"/>
                    </a:lnTo>
                    <a:cubicBezTo>
                      <a:pt x="2668" y="603"/>
                      <a:pt x="2667" y="607"/>
                      <a:pt x="2665" y="609"/>
                    </a:cubicBezTo>
                    <a:lnTo>
                      <a:pt x="2610" y="675"/>
                    </a:lnTo>
                    <a:cubicBezTo>
                      <a:pt x="2608" y="677"/>
                      <a:pt x="2604" y="678"/>
                      <a:pt x="2601" y="677"/>
                    </a:cubicBezTo>
                    <a:lnTo>
                      <a:pt x="2459" y="627"/>
                    </a:lnTo>
                    <a:lnTo>
                      <a:pt x="2468" y="614"/>
                    </a:lnTo>
                    <a:lnTo>
                      <a:pt x="2521" y="669"/>
                    </a:lnTo>
                    <a:lnTo>
                      <a:pt x="2516" y="666"/>
                    </a:lnTo>
                    <a:lnTo>
                      <a:pt x="2617" y="678"/>
                    </a:lnTo>
                    <a:cubicBezTo>
                      <a:pt x="2620" y="678"/>
                      <a:pt x="2622" y="680"/>
                      <a:pt x="2623" y="683"/>
                    </a:cubicBezTo>
                    <a:cubicBezTo>
                      <a:pt x="2625" y="685"/>
                      <a:pt x="2624" y="688"/>
                      <a:pt x="2623" y="690"/>
                    </a:cubicBezTo>
                    <a:lnTo>
                      <a:pt x="2552" y="799"/>
                    </a:lnTo>
                    <a:cubicBezTo>
                      <a:pt x="2550" y="802"/>
                      <a:pt x="2548" y="803"/>
                      <a:pt x="2545" y="803"/>
                    </a:cubicBezTo>
                    <a:lnTo>
                      <a:pt x="2471" y="796"/>
                    </a:lnTo>
                    <a:lnTo>
                      <a:pt x="2479" y="792"/>
                    </a:lnTo>
                    <a:lnTo>
                      <a:pt x="2443" y="852"/>
                    </a:lnTo>
                    <a:cubicBezTo>
                      <a:pt x="2441" y="856"/>
                      <a:pt x="2436" y="857"/>
                      <a:pt x="2433" y="856"/>
                    </a:cubicBezTo>
                    <a:lnTo>
                      <a:pt x="2300" y="804"/>
                    </a:lnTo>
                    <a:lnTo>
                      <a:pt x="2306" y="789"/>
                    </a:lnTo>
                    <a:lnTo>
                      <a:pt x="2429" y="841"/>
                    </a:lnTo>
                    <a:cubicBezTo>
                      <a:pt x="2431" y="842"/>
                      <a:pt x="2433" y="844"/>
                      <a:pt x="2434" y="846"/>
                    </a:cubicBezTo>
                    <a:lnTo>
                      <a:pt x="2446" y="891"/>
                    </a:lnTo>
                    <a:cubicBezTo>
                      <a:pt x="2447" y="893"/>
                      <a:pt x="2446" y="896"/>
                      <a:pt x="2445" y="898"/>
                    </a:cubicBezTo>
                    <a:cubicBezTo>
                      <a:pt x="2444" y="900"/>
                      <a:pt x="2442" y="901"/>
                      <a:pt x="2440" y="901"/>
                    </a:cubicBezTo>
                    <a:lnTo>
                      <a:pt x="2351" y="921"/>
                    </a:lnTo>
                    <a:lnTo>
                      <a:pt x="2354" y="907"/>
                    </a:lnTo>
                    <a:lnTo>
                      <a:pt x="2372" y="917"/>
                    </a:lnTo>
                    <a:cubicBezTo>
                      <a:pt x="2375" y="918"/>
                      <a:pt x="2376" y="922"/>
                      <a:pt x="2376" y="925"/>
                    </a:cubicBezTo>
                    <a:cubicBezTo>
                      <a:pt x="2375" y="929"/>
                      <a:pt x="2372" y="931"/>
                      <a:pt x="2369" y="932"/>
                    </a:cubicBezTo>
                    <a:lnTo>
                      <a:pt x="2344" y="935"/>
                    </a:lnTo>
                    <a:lnTo>
                      <a:pt x="2351" y="927"/>
                    </a:lnTo>
                    <a:lnTo>
                      <a:pt x="2351" y="972"/>
                    </a:lnTo>
                    <a:cubicBezTo>
                      <a:pt x="2351" y="975"/>
                      <a:pt x="2349" y="977"/>
                      <a:pt x="2347" y="979"/>
                    </a:cubicBezTo>
                    <a:lnTo>
                      <a:pt x="2248" y="1041"/>
                    </a:lnTo>
                    <a:lnTo>
                      <a:pt x="2252" y="1035"/>
                    </a:lnTo>
                    <a:lnTo>
                      <a:pt x="2231" y="1237"/>
                    </a:lnTo>
                    <a:lnTo>
                      <a:pt x="2230" y="1231"/>
                    </a:lnTo>
                    <a:lnTo>
                      <a:pt x="2267" y="1278"/>
                    </a:lnTo>
                    <a:lnTo>
                      <a:pt x="2257" y="1276"/>
                    </a:lnTo>
                    <a:lnTo>
                      <a:pt x="2310" y="1249"/>
                    </a:lnTo>
                    <a:cubicBezTo>
                      <a:pt x="2312" y="1248"/>
                      <a:pt x="2315" y="1248"/>
                      <a:pt x="2317" y="1249"/>
                    </a:cubicBezTo>
                    <a:cubicBezTo>
                      <a:pt x="2320" y="1251"/>
                      <a:pt x="2321" y="1253"/>
                      <a:pt x="2321" y="1255"/>
                    </a:cubicBezTo>
                    <a:lnTo>
                      <a:pt x="2345" y="1411"/>
                    </a:lnTo>
                    <a:lnTo>
                      <a:pt x="2334" y="1405"/>
                    </a:lnTo>
                    <a:lnTo>
                      <a:pt x="2411" y="1375"/>
                    </a:lnTo>
                    <a:cubicBezTo>
                      <a:pt x="2413" y="1374"/>
                      <a:pt x="2415" y="1374"/>
                      <a:pt x="2417" y="1375"/>
                    </a:cubicBezTo>
                    <a:lnTo>
                      <a:pt x="2507" y="1418"/>
                    </a:lnTo>
                    <a:lnTo>
                      <a:pt x="2691" y="1531"/>
                    </a:lnTo>
                    <a:cubicBezTo>
                      <a:pt x="2694" y="1533"/>
                      <a:pt x="2696" y="1537"/>
                      <a:pt x="2695" y="1540"/>
                    </a:cubicBezTo>
                    <a:lnTo>
                      <a:pt x="2681" y="1585"/>
                    </a:lnTo>
                    <a:lnTo>
                      <a:pt x="2666" y="1579"/>
                    </a:lnTo>
                    <a:lnTo>
                      <a:pt x="2687" y="1544"/>
                    </a:lnTo>
                    <a:cubicBezTo>
                      <a:pt x="2688" y="1541"/>
                      <a:pt x="2691" y="1539"/>
                      <a:pt x="2694" y="1540"/>
                    </a:cubicBezTo>
                    <a:lnTo>
                      <a:pt x="2833" y="1550"/>
                    </a:lnTo>
                    <a:cubicBezTo>
                      <a:pt x="2837" y="1550"/>
                      <a:pt x="2841" y="1554"/>
                      <a:pt x="2841" y="1558"/>
                    </a:cubicBezTo>
                    <a:lnTo>
                      <a:pt x="2841" y="1728"/>
                    </a:lnTo>
                    <a:lnTo>
                      <a:pt x="2839" y="1724"/>
                    </a:lnTo>
                    <a:lnTo>
                      <a:pt x="2882" y="1780"/>
                    </a:lnTo>
                    <a:cubicBezTo>
                      <a:pt x="2884" y="1782"/>
                      <a:pt x="2884" y="1785"/>
                      <a:pt x="2883" y="1787"/>
                    </a:cubicBezTo>
                    <a:cubicBezTo>
                      <a:pt x="2883" y="1790"/>
                      <a:pt x="2881" y="1792"/>
                      <a:pt x="2878" y="1793"/>
                    </a:cubicBezTo>
                    <a:lnTo>
                      <a:pt x="2848" y="1804"/>
                    </a:lnTo>
                    <a:lnTo>
                      <a:pt x="2848" y="1790"/>
                    </a:lnTo>
                    <a:lnTo>
                      <a:pt x="2918" y="1821"/>
                    </a:lnTo>
                    <a:cubicBezTo>
                      <a:pt x="2922" y="1823"/>
                      <a:pt x="2924" y="1828"/>
                      <a:pt x="2922" y="1832"/>
                    </a:cubicBezTo>
                    <a:lnTo>
                      <a:pt x="2901" y="1884"/>
                    </a:lnTo>
                    <a:lnTo>
                      <a:pt x="2893" y="1873"/>
                    </a:lnTo>
                    <a:lnTo>
                      <a:pt x="2960" y="1871"/>
                    </a:lnTo>
                    <a:lnTo>
                      <a:pt x="2955" y="1873"/>
                    </a:lnTo>
                    <a:lnTo>
                      <a:pt x="3045" y="1781"/>
                    </a:lnTo>
                    <a:lnTo>
                      <a:pt x="3047" y="1794"/>
                    </a:lnTo>
                    <a:lnTo>
                      <a:pt x="3008" y="1774"/>
                    </a:lnTo>
                    <a:cubicBezTo>
                      <a:pt x="3006" y="1773"/>
                      <a:pt x="3005" y="1771"/>
                      <a:pt x="3004" y="1769"/>
                    </a:cubicBezTo>
                    <a:lnTo>
                      <a:pt x="2953" y="1607"/>
                    </a:lnTo>
                    <a:cubicBezTo>
                      <a:pt x="2952" y="1604"/>
                      <a:pt x="2953" y="1600"/>
                      <a:pt x="2955" y="1598"/>
                    </a:cubicBezTo>
                    <a:lnTo>
                      <a:pt x="3126" y="1458"/>
                    </a:lnTo>
                    <a:lnTo>
                      <a:pt x="3131" y="1472"/>
                    </a:lnTo>
                    <a:lnTo>
                      <a:pt x="3106" y="1472"/>
                    </a:lnTo>
                    <a:cubicBezTo>
                      <a:pt x="3102" y="1472"/>
                      <a:pt x="3099" y="1469"/>
                      <a:pt x="3098" y="1466"/>
                    </a:cubicBezTo>
                    <a:lnTo>
                      <a:pt x="3061" y="1300"/>
                    </a:lnTo>
                    <a:lnTo>
                      <a:pt x="3064" y="1305"/>
                    </a:lnTo>
                    <a:lnTo>
                      <a:pt x="3003" y="1263"/>
                    </a:lnTo>
                    <a:cubicBezTo>
                      <a:pt x="3001" y="1262"/>
                      <a:pt x="3000" y="1259"/>
                      <a:pt x="2999" y="1257"/>
                    </a:cubicBezTo>
                    <a:cubicBezTo>
                      <a:pt x="2999" y="1255"/>
                      <a:pt x="3000" y="1252"/>
                      <a:pt x="3002" y="1250"/>
                    </a:cubicBezTo>
                    <a:lnTo>
                      <a:pt x="3083" y="1182"/>
                    </a:lnTo>
                    <a:lnTo>
                      <a:pt x="3082" y="1193"/>
                    </a:lnTo>
                    <a:lnTo>
                      <a:pt x="3053" y="1156"/>
                    </a:lnTo>
                    <a:cubicBezTo>
                      <a:pt x="3051" y="1154"/>
                      <a:pt x="3050" y="1152"/>
                      <a:pt x="3051" y="1149"/>
                    </a:cubicBezTo>
                    <a:lnTo>
                      <a:pt x="3065" y="1089"/>
                    </a:lnTo>
                    <a:lnTo>
                      <a:pt x="3071" y="1099"/>
                    </a:lnTo>
                    <a:lnTo>
                      <a:pt x="3034" y="1089"/>
                    </a:lnTo>
                    <a:cubicBezTo>
                      <a:pt x="3032" y="1088"/>
                      <a:pt x="3030" y="1086"/>
                      <a:pt x="3029" y="1084"/>
                    </a:cubicBezTo>
                    <a:cubicBezTo>
                      <a:pt x="3028" y="1082"/>
                      <a:pt x="3028" y="1079"/>
                      <a:pt x="3030" y="1077"/>
                    </a:cubicBezTo>
                    <a:lnTo>
                      <a:pt x="3066" y="1015"/>
                    </a:lnTo>
                    <a:lnTo>
                      <a:pt x="3067" y="1025"/>
                    </a:lnTo>
                    <a:lnTo>
                      <a:pt x="3027" y="986"/>
                    </a:lnTo>
                    <a:cubicBezTo>
                      <a:pt x="3024" y="984"/>
                      <a:pt x="3024" y="980"/>
                      <a:pt x="3025" y="977"/>
                    </a:cubicBezTo>
                    <a:lnTo>
                      <a:pt x="3047" y="927"/>
                    </a:lnTo>
                    <a:cubicBezTo>
                      <a:pt x="3049" y="924"/>
                      <a:pt x="3053" y="922"/>
                      <a:pt x="3057" y="923"/>
                    </a:cubicBezTo>
                    <a:lnTo>
                      <a:pt x="3187" y="956"/>
                    </a:lnTo>
                    <a:lnTo>
                      <a:pt x="3182" y="957"/>
                    </a:lnTo>
                    <a:lnTo>
                      <a:pt x="3240" y="928"/>
                    </a:lnTo>
                    <a:cubicBezTo>
                      <a:pt x="3243" y="927"/>
                      <a:pt x="3246" y="927"/>
                      <a:pt x="3248" y="929"/>
                    </a:cubicBezTo>
                    <a:lnTo>
                      <a:pt x="3359" y="1013"/>
                    </a:lnTo>
                    <a:cubicBezTo>
                      <a:pt x="3361" y="1014"/>
                      <a:pt x="3362" y="1016"/>
                      <a:pt x="3362" y="1019"/>
                    </a:cubicBezTo>
                    <a:lnTo>
                      <a:pt x="3362" y="1056"/>
                    </a:lnTo>
                    <a:lnTo>
                      <a:pt x="3355" y="1048"/>
                    </a:lnTo>
                    <a:lnTo>
                      <a:pt x="3449" y="1055"/>
                    </a:lnTo>
                    <a:cubicBezTo>
                      <a:pt x="3453" y="1055"/>
                      <a:pt x="3456" y="1058"/>
                      <a:pt x="3457" y="1062"/>
                    </a:cubicBezTo>
                    <a:lnTo>
                      <a:pt x="3465" y="1145"/>
                    </a:lnTo>
                    <a:cubicBezTo>
                      <a:pt x="3465" y="1148"/>
                      <a:pt x="3465" y="1150"/>
                      <a:pt x="3463" y="1151"/>
                    </a:cubicBezTo>
                    <a:cubicBezTo>
                      <a:pt x="3462" y="1153"/>
                      <a:pt x="3460" y="1154"/>
                      <a:pt x="3457" y="1154"/>
                    </a:cubicBezTo>
                    <a:lnTo>
                      <a:pt x="3373" y="1157"/>
                    </a:lnTo>
                    <a:lnTo>
                      <a:pt x="3374" y="1142"/>
                    </a:lnTo>
                    <a:lnTo>
                      <a:pt x="3447" y="1155"/>
                    </a:lnTo>
                    <a:cubicBezTo>
                      <a:pt x="3450" y="1155"/>
                      <a:pt x="3452" y="1157"/>
                      <a:pt x="3453" y="1160"/>
                    </a:cubicBezTo>
                    <a:lnTo>
                      <a:pt x="3477" y="1211"/>
                    </a:lnTo>
                    <a:cubicBezTo>
                      <a:pt x="3478" y="1215"/>
                      <a:pt x="3478" y="1218"/>
                      <a:pt x="3475" y="1221"/>
                    </a:cubicBezTo>
                    <a:lnTo>
                      <a:pt x="3396" y="1291"/>
                    </a:lnTo>
                    <a:lnTo>
                      <a:pt x="3388" y="1277"/>
                    </a:lnTo>
                    <a:lnTo>
                      <a:pt x="3502" y="1241"/>
                    </a:lnTo>
                    <a:cubicBezTo>
                      <a:pt x="3504" y="1240"/>
                      <a:pt x="3507" y="1240"/>
                      <a:pt x="3509" y="1242"/>
                    </a:cubicBezTo>
                    <a:cubicBezTo>
                      <a:pt x="3511" y="1243"/>
                      <a:pt x="3512" y="1245"/>
                      <a:pt x="3512" y="1248"/>
                    </a:cubicBezTo>
                    <a:lnTo>
                      <a:pt x="3518" y="1311"/>
                    </a:lnTo>
                    <a:cubicBezTo>
                      <a:pt x="3518" y="1314"/>
                      <a:pt x="3516" y="1317"/>
                      <a:pt x="3514" y="1319"/>
                    </a:cubicBezTo>
                    <a:lnTo>
                      <a:pt x="3465" y="1346"/>
                    </a:lnTo>
                    <a:cubicBezTo>
                      <a:pt x="3462" y="1348"/>
                      <a:pt x="3457" y="1347"/>
                      <a:pt x="3455" y="1343"/>
                    </a:cubicBezTo>
                    <a:cubicBezTo>
                      <a:pt x="3452" y="1340"/>
                      <a:pt x="3453" y="1335"/>
                      <a:pt x="3456" y="1333"/>
                    </a:cubicBezTo>
                    <a:lnTo>
                      <a:pt x="3525" y="1267"/>
                    </a:lnTo>
                    <a:cubicBezTo>
                      <a:pt x="3527" y="1265"/>
                      <a:pt x="3530" y="1265"/>
                      <a:pt x="3533" y="1266"/>
                    </a:cubicBezTo>
                    <a:cubicBezTo>
                      <a:pt x="3536" y="1267"/>
                      <a:pt x="3538" y="1269"/>
                      <a:pt x="3539" y="1272"/>
                    </a:cubicBezTo>
                    <a:lnTo>
                      <a:pt x="3547" y="1314"/>
                    </a:lnTo>
                    <a:lnTo>
                      <a:pt x="3533" y="1309"/>
                    </a:lnTo>
                    <a:lnTo>
                      <a:pt x="3597" y="1246"/>
                    </a:lnTo>
                    <a:cubicBezTo>
                      <a:pt x="3599" y="1244"/>
                      <a:pt x="3602" y="1243"/>
                      <a:pt x="3605" y="1244"/>
                    </a:cubicBezTo>
                    <a:cubicBezTo>
                      <a:pt x="3607" y="1244"/>
                      <a:pt x="3609" y="1246"/>
                      <a:pt x="3610" y="1249"/>
                    </a:cubicBezTo>
                    <a:lnTo>
                      <a:pt x="3623" y="1282"/>
                    </a:lnTo>
                    <a:lnTo>
                      <a:pt x="3608" y="1281"/>
                    </a:lnTo>
                    <a:lnTo>
                      <a:pt x="3654" y="1194"/>
                    </a:lnTo>
                    <a:lnTo>
                      <a:pt x="3655" y="1203"/>
                    </a:lnTo>
                    <a:lnTo>
                      <a:pt x="3640" y="1185"/>
                    </a:lnTo>
                    <a:cubicBezTo>
                      <a:pt x="3637" y="1181"/>
                      <a:pt x="3637" y="1177"/>
                      <a:pt x="3640" y="1174"/>
                    </a:cubicBezTo>
                    <a:lnTo>
                      <a:pt x="3692" y="1125"/>
                    </a:lnTo>
                    <a:cubicBezTo>
                      <a:pt x="3693" y="1124"/>
                      <a:pt x="3696" y="1123"/>
                      <a:pt x="3698" y="1123"/>
                    </a:cubicBezTo>
                    <a:cubicBezTo>
                      <a:pt x="3701" y="1123"/>
                      <a:pt x="3703" y="1125"/>
                      <a:pt x="3704" y="1127"/>
                    </a:cubicBezTo>
                    <a:lnTo>
                      <a:pt x="3761" y="1219"/>
                    </a:lnTo>
                    <a:cubicBezTo>
                      <a:pt x="3762" y="1221"/>
                      <a:pt x="3762" y="1223"/>
                      <a:pt x="3762" y="1225"/>
                    </a:cubicBezTo>
                    <a:cubicBezTo>
                      <a:pt x="3761" y="1228"/>
                      <a:pt x="3759" y="1229"/>
                      <a:pt x="3757" y="1230"/>
                    </a:cubicBezTo>
                    <a:lnTo>
                      <a:pt x="3709" y="1252"/>
                    </a:lnTo>
                    <a:lnTo>
                      <a:pt x="3704" y="1237"/>
                    </a:lnTo>
                    <a:lnTo>
                      <a:pt x="3757" y="1225"/>
                    </a:lnTo>
                    <a:cubicBezTo>
                      <a:pt x="3760" y="1225"/>
                      <a:pt x="3764" y="1226"/>
                      <a:pt x="3765" y="1230"/>
                    </a:cubicBezTo>
                    <a:lnTo>
                      <a:pt x="3785" y="1268"/>
                    </a:lnTo>
                    <a:cubicBezTo>
                      <a:pt x="3786" y="1270"/>
                      <a:pt x="3786" y="1273"/>
                      <a:pt x="3785" y="1275"/>
                    </a:cubicBezTo>
                    <a:cubicBezTo>
                      <a:pt x="3784" y="1277"/>
                      <a:pt x="3782" y="1278"/>
                      <a:pt x="3780" y="1279"/>
                    </a:cubicBezTo>
                    <a:lnTo>
                      <a:pt x="3746" y="1291"/>
                    </a:lnTo>
                    <a:lnTo>
                      <a:pt x="3744" y="1275"/>
                    </a:lnTo>
                    <a:lnTo>
                      <a:pt x="3791" y="1282"/>
                    </a:lnTo>
                    <a:cubicBezTo>
                      <a:pt x="3794" y="1283"/>
                      <a:pt x="3797" y="1285"/>
                      <a:pt x="3798" y="1288"/>
                    </a:cubicBezTo>
                    <a:cubicBezTo>
                      <a:pt x="3799" y="1291"/>
                      <a:pt x="3798" y="1294"/>
                      <a:pt x="3796" y="1296"/>
                    </a:cubicBezTo>
                    <a:lnTo>
                      <a:pt x="3764" y="1324"/>
                    </a:lnTo>
                    <a:lnTo>
                      <a:pt x="3757" y="1311"/>
                    </a:lnTo>
                    <a:lnTo>
                      <a:pt x="3790" y="1304"/>
                    </a:lnTo>
                    <a:cubicBezTo>
                      <a:pt x="3793" y="1303"/>
                      <a:pt x="3797" y="1305"/>
                      <a:pt x="3798" y="1308"/>
                    </a:cubicBezTo>
                    <a:lnTo>
                      <a:pt x="3823" y="1350"/>
                    </a:lnTo>
                    <a:cubicBezTo>
                      <a:pt x="3825" y="1353"/>
                      <a:pt x="3825" y="1356"/>
                      <a:pt x="3822" y="1359"/>
                    </a:cubicBezTo>
                    <a:lnTo>
                      <a:pt x="3806" y="1377"/>
                    </a:lnTo>
                    <a:lnTo>
                      <a:pt x="3804" y="1365"/>
                    </a:lnTo>
                    <a:lnTo>
                      <a:pt x="3852" y="1397"/>
                    </a:lnTo>
                    <a:cubicBezTo>
                      <a:pt x="3854" y="1399"/>
                      <a:pt x="3855" y="1402"/>
                      <a:pt x="3855" y="1404"/>
                    </a:cubicBezTo>
                    <a:cubicBezTo>
                      <a:pt x="3855" y="1407"/>
                      <a:pt x="3853" y="1410"/>
                      <a:pt x="3851" y="1411"/>
                    </a:cubicBezTo>
                    <a:lnTo>
                      <a:pt x="3777" y="1446"/>
                    </a:lnTo>
                    <a:lnTo>
                      <a:pt x="3774" y="1431"/>
                    </a:lnTo>
                    <a:lnTo>
                      <a:pt x="3828" y="1431"/>
                    </a:lnTo>
                    <a:cubicBezTo>
                      <a:pt x="3830" y="1431"/>
                      <a:pt x="3833" y="1432"/>
                      <a:pt x="3834" y="1434"/>
                    </a:cubicBezTo>
                    <a:cubicBezTo>
                      <a:pt x="3836" y="1437"/>
                      <a:pt x="3836" y="1439"/>
                      <a:pt x="3835" y="1442"/>
                    </a:cubicBezTo>
                    <a:lnTo>
                      <a:pt x="3823" y="1475"/>
                    </a:lnTo>
                    <a:lnTo>
                      <a:pt x="3818" y="1465"/>
                    </a:lnTo>
                    <a:lnTo>
                      <a:pt x="3900" y="1495"/>
                    </a:lnTo>
                    <a:cubicBezTo>
                      <a:pt x="3902" y="1496"/>
                      <a:pt x="3904" y="1497"/>
                      <a:pt x="3904" y="1500"/>
                    </a:cubicBezTo>
                    <a:lnTo>
                      <a:pt x="3935" y="1578"/>
                    </a:lnTo>
                    <a:lnTo>
                      <a:pt x="3922" y="1576"/>
                    </a:lnTo>
                    <a:lnTo>
                      <a:pt x="3951" y="1545"/>
                    </a:lnTo>
                    <a:cubicBezTo>
                      <a:pt x="3954" y="1543"/>
                      <a:pt x="3958" y="1542"/>
                      <a:pt x="3961" y="1544"/>
                    </a:cubicBezTo>
                    <a:lnTo>
                      <a:pt x="4042" y="1596"/>
                    </a:lnTo>
                    <a:cubicBezTo>
                      <a:pt x="4044" y="1598"/>
                      <a:pt x="4045" y="1601"/>
                      <a:pt x="4045" y="1604"/>
                    </a:cubicBezTo>
                    <a:cubicBezTo>
                      <a:pt x="4045" y="1607"/>
                      <a:pt x="4043" y="1609"/>
                      <a:pt x="4040" y="1610"/>
                    </a:cubicBezTo>
                    <a:lnTo>
                      <a:pt x="3864" y="1677"/>
                    </a:lnTo>
                    <a:lnTo>
                      <a:pt x="3867" y="1664"/>
                    </a:lnTo>
                    <a:lnTo>
                      <a:pt x="3903" y="1699"/>
                    </a:lnTo>
                    <a:lnTo>
                      <a:pt x="3894" y="1698"/>
                    </a:lnTo>
                    <a:lnTo>
                      <a:pt x="4043" y="1624"/>
                    </a:lnTo>
                    <a:cubicBezTo>
                      <a:pt x="4046" y="1623"/>
                      <a:pt x="4049" y="1623"/>
                      <a:pt x="4051" y="1625"/>
                    </a:cubicBezTo>
                    <a:cubicBezTo>
                      <a:pt x="4053" y="1626"/>
                      <a:pt x="4055" y="1629"/>
                      <a:pt x="4055" y="1631"/>
                    </a:cubicBezTo>
                    <a:lnTo>
                      <a:pt x="4055" y="1695"/>
                    </a:lnTo>
                    <a:lnTo>
                      <a:pt x="4046" y="1687"/>
                    </a:lnTo>
                    <a:lnTo>
                      <a:pt x="4114" y="1675"/>
                    </a:lnTo>
                    <a:cubicBezTo>
                      <a:pt x="4118" y="1675"/>
                      <a:pt x="4122" y="1677"/>
                      <a:pt x="4123" y="1682"/>
                    </a:cubicBezTo>
                    <a:lnTo>
                      <a:pt x="4128" y="1712"/>
                    </a:lnTo>
                    <a:cubicBezTo>
                      <a:pt x="4129" y="1714"/>
                      <a:pt x="4128" y="1717"/>
                      <a:pt x="4127" y="1718"/>
                    </a:cubicBezTo>
                    <a:cubicBezTo>
                      <a:pt x="4125" y="1720"/>
                      <a:pt x="4123" y="1721"/>
                      <a:pt x="4120" y="1721"/>
                    </a:cubicBezTo>
                    <a:lnTo>
                      <a:pt x="4090" y="1721"/>
                    </a:lnTo>
                    <a:lnTo>
                      <a:pt x="4097" y="1710"/>
                    </a:lnTo>
                    <a:lnTo>
                      <a:pt x="4128" y="1786"/>
                    </a:lnTo>
                    <a:cubicBezTo>
                      <a:pt x="4129" y="1789"/>
                      <a:pt x="4128" y="1793"/>
                      <a:pt x="4125" y="1795"/>
                    </a:cubicBezTo>
                    <a:lnTo>
                      <a:pt x="3918" y="1946"/>
                    </a:lnTo>
                    <a:cubicBezTo>
                      <a:pt x="3917" y="1947"/>
                      <a:pt x="3915" y="1947"/>
                      <a:pt x="3914" y="1947"/>
                    </a:cubicBezTo>
                    <a:lnTo>
                      <a:pt x="3611" y="1947"/>
                    </a:lnTo>
                    <a:lnTo>
                      <a:pt x="3616" y="1945"/>
                    </a:lnTo>
                    <a:lnTo>
                      <a:pt x="3490" y="2047"/>
                    </a:lnTo>
                    <a:lnTo>
                      <a:pt x="3491" y="2046"/>
                    </a:lnTo>
                    <a:lnTo>
                      <a:pt x="3387" y="2196"/>
                    </a:lnTo>
                    <a:lnTo>
                      <a:pt x="3375" y="2186"/>
                    </a:lnTo>
                    <a:lnTo>
                      <a:pt x="3479" y="2073"/>
                    </a:lnTo>
                    <a:cubicBezTo>
                      <a:pt x="3480" y="2072"/>
                      <a:pt x="3481" y="2071"/>
                      <a:pt x="3482" y="2071"/>
                    </a:cubicBezTo>
                    <a:lnTo>
                      <a:pt x="3644" y="2002"/>
                    </a:lnTo>
                    <a:cubicBezTo>
                      <a:pt x="3647" y="2001"/>
                      <a:pt x="3650" y="2001"/>
                      <a:pt x="3653" y="2004"/>
                    </a:cubicBezTo>
                    <a:lnTo>
                      <a:pt x="3711" y="2057"/>
                    </a:lnTo>
                    <a:cubicBezTo>
                      <a:pt x="3713" y="2059"/>
                      <a:pt x="3714" y="2062"/>
                      <a:pt x="3713" y="2065"/>
                    </a:cubicBezTo>
                    <a:cubicBezTo>
                      <a:pt x="3713" y="2067"/>
                      <a:pt x="3711" y="2070"/>
                      <a:pt x="3708" y="2071"/>
                    </a:cubicBezTo>
                    <a:lnTo>
                      <a:pt x="3603" y="2109"/>
                    </a:lnTo>
                    <a:lnTo>
                      <a:pt x="3602" y="2094"/>
                    </a:lnTo>
                    <a:lnTo>
                      <a:pt x="3685" y="2117"/>
                    </a:lnTo>
                    <a:cubicBezTo>
                      <a:pt x="3688" y="2118"/>
                      <a:pt x="3690" y="2119"/>
                      <a:pt x="3691" y="2122"/>
                    </a:cubicBezTo>
                    <a:cubicBezTo>
                      <a:pt x="3692" y="2124"/>
                      <a:pt x="3692" y="2126"/>
                      <a:pt x="3691" y="2128"/>
                    </a:cubicBezTo>
                    <a:lnTo>
                      <a:pt x="3668" y="2174"/>
                    </a:lnTo>
                    <a:lnTo>
                      <a:pt x="3667" y="2165"/>
                    </a:lnTo>
                    <a:lnTo>
                      <a:pt x="3731" y="2249"/>
                    </a:lnTo>
                    <a:lnTo>
                      <a:pt x="3727" y="2246"/>
                    </a:lnTo>
                    <a:lnTo>
                      <a:pt x="3853" y="2276"/>
                    </a:lnTo>
                    <a:lnTo>
                      <a:pt x="3844" y="2281"/>
                    </a:lnTo>
                    <a:lnTo>
                      <a:pt x="3877" y="2178"/>
                    </a:lnTo>
                    <a:cubicBezTo>
                      <a:pt x="3878" y="2174"/>
                      <a:pt x="3882" y="2172"/>
                      <a:pt x="3886" y="2172"/>
                    </a:cubicBezTo>
                    <a:cubicBezTo>
                      <a:pt x="3890" y="2173"/>
                      <a:pt x="3893" y="2176"/>
                      <a:pt x="3893" y="2180"/>
                    </a:cubicBezTo>
                    <a:lnTo>
                      <a:pt x="3893" y="2244"/>
                    </a:lnTo>
                    <a:lnTo>
                      <a:pt x="3883" y="2236"/>
                    </a:lnTo>
                    <a:lnTo>
                      <a:pt x="3918" y="2229"/>
                    </a:lnTo>
                    <a:cubicBezTo>
                      <a:pt x="3921" y="2228"/>
                      <a:pt x="3925" y="2230"/>
                      <a:pt x="3926" y="2233"/>
                    </a:cubicBezTo>
                    <a:cubicBezTo>
                      <a:pt x="3928" y="2236"/>
                      <a:pt x="3928" y="2240"/>
                      <a:pt x="3925" y="2242"/>
                    </a:cubicBezTo>
                    <a:lnTo>
                      <a:pt x="3866" y="2309"/>
                    </a:lnTo>
                    <a:cubicBezTo>
                      <a:pt x="3865" y="2310"/>
                      <a:pt x="3863" y="2311"/>
                      <a:pt x="3862" y="2312"/>
                    </a:cubicBezTo>
                    <a:lnTo>
                      <a:pt x="3712" y="2357"/>
                    </a:lnTo>
                    <a:lnTo>
                      <a:pt x="3716" y="2353"/>
                    </a:lnTo>
                    <a:lnTo>
                      <a:pt x="3665" y="2432"/>
                    </a:lnTo>
                    <a:cubicBezTo>
                      <a:pt x="3664" y="2434"/>
                      <a:pt x="3661" y="2436"/>
                      <a:pt x="3658" y="2436"/>
                    </a:cubicBezTo>
                    <a:cubicBezTo>
                      <a:pt x="3655" y="2436"/>
                      <a:pt x="3653" y="2434"/>
                      <a:pt x="3652" y="2432"/>
                    </a:cubicBezTo>
                    <a:lnTo>
                      <a:pt x="3608" y="2362"/>
                    </a:lnTo>
                    <a:cubicBezTo>
                      <a:pt x="3607" y="2360"/>
                      <a:pt x="3607" y="2357"/>
                      <a:pt x="3608" y="2355"/>
                    </a:cubicBezTo>
                    <a:cubicBezTo>
                      <a:pt x="3608" y="2353"/>
                      <a:pt x="3610" y="2351"/>
                      <a:pt x="3612" y="2350"/>
                    </a:cubicBezTo>
                    <a:lnTo>
                      <a:pt x="3752" y="2290"/>
                    </a:lnTo>
                    <a:lnTo>
                      <a:pt x="3756" y="2305"/>
                    </a:lnTo>
                    <a:lnTo>
                      <a:pt x="3684" y="2307"/>
                    </a:lnTo>
                    <a:cubicBezTo>
                      <a:pt x="3681" y="2307"/>
                      <a:pt x="3678" y="2306"/>
                      <a:pt x="3677" y="2304"/>
                    </a:cubicBezTo>
                    <a:cubicBezTo>
                      <a:pt x="3675" y="2302"/>
                      <a:pt x="3675" y="2299"/>
                      <a:pt x="3676" y="2297"/>
                    </a:cubicBezTo>
                    <a:lnTo>
                      <a:pt x="3690" y="2251"/>
                    </a:lnTo>
                    <a:lnTo>
                      <a:pt x="3700" y="2261"/>
                    </a:lnTo>
                    <a:lnTo>
                      <a:pt x="3578" y="2315"/>
                    </a:lnTo>
                    <a:cubicBezTo>
                      <a:pt x="3575" y="2316"/>
                      <a:pt x="3572" y="2315"/>
                      <a:pt x="3569" y="2313"/>
                    </a:cubicBezTo>
                    <a:lnTo>
                      <a:pt x="3533" y="2278"/>
                    </a:lnTo>
                    <a:cubicBezTo>
                      <a:pt x="3532" y="2276"/>
                      <a:pt x="3531" y="2274"/>
                      <a:pt x="3531" y="2272"/>
                    </a:cubicBezTo>
                    <a:lnTo>
                      <a:pt x="3531" y="2180"/>
                    </a:lnTo>
                    <a:lnTo>
                      <a:pt x="3536" y="2188"/>
                    </a:lnTo>
                    <a:lnTo>
                      <a:pt x="3456" y="2157"/>
                    </a:lnTo>
                    <a:lnTo>
                      <a:pt x="3466" y="2153"/>
                    </a:lnTo>
                    <a:lnTo>
                      <a:pt x="3408" y="2303"/>
                    </a:lnTo>
                    <a:cubicBezTo>
                      <a:pt x="3407" y="2306"/>
                      <a:pt x="3405" y="2308"/>
                      <a:pt x="3402" y="2308"/>
                    </a:cubicBezTo>
                    <a:lnTo>
                      <a:pt x="3155" y="2365"/>
                    </a:lnTo>
                    <a:lnTo>
                      <a:pt x="2988" y="2425"/>
                    </a:lnTo>
                    <a:lnTo>
                      <a:pt x="2991" y="2423"/>
                    </a:lnTo>
                    <a:lnTo>
                      <a:pt x="2962" y="2452"/>
                    </a:lnTo>
                    <a:lnTo>
                      <a:pt x="2957" y="2438"/>
                    </a:lnTo>
                    <a:lnTo>
                      <a:pt x="2998" y="2445"/>
                    </a:lnTo>
                    <a:cubicBezTo>
                      <a:pt x="3000" y="2445"/>
                      <a:pt x="3003" y="2447"/>
                      <a:pt x="3004" y="2450"/>
                    </a:cubicBezTo>
                    <a:lnTo>
                      <a:pt x="3012" y="2472"/>
                    </a:lnTo>
                    <a:cubicBezTo>
                      <a:pt x="3013" y="2474"/>
                      <a:pt x="3013" y="2476"/>
                      <a:pt x="3012" y="2478"/>
                    </a:cubicBezTo>
                    <a:cubicBezTo>
                      <a:pt x="3011" y="2480"/>
                      <a:pt x="3009" y="2482"/>
                      <a:pt x="3007" y="2482"/>
                    </a:cubicBezTo>
                    <a:lnTo>
                      <a:pt x="2802" y="2544"/>
                    </a:lnTo>
                    <a:cubicBezTo>
                      <a:pt x="2799" y="2545"/>
                      <a:pt x="2795" y="2544"/>
                      <a:pt x="2793" y="2542"/>
                    </a:cubicBezTo>
                    <a:cubicBezTo>
                      <a:pt x="2791" y="2540"/>
                      <a:pt x="2791" y="2536"/>
                      <a:pt x="2792" y="2534"/>
                    </a:cubicBezTo>
                    <a:lnTo>
                      <a:pt x="2803" y="2505"/>
                    </a:lnTo>
                    <a:cubicBezTo>
                      <a:pt x="2803" y="2504"/>
                      <a:pt x="2804" y="2504"/>
                      <a:pt x="2804" y="2503"/>
                    </a:cubicBezTo>
                    <a:lnTo>
                      <a:pt x="2818" y="2485"/>
                    </a:lnTo>
                    <a:lnTo>
                      <a:pt x="2816" y="2488"/>
                    </a:lnTo>
                    <a:lnTo>
                      <a:pt x="2823" y="2458"/>
                    </a:lnTo>
                    <a:cubicBezTo>
                      <a:pt x="2824" y="2456"/>
                      <a:pt x="2825" y="2454"/>
                      <a:pt x="2827" y="2453"/>
                    </a:cubicBezTo>
                    <a:lnTo>
                      <a:pt x="2857" y="2431"/>
                    </a:lnTo>
                    <a:lnTo>
                      <a:pt x="2854" y="2437"/>
                    </a:lnTo>
                    <a:lnTo>
                      <a:pt x="2861" y="2303"/>
                    </a:lnTo>
                    <a:cubicBezTo>
                      <a:pt x="2861" y="2300"/>
                      <a:pt x="2863" y="2297"/>
                      <a:pt x="2866" y="2296"/>
                    </a:cubicBezTo>
                    <a:cubicBezTo>
                      <a:pt x="2870" y="2295"/>
                      <a:pt x="2873" y="2296"/>
                      <a:pt x="2875" y="2299"/>
                    </a:cubicBezTo>
                    <a:lnTo>
                      <a:pt x="2910" y="2344"/>
                    </a:lnTo>
                    <a:lnTo>
                      <a:pt x="2901" y="2341"/>
                    </a:lnTo>
                    <a:lnTo>
                      <a:pt x="2961" y="2326"/>
                    </a:lnTo>
                    <a:lnTo>
                      <a:pt x="2956" y="2338"/>
                    </a:lnTo>
                    <a:lnTo>
                      <a:pt x="2904" y="2258"/>
                    </a:lnTo>
                    <a:lnTo>
                      <a:pt x="2909" y="2262"/>
                    </a:lnTo>
                    <a:lnTo>
                      <a:pt x="2732" y="2223"/>
                    </a:lnTo>
                    <a:lnTo>
                      <a:pt x="2734" y="2223"/>
                    </a:lnTo>
                    <a:lnTo>
                      <a:pt x="2727" y="2223"/>
                    </a:lnTo>
                    <a:cubicBezTo>
                      <a:pt x="2723" y="2223"/>
                      <a:pt x="2720" y="2220"/>
                      <a:pt x="2719" y="2217"/>
                    </a:cubicBezTo>
                    <a:lnTo>
                      <a:pt x="2701" y="2109"/>
                    </a:lnTo>
                    <a:lnTo>
                      <a:pt x="2711" y="2116"/>
                    </a:lnTo>
                    <a:lnTo>
                      <a:pt x="2674" y="2123"/>
                    </a:lnTo>
                    <a:cubicBezTo>
                      <a:pt x="2671" y="2123"/>
                      <a:pt x="2667" y="2122"/>
                      <a:pt x="2666" y="2118"/>
                    </a:cubicBezTo>
                    <a:lnTo>
                      <a:pt x="2635" y="2056"/>
                    </a:lnTo>
                    <a:lnTo>
                      <a:pt x="2642" y="2061"/>
                    </a:lnTo>
                    <a:lnTo>
                      <a:pt x="2603" y="2058"/>
                    </a:lnTo>
                    <a:lnTo>
                      <a:pt x="2612" y="2050"/>
                    </a:lnTo>
                    <a:lnTo>
                      <a:pt x="2612" y="2086"/>
                    </a:lnTo>
                    <a:cubicBezTo>
                      <a:pt x="2612" y="2090"/>
                      <a:pt x="2610" y="2093"/>
                      <a:pt x="2606" y="2094"/>
                    </a:cubicBezTo>
                    <a:cubicBezTo>
                      <a:pt x="2603" y="2095"/>
                      <a:pt x="2600" y="2094"/>
                      <a:pt x="2597" y="2092"/>
                    </a:cubicBezTo>
                    <a:lnTo>
                      <a:pt x="2552" y="2036"/>
                    </a:lnTo>
                    <a:lnTo>
                      <a:pt x="2563" y="2037"/>
                    </a:lnTo>
                    <a:lnTo>
                      <a:pt x="2480" y="2114"/>
                    </a:lnTo>
                    <a:cubicBezTo>
                      <a:pt x="2478" y="2116"/>
                      <a:pt x="2475" y="2117"/>
                      <a:pt x="2473" y="2116"/>
                    </a:cubicBezTo>
                    <a:lnTo>
                      <a:pt x="2245" y="2061"/>
                    </a:lnTo>
                    <a:cubicBezTo>
                      <a:pt x="2243" y="2060"/>
                      <a:pt x="2241" y="2059"/>
                      <a:pt x="2240" y="2057"/>
                    </a:cubicBezTo>
                    <a:lnTo>
                      <a:pt x="2211" y="2003"/>
                    </a:lnTo>
                    <a:lnTo>
                      <a:pt x="2226" y="2000"/>
                    </a:lnTo>
                    <a:lnTo>
                      <a:pt x="2223" y="2035"/>
                    </a:lnTo>
                    <a:cubicBezTo>
                      <a:pt x="2223" y="2039"/>
                      <a:pt x="2219" y="2043"/>
                      <a:pt x="2215" y="2043"/>
                    </a:cubicBezTo>
                    <a:lnTo>
                      <a:pt x="890" y="2043"/>
                    </a:lnTo>
                    <a:cubicBezTo>
                      <a:pt x="886" y="2043"/>
                      <a:pt x="883" y="2040"/>
                      <a:pt x="882" y="2037"/>
                    </a:cubicBezTo>
                    <a:lnTo>
                      <a:pt x="861" y="1980"/>
                    </a:lnTo>
                    <a:lnTo>
                      <a:pt x="867" y="1985"/>
                    </a:lnTo>
                    <a:lnTo>
                      <a:pt x="796" y="1967"/>
                    </a:lnTo>
                    <a:cubicBezTo>
                      <a:pt x="792" y="1966"/>
                      <a:pt x="790" y="1963"/>
                      <a:pt x="790" y="1959"/>
                    </a:cubicBezTo>
                    <a:lnTo>
                      <a:pt x="793" y="1922"/>
                    </a:lnTo>
                    <a:lnTo>
                      <a:pt x="798" y="1930"/>
                    </a:lnTo>
                    <a:lnTo>
                      <a:pt x="651" y="1878"/>
                    </a:lnTo>
                    <a:cubicBezTo>
                      <a:pt x="649" y="1877"/>
                      <a:pt x="647" y="1876"/>
                      <a:pt x="646" y="1873"/>
                    </a:cubicBezTo>
                    <a:cubicBezTo>
                      <a:pt x="645" y="1871"/>
                      <a:pt x="646" y="1868"/>
                      <a:pt x="647" y="1866"/>
                    </a:cubicBezTo>
                    <a:lnTo>
                      <a:pt x="664" y="1840"/>
                    </a:lnTo>
                    <a:lnTo>
                      <a:pt x="663" y="1847"/>
                    </a:lnTo>
                    <a:lnTo>
                      <a:pt x="629" y="1777"/>
                    </a:lnTo>
                    <a:lnTo>
                      <a:pt x="634" y="1781"/>
                    </a:lnTo>
                    <a:lnTo>
                      <a:pt x="598" y="1775"/>
                    </a:lnTo>
                    <a:cubicBezTo>
                      <a:pt x="596" y="1774"/>
                      <a:pt x="594" y="1773"/>
                      <a:pt x="593" y="1771"/>
                    </a:cubicBezTo>
                    <a:lnTo>
                      <a:pt x="511" y="1618"/>
                    </a:lnTo>
                    <a:cubicBezTo>
                      <a:pt x="510" y="1617"/>
                      <a:pt x="510" y="1614"/>
                      <a:pt x="510" y="1612"/>
                    </a:cubicBezTo>
                    <a:lnTo>
                      <a:pt x="524" y="1565"/>
                    </a:lnTo>
                    <a:lnTo>
                      <a:pt x="524" y="1567"/>
                    </a:lnTo>
                    <a:lnTo>
                      <a:pt x="528" y="1484"/>
                    </a:lnTo>
                    <a:lnTo>
                      <a:pt x="532" y="1491"/>
                    </a:lnTo>
                    <a:lnTo>
                      <a:pt x="441" y="1446"/>
                    </a:lnTo>
                    <a:cubicBezTo>
                      <a:pt x="439" y="1445"/>
                      <a:pt x="438" y="1444"/>
                      <a:pt x="437" y="1443"/>
                    </a:cubicBezTo>
                    <a:lnTo>
                      <a:pt x="267" y="1176"/>
                    </a:lnTo>
                    <a:lnTo>
                      <a:pt x="278" y="1178"/>
                    </a:lnTo>
                    <a:lnTo>
                      <a:pt x="181" y="1253"/>
                    </a:lnTo>
                    <a:cubicBezTo>
                      <a:pt x="180" y="1254"/>
                      <a:pt x="177" y="1255"/>
                      <a:pt x="175" y="1254"/>
                    </a:cubicBezTo>
                    <a:cubicBezTo>
                      <a:pt x="173" y="1254"/>
                      <a:pt x="171" y="1253"/>
                      <a:pt x="170" y="1251"/>
                    </a:cubicBezTo>
                    <a:lnTo>
                      <a:pt x="145" y="1216"/>
                    </a:lnTo>
                    <a:lnTo>
                      <a:pt x="146" y="1217"/>
                    </a:lnTo>
                    <a:lnTo>
                      <a:pt x="139" y="1210"/>
                    </a:lnTo>
                    <a:cubicBezTo>
                      <a:pt x="138" y="1210"/>
                      <a:pt x="138" y="1210"/>
                      <a:pt x="138" y="1209"/>
                    </a:cubicBezTo>
                    <a:lnTo>
                      <a:pt x="89" y="1136"/>
                    </a:lnTo>
                    <a:lnTo>
                      <a:pt x="96" y="1139"/>
                    </a:lnTo>
                    <a:lnTo>
                      <a:pt x="8" y="1139"/>
                    </a:lnTo>
                    <a:close/>
                    <a:moveTo>
                      <a:pt x="96" y="1123"/>
                    </a:moveTo>
                    <a:cubicBezTo>
                      <a:pt x="99" y="1123"/>
                      <a:pt x="101" y="1124"/>
                      <a:pt x="103" y="1127"/>
                    </a:cubicBezTo>
                    <a:lnTo>
                      <a:pt x="151" y="1200"/>
                    </a:lnTo>
                    <a:lnTo>
                      <a:pt x="150" y="1199"/>
                    </a:lnTo>
                    <a:lnTo>
                      <a:pt x="157" y="1206"/>
                    </a:lnTo>
                    <a:cubicBezTo>
                      <a:pt x="157" y="1206"/>
                      <a:pt x="158" y="1206"/>
                      <a:pt x="158" y="1207"/>
                    </a:cubicBezTo>
                    <a:lnTo>
                      <a:pt x="183" y="1242"/>
                    </a:lnTo>
                    <a:lnTo>
                      <a:pt x="171" y="1240"/>
                    </a:lnTo>
                    <a:lnTo>
                      <a:pt x="269" y="1165"/>
                    </a:lnTo>
                    <a:cubicBezTo>
                      <a:pt x="270" y="1164"/>
                      <a:pt x="273" y="1163"/>
                      <a:pt x="275" y="1163"/>
                    </a:cubicBezTo>
                    <a:cubicBezTo>
                      <a:pt x="277" y="1164"/>
                      <a:pt x="279" y="1165"/>
                      <a:pt x="280" y="1167"/>
                    </a:cubicBezTo>
                    <a:lnTo>
                      <a:pt x="451" y="1435"/>
                    </a:lnTo>
                    <a:lnTo>
                      <a:pt x="448" y="1432"/>
                    </a:lnTo>
                    <a:lnTo>
                      <a:pt x="539" y="1477"/>
                    </a:lnTo>
                    <a:cubicBezTo>
                      <a:pt x="542" y="1478"/>
                      <a:pt x="544" y="1481"/>
                      <a:pt x="544" y="1485"/>
                    </a:cubicBezTo>
                    <a:lnTo>
                      <a:pt x="540" y="1568"/>
                    </a:lnTo>
                    <a:cubicBezTo>
                      <a:pt x="540" y="1569"/>
                      <a:pt x="540" y="1569"/>
                      <a:pt x="539" y="1570"/>
                    </a:cubicBezTo>
                    <a:lnTo>
                      <a:pt x="525" y="1617"/>
                    </a:lnTo>
                    <a:lnTo>
                      <a:pt x="525" y="1611"/>
                    </a:lnTo>
                    <a:lnTo>
                      <a:pt x="607" y="1763"/>
                    </a:lnTo>
                    <a:lnTo>
                      <a:pt x="601" y="1759"/>
                    </a:lnTo>
                    <a:lnTo>
                      <a:pt x="637" y="1766"/>
                    </a:lnTo>
                    <a:cubicBezTo>
                      <a:pt x="640" y="1766"/>
                      <a:pt x="642" y="1768"/>
                      <a:pt x="643" y="1770"/>
                    </a:cubicBezTo>
                    <a:lnTo>
                      <a:pt x="678" y="1840"/>
                    </a:lnTo>
                    <a:cubicBezTo>
                      <a:pt x="679" y="1843"/>
                      <a:pt x="679" y="1846"/>
                      <a:pt x="677" y="1848"/>
                    </a:cubicBezTo>
                    <a:lnTo>
                      <a:pt x="661" y="1875"/>
                    </a:lnTo>
                    <a:lnTo>
                      <a:pt x="656" y="1863"/>
                    </a:lnTo>
                    <a:lnTo>
                      <a:pt x="804" y="1915"/>
                    </a:lnTo>
                    <a:cubicBezTo>
                      <a:pt x="807" y="1916"/>
                      <a:pt x="809" y="1919"/>
                      <a:pt x="809" y="1923"/>
                    </a:cubicBezTo>
                    <a:lnTo>
                      <a:pt x="806" y="1960"/>
                    </a:lnTo>
                    <a:lnTo>
                      <a:pt x="800" y="1952"/>
                    </a:lnTo>
                    <a:lnTo>
                      <a:pt x="871" y="1970"/>
                    </a:lnTo>
                    <a:cubicBezTo>
                      <a:pt x="873" y="1971"/>
                      <a:pt x="876" y="1972"/>
                      <a:pt x="876" y="1975"/>
                    </a:cubicBezTo>
                    <a:lnTo>
                      <a:pt x="897" y="2032"/>
                    </a:lnTo>
                    <a:lnTo>
                      <a:pt x="890" y="2027"/>
                    </a:lnTo>
                    <a:lnTo>
                      <a:pt x="2215" y="2027"/>
                    </a:lnTo>
                    <a:lnTo>
                      <a:pt x="2207" y="2034"/>
                    </a:lnTo>
                    <a:lnTo>
                      <a:pt x="2210" y="1999"/>
                    </a:lnTo>
                    <a:cubicBezTo>
                      <a:pt x="2210" y="1995"/>
                      <a:pt x="2213" y="1992"/>
                      <a:pt x="2216" y="1992"/>
                    </a:cubicBezTo>
                    <a:cubicBezTo>
                      <a:pt x="2220" y="1991"/>
                      <a:pt x="2223" y="1992"/>
                      <a:pt x="2225" y="1996"/>
                    </a:cubicBezTo>
                    <a:lnTo>
                      <a:pt x="2254" y="2049"/>
                    </a:lnTo>
                    <a:lnTo>
                      <a:pt x="2249" y="2045"/>
                    </a:lnTo>
                    <a:lnTo>
                      <a:pt x="2476" y="2100"/>
                    </a:lnTo>
                    <a:lnTo>
                      <a:pt x="2469" y="2102"/>
                    </a:lnTo>
                    <a:lnTo>
                      <a:pt x="2552" y="2025"/>
                    </a:lnTo>
                    <a:cubicBezTo>
                      <a:pt x="2554" y="2024"/>
                      <a:pt x="2556" y="2023"/>
                      <a:pt x="2558" y="2023"/>
                    </a:cubicBezTo>
                    <a:cubicBezTo>
                      <a:pt x="2561" y="2023"/>
                      <a:pt x="2563" y="2024"/>
                      <a:pt x="2564" y="2026"/>
                    </a:cubicBezTo>
                    <a:lnTo>
                      <a:pt x="2610" y="2081"/>
                    </a:lnTo>
                    <a:lnTo>
                      <a:pt x="2596" y="2086"/>
                    </a:lnTo>
                    <a:lnTo>
                      <a:pt x="2596" y="2050"/>
                    </a:lnTo>
                    <a:cubicBezTo>
                      <a:pt x="2596" y="2047"/>
                      <a:pt x="2597" y="2045"/>
                      <a:pt x="2598" y="2044"/>
                    </a:cubicBezTo>
                    <a:cubicBezTo>
                      <a:pt x="2600" y="2042"/>
                      <a:pt x="2602" y="2041"/>
                      <a:pt x="2604" y="2042"/>
                    </a:cubicBezTo>
                    <a:lnTo>
                      <a:pt x="2643" y="2045"/>
                    </a:lnTo>
                    <a:cubicBezTo>
                      <a:pt x="2646" y="2045"/>
                      <a:pt x="2648" y="2047"/>
                      <a:pt x="2650" y="2049"/>
                    </a:cubicBezTo>
                    <a:lnTo>
                      <a:pt x="2680" y="2111"/>
                    </a:lnTo>
                    <a:lnTo>
                      <a:pt x="2672" y="2107"/>
                    </a:lnTo>
                    <a:lnTo>
                      <a:pt x="2708" y="2100"/>
                    </a:lnTo>
                    <a:cubicBezTo>
                      <a:pt x="2710" y="2100"/>
                      <a:pt x="2712" y="2100"/>
                      <a:pt x="2714" y="2102"/>
                    </a:cubicBezTo>
                    <a:cubicBezTo>
                      <a:pt x="2715" y="2103"/>
                      <a:pt x="2717" y="2105"/>
                      <a:pt x="2717" y="2107"/>
                    </a:cubicBezTo>
                    <a:lnTo>
                      <a:pt x="2735" y="2214"/>
                    </a:lnTo>
                    <a:lnTo>
                      <a:pt x="2727" y="2207"/>
                    </a:lnTo>
                    <a:lnTo>
                      <a:pt x="2734" y="2207"/>
                    </a:lnTo>
                    <a:cubicBezTo>
                      <a:pt x="2735" y="2207"/>
                      <a:pt x="2735" y="2207"/>
                      <a:pt x="2736" y="2207"/>
                    </a:cubicBezTo>
                    <a:lnTo>
                      <a:pt x="2912" y="2246"/>
                    </a:lnTo>
                    <a:cubicBezTo>
                      <a:pt x="2914" y="2246"/>
                      <a:pt x="2916" y="2248"/>
                      <a:pt x="2917" y="2249"/>
                    </a:cubicBezTo>
                    <a:lnTo>
                      <a:pt x="2970" y="2330"/>
                    </a:lnTo>
                    <a:cubicBezTo>
                      <a:pt x="2971" y="2332"/>
                      <a:pt x="2971" y="2335"/>
                      <a:pt x="2971" y="2337"/>
                    </a:cubicBezTo>
                    <a:cubicBezTo>
                      <a:pt x="2970" y="2339"/>
                      <a:pt x="2968" y="2341"/>
                      <a:pt x="2965" y="2342"/>
                    </a:cubicBezTo>
                    <a:lnTo>
                      <a:pt x="2905" y="2357"/>
                    </a:lnTo>
                    <a:cubicBezTo>
                      <a:pt x="2902" y="2358"/>
                      <a:pt x="2899" y="2356"/>
                      <a:pt x="2897" y="2354"/>
                    </a:cubicBezTo>
                    <a:lnTo>
                      <a:pt x="2862" y="2309"/>
                    </a:lnTo>
                    <a:lnTo>
                      <a:pt x="2877" y="2304"/>
                    </a:lnTo>
                    <a:lnTo>
                      <a:pt x="2870" y="2438"/>
                    </a:lnTo>
                    <a:cubicBezTo>
                      <a:pt x="2870" y="2441"/>
                      <a:pt x="2868" y="2443"/>
                      <a:pt x="2866" y="2444"/>
                    </a:cubicBezTo>
                    <a:lnTo>
                      <a:pt x="2836" y="2466"/>
                    </a:lnTo>
                    <a:lnTo>
                      <a:pt x="2839" y="2461"/>
                    </a:lnTo>
                    <a:lnTo>
                      <a:pt x="2832" y="2491"/>
                    </a:lnTo>
                    <a:cubicBezTo>
                      <a:pt x="2832" y="2493"/>
                      <a:pt x="2831" y="2494"/>
                      <a:pt x="2831" y="2494"/>
                    </a:cubicBezTo>
                    <a:lnTo>
                      <a:pt x="2817" y="2513"/>
                    </a:lnTo>
                    <a:lnTo>
                      <a:pt x="2818" y="2511"/>
                    </a:lnTo>
                    <a:lnTo>
                      <a:pt x="2807" y="2539"/>
                    </a:lnTo>
                    <a:lnTo>
                      <a:pt x="2797" y="2529"/>
                    </a:lnTo>
                    <a:lnTo>
                      <a:pt x="3002" y="2467"/>
                    </a:lnTo>
                    <a:lnTo>
                      <a:pt x="2997" y="2477"/>
                    </a:lnTo>
                    <a:lnTo>
                      <a:pt x="2989" y="2456"/>
                    </a:lnTo>
                    <a:lnTo>
                      <a:pt x="2995" y="2461"/>
                    </a:lnTo>
                    <a:lnTo>
                      <a:pt x="2955" y="2454"/>
                    </a:lnTo>
                    <a:cubicBezTo>
                      <a:pt x="2952" y="2454"/>
                      <a:pt x="2949" y="2451"/>
                      <a:pt x="2948" y="2449"/>
                    </a:cubicBezTo>
                    <a:cubicBezTo>
                      <a:pt x="2948" y="2446"/>
                      <a:pt x="2948" y="2442"/>
                      <a:pt x="2951" y="2440"/>
                    </a:cubicBezTo>
                    <a:lnTo>
                      <a:pt x="2980" y="2412"/>
                    </a:lnTo>
                    <a:cubicBezTo>
                      <a:pt x="2980" y="2411"/>
                      <a:pt x="2981" y="2411"/>
                      <a:pt x="2983" y="2410"/>
                    </a:cubicBezTo>
                    <a:lnTo>
                      <a:pt x="3151" y="2350"/>
                    </a:lnTo>
                    <a:lnTo>
                      <a:pt x="3398" y="2293"/>
                    </a:lnTo>
                    <a:lnTo>
                      <a:pt x="3393" y="2298"/>
                    </a:lnTo>
                    <a:lnTo>
                      <a:pt x="3451" y="2147"/>
                    </a:lnTo>
                    <a:cubicBezTo>
                      <a:pt x="3453" y="2143"/>
                      <a:pt x="3457" y="2141"/>
                      <a:pt x="3461" y="2142"/>
                    </a:cubicBezTo>
                    <a:lnTo>
                      <a:pt x="3542" y="2173"/>
                    </a:lnTo>
                    <a:cubicBezTo>
                      <a:pt x="3545" y="2174"/>
                      <a:pt x="3547" y="2177"/>
                      <a:pt x="3547" y="2180"/>
                    </a:cubicBezTo>
                    <a:lnTo>
                      <a:pt x="3547" y="2272"/>
                    </a:lnTo>
                    <a:lnTo>
                      <a:pt x="3545" y="2266"/>
                    </a:lnTo>
                    <a:lnTo>
                      <a:pt x="3581" y="2302"/>
                    </a:lnTo>
                    <a:lnTo>
                      <a:pt x="3572" y="2300"/>
                    </a:lnTo>
                    <a:lnTo>
                      <a:pt x="3694" y="2246"/>
                    </a:lnTo>
                    <a:cubicBezTo>
                      <a:pt x="3697" y="2245"/>
                      <a:pt x="3700" y="2246"/>
                      <a:pt x="3703" y="2248"/>
                    </a:cubicBezTo>
                    <a:cubicBezTo>
                      <a:pt x="3705" y="2250"/>
                      <a:pt x="3706" y="2253"/>
                      <a:pt x="3705" y="2256"/>
                    </a:cubicBezTo>
                    <a:lnTo>
                      <a:pt x="3691" y="2301"/>
                    </a:lnTo>
                    <a:lnTo>
                      <a:pt x="3683" y="2291"/>
                    </a:lnTo>
                    <a:lnTo>
                      <a:pt x="3755" y="2289"/>
                    </a:lnTo>
                    <a:cubicBezTo>
                      <a:pt x="3759" y="2289"/>
                      <a:pt x="3762" y="2292"/>
                      <a:pt x="3763" y="2296"/>
                    </a:cubicBezTo>
                    <a:cubicBezTo>
                      <a:pt x="3764" y="2299"/>
                      <a:pt x="3762" y="2303"/>
                      <a:pt x="3759" y="2305"/>
                    </a:cubicBezTo>
                    <a:lnTo>
                      <a:pt x="3618" y="2365"/>
                    </a:lnTo>
                    <a:lnTo>
                      <a:pt x="3622" y="2353"/>
                    </a:lnTo>
                    <a:lnTo>
                      <a:pt x="3665" y="2424"/>
                    </a:lnTo>
                    <a:lnTo>
                      <a:pt x="3652" y="2423"/>
                    </a:lnTo>
                    <a:lnTo>
                      <a:pt x="3703" y="2345"/>
                    </a:lnTo>
                    <a:cubicBezTo>
                      <a:pt x="3704" y="2343"/>
                      <a:pt x="3706" y="2342"/>
                      <a:pt x="3707" y="2341"/>
                    </a:cubicBezTo>
                    <a:lnTo>
                      <a:pt x="3857" y="2296"/>
                    </a:lnTo>
                    <a:lnTo>
                      <a:pt x="3854" y="2299"/>
                    </a:lnTo>
                    <a:lnTo>
                      <a:pt x="3913" y="2232"/>
                    </a:lnTo>
                    <a:lnTo>
                      <a:pt x="3921" y="2245"/>
                    </a:lnTo>
                    <a:lnTo>
                      <a:pt x="3886" y="2252"/>
                    </a:lnTo>
                    <a:cubicBezTo>
                      <a:pt x="3884" y="2252"/>
                      <a:pt x="3881" y="2251"/>
                      <a:pt x="3879" y="2250"/>
                    </a:cubicBezTo>
                    <a:cubicBezTo>
                      <a:pt x="3878" y="2248"/>
                      <a:pt x="3877" y="2246"/>
                      <a:pt x="3877" y="2244"/>
                    </a:cubicBezTo>
                    <a:lnTo>
                      <a:pt x="3877" y="2180"/>
                    </a:lnTo>
                    <a:lnTo>
                      <a:pt x="3892" y="2183"/>
                    </a:lnTo>
                    <a:lnTo>
                      <a:pt x="3859" y="2286"/>
                    </a:lnTo>
                    <a:cubicBezTo>
                      <a:pt x="3858" y="2290"/>
                      <a:pt x="3853" y="2293"/>
                      <a:pt x="3849" y="2292"/>
                    </a:cubicBezTo>
                    <a:lnTo>
                      <a:pt x="3723" y="2262"/>
                    </a:lnTo>
                    <a:cubicBezTo>
                      <a:pt x="3721" y="2261"/>
                      <a:pt x="3720" y="2260"/>
                      <a:pt x="3719" y="2259"/>
                    </a:cubicBezTo>
                    <a:lnTo>
                      <a:pt x="3655" y="2175"/>
                    </a:lnTo>
                    <a:cubicBezTo>
                      <a:pt x="3653" y="2173"/>
                      <a:pt x="3653" y="2169"/>
                      <a:pt x="3654" y="2167"/>
                    </a:cubicBezTo>
                    <a:lnTo>
                      <a:pt x="3676" y="2121"/>
                    </a:lnTo>
                    <a:lnTo>
                      <a:pt x="3681" y="2133"/>
                    </a:lnTo>
                    <a:lnTo>
                      <a:pt x="3598" y="2109"/>
                    </a:lnTo>
                    <a:cubicBezTo>
                      <a:pt x="3595" y="2108"/>
                      <a:pt x="3592" y="2105"/>
                      <a:pt x="3592" y="2102"/>
                    </a:cubicBezTo>
                    <a:cubicBezTo>
                      <a:pt x="3592" y="2098"/>
                      <a:pt x="3594" y="2095"/>
                      <a:pt x="3597" y="2094"/>
                    </a:cubicBezTo>
                    <a:lnTo>
                      <a:pt x="3703" y="2055"/>
                    </a:lnTo>
                    <a:lnTo>
                      <a:pt x="3700" y="2069"/>
                    </a:lnTo>
                    <a:lnTo>
                      <a:pt x="3642" y="2015"/>
                    </a:lnTo>
                    <a:lnTo>
                      <a:pt x="3650" y="2017"/>
                    </a:lnTo>
                    <a:lnTo>
                      <a:pt x="3488" y="2085"/>
                    </a:lnTo>
                    <a:lnTo>
                      <a:pt x="3491" y="2083"/>
                    </a:lnTo>
                    <a:lnTo>
                      <a:pt x="3387" y="2197"/>
                    </a:lnTo>
                    <a:cubicBezTo>
                      <a:pt x="3384" y="2200"/>
                      <a:pt x="3379" y="2201"/>
                      <a:pt x="3376" y="2198"/>
                    </a:cubicBezTo>
                    <a:cubicBezTo>
                      <a:pt x="3372" y="2195"/>
                      <a:pt x="3372" y="2191"/>
                      <a:pt x="3374" y="2187"/>
                    </a:cubicBezTo>
                    <a:lnTo>
                      <a:pt x="3478" y="2037"/>
                    </a:lnTo>
                    <a:cubicBezTo>
                      <a:pt x="3479" y="2036"/>
                      <a:pt x="3479" y="2035"/>
                      <a:pt x="3480" y="2035"/>
                    </a:cubicBezTo>
                    <a:lnTo>
                      <a:pt x="3606" y="1933"/>
                    </a:lnTo>
                    <a:cubicBezTo>
                      <a:pt x="3608" y="1932"/>
                      <a:pt x="3609" y="1931"/>
                      <a:pt x="3611" y="1931"/>
                    </a:cubicBezTo>
                    <a:lnTo>
                      <a:pt x="3914" y="1931"/>
                    </a:lnTo>
                    <a:lnTo>
                      <a:pt x="3909" y="1933"/>
                    </a:lnTo>
                    <a:lnTo>
                      <a:pt x="4116" y="1782"/>
                    </a:lnTo>
                    <a:lnTo>
                      <a:pt x="4113" y="1792"/>
                    </a:lnTo>
                    <a:lnTo>
                      <a:pt x="4083" y="1716"/>
                    </a:lnTo>
                    <a:cubicBezTo>
                      <a:pt x="4082" y="1714"/>
                      <a:pt x="4082" y="1711"/>
                      <a:pt x="4083" y="1709"/>
                    </a:cubicBezTo>
                    <a:cubicBezTo>
                      <a:pt x="4085" y="1707"/>
                      <a:pt x="4087" y="1705"/>
                      <a:pt x="4090" y="1705"/>
                    </a:cubicBezTo>
                    <a:lnTo>
                      <a:pt x="4120" y="1705"/>
                    </a:lnTo>
                    <a:lnTo>
                      <a:pt x="4113" y="1715"/>
                    </a:lnTo>
                    <a:lnTo>
                      <a:pt x="4107" y="1685"/>
                    </a:lnTo>
                    <a:lnTo>
                      <a:pt x="4116" y="1691"/>
                    </a:lnTo>
                    <a:lnTo>
                      <a:pt x="4048" y="1703"/>
                    </a:lnTo>
                    <a:cubicBezTo>
                      <a:pt x="4046" y="1703"/>
                      <a:pt x="4044" y="1703"/>
                      <a:pt x="4042" y="1701"/>
                    </a:cubicBezTo>
                    <a:cubicBezTo>
                      <a:pt x="4040" y="1700"/>
                      <a:pt x="4039" y="1697"/>
                      <a:pt x="4039" y="1695"/>
                    </a:cubicBezTo>
                    <a:lnTo>
                      <a:pt x="4039" y="1631"/>
                    </a:lnTo>
                    <a:lnTo>
                      <a:pt x="4050" y="1639"/>
                    </a:lnTo>
                    <a:lnTo>
                      <a:pt x="3901" y="1712"/>
                    </a:lnTo>
                    <a:cubicBezTo>
                      <a:pt x="3898" y="1714"/>
                      <a:pt x="3894" y="1713"/>
                      <a:pt x="3891" y="1711"/>
                    </a:cubicBezTo>
                    <a:lnTo>
                      <a:pt x="3855" y="1676"/>
                    </a:lnTo>
                    <a:cubicBezTo>
                      <a:pt x="3853" y="1674"/>
                      <a:pt x="3853" y="1671"/>
                      <a:pt x="3853" y="1668"/>
                    </a:cubicBezTo>
                    <a:cubicBezTo>
                      <a:pt x="3854" y="1666"/>
                      <a:pt x="3856" y="1663"/>
                      <a:pt x="3858" y="1662"/>
                    </a:cubicBezTo>
                    <a:lnTo>
                      <a:pt x="4034" y="1595"/>
                    </a:lnTo>
                    <a:lnTo>
                      <a:pt x="4033" y="1610"/>
                    </a:lnTo>
                    <a:lnTo>
                      <a:pt x="3952" y="1558"/>
                    </a:lnTo>
                    <a:lnTo>
                      <a:pt x="3962" y="1557"/>
                    </a:lnTo>
                    <a:lnTo>
                      <a:pt x="3933" y="1587"/>
                    </a:lnTo>
                    <a:cubicBezTo>
                      <a:pt x="3931" y="1589"/>
                      <a:pt x="3929" y="1590"/>
                      <a:pt x="3926" y="1589"/>
                    </a:cubicBezTo>
                    <a:cubicBezTo>
                      <a:pt x="3923" y="1588"/>
                      <a:pt x="3921" y="1587"/>
                      <a:pt x="3920" y="1584"/>
                    </a:cubicBezTo>
                    <a:lnTo>
                      <a:pt x="3890" y="1505"/>
                    </a:lnTo>
                    <a:lnTo>
                      <a:pt x="3894" y="1510"/>
                    </a:lnTo>
                    <a:lnTo>
                      <a:pt x="3812" y="1480"/>
                    </a:lnTo>
                    <a:cubicBezTo>
                      <a:pt x="3810" y="1479"/>
                      <a:pt x="3809" y="1478"/>
                      <a:pt x="3808" y="1476"/>
                    </a:cubicBezTo>
                    <a:cubicBezTo>
                      <a:pt x="3807" y="1474"/>
                      <a:pt x="3807" y="1472"/>
                      <a:pt x="3808" y="1470"/>
                    </a:cubicBezTo>
                    <a:lnTo>
                      <a:pt x="3820" y="1436"/>
                    </a:lnTo>
                    <a:lnTo>
                      <a:pt x="3828" y="1447"/>
                    </a:lnTo>
                    <a:lnTo>
                      <a:pt x="3774" y="1447"/>
                    </a:lnTo>
                    <a:cubicBezTo>
                      <a:pt x="3770" y="1447"/>
                      <a:pt x="3767" y="1444"/>
                      <a:pt x="3766" y="1441"/>
                    </a:cubicBezTo>
                    <a:cubicBezTo>
                      <a:pt x="3765" y="1437"/>
                      <a:pt x="3767" y="1433"/>
                      <a:pt x="3770" y="1432"/>
                    </a:cubicBezTo>
                    <a:lnTo>
                      <a:pt x="3844" y="1397"/>
                    </a:lnTo>
                    <a:lnTo>
                      <a:pt x="3843" y="1410"/>
                    </a:lnTo>
                    <a:lnTo>
                      <a:pt x="3795" y="1379"/>
                    </a:lnTo>
                    <a:cubicBezTo>
                      <a:pt x="3793" y="1377"/>
                      <a:pt x="3792" y="1375"/>
                      <a:pt x="3792" y="1373"/>
                    </a:cubicBezTo>
                    <a:cubicBezTo>
                      <a:pt x="3792" y="1371"/>
                      <a:pt x="3792" y="1368"/>
                      <a:pt x="3794" y="1367"/>
                    </a:cubicBezTo>
                    <a:lnTo>
                      <a:pt x="3811" y="1348"/>
                    </a:lnTo>
                    <a:lnTo>
                      <a:pt x="3810" y="1358"/>
                    </a:lnTo>
                    <a:lnTo>
                      <a:pt x="3785" y="1316"/>
                    </a:lnTo>
                    <a:lnTo>
                      <a:pt x="3793" y="1320"/>
                    </a:lnTo>
                    <a:lnTo>
                      <a:pt x="3760" y="1326"/>
                    </a:lnTo>
                    <a:cubicBezTo>
                      <a:pt x="3756" y="1327"/>
                      <a:pt x="3753" y="1325"/>
                      <a:pt x="3751" y="1322"/>
                    </a:cubicBezTo>
                    <a:cubicBezTo>
                      <a:pt x="3749" y="1319"/>
                      <a:pt x="3750" y="1315"/>
                      <a:pt x="3753" y="1312"/>
                    </a:cubicBezTo>
                    <a:lnTo>
                      <a:pt x="3785" y="1284"/>
                    </a:lnTo>
                    <a:lnTo>
                      <a:pt x="3789" y="1298"/>
                    </a:lnTo>
                    <a:lnTo>
                      <a:pt x="3742" y="1291"/>
                    </a:lnTo>
                    <a:cubicBezTo>
                      <a:pt x="3738" y="1291"/>
                      <a:pt x="3735" y="1288"/>
                      <a:pt x="3735" y="1284"/>
                    </a:cubicBezTo>
                    <a:cubicBezTo>
                      <a:pt x="3735" y="1280"/>
                      <a:pt x="3737" y="1277"/>
                      <a:pt x="3740" y="1276"/>
                    </a:cubicBezTo>
                    <a:lnTo>
                      <a:pt x="3775" y="1264"/>
                    </a:lnTo>
                    <a:lnTo>
                      <a:pt x="3771" y="1275"/>
                    </a:lnTo>
                    <a:lnTo>
                      <a:pt x="3751" y="1237"/>
                    </a:lnTo>
                    <a:lnTo>
                      <a:pt x="3760" y="1241"/>
                    </a:lnTo>
                    <a:lnTo>
                      <a:pt x="3707" y="1253"/>
                    </a:lnTo>
                    <a:cubicBezTo>
                      <a:pt x="3703" y="1254"/>
                      <a:pt x="3699" y="1251"/>
                      <a:pt x="3698" y="1247"/>
                    </a:cubicBezTo>
                    <a:cubicBezTo>
                      <a:pt x="3697" y="1243"/>
                      <a:pt x="3698" y="1239"/>
                      <a:pt x="3702" y="1238"/>
                    </a:cubicBezTo>
                    <a:lnTo>
                      <a:pt x="3751" y="1216"/>
                    </a:lnTo>
                    <a:lnTo>
                      <a:pt x="3747" y="1227"/>
                    </a:lnTo>
                    <a:lnTo>
                      <a:pt x="3690" y="1135"/>
                    </a:lnTo>
                    <a:lnTo>
                      <a:pt x="3703" y="1137"/>
                    </a:lnTo>
                    <a:lnTo>
                      <a:pt x="3651" y="1185"/>
                    </a:lnTo>
                    <a:lnTo>
                      <a:pt x="3652" y="1174"/>
                    </a:lnTo>
                    <a:lnTo>
                      <a:pt x="3667" y="1193"/>
                    </a:lnTo>
                    <a:cubicBezTo>
                      <a:pt x="3669" y="1195"/>
                      <a:pt x="3670" y="1199"/>
                      <a:pt x="3668" y="1202"/>
                    </a:cubicBezTo>
                    <a:lnTo>
                      <a:pt x="3622" y="1289"/>
                    </a:lnTo>
                    <a:cubicBezTo>
                      <a:pt x="3621" y="1292"/>
                      <a:pt x="3618" y="1293"/>
                      <a:pt x="3615" y="1293"/>
                    </a:cubicBezTo>
                    <a:cubicBezTo>
                      <a:pt x="3612" y="1293"/>
                      <a:pt x="3609" y="1291"/>
                      <a:pt x="3608" y="1288"/>
                    </a:cubicBezTo>
                    <a:lnTo>
                      <a:pt x="3595" y="1254"/>
                    </a:lnTo>
                    <a:lnTo>
                      <a:pt x="3608" y="1257"/>
                    </a:lnTo>
                    <a:lnTo>
                      <a:pt x="3545" y="1321"/>
                    </a:lnTo>
                    <a:cubicBezTo>
                      <a:pt x="3543" y="1323"/>
                      <a:pt x="3539" y="1324"/>
                      <a:pt x="3537" y="1323"/>
                    </a:cubicBezTo>
                    <a:cubicBezTo>
                      <a:pt x="3534" y="1322"/>
                      <a:pt x="3532" y="1320"/>
                      <a:pt x="3531" y="1317"/>
                    </a:cubicBezTo>
                    <a:lnTo>
                      <a:pt x="3523" y="1275"/>
                    </a:lnTo>
                    <a:lnTo>
                      <a:pt x="3536" y="1279"/>
                    </a:lnTo>
                    <a:lnTo>
                      <a:pt x="3467" y="1344"/>
                    </a:lnTo>
                    <a:lnTo>
                      <a:pt x="3457" y="1332"/>
                    </a:lnTo>
                    <a:lnTo>
                      <a:pt x="3506" y="1305"/>
                    </a:lnTo>
                    <a:lnTo>
                      <a:pt x="3502" y="1312"/>
                    </a:lnTo>
                    <a:lnTo>
                      <a:pt x="3496" y="1249"/>
                    </a:lnTo>
                    <a:lnTo>
                      <a:pt x="3507" y="1256"/>
                    </a:lnTo>
                    <a:lnTo>
                      <a:pt x="3393" y="1293"/>
                    </a:lnTo>
                    <a:cubicBezTo>
                      <a:pt x="3389" y="1294"/>
                      <a:pt x="3385" y="1292"/>
                      <a:pt x="3384" y="1289"/>
                    </a:cubicBezTo>
                    <a:cubicBezTo>
                      <a:pt x="3382" y="1286"/>
                      <a:pt x="3382" y="1282"/>
                      <a:pt x="3385" y="1279"/>
                    </a:cubicBezTo>
                    <a:lnTo>
                      <a:pt x="3464" y="1209"/>
                    </a:lnTo>
                    <a:lnTo>
                      <a:pt x="3462" y="1218"/>
                    </a:lnTo>
                    <a:lnTo>
                      <a:pt x="3439" y="1166"/>
                    </a:lnTo>
                    <a:lnTo>
                      <a:pt x="3445" y="1171"/>
                    </a:lnTo>
                    <a:lnTo>
                      <a:pt x="3371" y="1157"/>
                    </a:lnTo>
                    <a:cubicBezTo>
                      <a:pt x="3367" y="1157"/>
                      <a:pt x="3364" y="1153"/>
                      <a:pt x="3364" y="1149"/>
                    </a:cubicBezTo>
                    <a:cubicBezTo>
                      <a:pt x="3365" y="1145"/>
                      <a:pt x="3368" y="1142"/>
                      <a:pt x="3372" y="1141"/>
                    </a:cubicBezTo>
                    <a:lnTo>
                      <a:pt x="3457" y="1138"/>
                    </a:lnTo>
                    <a:lnTo>
                      <a:pt x="3449" y="1147"/>
                    </a:lnTo>
                    <a:lnTo>
                      <a:pt x="3441" y="1063"/>
                    </a:lnTo>
                    <a:lnTo>
                      <a:pt x="3448" y="1070"/>
                    </a:lnTo>
                    <a:lnTo>
                      <a:pt x="3354" y="1064"/>
                    </a:lnTo>
                    <a:cubicBezTo>
                      <a:pt x="3350" y="1063"/>
                      <a:pt x="3346" y="1060"/>
                      <a:pt x="3346" y="1056"/>
                    </a:cubicBezTo>
                    <a:lnTo>
                      <a:pt x="3346" y="1019"/>
                    </a:lnTo>
                    <a:lnTo>
                      <a:pt x="3350" y="1025"/>
                    </a:lnTo>
                    <a:lnTo>
                      <a:pt x="3239" y="942"/>
                    </a:lnTo>
                    <a:lnTo>
                      <a:pt x="3247" y="943"/>
                    </a:lnTo>
                    <a:lnTo>
                      <a:pt x="3189" y="971"/>
                    </a:lnTo>
                    <a:cubicBezTo>
                      <a:pt x="3187" y="972"/>
                      <a:pt x="3185" y="972"/>
                      <a:pt x="3183" y="972"/>
                    </a:cubicBezTo>
                    <a:lnTo>
                      <a:pt x="3053" y="938"/>
                    </a:lnTo>
                    <a:lnTo>
                      <a:pt x="3062" y="934"/>
                    </a:lnTo>
                    <a:lnTo>
                      <a:pt x="3040" y="984"/>
                    </a:lnTo>
                    <a:lnTo>
                      <a:pt x="3038" y="975"/>
                    </a:lnTo>
                    <a:lnTo>
                      <a:pt x="3078" y="1013"/>
                    </a:lnTo>
                    <a:cubicBezTo>
                      <a:pt x="3081" y="1016"/>
                      <a:pt x="3081" y="1020"/>
                      <a:pt x="3080" y="1023"/>
                    </a:cubicBezTo>
                    <a:lnTo>
                      <a:pt x="3044" y="1085"/>
                    </a:lnTo>
                    <a:lnTo>
                      <a:pt x="3039" y="1073"/>
                    </a:lnTo>
                    <a:lnTo>
                      <a:pt x="3075" y="1083"/>
                    </a:lnTo>
                    <a:cubicBezTo>
                      <a:pt x="3079" y="1084"/>
                      <a:pt x="3081" y="1089"/>
                      <a:pt x="3080" y="1093"/>
                    </a:cubicBezTo>
                    <a:lnTo>
                      <a:pt x="3067" y="1153"/>
                    </a:lnTo>
                    <a:lnTo>
                      <a:pt x="3065" y="1146"/>
                    </a:lnTo>
                    <a:lnTo>
                      <a:pt x="3094" y="1183"/>
                    </a:lnTo>
                    <a:cubicBezTo>
                      <a:pt x="3097" y="1186"/>
                      <a:pt x="3096" y="1191"/>
                      <a:pt x="3093" y="1194"/>
                    </a:cubicBezTo>
                    <a:lnTo>
                      <a:pt x="3013" y="1263"/>
                    </a:lnTo>
                    <a:lnTo>
                      <a:pt x="3012" y="1250"/>
                    </a:lnTo>
                    <a:lnTo>
                      <a:pt x="3073" y="1292"/>
                    </a:lnTo>
                    <a:cubicBezTo>
                      <a:pt x="3075" y="1293"/>
                      <a:pt x="3076" y="1295"/>
                      <a:pt x="3076" y="1297"/>
                    </a:cubicBezTo>
                    <a:lnTo>
                      <a:pt x="3114" y="1462"/>
                    </a:lnTo>
                    <a:lnTo>
                      <a:pt x="3106" y="1456"/>
                    </a:lnTo>
                    <a:lnTo>
                      <a:pt x="3131" y="1456"/>
                    </a:lnTo>
                    <a:cubicBezTo>
                      <a:pt x="3134" y="1456"/>
                      <a:pt x="3137" y="1458"/>
                      <a:pt x="3139" y="1461"/>
                    </a:cubicBezTo>
                    <a:cubicBezTo>
                      <a:pt x="3140" y="1465"/>
                      <a:pt x="3139" y="1468"/>
                      <a:pt x="3136" y="1470"/>
                    </a:cubicBezTo>
                    <a:lnTo>
                      <a:pt x="2965" y="1611"/>
                    </a:lnTo>
                    <a:lnTo>
                      <a:pt x="2968" y="1602"/>
                    </a:lnTo>
                    <a:lnTo>
                      <a:pt x="3019" y="1764"/>
                    </a:lnTo>
                    <a:lnTo>
                      <a:pt x="3015" y="1760"/>
                    </a:lnTo>
                    <a:lnTo>
                      <a:pt x="3054" y="1780"/>
                    </a:lnTo>
                    <a:cubicBezTo>
                      <a:pt x="3056" y="1781"/>
                      <a:pt x="3058" y="1783"/>
                      <a:pt x="3058" y="1786"/>
                    </a:cubicBezTo>
                    <a:cubicBezTo>
                      <a:pt x="3059" y="1788"/>
                      <a:pt x="3058" y="1791"/>
                      <a:pt x="3056" y="1793"/>
                    </a:cubicBezTo>
                    <a:lnTo>
                      <a:pt x="2966" y="1885"/>
                    </a:lnTo>
                    <a:cubicBezTo>
                      <a:pt x="2965" y="1886"/>
                      <a:pt x="2963" y="1887"/>
                      <a:pt x="2960" y="1887"/>
                    </a:cubicBezTo>
                    <a:lnTo>
                      <a:pt x="2894" y="1889"/>
                    </a:lnTo>
                    <a:cubicBezTo>
                      <a:pt x="2891" y="1889"/>
                      <a:pt x="2889" y="1887"/>
                      <a:pt x="2887" y="1885"/>
                    </a:cubicBezTo>
                    <a:cubicBezTo>
                      <a:pt x="2886" y="1883"/>
                      <a:pt x="2885" y="1880"/>
                      <a:pt x="2886" y="1878"/>
                    </a:cubicBezTo>
                    <a:lnTo>
                      <a:pt x="2907" y="1826"/>
                    </a:lnTo>
                    <a:lnTo>
                      <a:pt x="2911" y="1836"/>
                    </a:lnTo>
                    <a:lnTo>
                      <a:pt x="2842" y="1804"/>
                    </a:lnTo>
                    <a:cubicBezTo>
                      <a:pt x="2839" y="1803"/>
                      <a:pt x="2837" y="1800"/>
                      <a:pt x="2837" y="1797"/>
                    </a:cubicBezTo>
                    <a:cubicBezTo>
                      <a:pt x="2837" y="1793"/>
                      <a:pt x="2839" y="1791"/>
                      <a:pt x="2842" y="1789"/>
                    </a:cubicBezTo>
                    <a:lnTo>
                      <a:pt x="2873" y="1778"/>
                    </a:lnTo>
                    <a:lnTo>
                      <a:pt x="2869" y="1790"/>
                    </a:lnTo>
                    <a:lnTo>
                      <a:pt x="2826" y="1733"/>
                    </a:lnTo>
                    <a:cubicBezTo>
                      <a:pt x="2825" y="1732"/>
                      <a:pt x="2825" y="1730"/>
                      <a:pt x="2825" y="1728"/>
                    </a:cubicBezTo>
                    <a:lnTo>
                      <a:pt x="2825" y="1558"/>
                    </a:lnTo>
                    <a:lnTo>
                      <a:pt x="2832" y="1566"/>
                    </a:lnTo>
                    <a:lnTo>
                      <a:pt x="2693" y="1556"/>
                    </a:lnTo>
                    <a:lnTo>
                      <a:pt x="2701" y="1552"/>
                    </a:lnTo>
                    <a:lnTo>
                      <a:pt x="2680" y="1587"/>
                    </a:lnTo>
                    <a:cubicBezTo>
                      <a:pt x="2678" y="1590"/>
                      <a:pt x="2673" y="1592"/>
                      <a:pt x="2670" y="1590"/>
                    </a:cubicBezTo>
                    <a:cubicBezTo>
                      <a:pt x="2666" y="1589"/>
                      <a:pt x="2664" y="1584"/>
                      <a:pt x="2665" y="1580"/>
                    </a:cubicBezTo>
                    <a:lnTo>
                      <a:pt x="2679" y="1535"/>
                    </a:lnTo>
                    <a:lnTo>
                      <a:pt x="2683" y="1544"/>
                    </a:lnTo>
                    <a:lnTo>
                      <a:pt x="2500" y="1433"/>
                    </a:lnTo>
                    <a:lnTo>
                      <a:pt x="2410" y="1389"/>
                    </a:lnTo>
                    <a:lnTo>
                      <a:pt x="2416" y="1390"/>
                    </a:lnTo>
                    <a:lnTo>
                      <a:pt x="2340" y="1420"/>
                    </a:lnTo>
                    <a:cubicBezTo>
                      <a:pt x="2338" y="1421"/>
                      <a:pt x="2335" y="1420"/>
                      <a:pt x="2333" y="1419"/>
                    </a:cubicBezTo>
                    <a:cubicBezTo>
                      <a:pt x="2331" y="1418"/>
                      <a:pt x="2330" y="1416"/>
                      <a:pt x="2329" y="1413"/>
                    </a:cubicBezTo>
                    <a:lnTo>
                      <a:pt x="2306" y="1258"/>
                    </a:lnTo>
                    <a:lnTo>
                      <a:pt x="2317" y="1264"/>
                    </a:lnTo>
                    <a:lnTo>
                      <a:pt x="2264" y="1290"/>
                    </a:lnTo>
                    <a:cubicBezTo>
                      <a:pt x="2261" y="1292"/>
                      <a:pt x="2257" y="1291"/>
                      <a:pt x="2255" y="1288"/>
                    </a:cubicBezTo>
                    <a:lnTo>
                      <a:pt x="2217" y="1241"/>
                    </a:lnTo>
                    <a:cubicBezTo>
                      <a:pt x="2216" y="1240"/>
                      <a:pt x="2215" y="1238"/>
                      <a:pt x="2215" y="1236"/>
                    </a:cubicBezTo>
                    <a:lnTo>
                      <a:pt x="2236" y="1033"/>
                    </a:lnTo>
                    <a:cubicBezTo>
                      <a:pt x="2236" y="1031"/>
                      <a:pt x="2238" y="1029"/>
                      <a:pt x="2240" y="1027"/>
                    </a:cubicBezTo>
                    <a:lnTo>
                      <a:pt x="2338" y="965"/>
                    </a:lnTo>
                    <a:lnTo>
                      <a:pt x="2335" y="972"/>
                    </a:lnTo>
                    <a:lnTo>
                      <a:pt x="2335" y="927"/>
                    </a:lnTo>
                    <a:cubicBezTo>
                      <a:pt x="2335" y="923"/>
                      <a:pt x="2338" y="920"/>
                      <a:pt x="2342" y="919"/>
                    </a:cubicBezTo>
                    <a:lnTo>
                      <a:pt x="2367" y="916"/>
                    </a:lnTo>
                    <a:lnTo>
                      <a:pt x="2364" y="931"/>
                    </a:lnTo>
                    <a:lnTo>
                      <a:pt x="2346" y="921"/>
                    </a:lnTo>
                    <a:cubicBezTo>
                      <a:pt x="2343" y="919"/>
                      <a:pt x="2341" y="916"/>
                      <a:pt x="2342" y="912"/>
                    </a:cubicBezTo>
                    <a:cubicBezTo>
                      <a:pt x="2342" y="909"/>
                      <a:pt x="2345" y="907"/>
                      <a:pt x="2348" y="906"/>
                    </a:cubicBezTo>
                    <a:lnTo>
                      <a:pt x="2437" y="886"/>
                    </a:lnTo>
                    <a:lnTo>
                      <a:pt x="2431" y="896"/>
                    </a:lnTo>
                    <a:lnTo>
                      <a:pt x="2418" y="850"/>
                    </a:lnTo>
                    <a:lnTo>
                      <a:pt x="2423" y="856"/>
                    </a:lnTo>
                    <a:lnTo>
                      <a:pt x="2299" y="804"/>
                    </a:lnTo>
                    <a:cubicBezTo>
                      <a:pt x="2295" y="802"/>
                      <a:pt x="2293" y="798"/>
                      <a:pt x="2295" y="793"/>
                    </a:cubicBezTo>
                    <a:cubicBezTo>
                      <a:pt x="2297" y="789"/>
                      <a:pt x="2301" y="787"/>
                      <a:pt x="2305" y="789"/>
                    </a:cubicBezTo>
                    <a:lnTo>
                      <a:pt x="2439" y="841"/>
                    </a:lnTo>
                    <a:lnTo>
                      <a:pt x="2429" y="844"/>
                    </a:lnTo>
                    <a:lnTo>
                      <a:pt x="2465" y="784"/>
                    </a:lnTo>
                    <a:cubicBezTo>
                      <a:pt x="2466" y="781"/>
                      <a:pt x="2469" y="780"/>
                      <a:pt x="2473" y="780"/>
                    </a:cubicBezTo>
                    <a:lnTo>
                      <a:pt x="2546" y="787"/>
                    </a:lnTo>
                    <a:lnTo>
                      <a:pt x="2539" y="790"/>
                    </a:lnTo>
                    <a:lnTo>
                      <a:pt x="2609" y="682"/>
                    </a:lnTo>
                    <a:lnTo>
                      <a:pt x="2615" y="694"/>
                    </a:lnTo>
                    <a:lnTo>
                      <a:pt x="2514" y="682"/>
                    </a:lnTo>
                    <a:cubicBezTo>
                      <a:pt x="2512" y="682"/>
                      <a:pt x="2510" y="681"/>
                      <a:pt x="2509" y="680"/>
                    </a:cubicBezTo>
                    <a:lnTo>
                      <a:pt x="2456" y="625"/>
                    </a:lnTo>
                    <a:cubicBezTo>
                      <a:pt x="2454" y="622"/>
                      <a:pt x="2453" y="618"/>
                      <a:pt x="2455" y="615"/>
                    </a:cubicBezTo>
                    <a:cubicBezTo>
                      <a:pt x="2457" y="612"/>
                      <a:pt x="2461" y="610"/>
                      <a:pt x="2465" y="612"/>
                    </a:cubicBezTo>
                    <a:lnTo>
                      <a:pt x="2606" y="662"/>
                    </a:lnTo>
                    <a:lnTo>
                      <a:pt x="2598" y="664"/>
                    </a:lnTo>
                    <a:lnTo>
                      <a:pt x="2653" y="599"/>
                    </a:lnTo>
                    <a:lnTo>
                      <a:pt x="2652" y="608"/>
                    </a:lnTo>
                    <a:lnTo>
                      <a:pt x="2626" y="563"/>
                    </a:lnTo>
                    <a:cubicBezTo>
                      <a:pt x="2624" y="560"/>
                      <a:pt x="2624" y="557"/>
                      <a:pt x="2626" y="554"/>
                    </a:cubicBezTo>
                    <a:cubicBezTo>
                      <a:pt x="2628" y="552"/>
                      <a:pt x="2632" y="550"/>
                      <a:pt x="2635" y="551"/>
                    </a:cubicBezTo>
                    <a:lnTo>
                      <a:pt x="2773" y="585"/>
                    </a:lnTo>
                    <a:lnTo>
                      <a:pt x="2764" y="595"/>
                    </a:lnTo>
                    <a:lnTo>
                      <a:pt x="2749" y="548"/>
                    </a:lnTo>
                    <a:cubicBezTo>
                      <a:pt x="2748" y="544"/>
                      <a:pt x="2749" y="541"/>
                      <a:pt x="2752" y="539"/>
                    </a:cubicBezTo>
                    <a:cubicBezTo>
                      <a:pt x="2755" y="537"/>
                      <a:pt x="2759" y="537"/>
                      <a:pt x="2762" y="540"/>
                    </a:cubicBezTo>
                    <a:lnTo>
                      <a:pt x="2794" y="572"/>
                    </a:lnTo>
                    <a:lnTo>
                      <a:pt x="2783" y="571"/>
                    </a:lnTo>
                    <a:lnTo>
                      <a:pt x="2873" y="501"/>
                    </a:lnTo>
                    <a:lnTo>
                      <a:pt x="2871" y="510"/>
                    </a:lnTo>
                    <a:lnTo>
                      <a:pt x="2817" y="374"/>
                    </a:lnTo>
                    <a:cubicBezTo>
                      <a:pt x="2816" y="372"/>
                      <a:pt x="2816" y="370"/>
                      <a:pt x="2817" y="368"/>
                    </a:cubicBezTo>
                    <a:cubicBezTo>
                      <a:pt x="2818" y="366"/>
                      <a:pt x="2820" y="365"/>
                      <a:pt x="2822" y="364"/>
                    </a:cubicBezTo>
                    <a:lnTo>
                      <a:pt x="2882" y="345"/>
                    </a:lnTo>
                    <a:lnTo>
                      <a:pt x="2880" y="360"/>
                    </a:lnTo>
                    <a:lnTo>
                      <a:pt x="2853" y="343"/>
                    </a:lnTo>
                    <a:cubicBezTo>
                      <a:pt x="2851" y="342"/>
                      <a:pt x="2850" y="340"/>
                      <a:pt x="2850" y="338"/>
                    </a:cubicBezTo>
                    <a:cubicBezTo>
                      <a:pt x="2849" y="336"/>
                      <a:pt x="2850" y="333"/>
                      <a:pt x="2851" y="332"/>
                    </a:cubicBezTo>
                    <a:lnTo>
                      <a:pt x="2873" y="302"/>
                    </a:lnTo>
                    <a:lnTo>
                      <a:pt x="2874" y="312"/>
                    </a:lnTo>
                    <a:lnTo>
                      <a:pt x="2817" y="250"/>
                    </a:lnTo>
                    <a:lnTo>
                      <a:pt x="2822" y="252"/>
                    </a:lnTo>
                    <a:lnTo>
                      <a:pt x="2685" y="244"/>
                    </a:lnTo>
                    <a:lnTo>
                      <a:pt x="2693" y="233"/>
                    </a:lnTo>
                    <a:lnTo>
                      <a:pt x="2731" y="337"/>
                    </a:lnTo>
                    <a:cubicBezTo>
                      <a:pt x="2731" y="339"/>
                      <a:pt x="2731" y="341"/>
                      <a:pt x="2730" y="343"/>
                    </a:cubicBezTo>
                    <a:cubicBezTo>
                      <a:pt x="2729" y="345"/>
                      <a:pt x="2727" y="347"/>
                      <a:pt x="2725" y="347"/>
                    </a:cubicBezTo>
                    <a:lnTo>
                      <a:pt x="2675" y="361"/>
                    </a:lnTo>
                    <a:lnTo>
                      <a:pt x="2681" y="356"/>
                    </a:lnTo>
                    <a:lnTo>
                      <a:pt x="2639" y="478"/>
                    </a:lnTo>
                    <a:cubicBezTo>
                      <a:pt x="2638" y="480"/>
                      <a:pt x="2637" y="481"/>
                      <a:pt x="2635" y="482"/>
                    </a:cubicBezTo>
                    <a:lnTo>
                      <a:pt x="2600" y="501"/>
                    </a:lnTo>
                    <a:cubicBezTo>
                      <a:pt x="2597" y="503"/>
                      <a:pt x="2592" y="502"/>
                      <a:pt x="2590" y="498"/>
                    </a:cubicBezTo>
                    <a:lnTo>
                      <a:pt x="2535" y="418"/>
                    </a:lnTo>
                    <a:cubicBezTo>
                      <a:pt x="2533" y="416"/>
                      <a:pt x="2533" y="414"/>
                      <a:pt x="2533" y="412"/>
                    </a:cubicBezTo>
                    <a:cubicBezTo>
                      <a:pt x="2534" y="410"/>
                      <a:pt x="2535" y="408"/>
                      <a:pt x="2537" y="407"/>
                    </a:cubicBezTo>
                    <a:lnTo>
                      <a:pt x="2566" y="388"/>
                    </a:lnTo>
                    <a:lnTo>
                      <a:pt x="2563" y="397"/>
                    </a:lnTo>
                    <a:lnTo>
                      <a:pt x="2546" y="335"/>
                    </a:lnTo>
                    <a:lnTo>
                      <a:pt x="2549" y="340"/>
                    </a:lnTo>
                    <a:lnTo>
                      <a:pt x="2488" y="300"/>
                    </a:lnTo>
                    <a:lnTo>
                      <a:pt x="2500" y="296"/>
                    </a:lnTo>
                    <a:lnTo>
                      <a:pt x="2457" y="395"/>
                    </a:lnTo>
                    <a:cubicBezTo>
                      <a:pt x="2456" y="398"/>
                      <a:pt x="2453" y="400"/>
                      <a:pt x="2450" y="400"/>
                    </a:cubicBezTo>
                    <a:cubicBezTo>
                      <a:pt x="2446" y="400"/>
                      <a:pt x="2444" y="398"/>
                      <a:pt x="2442" y="395"/>
                    </a:cubicBezTo>
                    <a:lnTo>
                      <a:pt x="2392" y="284"/>
                    </a:lnTo>
                    <a:cubicBezTo>
                      <a:pt x="2391" y="281"/>
                      <a:pt x="2392" y="276"/>
                      <a:pt x="2396" y="274"/>
                    </a:cubicBezTo>
                    <a:lnTo>
                      <a:pt x="2422" y="259"/>
                    </a:lnTo>
                    <a:lnTo>
                      <a:pt x="2424" y="274"/>
                    </a:lnTo>
                    <a:lnTo>
                      <a:pt x="2338" y="256"/>
                    </a:lnTo>
                    <a:cubicBezTo>
                      <a:pt x="2335" y="255"/>
                      <a:pt x="2333" y="253"/>
                      <a:pt x="2332" y="250"/>
                    </a:cubicBezTo>
                    <a:cubicBezTo>
                      <a:pt x="2331" y="247"/>
                      <a:pt x="2332" y="244"/>
                      <a:pt x="2334" y="242"/>
                    </a:cubicBezTo>
                    <a:lnTo>
                      <a:pt x="2362" y="214"/>
                    </a:lnTo>
                    <a:lnTo>
                      <a:pt x="2361" y="224"/>
                    </a:lnTo>
                    <a:lnTo>
                      <a:pt x="2343" y="201"/>
                    </a:lnTo>
                    <a:cubicBezTo>
                      <a:pt x="2341" y="198"/>
                      <a:pt x="2341" y="195"/>
                      <a:pt x="2343" y="192"/>
                    </a:cubicBezTo>
                    <a:cubicBezTo>
                      <a:pt x="2344" y="189"/>
                      <a:pt x="2347" y="188"/>
                      <a:pt x="2350" y="188"/>
                    </a:cubicBezTo>
                    <a:lnTo>
                      <a:pt x="2393" y="190"/>
                    </a:lnTo>
                    <a:lnTo>
                      <a:pt x="2387" y="203"/>
                    </a:lnTo>
                    <a:lnTo>
                      <a:pt x="2316" y="135"/>
                    </a:lnTo>
                    <a:cubicBezTo>
                      <a:pt x="2315" y="133"/>
                      <a:pt x="2314" y="131"/>
                      <a:pt x="2314" y="129"/>
                    </a:cubicBezTo>
                    <a:lnTo>
                      <a:pt x="2313" y="82"/>
                    </a:lnTo>
                    <a:lnTo>
                      <a:pt x="2316" y="89"/>
                    </a:lnTo>
                    <a:lnTo>
                      <a:pt x="2210" y="15"/>
                    </a:lnTo>
                    <a:lnTo>
                      <a:pt x="2223" y="10"/>
                    </a:lnTo>
                    <a:lnTo>
                      <a:pt x="2206" y="87"/>
                    </a:lnTo>
                    <a:cubicBezTo>
                      <a:pt x="2205" y="91"/>
                      <a:pt x="2202" y="94"/>
                      <a:pt x="2198" y="93"/>
                    </a:cubicBezTo>
                    <a:lnTo>
                      <a:pt x="2163" y="90"/>
                    </a:lnTo>
                    <a:lnTo>
                      <a:pt x="2172" y="83"/>
                    </a:lnTo>
                    <a:lnTo>
                      <a:pt x="2158" y="212"/>
                    </a:lnTo>
                    <a:lnTo>
                      <a:pt x="2153" y="203"/>
                    </a:lnTo>
                    <a:lnTo>
                      <a:pt x="2293" y="259"/>
                    </a:lnTo>
                    <a:cubicBezTo>
                      <a:pt x="2295" y="260"/>
                      <a:pt x="2297" y="261"/>
                      <a:pt x="2298" y="264"/>
                    </a:cubicBezTo>
                    <a:cubicBezTo>
                      <a:pt x="2298" y="266"/>
                      <a:pt x="2298" y="268"/>
                      <a:pt x="2297" y="270"/>
                    </a:cubicBezTo>
                    <a:lnTo>
                      <a:pt x="2248" y="347"/>
                    </a:lnTo>
                    <a:lnTo>
                      <a:pt x="2235" y="338"/>
                    </a:lnTo>
                    <a:lnTo>
                      <a:pt x="2263" y="306"/>
                    </a:lnTo>
                    <a:cubicBezTo>
                      <a:pt x="2265" y="304"/>
                      <a:pt x="2267" y="303"/>
                      <a:pt x="2270" y="303"/>
                    </a:cubicBezTo>
                    <a:cubicBezTo>
                      <a:pt x="2273" y="304"/>
                      <a:pt x="2275" y="305"/>
                      <a:pt x="2276" y="307"/>
                    </a:cubicBezTo>
                    <a:lnTo>
                      <a:pt x="2301" y="351"/>
                    </a:lnTo>
                    <a:cubicBezTo>
                      <a:pt x="2302" y="353"/>
                      <a:pt x="2302" y="355"/>
                      <a:pt x="2302" y="357"/>
                    </a:cubicBezTo>
                    <a:cubicBezTo>
                      <a:pt x="2301" y="359"/>
                      <a:pt x="2300" y="361"/>
                      <a:pt x="2298" y="362"/>
                    </a:cubicBezTo>
                    <a:lnTo>
                      <a:pt x="2202" y="414"/>
                    </a:lnTo>
                    <a:lnTo>
                      <a:pt x="2206" y="406"/>
                    </a:lnTo>
                    <a:lnTo>
                      <a:pt x="2219" y="493"/>
                    </a:lnTo>
                    <a:cubicBezTo>
                      <a:pt x="2219" y="496"/>
                      <a:pt x="2218" y="499"/>
                      <a:pt x="2215" y="500"/>
                    </a:cubicBezTo>
                    <a:cubicBezTo>
                      <a:pt x="2213" y="502"/>
                      <a:pt x="2209" y="502"/>
                      <a:pt x="2207" y="500"/>
                    </a:cubicBezTo>
                    <a:lnTo>
                      <a:pt x="2157" y="469"/>
                    </a:lnTo>
                    <a:cubicBezTo>
                      <a:pt x="2154" y="467"/>
                      <a:pt x="2152" y="464"/>
                      <a:pt x="2153" y="460"/>
                    </a:cubicBezTo>
                    <a:lnTo>
                      <a:pt x="2164" y="397"/>
                    </a:lnTo>
                    <a:lnTo>
                      <a:pt x="2175" y="406"/>
                    </a:lnTo>
                    <a:lnTo>
                      <a:pt x="2147" y="417"/>
                    </a:lnTo>
                    <a:cubicBezTo>
                      <a:pt x="2144" y="419"/>
                      <a:pt x="2140" y="418"/>
                      <a:pt x="2138" y="415"/>
                    </a:cubicBezTo>
                    <a:lnTo>
                      <a:pt x="2110" y="374"/>
                    </a:lnTo>
                    <a:lnTo>
                      <a:pt x="2117" y="378"/>
                    </a:lnTo>
                    <a:lnTo>
                      <a:pt x="2046" y="385"/>
                    </a:lnTo>
                    <a:lnTo>
                      <a:pt x="2053" y="372"/>
                    </a:lnTo>
                    <a:lnTo>
                      <a:pt x="2084" y="424"/>
                    </a:lnTo>
                    <a:lnTo>
                      <a:pt x="2075" y="421"/>
                    </a:lnTo>
                    <a:lnTo>
                      <a:pt x="2115" y="406"/>
                    </a:lnTo>
                    <a:cubicBezTo>
                      <a:pt x="2118" y="405"/>
                      <a:pt x="2121" y="405"/>
                      <a:pt x="2123" y="407"/>
                    </a:cubicBezTo>
                    <a:cubicBezTo>
                      <a:pt x="2125" y="409"/>
                      <a:pt x="2126" y="412"/>
                      <a:pt x="2126" y="415"/>
                    </a:cubicBezTo>
                    <a:lnTo>
                      <a:pt x="2117" y="458"/>
                    </a:lnTo>
                    <a:cubicBezTo>
                      <a:pt x="2117" y="461"/>
                      <a:pt x="2115" y="464"/>
                      <a:pt x="2112" y="464"/>
                    </a:cubicBezTo>
                    <a:cubicBezTo>
                      <a:pt x="2109" y="465"/>
                      <a:pt x="2106" y="465"/>
                      <a:pt x="2104" y="463"/>
                    </a:cubicBezTo>
                    <a:lnTo>
                      <a:pt x="2051" y="412"/>
                    </a:lnTo>
                    <a:lnTo>
                      <a:pt x="2065" y="405"/>
                    </a:lnTo>
                    <a:lnTo>
                      <a:pt x="2070" y="434"/>
                    </a:lnTo>
                    <a:cubicBezTo>
                      <a:pt x="2071" y="436"/>
                      <a:pt x="2070" y="438"/>
                      <a:pt x="2069" y="440"/>
                    </a:cubicBezTo>
                    <a:cubicBezTo>
                      <a:pt x="2067" y="442"/>
                      <a:pt x="2065" y="443"/>
                      <a:pt x="2063" y="443"/>
                    </a:cubicBezTo>
                    <a:lnTo>
                      <a:pt x="1871" y="451"/>
                    </a:lnTo>
                    <a:cubicBezTo>
                      <a:pt x="1869" y="452"/>
                      <a:pt x="1867" y="451"/>
                      <a:pt x="1866" y="449"/>
                    </a:cubicBezTo>
                    <a:lnTo>
                      <a:pt x="1820" y="409"/>
                    </a:lnTo>
                    <a:lnTo>
                      <a:pt x="1825" y="411"/>
                    </a:lnTo>
                    <a:lnTo>
                      <a:pt x="1753" y="415"/>
                    </a:lnTo>
                    <a:cubicBezTo>
                      <a:pt x="1751" y="415"/>
                      <a:pt x="1748" y="414"/>
                      <a:pt x="1746" y="411"/>
                    </a:cubicBezTo>
                    <a:lnTo>
                      <a:pt x="1678" y="319"/>
                    </a:lnTo>
                    <a:lnTo>
                      <a:pt x="1689" y="322"/>
                    </a:lnTo>
                    <a:lnTo>
                      <a:pt x="1565" y="387"/>
                    </a:lnTo>
                    <a:lnTo>
                      <a:pt x="1566" y="373"/>
                    </a:lnTo>
                    <a:lnTo>
                      <a:pt x="1602" y="397"/>
                    </a:lnTo>
                    <a:lnTo>
                      <a:pt x="1594" y="396"/>
                    </a:lnTo>
                    <a:lnTo>
                      <a:pt x="1694" y="344"/>
                    </a:lnTo>
                    <a:cubicBezTo>
                      <a:pt x="1697" y="342"/>
                      <a:pt x="1702" y="344"/>
                      <a:pt x="1704" y="347"/>
                    </a:cubicBezTo>
                    <a:cubicBezTo>
                      <a:pt x="1706" y="350"/>
                      <a:pt x="1706" y="355"/>
                      <a:pt x="1702" y="358"/>
                    </a:cubicBezTo>
                    <a:lnTo>
                      <a:pt x="1600" y="441"/>
                    </a:lnTo>
                    <a:lnTo>
                      <a:pt x="1602" y="431"/>
                    </a:lnTo>
                    <a:lnTo>
                      <a:pt x="1639" y="498"/>
                    </a:lnTo>
                    <a:cubicBezTo>
                      <a:pt x="1641" y="501"/>
                      <a:pt x="1640" y="504"/>
                      <a:pt x="1639" y="507"/>
                    </a:cubicBezTo>
                    <a:lnTo>
                      <a:pt x="1614" y="540"/>
                    </a:lnTo>
                    <a:cubicBezTo>
                      <a:pt x="1612" y="543"/>
                      <a:pt x="1609" y="544"/>
                      <a:pt x="1606" y="543"/>
                    </a:cubicBezTo>
                    <a:cubicBezTo>
                      <a:pt x="1603" y="543"/>
                      <a:pt x="1600" y="540"/>
                      <a:pt x="1599" y="537"/>
                    </a:cubicBezTo>
                    <a:lnTo>
                      <a:pt x="1587" y="485"/>
                    </a:lnTo>
                    <a:lnTo>
                      <a:pt x="1590" y="490"/>
                    </a:lnTo>
                    <a:lnTo>
                      <a:pt x="1493" y="416"/>
                    </a:lnTo>
                    <a:lnTo>
                      <a:pt x="1498" y="418"/>
                    </a:lnTo>
                    <a:lnTo>
                      <a:pt x="1279" y="443"/>
                    </a:lnTo>
                    <a:cubicBezTo>
                      <a:pt x="1278" y="443"/>
                      <a:pt x="1276" y="443"/>
                      <a:pt x="1275" y="442"/>
                    </a:cubicBezTo>
                    <a:lnTo>
                      <a:pt x="1230" y="421"/>
                    </a:lnTo>
                    <a:cubicBezTo>
                      <a:pt x="1228" y="419"/>
                      <a:pt x="1226" y="417"/>
                      <a:pt x="1226" y="414"/>
                    </a:cubicBezTo>
                    <a:cubicBezTo>
                      <a:pt x="1226" y="411"/>
                      <a:pt x="1227" y="408"/>
                      <a:pt x="1230" y="406"/>
                    </a:cubicBezTo>
                    <a:lnTo>
                      <a:pt x="1305" y="363"/>
                    </a:lnTo>
                    <a:lnTo>
                      <a:pt x="1304" y="376"/>
                    </a:lnTo>
                    <a:lnTo>
                      <a:pt x="1241" y="324"/>
                    </a:lnTo>
                    <a:lnTo>
                      <a:pt x="1246" y="326"/>
                    </a:lnTo>
                    <a:lnTo>
                      <a:pt x="1135" y="328"/>
                    </a:lnTo>
                    <a:cubicBezTo>
                      <a:pt x="1134" y="328"/>
                      <a:pt x="1133" y="328"/>
                      <a:pt x="1133" y="327"/>
                    </a:cubicBezTo>
                    <a:lnTo>
                      <a:pt x="888" y="235"/>
                    </a:lnTo>
                    <a:lnTo>
                      <a:pt x="895" y="234"/>
                    </a:lnTo>
                    <a:lnTo>
                      <a:pt x="806" y="288"/>
                    </a:lnTo>
                    <a:cubicBezTo>
                      <a:pt x="804" y="290"/>
                      <a:pt x="801" y="290"/>
                      <a:pt x="798" y="288"/>
                    </a:cubicBezTo>
                    <a:cubicBezTo>
                      <a:pt x="795" y="286"/>
                      <a:pt x="794" y="283"/>
                      <a:pt x="794" y="280"/>
                    </a:cubicBezTo>
                    <a:lnTo>
                      <a:pt x="801" y="207"/>
                    </a:lnTo>
                    <a:lnTo>
                      <a:pt x="815" y="213"/>
                    </a:lnTo>
                    <a:lnTo>
                      <a:pt x="746" y="287"/>
                    </a:lnTo>
                    <a:cubicBezTo>
                      <a:pt x="744" y="288"/>
                      <a:pt x="742" y="289"/>
                      <a:pt x="740" y="289"/>
                    </a:cubicBezTo>
                    <a:cubicBezTo>
                      <a:pt x="737" y="289"/>
                      <a:pt x="735" y="288"/>
                      <a:pt x="734" y="286"/>
                    </a:cubicBezTo>
                    <a:lnTo>
                      <a:pt x="626" y="161"/>
                    </a:lnTo>
                    <a:lnTo>
                      <a:pt x="638" y="151"/>
                    </a:lnTo>
                    <a:lnTo>
                      <a:pt x="661" y="187"/>
                    </a:lnTo>
                    <a:cubicBezTo>
                      <a:pt x="662" y="188"/>
                      <a:pt x="662" y="191"/>
                      <a:pt x="662" y="193"/>
                    </a:cubicBezTo>
                    <a:cubicBezTo>
                      <a:pt x="661" y="195"/>
                      <a:pt x="660" y="196"/>
                      <a:pt x="658" y="198"/>
                    </a:cubicBezTo>
                    <a:lnTo>
                      <a:pt x="490" y="303"/>
                    </a:lnTo>
                    <a:cubicBezTo>
                      <a:pt x="488" y="305"/>
                      <a:pt x="485" y="305"/>
                      <a:pt x="482" y="303"/>
                    </a:cubicBezTo>
                    <a:cubicBezTo>
                      <a:pt x="479" y="302"/>
                      <a:pt x="478" y="299"/>
                      <a:pt x="478" y="296"/>
                    </a:cubicBezTo>
                    <a:lnTo>
                      <a:pt x="478" y="271"/>
                    </a:lnTo>
                    <a:lnTo>
                      <a:pt x="489" y="279"/>
                    </a:lnTo>
                    <a:lnTo>
                      <a:pt x="400" y="314"/>
                    </a:lnTo>
                    <a:cubicBezTo>
                      <a:pt x="396" y="315"/>
                      <a:pt x="392" y="314"/>
                      <a:pt x="390" y="310"/>
                    </a:cubicBezTo>
                    <a:cubicBezTo>
                      <a:pt x="388" y="307"/>
                      <a:pt x="389" y="302"/>
                      <a:pt x="392" y="300"/>
                    </a:cubicBezTo>
                    <a:lnTo>
                      <a:pt x="546" y="181"/>
                    </a:lnTo>
                    <a:lnTo>
                      <a:pt x="555" y="195"/>
                    </a:lnTo>
                    <a:lnTo>
                      <a:pt x="355" y="290"/>
                    </a:lnTo>
                    <a:lnTo>
                      <a:pt x="356" y="289"/>
                    </a:lnTo>
                    <a:lnTo>
                      <a:pt x="322" y="317"/>
                    </a:lnTo>
                    <a:lnTo>
                      <a:pt x="324" y="308"/>
                    </a:lnTo>
                    <a:lnTo>
                      <a:pt x="343" y="359"/>
                    </a:lnTo>
                    <a:cubicBezTo>
                      <a:pt x="345" y="362"/>
                      <a:pt x="344" y="365"/>
                      <a:pt x="342" y="367"/>
                    </a:cubicBezTo>
                    <a:cubicBezTo>
                      <a:pt x="340" y="369"/>
                      <a:pt x="336" y="370"/>
                      <a:pt x="333" y="369"/>
                    </a:cubicBezTo>
                    <a:lnTo>
                      <a:pt x="6" y="250"/>
                    </a:lnTo>
                    <a:lnTo>
                      <a:pt x="16" y="243"/>
                    </a:lnTo>
                    <a:lnTo>
                      <a:pt x="16" y="1131"/>
                    </a:lnTo>
                    <a:lnTo>
                      <a:pt x="8" y="1123"/>
                    </a:lnTo>
                    <a:lnTo>
                      <a:pt x="96" y="1123"/>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96" name="Freeform 52"/>
              <p:cNvSpPr>
                <a:spLocks/>
              </p:cNvSpPr>
              <p:nvPr/>
            </p:nvSpPr>
            <p:spPr bwMode="auto">
              <a:xfrm>
                <a:off x="950" y="1392"/>
                <a:ext cx="69" cy="37"/>
              </a:xfrm>
              <a:custGeom>
                <a:avLst/>
                <a:gdLst/>
                <a:ahLst/>
                <a:cxnLst>
                  <a:cxn ang="0">
                    <a:pos x="0" y="0"/>
                  </a:cxn>
                  <a:cxn ang="0">
                    <a:pos x="38" y="8"/>
                  </a:cxn>
                  <a:cxn ang="0">
                    <a:pos x="69" y="37"/>
                  </a:cxn>
                  <a:cxn ang="0">
                    <a:pos x="51" y="31"/>
                  </a:cxn>
                  <a:cxn ang="0">
                    <a:pos x="0" y="0"/>
                  </a:cxn>
                </a:cxnLst>
                <a:rect l="0" t="0" r="r" b="b"/>
                <a:pathLst>
                  <a:path w="69" h="37">
                    <a:moveTo>
                      <a:pt x="0" y="0"/>
                    </a:moveTo>
                    <a:lnTo>
                      <a:pt x="38" y="8"/>
                    </a:lnTo>
                    <a:lnTo>
                      <a:pt x="69" y="37"/>
                    </a:lnTo>
                    <a:lnTo>
                      <a:pt x="51" y="31"/>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97" name="Freeform 53"/>
              <p:cNvSpPr>
                <a:spLocks noEditPoints="1"/>
              </p:cNvSpPr>
              <p:nvPr/>
            </p:nvSpPr>
            <p:spPr bwMode="auto">
              <a:xfrm>
                <a:off x="948" y="1391"/>
                <a:ext cx="74" cy="40"/>
              </a:xfrm>
              <a:custGeom>
                <a:avLst/>
                <a:gdLst/>
                <a:ahLst/>
                <a:cxnLst>
                  <a:cxn ang="0">
                    <a:pos x="4" y="15"/>
                  </a:cxn>
                  <a:cxn ang="0">
                    <a:pos x="1" y="5"/>
                  </a:cxn>
                  <a:cxn ang="0">
                    <a:pos x="10" y="1"/>
                  </a:cxn>
                  <a:cxn ang="0">
                    <a:pos x="141" y="32"/>
                  </a:cxn>
                  <a:cxn ang="0">
                    <a:pos x="146" y="35"/>
                  </a:cxn>
                  <a:cxn ang="0">
                    <a:pos x="255" y="163"/>
                  </a:cxn>
                  <a:cxn ang="0">
                    <a:pos x="255" y="173"/>
                  </a:cxn>
                  <a:cxn ang="0">
                    <a:pos x="245" y="176"/>
                  </a:cxn>
                  <a:cxn ang="0">
                    <a:pos x="182" y="151"/>
                  </a:cxn>
                  <a:cxn ang="0">
                    <a:pos x="180" y="149"/>
                  </a:cxn>
                  <a:cxn ang="0">
                    <a:pos x="4" y="15"/>
                  </a:cxn>
                  <a:cxn ang="0">
                    <a:pos x="190" y="137"/>
                  </a:cxn>
                  <a:cxn ang="0">
                    <a:pos x="188" y="136"/>
                  </a:cxn>
                  <a:cxn ang="0">
                    <a:pos x="251" y="161"/>
                  </a:cxn>
                  <a:cxn ang="0">
                    <a:pos x="242" y="174"/>
                  </a:cxn>
                  <a:cxn ang="0">
                    <a:pos x="133" y="45"/>
                  </a:cxn>
                  <a:cxn ang="0">
                    <a:pos x="138" y="48"/>
                  </a:cxn>
                  <a:cxn ang="0">
                    <a:pos x="7" y="16"/>
                  </a:cxn>
                  <a:cxn ang="0">
                    <a:pos x="13" y="2"/>
                  </a:cxn>
                  <a:cxn ang="0">
                    <a:pos x="190" y="137"/>
                  </a:cxn>
                </a:cxnLst>
                <a:rect l="0" t="0" r="r" b="b"/>
                <a:pathLst>
                  <a:path w="257" h="177">
                    <a:moveTo>
                      <a:pt x="4" y="15"/>
                    </a:moveTo>
                    <a:cubicBezTo>
                      <a:pt x="1" y="13"/>
                      <a:pt x="0" y="8"/>
                      <a:pt x="1" y="5"/>
                    </a:cubicBezTo>
                    <a:cubicBezTo>
                      <a:pt x="3" y="2"/>
                      <a:pt x="7" y="0"/>
                      <a:pt x="10" y="1"/>
                    </a:cubicBezTo>
                    <a:lnTo>
                      <a:pt x="141" y="32"/>
                    </a:lnTo>
                    <a:cubicBezTo>
                      <a:pt x="143" y="33"/>
                      <a:pt x="145" y="34"/>
                      <a:pt x="146" y="35"/>
                    </a:cubicBezTo>
                    <a:lnTo>
                      <a:pt x="255" y="163"/>
                    </a:lnTo>
                    <a:cubicBezTo>
                      <a:pt x="257" y="166"/>
                      <a:pt x="257" y="170"/>
                      <a:pt x="255" y="173"/>
                    </a:cubicBezTo>
                    <a:cubicBezTo>
                      <a:pt x="253" y="176"/>
                      <a:pt x="249" y="177"/>
                      <a:pt x="245" y="176"/>
                    </a:cubicBezTo>
                    <a:lnTo>
                      <a:pt x="182" y="151"/>
                    </a:lnTo>
                    <a:cubicBezTo>
                      <a:pt x="181" y="150"/>
                      <a:pt x="181" y="150"/>
                      <a:pt x="180" y="149"/>
                    </a:cubicBezTo>
                    <a:lnTo>
                      <a:pt x="4" y="15"/>
                    </a:lnTo>
                    <a:close/>
                    <a:moveTo>
                      <a:pt x="190" y="137"/>
                    </a:moveTo>
                    <a:lnTo>
                      <a:pt x="188" y="136"/>
                    </a:lnTo>
                    <a:lnTo>
                      <a:pt x="251" y="161"/>
                    </a:lnTo>
                    <a:lnTo>
                      <a:pt x="242" y="174"/>
                    </a:lnTo>
                    <a:lnTo>
                      <a:pt x="133" y="45"/>
                    </a:lnTo>
                    <a:lnTo>
                      <a:pt x="138" y="48"/>
                    </a:lnTo>
                    <a:lnTo>
                      <a:pt x="7" y="16"/>
                    </a:lnTo>
                    <a:lnTo>
                      <a:pt x="13" y="2"/>
                    </a:lnTo>
                    <a:lnTo>
                      <a:pt x="190" y="137"/>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98" name="Freeform 54"/>
              <p:cNvSpPr>
                <a:spLocks/>
              </p:cNvSpPr>
              <p:nvPr/>
            </p:nvSpPr>
            <p:spPr bwMode="auto">
              <a:xfrm>
                <a:off x="982" y="895"/>
                <a:ext cx="149" cy="88"/>
              </a:xfrm>
              <a:custGeom>
                <a:avLst/>
                <a:gdLst/>
                <a:ahLst/>
                <a:cxnLst>
                  <a:cxn ang="0">
                    <a:pos x="0" y="66"/>
                  </a:cxn>
                  <a:cxn ang="0">
                    <a:pos x="7" y="55"/>
                  </a:cxn>
                  <a:cxn ang="0">
                    <a:pos x="28" y="18"/>
                  </a:cxn>
                  <a:cxn ang="0">
                    <a:pos x="18" y="4"/>
                  </a:cxn>
                  <a:cxn ang="0">
                    <a:pos x="64" y="0"/>
                  </a:cxn>
                  <a:cxn ang="0">
                    <a:pos x="96" y="15"/>
                  </a:cxn>
                  <a:cxn ang="0">
                    <a:pos x="117" y="6"/>
                  </a:cxn>
                  <a:cxn ang="0">
                    <a:pos x="149" y="27"/>
                  </a:cxn>
                  <a:cxn ang="0">
                    <a:pos x="80" y="59"/>
                  </a:cxn>
                  <a:cxn ang="0">
                    <a:pos x="75" y="79"/>
                  </a:cxn>
                  <a:cxn ang="0">
                    <a:pos x="41" y="88"/>
                  </a:cxn>
                  <a:cxn ang="0">
                    <a:pos x="26" y="72"/>
                  </a:cxn>
                  <a:cxn ang="0">
                    <a:pos x="0" y="66"/>
                  </a:cxn>
                </a:cxnLst>
                <a:rect l="0" t="0" r="r" b="b"/>
                <a:pathLst>
                  <a:path w="149" h="88">
                    <a:moveTo>
                      <a:pt x="0" y="66"/>
                    </a:moveTo>
                    <a:lnTo>
                      <a:pt x="7" y="55"/>
                    </a:lnTo>
                    <a:lnTo>
                      <a:pt x="28" y="18"/>
                    </a:lnTo>
                    <a:lnTo>
                      <a:pt x="18" y="4"/>
                    </a:lnTo>
                    <a:lnTo>
                      <a:pt x="64" y="0"/>
                    </a:lnTo>
                    <a:lnTo>
                      <a:pt x="96" y="15"/>
                    </a:lnTo>
                    <a:lnTo>
                      <a:pt x="117" y="6"/>
                    </a:lnTo>
                    <a:lnTo>
                      <a:pt x="149" y="27"/>
                    </a:lnTo>
                    <a:lnTo>
                      <a:pt x="80" y="59"/>
                    </a:lnTo>
                    <a:lnTo>
                      <a:pt x="75" y="79"/>
                    </a:lnTo>
                    <a:lnTo>
                      <a:pt x="41" y="88"/>
                    </a:lnTo>
                    <a:lnTo>
                      <a:pt x="26" y="72"/>
                    </a:lnTo>
                    <a:lnTo>
                      <a:pt x="0" y="66"/>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99" name="Freeform 55"/>
              <p:cNvSpPr>
                <a:spLocks noEditPoints="1"/>
              </p:cNvSpPr>
              <p:nvPr/>
            </p:nvSpPr>
            <p:spPr bwMode="auto">
              <a:xfrm>
                <a:off x="980" y="893"/>
                <a:ext cx="153" cy="92"/>
              </a:xfrm>
              <a:custGeom>
                <a:avLst/>
                <a:gdLst/>
                <a:ahLst/>
                <a:cxnLst>
                  <a:cxn ang="0">
                    <a:pos x="6" y="306"/>
                  </a:cxn>
                  <a:cxn ang="0">
                    <a:pos x="1" y="302"/>
                  </a:cxn>
                  <a:cxn ang="0">
                    <a:pos x="1" y="295"/>
                  </a:cxn>
                  <a:cxn ang="0">
                    <a:pos x="22" y="246"/>
                  </a:cxn>
                  <a:cxn ang="0">
                    <a:pos x="96" y="85"/>
                  </a:cxn>
                  <a:cxn ang="0">
                    <a:pos x="96" y="93"/>
                  </a:cxn>
                  <a:cxn ang="0">
                    <a:pos x="61" y="28"/>
                  </a:cxn>
                  <a:cxn ang="0">
                    <a:pos x="61" y="20"/>
                  </a:cxn>
                  <a:cxn ang="0">
                    <a:pos x="67" y="16"/>
                  </a:cxn>
                  <a:cxn ang="0">
                    <a:pos x="227" y="0"/>
                  </a:cxn>
                  <a:cxn ang="0">
                    <a:pos x="232" y="2"/>
                  </a:cxn>
                  <a:cxn ang="0">
                    <a:pos x="341" y="65"/>
                  </a:cxn>
                  <a:cxn ang="0">
                    <a:pos x="333" y="65"/>
                  </a:cxn>
                  <a:cxn ang="0">
                    <a:pos x="405" y="27"/>
                  </a:cxn>
                  <a:cxn ang="0">
                    <a:pos x="414" y="28"/>
                  </a:cxn>
                  <a:cxn ang="0">
                    <a:pos x="526" y="120"/>
                  </a:cxn>
                  <a:cxn ang="0">
                    <a:pos x="528" y="127"/>
                  </a:cxn>
                  <a:cxn ang="0">
                    <a:pos x="525" y="133"/>
                  </a:cxn>
                  <a:cxn ang="0">
                    <a:pos x="288" y="273"/>
                  </a:cxn>
                  <a:cxn ang="0">
                    <a:pos x="292" y="268"/>
                  </a:cxn>
                  <a:cxn ang="0">
                    <a:pos x="272" y="353"/>
                  </a:cxn>
                  <a:cxn ang="0">
                    <a:pos x="267" y="359"/>
                  </a:cxn>
                  <a:cxn ang="0">
                    <a:pos x="151" y="400"/>
                  </a:cxn>
                  <a:cxn ang="0">
                    <a:pos x="142" y="397"/>
                  </a:cxn>
                  <a:cxn ang="0">
                    <a:pos x="90" y="329"/>
                  </a:cxn>
                  <a:cxn ang="0">
                    <a:pos x="94" y="332"/>
                  </a:cxn>
                  <a:cxn ang="0">
                    <a:pos x="6" y="306"/>
                  </a:cxn>
                  <a:cxn ang="0">
                    <a:pos x="98" y="317"/>
                  </a:cxn>
                  <a:cxn ang="0">
                    <a:pos x="103" y="319"/>
                  </a:cxn>
                  <a:cxn ang="0">
                    <a:pos x="155" y="388"/>
                  </a:cxn>
                  <a:cxn ang="0">
                    <a:pos x="146" y="385"/>
                  </a:cxn>
                  <a:cxn ang="0">
                    <a:pos x="262" y="344"/>
                  </a:cxn>
                  <a:cxn ang="0">
                    <a:pos x="257" y="350"/>
                  </a:cxn>
                  <a:cxn ang="0">
                    <a:pos x="276" y="264"/>
                  </a:cxn>
                  <a:cxn ang="0">
                    <a:pos x="280" y="259"/>
                  </a:cxn>
                  <a:cxn ang="0">
                    <a:pos x="516" y="119"/>
                  </a:cxn>
                  <a:cxn ang="0">
                    <a:pos x="515" y="132"/>
                  </a:cxn>
                  <a:cxn ang="0">
                    <a:pos x="404" y="40"/>
                  </a:cxn>
                  <a:cxn ang="0">
                    <a:pos x="412" y="41"/>
                  </a:cxn>
                  <a:cxn ang="0">
                    <a:pos x="340" y="79"/>
                  </a:cxn>
                  <a:cxn ang="0">
                    <a:pos x="333" y="79"/>
                  </a:cxn>
                  <a:cxn ang="0">
                    <a:pos x="224" y="15"/>
                  </a:cxn>
                  <a:cxn ang="0">
                    <a:pos x="228" y="16"/>
                  </a:cxn>
                  <a:cxn ang="0">
                    <a:pos x="69" y="32"/>
                  </a:cxn>
                  <a:cxn ang="0">
                    <a:pos x="75" y="20"/>
                  </a:cxn>
                  <a:cxn ang="0">
                    <a:pos x="110" y="85"/>
                  </a:cxn>
                  <a:cxn ang="0">
                    <a:pos x="111" y="92"/>
                  </a:cxn>
                  <a:cxn ang="0">
                    <a:pos x="37" y="252"/>
                  </a:cxn>
                  <a:cxn ang="0">
                    <a:pos x="16" y="302"/>
                  </a:cxn>
                  <a:cxn ang="0">
                    <a:pos x="11" y="291"/>
                  </a:cxn>
                  <a:cxn ang="0">
                    <a:pos x="98" y="317"/>
                  </a:cxn>
                </a:cxnLst>
                <a:rect l="0" t="0" r="r" b="b"/>
                <a:pathLst>
                  <a:path w="529" h="401">
                    <a:moveTo>
                      <a:pt x="6" y="306"/>
                    </a:moveTo>
                    <a:cubicBezTo>
                      <a:pt x="4" y="306"/>
                      <a:pt x="2" y="304"/>
                      <a:pt x="1" y="302"/>
                    </a:cubicBezTo>
                    <a:cubicBezTo>
                      <a:pt x="0" y="300"/>
                      <a:pt x="0" y="298"/>
                      <a:pt x="1" y="295"/>
                    </a:cubicBezTo>
                    <a:lnTo>
                      <a:pt x="22" y="246"/>
                    </a:lnTo>
                    <a:lnTo>
                      <a:pt x="96" y="85"/>
                    </a:lnTo>
                    <a:lnTo>
                      <a:pt x="96" y="93"/>
                    </a:lnTo>
                    <a:lnTo>
                      <a:pt x="61" y="28"/>
                    </a:lnTo>
                    <a:cubicBezTo>
                      <a:pt x="60" y="25"/>
                      <a:pt x="60" y="22"/>
                      <a:pt x="61" y="20"/>
                    </a:cubicBezTo>
                    <a:cubicBezTo>
                      <a:pt x="62" y="18"/>
                      <a:pt x="64" y="16"/>
                      <a:pt x="67" y="16"/>
                    </a:cubicBezTo>
                    <a:lnTo>
                      <a:pt x="227" y="0"/>
                    </a:lnTo>
                    <a:cubicBezTo>
                      <a:pt x="229" y="0"/>
                      <a:pt x="230" y="1"/>
                      <a:pt x="232" y="2"/>
                    </a:cubicBezTo>
                    <a:lnTo>
                      <a:pt x="341" y="65"/>
                    </a:lnTo>
                    <a:lnTo>
                      <a:pt x="333" y="65"/>
                    </a:lnTo>
                    <a:lnTo>
                      <a:pt x="405" y="27"/>
                    </a:lnTo>
                    <a:cubicBezTo>
                      <a:pt x="408" y="25"/>
                      <a:pt x="411" y="26"/>
                      <a:pt x="414" y="28"/>
                    </a:cubicBezTo>
                    <a:lnTo>
                      <a:pt x="526" y="120"/>
                    </a:lnTo>
                    <a:cubicBezTo>
                      <a:pt x="528" y="122"/>
                      <a:pt x="529" y="124"/>
                      <a:pt x="528" y="127"/>
                    </a:cubicBezTo>
                    <a:cubicBezTo>
                      <a:pt x="528" y="129"/>
                      <a:pt x="527" y="132"/>
                      <a:pt x="525" y="133"/>
                    </a:cubicBezTo>
                    <a:lnTo>
                      <a:pt x="288" y="273"/>
                    </a:lnTo>
                    <a:lnTo>
                      <a:pt x="292" y="268"/>
                    </a:lnTo>
                    <a:lnTo>
                      <a:pt x="272" y="353"/>
                    </a:lnTo>
                    <a:cubicBezTo>
                      <a:pt x="272" y="356"/>
                      <a:pt x="270" y="358"/>
                      <a:pt x="267" y="359"/>
                    </a:cubicBezTo>
                    <a:lnTo>
                      <a:pt x="151" y="400"/>
                    </a:lnTo>
                    <a:cubicBezTo>
                      <a:pt x="148" y="401"/>
                      <a:pt x="144" y="400"/>
                      <a:pt x="142" y="397"/>
                    </a:cubicBezTo>
                    <a:lnTo>
                      <a:pt x="90" y="329"/>
                    </a:lnTo>
                    <a:lnTo>
                      <a:pt x="94" y="332"/>
                    </a:lnTo>
                    <a:lnTo>
                      <a:pt x="6" y="306"/>
                    </a:lnTo>
                    <a:close/>
                    <a:moveTo>
                      <a:pt x="98" y="317"/>
                    </a:moveTo>
                    <a:cubicBezTo>
                      <a:pt x="100" y="317"/>
                      <a:pt x="101" y="318"/>
                      <a:pt x="103" y="319"/>
                    </a:cubicBezTo>
                    <a:lnTo>
                      <a:pt x="155" y="388"/>
                    </a:lnTo>
                    <a:lnTo>
                      <a:pt x="146" y="385"/>
                    </a:lnTo>
                    <a:lnTo>
                      <a:pt x="262" y="344"/>
                    </a:lnTo>
                    <a:lnTo>
                      <a:pt x="257" y="350"/>
                    </a:lnTo>
                    <a:lnTo>
                      <a:pt x="276" y="264"/>
                    </a:lnTo>
                    <a:cubicBezTo>
                      <a:pt x="277" y="262"/>
                      <a:pt x="278" y="260"/>
                      <a:pt x="280" y="259"/>
                    </a:cubicBezTo>
                    <a:lnTo>
                      <a:pt x="516" y="119"/>
                    </a:lnTo>
                    <a:lnTo>
                      <a:pt x="515" y="132"/>
                    </a:lnTo>
                    <a:lnTo>
                      <a:pt x="404" y="40"/>
                    </a:lnTo>
                    <a:lnTo>
                      <a:pt x="412" y="41"/>
                    </a:lnTo>
                    <a:lnTo>
                      <a:pt x="340" y="79"/>
                    </a:lnTo>
                    <a:cubicBezTo>
                      <a:pt x="338" y="80"/>
                      <a:pt x="335" y="80"/>
                      <a:pt x="333" y="79"/>
                    </a:cubicBezTo>
                    <a:lnTo>
                      <a:pt x="224" y="15"/>
                    </a:lnTo>
                    <a:lnTo>
                      <a:pt x="228" y="16"/>
                    </a:lnTo>
                    <a:lnTo>
                      <a:pt x="69" y="32"/>
                    </a:lnTo>
                    <a:lnTo>
                      <a:pt x="75" y="20"/>
                    </a:lnTo>
                    <a:lnTo>
                      <a:pt x="110" y="85"/>
                    </a:lnTo>
                    <a:cubicBezTo>
                      <a:pt x="111" y="87"/>
                      <a:pt x="112" y="90"/>
                      <a:pt x="111" y="92"/>
                    </a:cubicBezTo>
                    <a:lnTo>
                      <a:pt x="37" y="252"/>
                    </a:lnTo>
                    <a:lnTo>
                      <a:pt x="16" y="302"/>
                    </a:lnTo>
                    <a:lnTo>
                      <a:pt x="11" y="291"/>
                    </a:lnTo>
                    <a:lnTo>
                      <a:pt x="98" y="317"/>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00" name="Freeform 56"/>
              <p:cNvSpPr>
                <a:spLocks/>
              </p:cNvSpPr>
              <p:nvPr/>
            </p:nvSpPr>
            <p:spPr bwMode="auto">
              <a:xfrm>
                <a:off x="1024" y="814"/>
                <a:ext cx="102" cy="48"/>
              </a:xfrm>
              <a:custGeom>
                <a:avLst/>
                <a:gdLst/>
                <a:ahLst/>
                <a:cxnLst>
                  <a:cxn ang="0">
                    <a:pos x="0" y="37"/>
                  </a:cxn>
                  <a:cxn ang="0">
                    <a:pos x="24" y="44"/>
                  </a:cxn>
                  <a:cxn ang="0">
                    <a:pos x="30" y="36"/>
                  </a:cxn>
                  <a:cxn ang="0">
                    <a:pos x="34" y="48"/>
                  </a:cxn>
                  <a:cxn ang="0">
                    <a:pos x="45" y="43"/>
                  </a:cxn>
                  <a:cxn ang="0">
                    <a:pos x="44" y="32"/>
                  </a:cxn>
                  <a:cxn ang="0">
                    <a:pos x="55" y="38"/>
                  </a:cxn>
                  <a:cxn ang="0">
                    <a:pos x="61" y="21"/>
                  </a:cxn>
                  <a:cxn ang="0">
                    <a:pos x="70" y="20"/>
                  </a:cxn>
                  <a:cxn ang="0">
                    <a:pos x="74" y="36"/>
                  </a:cxn>
                  <a:cxn ang="0">
                    <a:pos x="95" y="24"/>
                  </a:cxn>
                  <a:cxn ang="0">
                    <a:pos x="89" y="10"/>
                  </a:cxn>
                  <a:cxn ang="0">
                    <a:pos x="102" y="7"/>
                  </a:cxn>
                  <a:cxn ang="0">
                    <a:pos x="88" y="0"/>
                  </a:cxn>
                  <a:cxn ang="0">
                    <a:pos x="51" y="7"/>
                  </a:cxn>
                  <a:cxn ang="0">
                    <a:pos x="0" y="37"/>
                  </a:cxn>
                </a:cxnLst>
                <a:rect l="0" t="0" r="r" b="b"/>
                <a:pathLst>
                  <a:path w="102" h="48">
                    <a:moveTo>
                      <a:pt x="0" y="37"/>
                    </a:moveTo>
                    <a:lnTo>
                      <a:pt x="24" y="44"/>
                    </a:lnTo>
                    <a:lnTo>
                      <a:pt x="30" y="36"/>
                    </a:lnTo>
                    <a:lnTo>
                      <a:pt x="34" y="48"/>
                    </a:lnTo>
                    <a:lnTo>
                      <a:pt x="45" y="43"/>
                    </a:lnTo>
                    <a:lnTo>
                      <a:pt x="44" y="32"/>
                    </a:lnTo>
                    <a:lnTo>
                      <a:pt x="55" y="38"/>
                    </a:lnTo>
                    <a:lnTo>
                      <a:pt x="61" y="21"/>
                    </a:lnTo>
                    <a:lnTo>
                      <a:pt x="70" y="20"/>
                    </a:lnTo>
                    <a:lnTo>
                      <a:pt x="74" y="36"/>
                    </a:lnTo>
                    <a:lnTo>
                      <a:pt x="95" y="24"/>
                    </a:lnTo>
                    <a:lnTo>
                      <a:pt x="89" y="10"/>
                    </a:lnTo>
                    <a:lnTo>
                      <a:pt x="102" y="7"/>
                    </a:lnTo>
                    <a:lnTo>
                      <a:pt x="88" y="0"/>
                    </a:lnTo>
                    <a:lnTo>
                      <a:pt x="51" y="7"/>
                    </a:lnTo>
                    <a:lnTo>
                      <a:pt x="0" y="37"/>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01" name="Freeform 57"/>
              <p:cNvSpPr>
                <a:spLocks noEditPoints="1"/>
              </p:cNvSpPr>
              <p:nvPr/>
            </p:nvSpPr>
            <p:spPr bwMode="auto">
              <a:xfrm>
                <a:off x="1022" y="813"/>
                <a:ext cx="107" cy="51"/>
              </a:xfrm>
              <a:custGeom>
                <a:avLst/>
                <a:gdLst/>
                <a:ahLst/>
                <a:cxnLst>
                  <a:cxn ang="0">
                    <a:pos x="11" y="158"/>
                  </a:cxn>
                  <a:cxn ang="0">
                    <a:pos x="82" y="193"/>
                  </a:cxn>
                  <a:cxn ang="0">
                    <a:pos x="111" y="156"/>
                  </a:cxn>
                  <a:cxn ang="0">
                    <a:pos x="134" y="214"/>
                  </a:cxn>
                  <a:cxn ang="0">
                    <a:pos x="159" y="187"/>
                  </a:cxn>
                  <a:cxn ang="0">
                    <a:pos x="150" y="147"/>
                  </a:cxn>
                  <a:cxn ang="0">
                    <a:pos x="163" y="140"/>
                  </a:cxn>
                  <a:cxn ang="0">
                    <a:pos x="188" y="172"/>
                  </a:cxn>
                  <a:cxn ang="0">
                    <a:pos x="217" y="91"/>
                  </a:cxn>
                  <a:cxn ang="0">
                    <a:pos x="257" y="92"/>
                  </a:cxn>
                  <a:cxn ang="0">
                    <a:pos x="257" y="156"/>
                  </a:cxn>
                  <a:cxn ang="0">
                    <a:pos x="329" y="113"/>
                  </a:cxn>
                  <a:cxn ang="0">
                    <a:pos x="306" y="47"/>
                  </a:cxn>
                  <a:cxn ang="0">
                    <a:pos x="358" y="30"/>
                  </a:cxn>
                  <a:cxn ang="0">
                    <a:pos x="307" y="15"/>
                  </a:cxn>
                  <a:cxn ang="0">
                    <a:pos x="185" y="46"/>
                  </a:cxn>
                  <a:cxn ang="0">
                    <a:pos x="13" y="172"/>
                  </a:cxn>
                  <a:cxn ang="0">
                    <a:pos x="181" y="30"/>
                  </a:cxn>
                  <a:cxn ang="0">
                    <a:pos x="315" y="2"/>
                  </a:cxn>
                  <a:cxn ang="0">
                    <a:pos x="368" y="39"/>
                  </a:cxn>
                  <a:cxn ang="0">
                    <a:pos x="315" y="59"/>
                  </a:cxn>
                  <a:cxn ang="0">
                    <a:pos x="344" y="107"/>
                  </a:cxn>
                  <a:cxn ang="0">
                    <a:pos x="267" y="169"/>
                  </a:cxn>
                  <a:cxn ang="0">
                    <a:pos x="254" y="164"/>
                  </a:cxn>
                  <a:cxn ang="0">
                    <a:pos x="251" y="102"/>
                  </a:cxn>
                  <a:cxn ang="0">
                    <a:pos x="225" y="101"/>
                  </a:cxn>
                  <a:cxn ang="0">
                    <a:pos x="198" y="181"/>
                  </a:cxn>
                  <a:cxn ang="0">
                    <a:pos x="153" y="152"/>
                  </a:cxn>
                  <a:cxn ang="0">
                    <a:pos x="172" y="193"/>
                  </a:cxn>
                  <a:cxn ang="0">
                    <a:pos x="130" y="223"/>
                  </a:cxn>
                  <a:cxn ang="0">
                    <a:pos x="119" y="219"/>
                  </a:cxn>
                  <a:cxn ang="0">
                    <a:pos x="116" y="168"/>
                  </a:cxn>
                  <a:cxn ang="0">
                    <a:pos x="86" y="204"/>
                  </a:cxn>
                  <a:cxn ang="0">
                    <a:pos x="1" y="167"/>
                  </a:cxn>
                  <a:cxn ang="0">
                    <a:pos x="178" y="31"/>
                  </a:cxn>
                </a:cxnLst>
                <a:rect l="0" t="0" r="r" b="b"/>
                <a:pathLst>
                  <a:path w="369" h="225">
                    <a:moveTo>
                      <a:pt x="13" y="172"/>
                    </a:moveTo>
                    <a:lnTo>
                      <a:pt x="11" y="158"/>
                    </a:lnTo>
                    <a:lnTo>
                      <a:pt x="92" y="189"/>
                    </a:lnTo>
                    <a:lnTo>
                      <a:pt x="82" y="193"/>
                    </a:lnTo>
                    <a:lnTo>
                      <a:pt x="103" y="160"/>
                    </a:lnTo>
                    <a:cubicBezTo>
                      <a:pt x="105" y="157"/>
                      <a:pt x="108" y="156"/>
                      <a:pt x="111" y="156"/>
                    </a:cubicBezTo>
                    <a:cubicBezTo>
                      <a:pt x="114" y="157"/>
                      <a:pt x="116" y="159"/>
                      <a:pt x="117" y="162"/>
                    </a:cubicBezTo>
                    <a:lnTo>
                      <a:pt x="134" y="214"/>
                    </a:lnTo>
                    <a:lnTo>
                      <a:pt x="122" y="210"/>
                    </a:lnTo>
                    <a:lnTo>
                      <a:pt x="159" y="187"/>
                    </a:lnTo>
                    <a:lnTo>
                      <a:pt x="156" y="194"/>
                    </a:lnTo>
                    <a:lnTo>
                      <a:pt x="150" y="147"/>
                    </a:lnTo>
                    <a:cubicBezTo>
                      <a:pt x="150" y="144"/>
                      <a:pt x="151" y="141"/>
                      <a:pt x="154" y="139"/>
                    </a:cubicBezTo>
                    <a:cubicBezTo>
                      <a:pt x="157" y="138"/>
                      <a:pt x="160" y="138"/>
                      <a:pt x="163" y="140"/>
                    </a:cubicBezTo>
                    <a:lnTo>
                      <a:pt x="200" y="167"/>
                    </a:lnTo>
                    <a:lnTo>
                      <a:pt x="188" y="172"/>
                    </a:lnTo>
                    <a:lnTo>
                      <a:pt x="210" y="96"/>
                    </a:lnTo>
                    <a:cubicBezTo>
                      <a:pt x="211" y="93"/>
                      <a:pt x="213" y="91"/>
                      <a:pt x="217" y="91"/>
                    </a:cubicBezTo>
                    <a:lnTo>
                      <a:pt x="248" y="86"/>
                    </a:lnTo>
                    <a:cubicBezTo>
                      <a:pt x="253" y="85"/>
                      <a:pt x="257" y="88"/>
                      <a:pt x="257" y="92"/>
                    </a:cubicBezTo>
                    <a:lnTo>
                      <a:pt x="270" y="161"/>
                    </a:lnTo>
                    <a:lnTo>
                      <a:pt x="257" y="156"/>
                    </a:lnTo>
                    <a:lnTo>
                      <a:pt x="332" y="103"/>
                    </a:lnTo>
                    <a:lnTo>
                      <a:pt x="329" y="113"/>
                    </a:lnTo>
                    <a:lnTo>
                      <a:pt x="306" y="54"/>
                    </a:lnTo>
                    <a:cubicBezTo>
                      <a:pt x="305" y="52"/>
                      <a:pt x="305" y="50"/>
                      <a:pt x="306" y="47"/>
                    </a:cubicBezTo>
                    <a:cubicBezTo>
                      <a:pt x="307" y="45"/>
                      <a:pt x="309" y="44"/>
                      <a:pt x="311" y="43"/>
                    </a:cubicBezTo>
                    <a:lnTo>
                      <a:pt x="358" y="30"/>
                    </a:lnTo>
                    <a:lnTo>
                      <a:pt x="356" y="45"/>
                    </a:lnTo>
                    <a:lnTo>
                      <a:pt x="307" y="15"/>
                    </a:lnTo>
                    <a:lnTo>
                      <a:pt x="312" y="16"/>
                    </a:lnTo>
                    <a:lnTo>
                      <a:pt x="185" y="46"/>
                    </a:lnTo>
                    <a:lnTo>
                      <a:pt x="188" y="44"/>
                    </a:lnTo>
                    <a:lnTo>
                      <a:pt x="13" y="172"/>
                    </a:lnTo>
                    <a:close/>
                    <a:moveTo>
                      <a:pt x="178" y="31"/>
                    </a:moveTo>
                    <a:cubicBezTo>
                      <a:pt x="179" y="31"/>
                      <a:pt x="180" y="30"/>
                      <a:pt x="181" y="30"/>
                    </a:cubicBezTo>
                    <a:lnTo>
                      <a:pt x="309" y="1"/>
                    </a:lnTo>
                    <a:cubicBezTo>
                      <a:pt x="311" y="0"/>
                      <a:pt x="313" y="1"/>
                      <a:pt x="315" y="2"/>
                    </a:cubicBezTo>
                    <a:lnTo>
                      <a:pt x="365" y="31"/>
                    </a:lnTo>
                    <a:cubicBezTo>
                      <a:pt x="367" y="33"/>
                      <a:pt x="369" y="36"/>
                      <a:pt x="368" y="39"/>
                    </a:cubicBezTo>
                    <a:cubicBezTo>
                      <a:pt x="368" y="42"/>
                      <a:pt x="366" y="45"/>
                      <a:pt x="363" y="46"/>
                    </a:cubicBezTo>
                    <a:lnTo>
                      <a:pt x="315" y="59"/>
                    </a:lnTo>
                    <a:lnTo>
                      <a:pt x="321" y="48"/>
                    </a:lnTo>
                    <a:lnTo>
                      <a:pt x="344" y="107"/>
                    </a:lnTo>
                    <a:cubicBezTo>
                      <a:pt x="346" y="110"/>
                      <a:pt x="345" y="114"/>
                      <a:pt x="342" y="117"/>
                    </a:cubicBezTo>
                    <a:lnTo>
                      <a:pt x="267" y="169"/>
                    </a:lnTo>
                    <a:cubicBezTo>
                      <a:pt x="264" y="171"/>
                      <a:pt x="262" y="171"/>
                      <a:pt x="259" y="170"/>
                    </a:cubicBezTo>
                    <a:cubicBezTo>
                      <a:pt x="257" y="169"/>
                      <a:pt x="255" y="167"/>
                      <a:pt x="254" y="164"/>
                    </a:cubicBezTo>
                    <a:lnTo>
                      <a:pt x="242" y="95"/>
                    </a:lnTo>
                    <a:lnTo>
                      <a:pt x="251" y="102"/>
                    </a:lnTo>
                    <a:lnTo>
                      <a:pt x="219" y="106"/>
                    </a:lnTo>
                    <a:lnTo>
                      <a:pt x="225" y="101"/>
                    </a:lnTo>
                    <a:lnTo>
                      <a:pt x="203" y="176"/>
                    </a:lnTo>
                    <a:cubicBezTo>
                      <a:pt x="202" y="179"/>
                      <a:pt x="201" y="181"/>
                      <a:pt x="198" y="181"/>
                    </a:cubicBezTo>
                    <a:cubicBezTo>
                      <a:pt x="196" y="182"/>
                      <a:pt x="193" y="182"/>
                      <a:pt x="191" y="180"/>
                    </a:cubicBezTo>
                    <a:lnTo>
                      <a:pt x="153" y="152"/>
                    </a:lnTo>
                    <a:lnTo>
                      <a:pt x="166" y="145"/>
                    </a:lnTo>
                    <a:lnTo>
                      <a:pt x="172" y="193"/>
                    </a:lnTo>
                    <a:cubicBezTo>
                      <a:pt x="172" y="196"/>
                      <a:pt x="171" y="199"/>
                      <a:pt x="168" y="200"/>
                    </a:cubicBezTo>
                    <a:lnTo>
                      <a:pt x="130" y="223"/>
                    </a:lnTo>
                    <a:cubicBezTo>
                      <a:pt x="128" y="225"/>
                      <a:pt x="126" y="225"/>
                      <a:pt x="123" y="224"/>
                    </a:cubicBezTo>
                    <a:cubicBezTo>
                      <a:pt x="121" y="223"/>
                      <a:pt x="119" y="221"/>
                      <a:pt x="119" y="219"/>
                    </a:cubicBezTo>
                    <a:lnTo>
                      <a:pt x="102" y="166"/>
                    </a:lnTo>
                    <a:lnTo>
                      <a:pt x="116" y="168"/>
                    </a:lnTo>
                    <a:lnTo>
                      <a:pt x="96" y="201"/>
                    </a:lnTo>
                    <a:cubicBezTo>
                      <a:pt x="94" y="204"/>
                      <a:pt x="90" y="206"/>
                      <a:pt x="86" y="204"/>
                    </a:cubicBezTo>
                    <a:lnTo>
                      <a:pt x="6" y="173"/>
                    </a:lnTo>
                    <a:cubicBezTo>
                      <a:pt x="3" y="172"/>
                      <a:pt x="1" y="170"/>
                      <a:pt x="1" y="167"/>
                    </a:cubicBezTo>
                    <a:cubicBezTo>
                      <a:pt x="0" y="164"/>
                      <a:pt x="1" y="161"/>
                      <a:pt x="4" y="159"/>
                    </a:cubicBezTo>
                    <a:lnTo>
                      <a:pt x="178" y="3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02" name="Freeform 58"/>
              <p:cNvSpPr>
                <a:spLocks/>
              </p:cNvSpPr>
              <p:nvPr/>
            </p:nvSpPr>
            <p:spPr bwMode="auto">
              <a:xfrm>
                <a:off x="1080" y="928"/>
                <a:ext cx="250" cy="117"/>
              </a:xfrm>
              <a:custGeom>
                <a:avLst/>
                <a:gdLst/>
                <a:ahLst/>
                <a:cxnLst>
                  <a:cxn ang="0">
                    <a:pos x="0" y="38"/>
                  </a:cxn>
                  <a:cxn ang="0">
                    <a:pos x="13" y="28"/>
                  </a:cxn>
                  <a:cxn ang="0">
                    <a:pos x="6" y="23"/>
                  </a:cxn>
                  <a:cxn ang="0">
                    <a:pos x="36" y="6"/>
                  </a:cxn>
                  <a:cxn ang="0">
                    <a:pos x="61" y="0"/>
                  </a:cxn>
                  <a:cxn ang="0">
                    <a:pos x="69" y="12"/>
                  </a:cxn>
                  <a:cxn ang="0">
                    <a:pos x="60" y="19"/>
                  </a:cxn>
                  <a:cxn ang="0">
                    <a:pos x="82" y="9"/>
                  </a:cxn>
                  <a:cxn ang="0">
                    <a:pos x="106" y="17"/>
                  </a:cxn>
                  <a:cxn ang="0">
                    <a:pos x="98" y="26"/>
                  </a:cxn>
                  <a:cxn ang="0">
                    <a:pos x="126" y="20"/>
                  </a:cxn>
                  <a:cxn ang="0">
                    <a:pos x="118" y="10"/>
                  </a:cxn>
                  <a:cxn ang="0">
                    <a:pos x="129" y="12"/>
                  </a:cxn>
                  <a:cxn ang="0">
                    <a:pos x="152" y="43"/>
                  </a:cxn>
                  <a:cxn ang="0">
                    <a:pos x="160" y="36"/>
                  </a:cxn>
                  <a:cxn ang="0">
                    <a:pos x="151" y="1"/>
                  </a:cxn>
                  <a:cxn ang="0">
                    <a:pos x="169" y="2"/>
                  </a:cxn>
                  <a:cxn ang="0">
                    <a:pos x="189" y="13"/>
                  </a:cxn>
                  <a:cxn ang="0">
                    <a:pos x="200" y="57"/>
                  </a:cxn>
                  <a:cxn ang="0">
                    <a:pos x="250" y="77"/>
                  </a:cxn>
                  <a:cxn ang="0">
                    <a:pos x="250" y="88"/>
                  </a:cxn>
                  <a:cxn ang="0">
                    <a:pos x="236" y="84"/>
                  </a:cxn>
                  <a:cxn ang="0">
                    <a:pos x="221" y="91"/>
                  </a:cxn>
                  <a:cxn ang="0">
                    <a:pos x="242" y="101"/>
                  </a:cxn>
                  <a:cxn ang="0">
                    <a:pos x="223" y="110"/>
                  </a:cxn>
                  <a:cxn ang="0">
                    <a:pos x="191" y="105"/>
                  </a:cxn>
                  <a:cxn ang="0">
                    <a:pos x="172" y="93"/>
                  </a:cxn>
                  <a:cxn ang="0">
                    <a:pos x="131" y="113"/>
                  </a:cxn>
                  <a:cxn ang="0">
                    <a:pos x="79" y="117"/>
                  </a:cxn>
                  <a:cxn ang="0">
                    <a:pos x="69" y="99"/>
                  </a:cxn>
                  <a:cxn ang="0">
                    <a:pos x="41" y="97"/>
                  </a:cxn>
                  <a:cxn ang="0">
                    <a:pos x="23" y="81"/>
                  </a:cxn>
                  <a:cxn ang="0">
                    <a:pos x="95" y="72"/>
                  </a:cxn>
                  <a:cxn ang="0">
                    <a:pos x="19" y="67"/>
                  </a:cxn>
                  <a:cxn ang="0">
                    <a:pos x="10" y="57"/>
                  </a:cxn>
                  <a:cxn ang="0">
                    <a:pos x="48" y="46"/>
                  </a:cxn>
                  <a:cxn ang="0">
                    <a:pos x="13" y="48"/>
                  </a:cxn>
                  <a:cxn ang="0">
                    <a:pos x="15" y="43"/>
                  </a:cxn>
                  <a:cxn ang="0">
                    <a:pos x="0" y="38"/>
                  </a:cxn>
                </a:cxnLst>
                <a:rect l="0" t="0" r="r" b="b"/>
                <a:pathLst>
                  <a:path w="250" h="117">
                    <a:moveTo>
                      <a:pt x="0" y="38"/>
                    </a:moveTo>
                    <a:lnTo>
                      <a:pt x="13" y="28"/>
                    </a:lnTo>
                    <a:lnTo>
                      <a:pt x="6" y="23"/>
                    </a:lnTo>
                    <a:lnTo>
                      <a:pt x="36" y="6"/>
                    </a:lnTo>
                    <a:lnTo>
                      <a:pt x="61" y="0"/>
                    </a:lnTo>
                    <a:lnTo>
                      <a:pt x="69" y="12"/>
                    </a:lnTo>
                    <a:lnTo>
                      <a:pt x="60" y="19"/>
                    </a:lnTo>
                    <a:lnTo>
                      <a:pt x="82" y="9"/>
                    </a:lnTo>
                    <a:lnTo>
                      <a:pt x="106" y="17"/>
                    </a:lnTo>
                    <a:lnTo>
                      <a:pt x="98" y="26"/>
                    </a:lnTo>
                    <a:lnTo>
                      <a:pt x="126" y="20"/>
                    </a:lnTo>
                    <a:lnTo>
                      <a:pt x="118" y="10"/>
                    </a:lnTo>
                    <a:lnTo>
                      <a:pt x="129" y="12"/>
                    </a:lnTo>
                    <a:lnTo>
                      <a:pt x="152" y="43"/>
                    </a:lnTo>
                    <a:lnTo>
                      <a:pt x="160" y="36"/>
                    </a:lnTo>
                    <a:lnTo>
                      <a:pt x="151" y="1"/>
                    </a:lnTo>
                    <a:lnTo>
                      <a:pt x="169" y="2"/>
                    </a:lnTo>
                    <a:lnTo>
                      <a:pt x="189" y="13"/>
                    </a:lnTo>
                    <a:lnTo>
                      <a:pt x="200" y="57"/>
                    </a:lnTo>
                    <a:lnTo>
                      <a:pt x="250" y="77"/>
                    </a:lnTo>
                    <a:lnTo>
                      <a:pt x="250" y="88"/>
                    </a:lnTo>
                    <a:lnTo>
                      <a:pt x="236" y="84"/>
                    </a:lnTo>
                    <a:lnTo>
                      <a:pt x="221" y="91"/>
                    </a:lnTo>
                    <a:lnTo>
                      <a:pt x="242" y="101"/>
                    </a:lnTo>
                    <a:lnTo>
                      <a:pt x="223" y="110"/>
                    </a:lnTo>
                    <a:lnTo>
                      <a:pt x="191" y="105"/>
                    </a:lnTo>
                    <a:lnTo>
                      <a:pt x="172" y="93"/>
                    </a:lnTo>
                    <a:lnTo>
                      <a:pt x="131" y="113"/>
                    </a:lnTo>
                    <a:lnTo>
                      <a:pt x="79" y="117"/>
                    </a:lnTo>
                    <a:lnTo>
                      <a:pt x="69" y="99"/>
                    </a:lnTo>
                    <a:lnTo>
                      <a:pt x="41" y="97"/>
                    </a:lnTo>
                    <a:lnTo>
                      <a:pt x="23" y="81"/>
                    </a:lnTo>
                    <a:lnTo>
                      <a:pt x="95" y="72"/>
                    </a:lnTo>
                    <a:lnTo>
                      <a:pt x="19" y="67"/>
                    </a:lnTo>
                    <a:lnTo>
                      <a:pt x="10" y="57"/>
                    </a:lnTo>
                    <a:lnTo>
                      <a:pt x="48" y="46"/>
                    </a:lnTo>
                    <a:lnTo>
                      <a:pt x="13" y="48"/>
                    </a:lnTo>
                    <a:lnTo>
                      <a:pt x="15" y="43"/>
                    </a:lnTo>
                    <a:lnTo>
                      <a:pt x="0" y="38"/>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03" name="Freeform 59"/>
              <p:cNvSpPr>
                <a:spLocks noEditPoints="1"/>
              </p:cNvSpPr>
              <p:nvPr/>
            </p:nvSpPr>
            <p:spPr bwMode="auto">
              <a:xfrm>
                <a:off x="1077" y="926"/>
                <a:ext cx="256" cy="121"/>
              </a:xfrm>
              <a:custGeom>
                <a:avLst/>
                <a:gdLst/>
                <a:ahLst/>
                <a:cxnLst>
                  <a:cxn ang="0">
                    <a:pos x="3" y="168"/>
                  </a:cxn>
                  <a:cxn ang="0">
                    <a:pos x="25" y="116"/>
                  </a:cxn>
                  <a:cxn ang="0">
                    <a:pos x="129" y="30"/>
                  </a:cxn>
                  <a:cxn ang="0">
                    <a:pos x="225" y="5"/>
                  </a:cxn>
                  <a:cxn ang="0">
                    <a:pos x="222" y="97"/>
                  </a:cxn>
                  <a:cxn ang="0">
                    <a:pos x="295" y="41"/>
                  </a:cxn>
                  <a:cxn ang="0">
                    <a:pos x="383" y="88"/>
                  </a:cxn>
                  <a:cxn ang="0">
                    <a:pos x="442" y="87"/>
                  </a:cxn>
                  <a:cxn ang="0">
                    <a:pos x="410" y="49"/>
                  </a:cxn>
                  <a:cxn ang="0">
                    <a:pos x="462" y="55"/>
                  </a:cxn>
                  <a:cxn ang="0">
                    <a:pos x="553" y="158"/>
                  </a:cxn>
                  <a:cxn ang="0">
                    <a:pos x="522" y="7"/>
                  </a:cxn>
                  <a:cxn ang="0">
                    <a:pos x="596" y="10"/>
                  </a:cxn>
                  <a:cxn ang="0">
                    <a:pos x="708" y="255"/>
                  </a:cxn>
                  <a:cxn ang="0">
                    <a:pos x="880" y="347"/>
                  </a:cxn>
                  <a:cxn ang="0">
                    <a:pos x="867" y="403"/>
                  </a:cxn>
                  <a:cxn ang="0">
                    <a:pos x="775" y="414"/>
                  </a:cxn>
                  <a:cxn ang="0">
                    <a:pos x="852" y="449"/>
                  </a:cxn>
                  <a:cxn ang="0">
                    <a:pos x="776" y="498"/>
                  </a:cxn>
                  <a:cxn ang="0">
                    <a:pos x="597" y="423"/>
                  </a:cxn>
                  <a:cxn ang="0">
                    <a:pos x="461" y="512"/>
                  </a:cxn>
                  <a:cxn ang="0">
                    <a:pos x="240" y="444"/>
                  </a:cxn>
                  <a:cxn ang="0">
                    <a:pos x="143" y="439"/>
                  </a:cxn>
                  <a:cxn ang="0">
                    <a:pos x="86" y="357"/>
                  </a:cxn>
                  <a:cxn ang="0">
                    <a:pos x="75" y="310"/>
                  </a:cxn>
                  <a:cxn ang="0">
                    <a:pos x="35" y="256"/>
                  </a:cxn>
                  <a:cxn ang="0">
                    <a:pos x="176" y="218"/>
                  </a:cxn>
                  <a:cxn ang="0">
                    <a:pos x="45" y="216"/>
                  </a:cxn>
                  <a:cxn ang="0">
                    <a:pos x="5" y="181"/>
                  </a:cxn>
                  <a:cxn ang="0">
                    <a:pos x="70" y="198"/>
                  </a:cxn>
                  <a:cxn ang="0">
                    <a:pos x="175" y="202"/>
                  </a:cxn>
                  <a:cxn ang="0">
                    <a:pos x="46" y="266"/>
                  </a:cxn>
                  <a:cxn ang="0">
                    <a:pos x="77" y="294"/>
                  </a:cxn>
                  <a:cxn ang="0">
                    <a:pos x="338" y="330"/>
                  </a:cxn>
                  <a:cxn ang="0">
                    <a:pos x="155" y="428"/>
                  </a:cxn>
                  <a:cxn ang="0">
                    <a:pos x="254" y="437"/>
                  </a:cxn>
                  <a:cxn ang="0">
                    <a:pos x="460" y="496"/>
                  </a:cxn>
                  <a:cxn ang="0">
                    <a:pos x="608" y="411"/>
                  </a:cxn>
                  <a:cxn ang="0">
                    <a:pos x="779" y="483"/>
                  </a:cxn>
                  <a:cxn ang="0">
                    <a:pos x="840" y="456"/>
                  </a:cxn>
                  <a:cxn ang="0">
                    <a:pos x="766" y="400"/>
                  </a:cxn>
                  <a:cxn ang="0">
                    <a:pos x="873" y="388"/>
                  </a:cxn>
                  <a:cxn ang="0">
                    <a:pos x="869" y="354"/>
                  </a:cxn>
                  <a:cxn ang="0">
                    <a:pos x="654" y="68"/>
                  </a:cxn>
                  <a:cxn ang="0">
                    <a:pos x="591" y="25"/>
                  </a:cxn>
                  <a:cxn ang="0">
                    <a:pos x="568" y="162"/>
                  </a:cxn>
                  <a:cxn ang="0">
                    <a:pos x="533" y="203"/>
                  </a:cxn>
                  <a:cxn ang="0">
                    <a:pos x="454" y="66"/>
                  </a:cxn>
                  <a:cxn ang="0">
                    <a:pos x="451" y="91"/>
                  </a:cxn>
                  <a:cxn ang="0">
                    <a:pos x="348" y="130"/>
                  </a:cxn>
                  <a:cxn ang="0">
                    <a:pos x="370" y="79"/>
                  </a:cxn>
                  <a:cxn ang="0">
                    <a:pos x="296" y="55"/>
                  </a:cxn>
                  <a:cxn ang="0">
                    <a:pos x="211" y="86"/>
                  </a:cxn>
                  <a:cxn ang="0">
                    <a:pos x="211" y="12"/>
                  </a:cxn>
                  <a:cxn ang="0">
                    <a:pos x="139" y="43"/>
                  </a:cxn>
                  <a:cxn ang="0">
                    <a:pos x="58" y="126"/>
                  </a:cxn>
                  <a:cxn ang="0">
                    <a:pos x="14" y="179"/>
                  </a:cxn>
                </a:cxnLst>
                <a:rect l="0" t="0" r="r" b="b"/>
                <a:pathLst>
                  <a:path w="881" h="529">
                    <a:moveTo>
                      <a:pt x="5" y="181"/>
                    </a:moveTo>
                    <a:cubicBezTo>
                      <a:pt x="3" y="180"/>
                      <a:pt x="1" y="178"/>
                      <a:pt x="1" y="175"/>
                    </a:cubicBezTo>
                    <a:cubicBezTo>
                      <a:pt x="0" y="172"/>
                      <a:pt x="1" y="170"/>
                      <a:pt x="3" y="168"/>
                    </a:cubicBezTo>
                    <a:lnTo>
                      <a:pt x="47" y="126"/>
                    </a:lnTo>
                    <a:lnTo>
                      <a:pt x="47" y="138"/>
                    </a:lnTo>
                    <a:lnTo>
                      <a:pt x="25" y="116"/>
                    </a:lnTo>
                    <a:cubicBezTo>
                      <a:pt x="23" y="114"/>
                      <a:pt x="22" y="112"/>
                      <a:pt x="23" y="110"/>
                    </a:cubicBezTo>
                    <a:cubicBezTo>
                      <a:pt x="23" y="107"/>
                      <a:pt x="24" y="105"/>
                      <a:pt x="26" y="104"/>
                    </a:cubicBezTo>
                    <a:lnTo>
                      <a:pt x="129" y="30"/>
                    </a:lnTo>
                    <a:cubicBezTo>
                      <a:pt x="130" y="30"/>
                      <a:pt x="131" y="29"/>
                      <a:pt x="131" y="29"/>
                    </a:cubicBezTo>
                    <a:lnTo>
                      <a:pt x="215" y="1"/>
                    </a:lnTo>
                    <a:cubicBezTo>
                      <a:pt x="219" y="0"/>
                      <a:pt x="223" y="1"/>
                      <a:pt x="225" y="5"/>
                    </a:cubicBezTo>
                    <a:lnTo>
                      <a:pt x="253" y="56"/>
                    </a:lnTo>
                    <a:cubicBezTo>
                      <a:pt x="254" y="59"/>
                      <a:pt x="254" y="63"/>
                      <a:pt x="251" y="66"/>
                    </a:cubicBezTo>
                    <a:lnTo>
                      <a:pt x="222" y="97"/>
                    </a:lnTo>
                    <a:lnTo>
                      <a:pt x="213" y="85"/>
                    </a:lnTo>
                    <a:lnTo>
                      <a:pt x="288" y="42"/>
                    </a:lnTo>
                    <a:cubicBezTo>
                      <a:pt x="291" y="40"/>
                      <a:pt x="293" y="40"/>
                      <a:pt x="295" y="41"/>
                    </a:cubicBezTo>
                    <a:lnTo>
                      <a:pt x="379" y="76"/>
                    </a:lnTo>
                    <a:cubicBezTo>
                      <a:pt x="382" y="77"/>
                      <a:pt x="384" y="79"/>
                      <a:pt x="384" y="82"/>
                    </a:cubicBezTo>
                    <a:cubicBezTo>
                      <a:pt x="385" y="84"/>
                      <a:pt x="384" y="87"/>
                      <a:pt x="383" y="88"/>
                    </a:cubicBezTo>
                    <a:lnTo>
                      <a:pt x="352" y="127"/>
                    </a:lnTo>
                    <a:lnTo>
                      <a:pt x="344" y="114"/>
                    </a:lnTo>
                    <a:lnTo>
                      <a:pt x="442" y="87"/>
                    </a:lnTo>
                    <a:lnTo>
                      <a:pt x="437" y="100"/>
                    </a:lnTo>
                    <a:lnTo>
                      <a:pt x="410" y="58"/>
                    </a:lnTo>
                    <a:cubicBezTo>
                      <a:pt x="408" y="55"/>
                      <a:pt x="408" y="52"/>
                      <a:pt x="410" y="49"/>
                    </a:cubicBezTo>
                    <a:cubicBezTo>
                      <a:pt x="411" y="47"/>
                      <a:pt x="414" y="45"/>
                      <a:pt x="417" y="46"/>
                    </a:cubicBezTo>
                    <a:lnTo>
                      <a:pt x="456" y="51"/>
                    </a:lnTo>
                    <a:cubicBezTo>
                      <a:pt x="458" y="51"/>
                      <a:pt x="461" y="52"/>
                      <a:pt x="462" y="55"/>
                    </a:cubicBezTo>
                    <a:lnTo>
                      <a:pt x="540" y="191"/>
                    </a:lnTo>
                    <a:lnTo>
                      <a:pt x="527" y="190"/>
                    </a:lnTo>
                    <a:lnTo>
                      <a:pt x="553" y="158"/>
                    </a:lnTo>
                    <a:lnTo>
                      <a:pt x="552" y="165"/>
                    </a:lnTo>
                    <a:lnTo>
                      <a:pt x="520" y="13"/>
                    </a:lnTo>
                    <a:cubicBezTo>
                      <a:pt x="520" y="11"/>
                      <a:pt x="520" y="8"/>
                      <a:pt x="522" y="7"/>
                    </a:cubicBezTo>
                    <a:cubicBezTo>
                      <a:pt x="524" y="5"/>
                      <a:pt x="526" y="4"/>
                      <a:pt x="529" y="4"/>
                    </a:cubicBezTo>
                    <a:lnTo>
                      <a:pt x="592" y="9"/>
                    </a:lnTo>
                    <a:cubicBezTo>
                      <a:pt x="593" y="9"/>
                      <a:pt x="595" y="9"/>
                      <a:pt x="596" y="10"/>
                    </a:cubicBezTo>
                    <a:lnTo>
                      <a:pt x="666" y="60"/>
                    </a:lnTo>
                    <a:cubicBezTo>
                      <a:pt x="668" y="61"/>
                      <a:pt x="669" y="63"/>
                      <a:pt x="669" y="65"/>
                    </a:cubicBezTo>
                    <a:lnTo>
                      <a:pt x="708" y="255"/>
                    </a:lnTo>
                    <a:lnTo>
                      <a:pt x="704" y="250"/>
                    </a:lnTo>
                    <a:lnTo>
                      <a:pt x="876" y="340"/>
                    </a:lnTo>
                    <a:cubicBezTo>
                      <a:pt x="879" y="341"/>
                      <a:pt x="881" y="344"/>
                      <a:pt x="880" y="347"/>
                    </a:cubicBezTo>
                    <a:lnTo>
                      <a:pt x="878" y="396"/>
                    </a:lnTo>
                    <a:cubicBezTo>
                      <a:pt x="878" y="398"/>
                      <a:pt x="876" y="401"/>
                      <a:pt x="874" y="402"/>
                    </a:cubicBezTo>
                    <a:cubicBezTo>
                      <a:pt x="872" y="404"/>
                      <a:pt x="869" y="404"/>
                      <a:pt x="867" y="403"/>
                    </a:cubicBezTo>
                    <a:lnTo>
                      <a:pt x="820" y="383"/>
                    </a:lnTo>
                    <a:lnTo>
                      <a:pt x="827" y="382"/>
                    </a:lnTo>
                    <a:lnTo>
                      <a:pt x="775" y="414"/>
                    </a:lnTo>
                    <a:lnTo>
                      <a:pt x="774" y="400"/>
                    </a:lnTo>
                    <a:lnTo>
                      <a:pt x="847" y="442"/>
                    </a:lnTo>
                    <a:cubicBezTo>
                      <a:pt x="850" y="443"/>
                      <a:pt x="851" y="446"/>
                      <a:pt x="852" y="449"/>
                    </a:cubicBezTo>
                    <a:cubicBezTo>
                      <a:pt x="852" y="451"/>
                      <a:pt x="850" y="454"/>
                      <a:pt x="848" y="456"/>
                    </a:cubicBezTo>
                    <a:lnTo>
                      <a:pt x="782" y="497"/>
                    </a:lnTo>
                    <a:cubicBezTo>
                      <a:pt x="780" y="498"/>
                      <a:pt x="778" y="499"/>
                      <a:pt x="776" y="498"/>
                    </a:cubicBezTo>
                    <a:lnTo>
                      <a:pt x="664" y="478"/>
                    </a:lnTo>
                    <a:cubicBezTo>
                      <a:pt x="663" y="478"/>
                      <a:pt x="662" y="477"/>
                      <a:pt x="661" y="477"/>
                    </a:cubicBezTo>
                    <a:lnTo>
                      <a:pt x="597" y="423"/>
                    </a:lnTo>
                    <a:lnTo>
                      <a:pt x="607" y="424"/>
                    </a:lnTo>
                    <a:lnTo>
                      <a:pt x="465" y="511"/>
                    </a:lnTo>
                    <a:cubicBezTo>
                      <a:pt x="464" y="511"/>
                      <a:pt x="462" y="512"/>
                      <a:pt x="461" y="512"/>
                    </a:cubicBezTo>
                    <a:lnTo>
                      <a:pt x="282" y="528"/>
                    </a:lnTo>
                    <a:cubicBezTo>
                      <a:pt x="279" y="529"/>
                      <a:pt x="275" y="527"/>
                      <a:pt x="274" y="524"/>
                    </a:cubicBezTo>
                    <a:lnTo>
                      <a:pt x="240" y="444"/>
                    </a:lnTo>
                    <a:lnTo>
                      <a:pt x="246" y="448"/>
                    </a:lnTo>
                    <a:lnTo>
                      <a:pt x="148" y="442"/>
                    </a:lnTo>
                    <a:cubicBezTo>
                      <a:pt x="146" y="442"/>
                      <a:pt x="144" y="441"/>
                      <a:pt x="143" y="439"/>
                    </a:cubicBezTo>
                    <a:lnTo>
                      <a:pt x="81" y="371"/>
                    </a:lnTo>
                    <a:cubicBezTo>
                      <a:pt x="79" y="369"/>
                      <a:pt x="78" y="366"/>
                      <a:pt x="79" y="363"/>
                    </a:cubicBezTo>
                    <a:cubicBezTo>
                      <a:pt x="80" y="360"/>
                      <a:pt x="83" y="358"/>
                      <a:pt x="86" y="357"/>
                    </a:cubicBezTo>
                    <a:lnTo>
                      <a:pt x="335" y="314"/>
                    </a:lnTo>
                    <a:lnTo>
                      <a:pt x="336" y="330"/>
                    </a:lnTo>
                    <a:lnTo>
                      <a:pt x="75" y="310"/>
                    </a:lnTo>
                    <a:cubicBezTo>
                      <a:pt x="73" y="310"/>
                      <a:pt x="71" y="309"/>
                      <a:pt x="70" y="307"/>
                    </a:cubicBezTo>
                    <a:lnTo>
                      <a:pt x="37" y="263"/>
                    </a:lnTo>
                    <a:cubicBezTo>
                      <a:pt x="35" y="261"/>
                      <a:pt x="35" y="259"/>
                      <a:pt x="35" y="256"/>
                    </a:cubicBezTo>
                    <a:cubicBezTo>
                      <a:pt x="36" y="254"/>
                      <a:pt x="38" y="252"/>
                      <a:pt x="40" y="251"/>
                    </a:cubicBezTo>
                    <a:lnTo>
                      <a:pt x="172" y="203"/>
                    </a:lnTo>
                    <a:lnTo>
                      <a:pt x="176" y="218"/>
                    </a:lnTo>
                    <a:lnTo>
                      <a:pt x="53" y="227"/>
                    </a:lnTo>
                    <a:cubicBezTo>
                      <a:pt x="50" y="227"/>
                      <a:pt x="48" y="226"/>
                      <a:pt x="46" y="223"/>
                    </a:cubicBezTo>
                    <a:cubicBezTo>
                      <a:pt x="44" y="221"/>
                      <a:pt x="44" y="218"/>
                      <a:pt x="45" y="216"/>
                    </a:cubicBezTo>
                    <a:lnTo>
                      <a:pt x="55" y="192"/>
                    </a:lnTo>
                    <a:lnTo>
                      <a:pt x="59" y="203"/>
                    </a:lnTo>
                    <a:lnTo>
                      <a:pt x="5" y="181"/>
                    </a:lnTo>
                    <a:close/>
                    <a:moveTo>
                      <a:pt x="65" y="188"/>
                    </a:moveTo>
                    <a:cubicBezTo>
                      <a:pt x="67" y="189"/>
                      <a:pt x="69" y="190"/>
                      <a:pt x="70" y="192"/>
                    </a:cubicBezTo>
                    <a:cubicBezTo>
                      <a:pt x="70" y="194"/>
                      <a:pt x="70" y="196"/>
                      <a:pt x="70" y="198"/>
                    </a:cubicBezTo>
                    <a:lnTo>
                      <a:pt x="60" y="222"/>
                    </a:lnTo>
                    <a:lnTo>
                      <a:pt x="52" y="211"/>
                    </a:lnTo>
                    <a:lnTo>
                      <a:pt x="175" y="202"/>
                    </a:lnTo>
                    <a:cubicBezTo>
                      <a:pt x="179" y="202"/>
                      <a:pt x="182" y="205"/>
                      <a:pt x="183" y="209"/>
                    </a:cubicBezTo>
                    <a:cubicBezTo>
                      <a:pt x="184" y="213"/>
                      <a:pt x="182" y="216"/>
                      <a:pt x="178" y="218"/>
                    </a:cubicBezTo>
                    <a:lnTo>
                      <a:pt x="46" y="266"/>
                    </a:lnTo>
                    <a:lnTo>
                      <a:pt x="49" y="254"/>
                    </a:lnTo>
                    <a:lnTo>
                      <a:pt x="82" y="297"/>
                    </a:lnTo>
                    <a:lnTo>
                      <a:pt x="77" y="294"/>
                    </a:lnTo>
                    <a:lnTo>
                      <a:pt x="337" y="314"/>
                    </a:lnTo>
                    <a:cubicBezTo>
                      <a:pt x="341" y="314"/>
                      <a:pt x="344" y="318"/>
                      <a:pt x="344" y="322"/>
                    </a:cubicBezTo>
                    <a:cubicBezTo>
                      <a:pt x="345" y="326"/>
                      <a:pt x="342" y="329"/>
                      <a:pt x="338" y="330"/>
                    </a:cubicBezTo>
                    <a:lnTo>
                      <a:pt x="88" y="373"/>
                    </a:lnTo>
                    <a:lnTo>
                      <a:pt x="93" y="360"/>
                    </a:lnTo>
                    <a:lnTo>
                      <a:pt x="155" y="428"/>
                    </a:lnTo>
                    <a:lnTo>
                      <a:pt x="150" y="426"/>
                    </a:lnTo>
                    <a:lnTo>
                      <a:pt x="247" y="432"/>
                    </a:lnTo>
                    <a:cubicBezTo>
                      <a:pt x="250" y="433"/>
                      <a:pt x="253" y="434"/>
                      <a:pt x="254" y="437"/>
                    </a:cubicBezTo>
                    <a:lnTo>
                      <a:pt x="289" y="517"/>
                    </a:lnTo>
                    <a:lnTo>
                      <a:pt x="281" y="512"/>
                    </a:lnTo>
                    <a:lnTo>
                      <a:pt x="460" y="496"/>
                    </a:lnTo>
                    <a:lnTo>
                      <a:pt x="456" y="497"/>
                    </a:lnTo>
                    <a:lnTo>
                      <a:pt x="598" y="410"/>
                    </a:lnTo>
                    <a:cubicBezTo>
                      <a:pt x="601" y="408"/>
                      <a:pt x="605" y="409"/>
                      <a:pt x="608" y="411"/>
                    </a:cubicBezTo>
                    <a:lnTo>
                      <a:pt x="671" y="464"/>
                    </a:lnTo>
                    <a:lnTo>
                      <a:pt x="667" y="463"/>
                    </a:lnTo>
                    <a:lnTo>
                      <a:pt x="779" y="483"/>
                    </a:lnTo>
                    <a:lnTo>
                      <a:pt x="773" y="484"/>
                    </a:lnTo>
                    <a:lnTo>
                      <a:pt x="839" y="442"/>
                    </a:lnTo>
                    <a:lnTo>
                      <a:pt x="840" y="456"/>
                    </a:lnTo>
                    <a:lnTo>
                      <a:pt x="767" y="414"/>
                    </a:lnTo>
                    <a:cubicBezTo>
                      <a:pt x="764" y="413"/>
                      <a:pt x="763" y="410"/>
                      <a:pt x="762" y="407"/>
                    </a:cubicBezTo>
                    <a:cubicBezTo>
                      <a:pt x="762" y="404"/>
                      <a:pt x="764" y="402"/>
                      <a:pt x="766" y="400"/>
                    </a:cubicBezTo>
                    <a:lnTo>
                      <a:pt x="819" y="369"/>
                    </a:lnTo>
                    <a:cubicBezTo>
                      <a:pt x="821" y="367"/>
                      <a:pt x="824" y="367"/>
                      <a:pt x="826" y="368"/>
                    </a:cubicBezTo>
                    <a:lnTo>
                      <a:pt x="873" y="388"/>
                    </a:lnTo>
                    <a:lnTo>
                      <a:pt x="862" y="395"/>
                    </a:lnTo>
                    <a:lnTo>
                      <a:pt x="864" y="347"/>
                    </a:lnTo>
                    <a:lnTo>
                      <a:pt x="869" y="354"/>
                    </a:lnTo>
                    <a:lnTo>
                      <a:pt x="697" y="264"/>
                    </a:lnTo>
                    <a:cubicBezTo>
                      <a:pt x="694" y="263"/>
                      <a:pt x="693" y="261"/>
                      <a:pt x="692" y="259"/>
                    </a:cubicBezTo>
                    <a:lnTo>
                      <a:pt x="654" y="68"/>
                    </a:lnTo>
                    <a:lnTo>
                      <a:pt x="657" y="73"/>
                    </a:lnTo>
                    <a:lnTo>
                      <a:pt x="587" y="23"/>
                    </a:lnTo>
                    <a:lnTo>
                      <a:pt x="591" y="25"/>
                    </a:lnTo>
                    <a:lnTo>
                      <a:pt x="527" y="20"/>
                    </a:lnTo>
                    <a:lnTo>
                      <a:pt x="536" y="10"/>
                    </a:lnTo>
                    <a:lnTo>
                      <a:pt x="568" y="162"/>
                    </a:lnTo>
                    <a:cubicBezTo>
                      <a:pt x="568" y="164"/>
                      <a:pt x="567" y="167"/>
                      <a:pt x="566" y="169"/>
                    </a:cubicBezTo>
                    <a:lnTo>
                      <a:pt x="540" y="200"/>
                    </a:lnTo>
                    <a:cubicBezTo>
                      <a:pt x="538" y="202"/>
                      <a:pt x="535" y="203"/>
                      <a:pt x="533" y="203"/>
                    </a:cubicBezTo>
                    <a:cubicBezTo>
                      <a:pt x="530" y="203"/>
                      <a:pt x="528" y="202"/>
                      <a:pt x="527" y="199"/>
                    </a:cubicBezTo>
                    <a:lnTo>
                      <a:pt x="448" y="62"/>
                    </a:lnTo>
                    <a:lnTo>
                      <a:pt x="454" y="66"/>
                    </a:lnTo>
                    <a:lnTo>
                      <a:pt x="415" y="61"/>
                    </a:lnTo>
                    <a:lnTo>
                      <a:pt x="423" y="49"/>
                    </a:lnTo>
                    <a:lnTo>
                      <a:pt x="451" y="91"/>
                    </a:lnTo>
                    <a:cubicBezTo>
                      <a:pt x="452" y="93"/>
                      <a:pt x="452" y="96"/>
                      <a:pt x="451" y="98"/>
                    </a:cubicBezTo>
                    <a:cubicBezTo>
                      <a:pt x="451" y="100"/>
                      <a:pt x="448" y="102"/>
                      <a:pt x="446" y="103"/>
                    </a:cubicBezTo>
                    <a:lnTo>
                      <a:pt x="348" y="130"/>
                    </a:lnTo>
                    <a:cubicBezTo>
                      <a:pt x="345" y="131"/>
                      <a:pt x="341" y="129"/>
                      <a:pt x="339" y="126"/>
                    </a:cubicBezTo>
                    <a:cubicBezTo>
                      <a:pt x="337" y="123"/>
                      <a:pt x="338" y="120"/>
                      <a:pt x="340" y="117"/>
                    </a:cubicBezTo>
                    <a:lnTo>
                      <a:pt x="370" y="79"/>
                    </a:lnTo>
                    <a:lnTo>
                      <a:pt x="373" y="91"/>
                    </a:lnTo>
                    <a:lnTo>
                      <a:pt x="289" y="56"/>
                    </a:lnTo>
                    <a:lnTo>
                      <a:pt x="296" y="55"/>
                    </a:lnTo>
                    <a:lnTo>
                      <a:pt x="221" y="99"/>
                    </a:lnTo>
                    <a:cubicBezTo>
                      <a:pt x="217" y="101"/>
                      <a:pt x="213" y="100"/>
                      <a:pt x="210" y="97"/>
                    </a:cubicBezTo>
                    <a:cubicBezTo>
                      <a:pt x="208" y="94"/>
                      <a:pt x="208" y="89"/>
                      <a:pt x="211" y="86"/>
                    </a:cubicBezTo>
                    <a:lnTo>
                      <a:pt x="240" y="55"/>
                    </a:lnTo>
                    <a:lnTo>
                      <a:pt x="238" y="64"/>
                    </a:lnTo>
                    <a:lnTo>
                      <a:pt x="211" y="12"/>
                    </a:lnTo>
                    <a:lnTo>
                      <a:pt x="220" y="16"/>
                    </a:lnTo>
                    <a:lnTo>
                      <a:pt x="136" y="44"/>
                    </a:lnTo>
                    <a:lnTo>
                      <a:pt x="139" y="43"/>
                    </a:lnTo>
                    <a:lnTo>
                      <a:pt x="35" y="117"/>
                    </a:lnTo>
                    <a:lnTo>
                      <a:pt x="36" y="104"/>
                    </a:lnTo>
                    <a:lnTo>
                      <a:pt x="58" y="126"/>
                    </a:lnTo>
                    <a:cubicBezTo>
                      <a:pt x="60" y="128"/>
                      <a:pt x="61" y="130"/>
                      <a:pt x="61" y="132"/>
                    </a:cubicBezTo>
                    <a:cubicBezTo>
                      <a:pt x="61" y="134"/>
                      <a:pt x="60" y="136"/>
                      <a:pt x="58" y="138"/>
                    </a:cubicBezTo>
                    <a:lnTo>
                      <a:pt x="14" y="179"/>
                    </a:lnTo>
                    <a:lnTo>
                      <a:pt x="11" y="166"/>
                    </a:lnTo>
                    <a:lnTo>
                      <a:pt x="65" y="188"/>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04" name="Freeform 60"/>
              <p:cNvSpPr>
                <a:spLocks/>
              </p:cNvSpPr>
              <p:nvPr/>
            </p:nvSpPr>
            <p:spPr bwMode="auto">
              <a:xfrm>
                <a:off x="1098" y="833"/>
                <a:ext cx="172" cy="66"/>
              </a:xfrm>
              <a:custGeom>
                <a:avLst/>
                <a:gdLst/>
                <a:ahLst/>
                <a:cxnLst>
                  <a:cxn ang="0">
                    <a:pos x="0" y="44"/>
                  </a:cxn>
                  <a:cxn ang="0">
                    <a:pos x="6" y="38"/>
                  </a:cxn>
                  <a:cxn ang="0">
                    <a:pos x="37" y="32"/>
                  </a:cxn>
                  <a:cxn ang="0">
                    <a:pos x="6" y="33"/>
                  </a:cxn>
                  <a:cxn ang="0">
                    <a:pos x="41" y="26"/>
                  </a:cxn>
                  <a:cxn ang="0">
                    <a:pos x="13" y="26"/>
                  </a:cxn>
                  <a:cxn ang="0">
                    <a:pos x="15" y="19"/>
                  </a:cxn>
                  <a:cxn ang="0">
                    <a:pos x="42" y="19"/>
                  </a:cxn>
                  <a:cxn ang="0">
                    <a:pos x="24" y="17"/>
                  </a:cxn>
                  <a:cxn ang="0">
                    <a:pos x="38" y="11"/>
                  </a:cxn>
                  <a:cxn ang="0">
                    <a:pos x="73" y="19"/>
                  </a:cxn>
                  <a:cxn ang="0">
                    <a:pos x="90" y="35"/>
                  </a:cxn>
                  <a:cxn ang="0">
                    <a:pos x="123" y="36"/>
                  </a:cxn>
                  <a:cxn ang="0">
                    <a:pos x="110" y="26"/>
                  </a:cxn>
                  <a:cxn ang="0">
                    <a:pos x="117" y="20"/>
                  </a:cxn>
                  <a:cxn ang="0">
                    <a:pos x="103" y="12"/>
                  </a:cxn>
                  <a:cxn ang="0">
                    <a:pos x="126" y="0"/>
                  </a:cxn>
                  <a:cxn ang="0">
                    <a:pos x="135" y="15"/>
                  </a:cxn>
                  <a:cxn ang="0">
                    <a:pos x="129" y="21"/>
                  </a:cxn>
                  <a:cxn ang="0">
                    <a:pos x="141" y="23"/>
                  </a:cxn>
                  <a:cxn ang="0">
                    <a:pos x="137" y="31"/>
                  </a:cxn>
                  <a:cxn ang="0">
                    <a:pos x="153" y="33"/>
                  </a:cxn>
                  <a:cxn ang="0">
                    <a:pos x="161" y="23"/>
                  </a:cxn>
                  <a:cxn ang="0">
                    <a:pos x="172" y="35"/>
                  </a:cxn>
                  <a:cxn ang="0">
                    <a:pos x="164" y="49"/>
                  </a:cxn>
                  <a:cxn ang="0">
                    <a:pos x="126" y="48"/>
                  </a:cxn>
                  <a:cxn ang="0">
                    <a:pos x="70" y="66"/>
                  </a:cxn>
                  <a:cxn ang="0">
                    <a:pos x="47" y="57"/>
                  </a:cxn>
                  <a:cxn ang="0">
                    <a:pos x="95" y="42"/>
                  </a:cxn>
                  <a:cxn ang="0">
                    <a:pos x="54" y="51"/>
                  </a:cxn>
                  <a:cxn ang="0">
                    <a:pos x="61" y="39"/>
                  </a:cxn>
                  <a:cxn ang="0">
                    <a:pos x="40" y="52"/>
                  </a:cxn>
                  <a:cxn ang="0">
                    <a:pos x="15" y="48"/>
                  </a:cxn>
                  <a:cxn ang="0">
                    <a:pos x="0" y="44"/>
                  </a:cxn>
                </a:cxnLst>
                <a:rect l="0" t="0" r="r" b="b"/>
                <a:pathLst>
                  <a:path w="172" h="66">
                    <a:moveTo>
                      <a:pt x="0" y="44"/>
                    </a:moveTo>
                    <a:lnTo>
                      <a:pt x="6" y="38"/>
                    </a:lnTo>
                    <a:lnTo>
                      <a:pt x="37" y="32"/>
                    </a:lnTo>
                    <a:lnTo>
                      <a:pt x="6" y="33"/>
                    </a:lnTo>
                    <a:lnTo>
                      <a:pt x="41" y="26"/>
                    </a:lnTo>
                    <a:lnTo>
                      <a:pt x="13" y="26"/>
                    </a:lnTo>
                    <a:lnTo>
                      <a:pt x="15" y="19"/>
                    </a:lnTo>
                    <a:lnTo>
                      <a:pt x="42" y="19"/>
                    </a:lnTo>
                    <a:lnTo>
                      <a:pt x="24" y="17"/>
                    </a:lnTo>
                    <a:lnTo>
                      <a:pt x="38" y="11"/>
                    </a:lnTo>
                    <a:lnTo>
                      <a:pt x="73" y="19"/>
                    </a:lnTo>
                    <a:lnTo>
                      <a:pt x="90" y="35"/>
                    </a:lnTo>
                    <a:lnTo>
                      <a:pt x="123" y="36"/>
                    </a:lnTo>
                    <a:lnTo>
                      <a:pt x="110" y="26"/>
                    </a:lnTo>
                    <a:lnTo>
                      <a:pt x="117" y="20"/>
                    </a:lnTo>
                    <a:lnTo>
                      <a:pt x="103" y="12"/>
                    </a:lnTo>
                    <a:lnTo>
                      <a:pt x="126" y="0"/>
                    </a:lnTo>
                    <a:lnTo>
                      <a:pt x="135" y="15"/>
                    </a:lnTo>
                    <a:lnTo>
                      <a:pt x="129" y="21"/>
                    </a:lnTo>
                    <a:lnTo>
                      <a:pt x="141" y="23"/>
                    </a:lnTo>
                    <a:lnTo>
                      <a:pt x="137" y="31"/>
                    </a:lnTo>
                    <a:lnTo>
                      <a:pt x="153" y="33"/>
                    </a:lnTo>
                    <a:lnTo>
                      <a:pt x="161" y="23"/>
                    </a:lnTo>
                    <a:lnTo>
                      <a:pt x="172" y="35"/>
                    </a:lnTo>
                    <a:lnTo>
                      <a:pt x="164" y="49"/>
                    </a:lnTo>
                    <a:lnTo>
                      <a:pt x="126" y="48"/>
                    </a:lnTo>
                    <a:lnTo>
                      <a:pt x="70" y="66"/>
                    </a:lnTo>
                    <a:lnTo>
                      <a:pt x="47" y="57"/>
                    </a:lnTo>
                    <a:lnTo>
                      <a:pt x="95" y="42"/>
                    </a:lnTo>
                    <a:lnTo>
                      <a:pt x="54" y="51"/>
                    </a:lnTo>
                    <a:lnTo>
                      <a:pt x="61" y="39"/>
                    </a:lnTo>
                    <a:lnTo>
                      <a:pt x="40" y="52"/>
                    </a:lnTo>
                    <a:lnTo>
                      <a:pt x="15" y="48"/>
                    </a:lnTo>
                    <a:lnTo>
                      <a:pt x="0" y="44"/>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05" name="Freeform 61"/>
              <p:cNvSpPr>
                <a:spLocks noEditPoints="1"/>
              </p:cNvSpPr>
              <p:nvPr/>
            </p:nvSpPr>
            <p:spPr bwMode="auto">
              <a:xfrm>
                <a:off x="1096" y="831"/>
                <a:ext cx="177" cy="70"/>
              </a:xfrm>
              <a:custGeom>
                <a:avLst/>
                <a:gdLst/>
                <a:ahLst/>
                <a:cxnLst>
                  <a:cxn ang="0">
                    <a:pos x="2" y="195"/>
                  </a:cxn>
                  <a:cxn ang="0">
                    <a:pos x="131" y="141"/>
                  </a:cxn>
                  <a:cxn ang="0">
                    <a:pos x="21" y="155"/>
                  </a:cxn>
                  <a:cxn ang="0">
                    <a:pos x="148" y="133"/>
                  </a:cxn>
                  <a:cxn ang="0">
                    <a:pos x="44" y="123"/>
                  </a:cxn>
                  <a:cxn ang="0">
                    <a:pos x="151" y="83"/>
                  </a:cxn>
                  <a:cxn ang="0">
                    <a:pos x="80" y="86"/>
                  </a:cxn>
                  <a:cxn ang="0">
                    <a:pos x="141" y="48"/>
                  </a:cxn>
                  <a:cxn ang="0">
                    <a:pos x="323" y="159"/>
                  </a:cxn>
                  <a:cxn ang="0">
                    <a:pos x="425" y="174"/>
                  </a:cxn>
                  <a:cxn ang="0">
                    <a:pos x="405" y="91"/>
                  </a:cxn>
                  <a:cxn ang="0">
                    <a:pos x="354" y="63"/>
                  </a:cxn>
                  <a:cxn ang="0">
                    <a:pos x="442" y="1"/>
                  </a:cxn>
                  <a:cxn ang="0">
                    <a:pos x="480" y="78"/>
                  </a:cxn>
                  <a:cxn ang="0">
                    <a:pos x="494" y="102"/>
                  </a:cxn>
                  <a:cxn ang="0">
                    <a:pos x="485" y="147"/>
                  </a:cxn>
                  <a:cxn ang="0">
                    <a:pos x="527" y="148"/>
                  </a:cxn>
                  <a:cxn ang="0">
                    <a:pos x="569" y="104"/>
                  </a:cxn>
                  <a:cxn ang="0">
                    <a:pos x="578" y="227"/>
                  </a:cxn>
                  <a:cxn ang="0">
                    <a:pos x="446" y="228"/>
                  </a:cxn>
                  <a:cxn ang="0">
                    <a:pos x="166" y="265"/>
                  </a:cxn>
                  <a:cxn ang="0">
                    <a:pos x="331" y="186"/>
                  </a:cxn>
                  <a:cxn ang="0">
                    <a:pos x="187" y="237"/>
                  </a:cxn>
                  <a:cxn ang="0">
                    <a:pos x="221" y="186"/>
                  </a:cxn>
                  <a:cxn ang="0">
                    <a:pos x="59" y="228"/>
                  </a:cxn>
                  <a:cxn ang="0">
                    <a:pos x="63" y="213"/>
                  </a:cxn>
                  <a:cxn ang="0">
                    <a:pos x="139" y="229"/>
                  </a:cxn>
                  <a:cxn ang="0">
                    <a:pos x="224" y="183"/>
                  </a:cxn>
                  <a:cxn ang="0">
                    <a:pos x="332" y="185"/>
                  </a:cxn>
                  <a:cxn ang="0">
                    <a:pos x="172" y="265"/>
                  </a:cxn>
                  <a:cxn ang="0">
                    <a:pos x="246" y="289"/>
                  </a:cxn>
                  <a:cxn ang="0">
                    <a:pos x="571" y="216"/>
                  </a:cxn>
                  <a:cxn ang="0">
                    <a:pos x="594" y="166"/>
                  </a:cxn>
                  <a:cxn ang="0">
                    <a:pos x="540" y="157"/>
                  </a:cxn>
                  <a:cxn ang="0">
                    <a:pos x="471" y="148"/>
                  </a:cxn>
                  <a:cxn ang="0">
                    <a:pos x="491" y="118"/>
                  </a:cxn>
                  <a:cxn ang="0">
                    <a:pos x="443" y="97"/>
                  </a:cxn>
                  <a:cxn ang="0">
                    <a:pos x="433" y="12"/>
                  </a:cxn>
                  <a:cxn ang="0">
                    <a:pos x="366" y="56"/>
                  </a:cxn>
                  <a:cxn ang="0">
                    <a:pos x="417" y="102"/>
                  </a:cxn>
                  <a:cxn ang="0">
                    <a:pos x="436" y="162"/>
                  </a:cxn>
                  <a:cxn ang="0">
                    <a:pos x="317" y="172"/>
                  </a:cxn>
                  <a:cxn ang="0">
                    <a:pos x="255" y="99"/>
                  </a:cxn>
                  <a:cxn ang="0">
                    <a:pos x="92" y="92"/>
                  </a:cxn>
                  <a:cxn ang="0">
                    <a:pos x="159" y="92"/>
                  </a:cxn>
                  <a:cxn ang="0">
                    <a:pos x="68" y="95"/>
                  </a:cxn>
                  <a:cxn ang="0">
                    <a:pos x="148" y="117"/>
                  </a:cxn>
                  <a:cxn ang="0">
                    <a:pos x="31" y="162"/>
                  </a:cxn>
                  <a:cxn ang="0">
                    <a:pos x="141" y="148"/>
                  </a:cxn>
                  <a:cxn ang="0">
                    <a:pos x="35" y="181"/>
                  </a:cxn>
                  <a:cxn ang="0">
                    <a:pos x="63" y="213"/>
                  </a:cxn>
                </a:cxnLst>
                <a:rect l="0" t="0" r="r" b="b"/>
                <a:pathLst>
                  <a:path w="609" h="305">
                    <a:moveTo>
                      <a:pt x="6" y="207"/>
                    </a:moveTo>
                    <a:cubicBezTo>
                      <a:pt x="3" y="206"/>
                      <a:pt x="1" y="204"/>
                      <a:pt x="1" y="202"/>
                    </a:cubicBezTo>
                    <a:cubicBezTo>
                      <a:pt x="0" y="199"/>
                      <a:pt x="1" y="197"/>
                      <a:pt x="2" y="195"/>
                    </a:cubicBezTo>
                    <a:lnTo>
                      <a:pt x="23" y="171"/>
                    </a:lnTo>
                    <a:cubicBezTo>
                      <a:pt x="24" y="170"/>
                      <a:pt x="26" y="169"/>
                      <a:pt x="27" y="168"/>
                    </a:cubicBezTo>
                    <a:lnTo>
                      <a:pt x="131" y="141"/>
                    </a:lnTo>
                    <a:lnTo>
                      <a:pt x="133" y="157"/>
                    </a:lnTo>
                    <a:lnTo>
                      <a:pt x="30" y="162"/>
                    </a:lnTo>
                    <a:cubicBezTo>
                      <a:pt x="26" y="162"/>
                      <a:pt x="22" y="159"/>
                      <a:pt x="21" y="155"/>
                    </a:cubicBezTo>
                    <a:cubicBezTo>
                      <a:pt x="21" y="151"/>
                      <a:pt x="24" y="147"/>
                      <a:pt x="28" y="146"/>
                    </a:cubicBezTo>
                    <a:lnTo>
                      <a:pt x="146" y="118"/>
                    </a:lnTo>
                    <a:lnTo>
                      <a:pt x="148" y="133"/>
                    </a:lnTo>
                    <a:lnTo>
                      <a:pt x="52" y="133"/>
                    </a:lnTo>
                    <a:cubicBezTo>
                      <a:pt x="49" y="133"/>
                      <a:pt x="47" y="132"/>
                      <a:pt x="45" y="130"/>
                    </a:cubicBezTo>
                    <a:cubicBezTo>
                      <a:pt x="44" y="128"/>
                      <a:pt x="43" y="126"/>
                      <a:pt x="44" y="123"/>
                    </a:cubicBezTo>
                    <a:lnTo>
                      <a:pt x="52" y="91"/>
                    </a:lnTo>
                    <a:cubicBezTo>
                      <a:pt x="53" y="88"/>
                      <a:pt x="56" y="85"/>
                      <a:pt x="60" y="85"/>
                    </a:cubicBezTo>
                    <a:lnTo>
                      <a:pt x="151" y="83"/>
                    </a:lnTo>
                    <a:lnTo>
                      <a:pt x="150" y="99"/>
                    </a:lnTo>
                    <a:lnTo>
                      <a:pt x="87" y="93"/>
                    </a:lnTo>
                    <a:cubicBezTo>
                      <a:pt x="84" y="92"/>
                      <a:pt x="81" y="90"/>
                      <a:pt x="80" y="86"/>
                    </a:cubicBezTo>
                    <a:cubicBezTo>
                      <a:pt x="80" y="83"/>
                      <a:pt x="81" y="79"/>
                      <a:pt x="84" y="78"/>
                    </a:cubicBezTo>
                    <a:lnTo>
                      <a:pt x="134" y="49"/>
                    </a:lnTo>
                    <a:cubicBezTo>
                      <a:pt x="136" y="48"/>
                      <a:pt x="139" y="48"/>
                      <a:pt x="141" y="48"/>
                    </a:cubicBezTo>
                    <a:lnTo>
                      <a:pt x="259" y="84"/>
                    </a:lnTo>
                    <a:cubicBezTo>
                      <a:pt x="261" y="84"/>
                      <a:pt x="262" y="85"/>
                      <a:pt x="263" y="86"/>
                    </a:cubicBezTo>
                    <a:lnTo>
                      <a:pt x="323" y="159"/>
                    </a:lnTo>
                    <a:lnTo>
                      <a:pt x="317" y="156"/>
                    </a:lnTo>
                    <a:lnTo>
                      <a:pt x="430" y="160"/>
                    </a:lnTo>
                    <a:lnTo>
                      <a:pt x="425" y="174"/>
                    </a:lnTo>
                    <a:lnTo>
                      <a:pt x="380" y="131"/>
                    </a:lnTo>
                    <a:cubicBezTo>
                      <a:pt x="377" y="128"/>
                      <a:pt x="377" y="123"/>
                      <a:pt x="379" y="120"/>
                    </a:cubicBezTo>
                    <a:lnTo>
                      <a:pt x="405" y="91"/>
                    </a:lnTo>
                    <a:lnTo>
                      <a:pt x="406" y="103"/>
                    </a:lnTo>
                    <a:lnTo>
                      <a:pt x="357" y="69"/>
                    </a:lnTo>
                    <a:cubicBezTo>
                      <a:pt x="355" y="68"/>
                      <a:pt x="354" y="65"/>
                      <a:pt x="354" y="63"/>
                    </a:cubicBezTo>
                    <a:cubicBezTo>
                      <a:pt x="354" y="60"/>
                      <a:pt x="355" y="58"/>
                      <a:pt x="357" y="56"/>
                    </a:cubicBezTo>
                    <a:lnTo>
                      <a:pt x="435" y="2"/>
                    </a:lnTo>
                    <a:cubicBezTo>
                      <a:pt x="437" y="1"/>
                      <a:pt x="440" y="0"/>
                      <a:pt x="442" y="1"/>
                    </a:cubicBezTo>
                    <a:cubicBezTo>
                      <a:pt x="444" y="1"/>
                      <a:pt x="446" y="3"/>
                      <a:pt x="447" y="5"/>
                    </a:cubicBezTo>
                    <a:lnTo>
                      <a:pt x="481" y="69"/>
                    </a:lnTo>
                    <a:cubicBezTo>
                      <a:pt x="482" y="72"/>
                      <a:pt x="482" y="75"/>
                      <a:pt x="480" y="78"/>
                    </a:cubicBezTo>
                    <a:lnTo>
                      <a:pt x="456" y="107"/>
                    </a:lnTo>
                    <a:lnTo>
                      <a:pt x="451" y="94"/>
                    </a:lnTo>
                    <a:lnTo>
                      <a:pt x="494" y="102"/>
                    </a:lnTo>
                    <a:cubicBezTo>
                      <a:pt x="497" y="103"/>
                      <a:pt x="499" y="104"/>
                      <a:pt x="500" y="106"/>
                    </a:cubicBezTo>
                    <a:cubicBezTo>
                      <a:pt x="501" y="109"/>
                      <a:pt x="501" y="111"/>
                      <a:pt x="500" y="113"/>
                    </a:cubicBezTo>
                    <a:lnTo>
                      <a:pt x="485" y="147"/>
                    </a:lnTo>
                    <a:lnTo>
                      <a:pt x="479" y="136"/>
                    </a:lnTo>
                    <a:lnTo>
                      <a:pt x="535" y="145"/>
                    </a:lnTo>
                    <a:lnTo>
                      <a:pt x="527" y="148"/>
                    </a:lnTo>
                    <a:lnTo>
                      <a:pt x="556" y="104"/>
                    </a:lnTo>
                    <a:cubicBezTo>
                      <a:pt x="558" y="102"/>
                      <a:pt x="560" y="100"/>
                      <a:pt x="563" y="100"/>
                    </a:cubicBezTo>
                    <a:cubicBezTo>
                      <a:pt x="565" y="100"/>
                      <a:pt x="568" y="102"/>
                      <a:pt x="569" y="104"/>
                    </a:cubicBezTo>
                    <a:lnTo>
                      <a:pt x="607" y="156"/>
                    </a:lnTo>
                    <a:cubicBezTo>
                      <a:pt x="609" y="159"/>
                      <a:pt x="609" y="162"/>
                      <a:pt x="608" y="164"/>
                    </a:cubicBezTo>
                    <a:lnTo>
                      <a:pt x="578" y="227"/>
                    </a:lnTo>
                    <a:cubicBezTo>
                      <a:pt x="577" y="230"/>
                      <a:pt x="574" y="232"/>
                      <a:pt x="571" y="232"/>
                    </a:cubicBezTo>
                    <a:lnTo>
                      <a:pt x="442" y="228"/>
                    </a:lnTo>
                    <a:lnTo>
                      <a:pt x="446" y="228"/>
                    </a:lnTo>
                    <a:lnTo>
                      <a:pt x="252" y="304"/>
                    </a:lnTo>
                    <a:cubicBezTo>
                      <a:pt x="249" y="305"/>
                      <a:pt x="247" y="305"/>
                      <a:pt x="245" y="304"/>
                    </a:cubicBezTo>
                    <a:lnTo>
                      <a:pt x="166" y="265"/>
                    </a:lnTo>
                    <a:cubicBezTo>
                      <a:pt x="163" y="263"/>
                      <a:pt x="161" y="260"/>
                      <a:pt x="161" y="257"/>
                    </a:cubicBezTo>
                    <a:cubicBezTo>
                      <a:pt x="161" y="254"/>
                      <a:pt x="163" y="251"/>
                      <a:pt x="166" y="250"/>
                    </a:cubicBezTo>
                    <a:lnTo>
                      <a:pt x="331" y="186"/>
                    </a:lnTo>
                    <a:lnTo>
                      <a:pt x="336" y="201"/>
                    </a:lnTo>
                    <a:lnTo>
                      <a:pt x="195" y="240"/>
                    </a:lnTo>
                    <a:cubicBezTo>
                      <a:pt x="192" y="241"/>
                      <a:pt x="189" y="240"/>
                      <a:pt x="187" y="237"/>
                    </a:cubicBezTo>
                    <a:cubicBezTo>
                      <a:pt x="185" y="235"/>
                      <a:pt x="184" y="232"/>
                      <a:pt x="185" y="229"/>
                    </a:cubicBezTo>
                    <a:lnTo>
                      <a:pt x="209" y="176"/>
                    </a:lnTo>
                    <a:lnTo>
                      <a:pt x="221" y="186"/>
                    </a:lnTo>
                    <a:lnTo>
                      <a:pt x="149" y="242"/>
                    </a:lnTo>
                    <a:cubicBezTo>
                      <a:pt x="147" y="243"/>
                      <a:pt x="145" y="244"/>
                      <a:pt x="142" y="243"/>
                    </a:cubicBezTo>
                    <a:lnTo>
                      <a:pt x="59" y="228"/>
                    </a:lnTo>
                    <a:cubicBezTo>
                      <a:pt x="58" y="228"/>
                      <a:pt x="58" y="228"/>
                      <a:pt x="57" y="228"/>
                    </a:cubicBezTo>
                    <a:lnTo>
                      <a:pt x="6" y="207"/>
                    </a:lnTo>
                    <a:close/>
                    <a:moveTo>
                      <a:pt x="63" y="213"/>
                    </a:moveTo>
                    <a:lnTo>
                      <a:pt x="62" y="212"/>
                    </a:lnTo>
                    <a:lnTo>
                      <a:pt x="145" y="228"/>
                    </a:lnTo>
                    <a:lnTo>
                      <a:pt x="139" y="229"/>
                    </a:lnTo>
                    <a:lnTo>
                      <a:pt x="212" y="173"/>
                    </a:lnTo>
                    <a:cubicBezTo>
                      <a:pt x="215" y="171"/>
                      <a:pt x="219" y="171"/>
                      <a:pt x="221" y="173"/>
                    </a:cubicBezTo>
                    <a:cubicBezTo>
                      <a:pt x="224" y="176"/>
                      <a:pt x="225" y="180"/>
                      <a:pt x="224" y="183"/>
                    </a:cubicBezTo>
                    <a:lnTo>
                      <a:pt x="200" y="235"/>
                    </a:lnTo>
                    <a:lnTo>
                      <a:pt x="191" y="224"/>
                    </a:lnTo>
                    <a:lnTo>
                      <a:pt x="332" y="185"/>
                    </a:lnTo>
                    <a:cubicBezTo>
                      <a:pt x="336" y="184"/>
                      <a:pt x="340" y="187"/>
                      <a:pt x="341" y="191"/>
                    </a:cubicBezTo>
                    <a:cubicBezTo>
                      <a:pt x="343" y="195"/>
                      <a:pt x="341" y="199"/>
                      <a:pt x="337" y="201"/>
                    </a:cubicBezTo>
                    <a:lnTo>
                      <a:pt x="172" y="265"/>
                    </a:lnTo>
                    <a:lnTo>
                      <a:pt x="173" y="250"/>
                    </a:lnTo>
                    <a:lnTo>
                      <a:pt x="252" y="289"/>
                    </a:lnTo>
                    <a:lnTo>
                      <a:pt x="246" y="289"/>
                    </a:lnTo>
                    <a:lnTo>
                      <a:pt x="440" y="213"/>
                    </a:lnTo>
                    <a:cubicBezTo>
                      <a:pt x="441" y="212"/>
                      <a:pt x="442" y="212"/>
                      <a:pt x="443" y="212"/>
                    </a:cubicBezTo>
                    <a:lnTo>
                      <a:pt x="571" y="216"/>
                    </a:lnTo>
                    <a:lnTo>
                      <a:pt x="564" y="220"/>
                    </a:lnTo>
                    <a:lnTo>
                      <a:pt x="593" y="158"/>
                    </a:lnTo>
                    <a:lnTo>
                      <a:pt x="594" y="166"/>
                    </a:lnTo>
                    <a:lnTo>
                      <a:pt x="556" y="113"/>
                    </a:lnTo>
                    <a:lnTo>
                      <a:pt x="569" y="113"/>
                    </a:lnTo>
                    <a:lnTo>
                      <a:pt x="540" y="157"/>
                    </a:lnTo>
                    <a:cubicBezTo>
                      <a:pt x="538" y="159"/>
                      <a:pt x="535" y="161"/>
                      <a:pt x="532" y="160"/>
                    </a:cubicBezTo>
                    <a:lnTo>
                      <a:pt x="476" y="152"/>
                    </a:lnTo>
                    <a:cubicBezTo>
                      <a:pt x="474" y="152"/>
                      <a:pt x="472" y="150"/>
                      <a:pt x="471" y="148"/>
                    </a:cubicBezTo>
                    <a:cubicBezTo>
                      <a:pt x="469" y="146"/>
                      <a:pt x="469" y="143"/>
                      <a:pt x="470" y="141"/>
                    </a:cubicBezTo>
                    <a:lnTo>
                      <a:pt x="486" y="107"/>
                    </a:lnTo>
                    <a:lnTo>
                      <a:pt x="491" y="118"/>
                    </a:lnTo>
                    <a:lnTo>
                      <a:pt x="448" y="110"/>
                    </a:lnTo>
                    <a:cubicBezTo>
                      <a:pt x="445" y="109"/>
                      <a:pt x="443" y="107"/>
                      <a:pt x="442" y="104"/>
                    </a:cubicBezTo>
                    <a:cubicBezTo>
                      <a:pt x="441" y="102"/>
                      <a:pt x="442" y="99"/>
                      <a:pt x="443" y="97"/>
                    </a:cubicBezTo>
                    <a:lnTo>
                      <a:pt x="467" y="68"/>
                    </a:lnTo>
                    <a:lnTo>
                      <a:pt x="466" y="77"/>
                    </a:lnTo>
                    <a:lnTo>
                      <a:pt x="433" y="12"/>
                    </a:lnTo>
                    <a:lnTo>
                      <a:pt x="444" y="15"/>
                    </a:lnTo>
                    <a:lnTo>
                      <a:pt x="366" y="69"/>
                    </a:lnTo>
                    <a:lnTo>
                      <a:pt x="366" y="56"/>
                    </a:lnTo>
                    <a:lnTo>
                      <a:pt x="415" y="90"/>
                    </a:lnTo>
                    <a:cubicBezTo>
                      <a:pt x="417" y="91"/>
                      <a:pt x="418" y="93"/>
                      <a:pt x="419" y="96"/>
                    </a:cubicBezTo>
                    <a:cubicBezTo>
                      <a:pt x="419" y="98"/>
                      <a:pt x="418" y="100"/>
                      <a:pt x="417" y="102"/>
                    </a:cubicBezTo>
                    <a:lnTo>
                      <a:pt x="391" y="131"/>
                    </a:lnTo>
                    <a:lnTo>
                      <a:pt x="391" y="120"/>
                    </a:lnTo>
                    <a:lnTo>
                      <a:pt x="436" y="162"/>
                    </a:lnTo>
                    <a:cubicBezTo>
                      <a:pt x="438" y="164"/>
                      <a:pt x="439" y="168"/>
                      <a:pt x="438" y="171"/>
                    </a:cubicBezTo>
                    <a:cubicBezTo>
                      <a:pt x="436" y="174"/>
                      <a:pt x="433" y="176"/>
                      <a:pt x="430" y="176"/>
                    </a:cubicBezTo>
                    <a:lnTo>
                      <a:pt x="317" y="172"/>
                    </a:lnTo>
                    <a:cubicBezTo>
                      <a:pt x="314" y="172"/>
                      <a:pt x="312" y="171"/>
                      <a:pt x="311" y="169"/>
                    </a:cubicBezTo>
                    <a:lnTo>
                      <a:pt x="251" y="97"/>
                    </a:lnTo>
                    <a:lnTo>
                      <a:pt x="255" y="99"/>
                    </a:lnTo>
                    <a:lnTo>
                      <a:pt x="136" y="64"/>
                    </a:lnTo>
                    <a:lnTo>
                      <a:pt x="142" y="63"/>
                    </a:lnTo>
                    <a:lnTo>
                      <a:pt x="92" y="92"/>
                    </a:lnTo>
                    <a:lnTo>
                      <a:pt x="89" y="77"/>
                    </a:lnTo>
                    <a:lnTo>
                      <a:pt x="152" y="84"/>
                    </a:lnTo>
                    <a:cubicBezTo>
                      <a:pt x="156" y="84"/>
                      <a:pt x="159" y="88"/>
                      <a:pt x="159" y="92"/>
                    </a:cubicBezTo>
                    <a:cubicBezTo>
                      <a:pt x="159" y="96"/>
                      <a:pt x="155" y="99"/>
                      <a:pt x="151" y="99"/>
                    </a:cubicBezTo>
                    <a:lnTo>
                      <a:pt x="60" y="101"/>
                    </a:lnTo>
                    <a:lnTo>
                      <a:pt x="68" y="95"/>
                    </a:lnTo>
                    <a:lnTo>
                      <a:pt x="60" y="127"/>
                    </a:lnTo>
                    <a:lnTo>
                      <a:pt x="52" y="117"/>
                    </a:lnTo>
                    <a:lnTo>
                      <a:pt x="148" y="117"/>
                    </a:lnTo>
                    <a:cubicBezTo>
                      <a:pt x="152" y="117"/>
                      <a:pt x="156" y="120"/>
                      <a:pt x="156" y="124"/>
                    </a:cubicBezTo>
                    <a:cubicBezTo>
                      <a:pt x="157" y="128"/>
                      <a:pt x="154" y="132"/>
                      <a:pt x="150" y="133"/>
                    </a:cubicBezTo>
                    <a:lnTo>
                      <a:pt x="31" y="162"/>
                    </a:lnTo>
                    <a:lnTo>
                      <a:pt x="29" y="146"/>
                    </a:lnTo>
                    <a:lnTo>
                      <a:pt x="132" y="141"/>
                    </a:lnTo>
                    <a:cubicBezTo>
                      <a:pt x="136" y="141"/>
                      <a:pt x="140" y="144"/>
                      <a:pt x="141" y="148"/>
                    </a:cubicBezTo>
                    <a:cubicBezTo>
                      <a:pt x="141" y="152"/>
                      <a:pt x="139" y="156"/>
                      <a:pt x="135" y="157"/>
                    </a:cubicBezTo>
                    <a:lnTo>
                      <a:pt x="31" y="184"/>
                    </a:lnTo>
                    <a:lnTo>
                      <a:pt x="35" y="181"/>
                    </a:lnTo>
                    <a:lnTo>
                      <a:pt x="14" y="205"/>
                    </a:lnTo>
                    <a:lnTo>
                      <a:pt x="11" y="192"/>
                    </a:lnTo>
                    <a:lnTo>
                      <a:pt x="63" y="213"/>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06" name="Freeform 62"/>
              <p:cNvSpPr>
                <a:spLocks/>
              </p:cNvSpPr>
              <p:nvPr/>
            </p:nvSpPr>
            <p:spPr bwMode="auto">
              <a:xfrm>
                <a:off x="1270" y="763"/>
                <a:ext cx="88" cy="44"/>
              </a:xfrm>
              <a:custGeom>
                <a:avLst/>
                <a:gdLst/>
                <a:ahLst/>
                <a:cxnLst>
                  <a:cxn ang="0">
                    <a:pos x="0" y="0"/>
                  </a:cxn>
                  <a:cxn ang="0">
                    <a:pos x="7" y="16"/>
                  </a:cxn>
                  <a:cxn ang="0">
                    <a:pos x="29" y="16"/>
                  </a:cxn>
                  <a:cxn ang="0">
                    <a:pos x="22" y="19"/>
                  </a:cxn>
                  <a:cxn ang="0">
                    <a:pos x="27" y="25"/>
                  </a:cxn>
                  <a:cxn ang="0">
                    <a:pos x="8" y="27"/>
                  </a:cxn>
                  <a:cxn ang="0">
                    <a:pos x="39" y="33"/>
                  </a:cxn>
                  <a:cxn ang="0">
                    <a:pos x="88" y="44"/>
                  </a:cxn>
                  <a:cxn ang="0">
                    <a:pos x="81" y="19"/>
                  </a:cxn>
                  <a:cxn ang="0">
                    <a:pos x="46" y="4"/>
                  </a:cxn>
                  <a:cxn ang="0">
                    <a:pos x="34" y="10"/>
                  </a:cxn>
                  <a:cxn ang="0">
                    <a:pos x="30" y="0"/>
                  </a:cxn>
                  <a:cxn ang="0">
                    <a:pos x="0" y="0"/>
                  </a:cxn>
                </a:cxnLst>
                <a:rect l="0" t="0" r="r" b="b"/>
                <a:pathLst>
                  <a:path w="88" h="44">
                    <a:moveTo>
                      <a:pt x="0" y="0"/>
                    </a:moveTo>
                    <a:lnTo>
                      <a:pt x="7" y="16"/>
                    </a:lnTo>
                    <a:lnTo>
                      <a:pt x="29" y="16"/>
                    </a:lnTo>
                    <a:lnTo>
                      <a:pt x="22" y="19"/>
                    </a:lnTo>
                    <a:lnTo>
                      <a:pt x="27" y="25"/>
                    </a:lnTo>
                    <a:lnTo>
                      <a:pt x="8" y="27"/>
                    </a:lnTo>
                    <a:lnTo>
                      <a:pt x="39" y="33"/>
                    </a:lnTo>
                    <a:lnTo>
                      <a:pt x="88" y="44"/>
                    </a:lnTo>
                    <a:lnTo>
                      <a:pt x="81" y="19"/>
                    </a:lnTo>
                    <a:lnTo>
                      <a:pt x="46" y="4"/>
                    </a:lnTo>
                    <a:lnTo>
                      <a:pt x="34" y="10"/>
                    </a:lnTo>
                    <a:lnTo>
                      <a:pt x="30" y="0"/>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07" name="Freeform 63"/>
              <p:cNvSpPr>
                <a:spLocks noEditPoints="1"/>
              </p:cNvSpPr>
              <p:nvPr/>
            </p:nvSpPr>
            <p:spPr bwMode="auto">
              <a:xfrm>
                <a:off x="1268" y="761"/>
                <a:ext cx="93" cy="48"/>
              </a:xfrm>
              <a:custGeom>
                <a:avLst/>
                <a:gdLst/>
                <a:ahLst/>
                <a:cxnLst>
                  <a:cxn ang="0">
                    <a:pos x="8" y="16"/>
                  </a:cxn>
                  <a:cxn ang="0">
                    <a:pos x="16" y="6"/>
                  </a:cxn>
                  <a:cxn ang="0">
                    <a:pos x="41" y="75"/>
                  </a:cxn>
                  <a:cxn ang="0">
                    <a:pos x="33" y="69"/>
                  </a:cxn>
                  <a:cxn ang="0">
                    <a:pos x="108" y="69"/>
                  </a:cxn>
                  <a:cxn ang="0">
                    <a:pos x="116" y="75"/>
                  </a:cxn>
                  <a:cxn ang="0">
                    <a:pos x="112" y="84"/>
                  </a:cxn>
                  <a:cxn ang="0">
                    <a:pos x="89" y="99"/>
                  </a:cxn>
                  <a:cxn ang="0">
                    <a:pos x="91" y="87"/>
                  </a:cxn>
                  <a:cxn ang="0">
                    <a:pos x="108" y="111"/>
                  </a:cxn>
                  <a:cxn ang="0">
                    <a:pos x="108" y="118"/>
                  </a:cxn>
                  <a:cxn ang="0">
                    <a:pos x="102" y="123"/>
                  </a:cxn>
                  <a:cxn ang="0">
                    <a:pos x="39" y="134"/>
                  </a:cxn>
                  <a:cxn ang="0">
                    <a:pos x="39" y="118"/>
                  </a:cxn>
                  <a:cxn ang="0">
                    <a:pos x="146" y="144"/>
                  </a:cxn>
                  <a:cxn ang="0">
                    <a:pos x="315" y="193"/>
                  </a:cxn>
                  <a:cxn ang="0">
                    <a:pos x="305" y="202"/>
                  </a:cxn>
                  <a:cxn ang="0">
                    <a:pos x="280" y="92"/>
                  </a:cxn>
                  <a:cxn ang="0">
                    <a:pos x="284" y="97"/>
                  </a:cxn>
                  <a:cxn ang="0">
                    <a:pos x="161" y="30"/>
                  </a:cxn>
                  <a:cxn ang="0">
                    <a:pos x="169" y="29"/>
                  </a:cxn>
                  <a:cxn ang="0">
                    <a:pos x="129" y="58"/>
                  </a:cxn>
                  <a:cxn ang="0">
                    <a:pos x="122" y="59"/>
                  </a:cxn>
                  <a:cxn ang="0">
                    <a:pos x="117" y="54"/>
                  </a:cxn>
                  <a:cxn ang="0">
                    <a:pos x="106" y="10"/>
                  </a:cxn>
                  <a:cxn ang="0">
                    <a:pos x="113" y="16"/>
                  </a:cxn>
                  <a:cxn ang="0">
                    <a:pos x="8" y="16"/>
                  </a:cxn>
                  <a:cxn ang="0">
                    <a:pos x="113" y="0"/>
                  </a:cxn>
                  <a:cxn ang="0">
                    <a:pos x="121" y="6"/>
                  </a:cxn>
                  <a:cxn ang="0">
                    <a:pos x="132" y="50"/>
                  </a:cxn>
                  <a:cxn ang="0">
                    <a:pos x="120" y="45"/>
                  </a:cxn>
                  <a:cxn ang="0">
                    <a:pos x="160" y="16"/>
                  </a:cxn>
                  <a:cxn ang="0">
                    <a:pos x="168" y="16"/>
                  </a:cxn>
                  <a:cxn ang="0">
                    <a:pos x="291" y="83"/>
                  </a:cxn>
                  <a:cxn ang="0">
                    <a:pos x="295" y="88"/>
                  </a:cxn>
                  <a:cxn ang="0">
                    <a:pos x="320" y="199"/>
                  </a:cxn>
                  <a:cxn ang="0">
                    <a:pos x="318" y="206"/>
                  </a:cxn>
                  <a:cxn ang="0">
                    <a:pos x="310" y="208"/>
                  </a:cxn>
                  <a:cxn ang="0">
                    <a:pos x="142" y="159"/>
                  </a:cxn>
                  <a:cxn ang="0">
                    <a:pos x="36" y="134"/>
                  </a:cxn>
                  <a:cxn ang="0">
                    <a:pos x="29" y="126"/>
                  </a:cxn>
                  <a:cxn ang="0">
                    <a:pos x="36" y="118"/>
                  </a:cxn>
                  <a:cxn ang="0">
                    <a:pos x="100" y="107"/>
                  </a:cxn>
                  <a:cxn ang="0">
                    <a:pos x="95" y="120"/>
                  </a:cxn>
                  <a:cxn ang="0">
                    <a:pos x="78" y="96"/>
                  </a:cxn>
                  <a:cxn ang="0">
                    <a:pos x="77" y="90"/>
                  </a:cxn>
                  <a:cxn ang="0">
                    <a:pos x="80" y="85"/>
                  </a:cxn>
                  <a:cxn ang="0">
                    <a:pos x="104" y="70"/>
                  </a:cxn>
                  <a:cxn ang="0">
                    <a:pos x="108" y="85"/>
                  </a:cxn>
                  <a:cxn ang="0">
                    <a:pos x="33" y="85"/>
                  </a:cxn>
                  <a:cxn ang="0">
                    <a:pos x="26" y="80"/>
                  </a:cxn>
                  <a:cxn ang="0">
                    <a:pos x="1" y="11"/>
                  </a:cxn>
                  <a:cxn ang="0">
                    <a:pos x="2" y="4"/>
                  </a:cxn>
                  <a:cxn ang="0">
                    <a:pos x="8" y="0"/>
                  </a:cxn>
                  <a:cxn ang="0">
                    <a:pos x="113" y="0"/>
                  </a:cxn>
                </a:cxnLst>
                <a:rect l="0" t="0" r="r" b="b"/>
                <a:pathLst>
                  <a:path w="321" h="209">
                    <a:moveTo>
                      <a:pt x="8" y="16"/>
                    </a:moveTo>
                    <a:lnTo>
                      <a:pt x="16" y="6"/>
                    </a:lnTo>
                    <a:lnTo>
                      <a:pt x="41" y="75"/>
                    </a:lnTo>
                    <a:lnTo>
                      <a:pt x="33" y="69"/>
                    </a:lnTo>
                    <a:lnTo>
                      <a:pt x="108" y="69"/>
                    </a:lnTo>
                    <a:cubicBezTo>
                      <a:pt x="112" y="69"/>
                      <a:pt x="115" y="72"/>
                      <a:pt x="116" y="75"/>
                    </a:cubicBezTo>
                    <a:cubicBezTo>
                      <a:pt x="117" y="79"/>
                      <a:pt x="115" y="82"/>
                      <a:pt x="112" y="84"/>
                    </a:cubicBezTo>
                    <a:lnTo>
                      <a:pt x="89" y="99"/>
                    </a:lnTo>
                    <a:lnTo>
                      <a:pt x="91" y="87"/>
                    </a:lnTo>
                    <a:lnTo>
                      <a:pt x="108" y="111"/>
                    </a:lnTo>
                    <a:cubicBezTo>
                      <a:pt x="109" y="113"/>
                      <a:pt x="109" y="116"/>
                      <a:pt x="108" y="118"/>
                    </a:cubicBezTo>
                    <a:cubicBezTo>
                      <a:pt x="107" y="121"/>
                      <a:pt x="105" y="123"/>
                      <a:pt x="102" y="123"/>
                    </a:cubicBezTo>
                    <a:lnTo>
                      <a:pt x="39" y="134"/>
                    </a:lnTo>
                    <a:lnTo>
                      <a:pt x="39" y="118"/>
                    </a:lnTo>
                    <a:lnTo>
                      <a:pt x="146" y="144"/>
                    </a:lnTo>
                    <a:lnTo>
                      <a:pt x="315" y="193"/>
                    </a:lnTo>
                    <a:lnTo>
                      <a:pt x="305" y="202"/>
                    </a:lnTo>
                    <a:lnTo>
                      <a:pt x="280" y="92"/>
                    </a:lnTo>
                    <a:lnTo>
                      <a:pt x="284" y="97"/>
                    </a:lnTo>
                    <a:lnTo>
                      <a:pt x="161" y="30"/>
                    </a:lnTo>
                    <a:lnTo>
                      <a:pt x="169" y="29"/>
                    </a:lnTo>
                    <a:lnTo>
                      <a:pt x="129" y="58"/>
                    </a:lnTo>
                    <a:cubicBezTo>
                      <a:pt x="127" y="60"/>
                      <a:pt x="124" y="60"/>
                      <a:pt x="122" y="59"/>
                    </a:cubicBezTo>
                    <a:cubicBezTo>
                      <a:pt x="119" y="59"/>
                      <a:pt x="117" y="56"/>
                      <a:pt x="117" y="54"/>
                    </a:cubicBezTo>
                    <a:lnTo>
                      <a:pt x="106" y="10"/>
                    </a:lnTo>
                    <a:lnTo>
                      <a:pt x="113" y="16"/>
                    </a:lnTo>
                    <a:lnTo>
                      <a:pt x="8" y="16"/>
                    </a:lnTo>
                    <a:close/>
                    <a:moveTo>
                      <a:pt x="113" y="0"/>
                    </a:moveTo>
                    <a:cubicBezTo>
                      <a:pt x="117" y="0"/>
                      <a:pt x="120" y="3"/>
                      <a:pt x="121" y="6"/>
                    </a:cubicBezTo>
                    <a:lnTo>
                      <a:pt x="132" y="50"/>
                    </a:lnTo>
                    <a:lnTo>
                      <a:pt x="120" y="45"/>
                    </a:lnTo>
                    <a:lnTo>
                      <a:pt x="160" y="16"/>
                    </a:lnTo>
                    <a:cubicBezTo>
                      <a:pt x="162" y="15"/>
                      <a:pt x="166" y="14"/>
                      <a:pt x="168" y="16"/>
                    </a:cubicBezTo>
                    <a:lnTo>
                      <a:pt x="291" y="83"/>
                    </a:lnTo>
                    <a:cubicBezTo>
                      <a:pt x="293" y="84"/>
                      <a:pt x="295" y="86"/>
                      <a:pt x="295" y="88"/>
                    </a:cubicBezTo>
                    <a:lnTo>
                      <a:pt x="320" y="199"/>
                    </a:lnTo>
                    <a:cubicBezTo>
                      <a:pt x="321" y="201"/>
                      <a:pt x="320" y="204"/>
                      <a:pt x="318" y="206"/>
                    </a:cubicBezTo>
                    <a:cubicBezTo>
                      <a:pt x="316" y="208"/>
                      <a:pt x="313" y="209"/>
                      <a:pt x="310" y="208"/>
                    </a:cubicBezTo>
                    <a:lnTo>
                      <a:pt x="142" y="159"/>
                    </a:lnTo>
                    <a:lnTo>
                      <a:pt x="36" y="134"/>
                    </a:lnTo>
                    <a:cubicBezTo>
                      <a:pt x="32" y="133"/>
                      <a:pt x="29" y="130"/>
                      <a:pt x="29" y="126"/>
                    </a:cubicBezTo>
                    <a:cubicBezTo>
                      <a:pt x="30" y="122"/>
                      <a:pt x="32" y="119"/>
                      <a:pt x="36" y="118"/>
                    </a:cubicBezTo>
                    <a:lnTo>
                      <a:pt x="100" y="107"/>
                    </a:lnTo>
                    <a:lnTo>
                      <a:pt x="95" y="120"/>
                    </a:lnTo>
                    <a:lnTo>
                      <a:pt x="78" y="96"/>
                    </a:lnTo>
                    <a:cubicBezTo>
                      <a:pt x="77" y="95"/>
                      <a:pt x="76" y="92"/>
                      <a:pt x="77" y="90"/>
                    </a:cubicBezTo>
                    <a:cubicBezTo>
                      <a:pt x="77" y="88"/>
                      <a:pt x="78" y="86"/>
                      <a:pt x="80" y="85"/>
                    </a:cubicBezTo>
                    <a:lnTo>
                      <a:pt x="104" y="70"/>
                    </a:lnTo>
                    <a:lnTo>
                      <a:pt x="108" y="85"/>
                    </a:lnTo>
                    <a:lnTo>
                      <a:pt x="33" y="85"/>
                    </a:lnTo>
                    <a:cubicBezTo>
                      <a:pt x="30" y="85"/>
                      <a:pt x="27" y="83"/>
                      <a:pt x="26" y="80"/>
                    </a:cubicBezTo>
                    <a:lnTo>
                      <a:pt x="1" y="11"/>
                    </a:lnTo>
                    <a:cubicBezTo>
                      <a:pt x="0" y="9"/>
                      <a:pt x="0" y="6"/>
                      <a:pt x="2" y="4"/>
                    </a:cubicBezTo>
                    <a:cubicBezTo>
                      <a:pt x="3" y="2"/>
                      <a:pt x="6" y="0"/>
                      <a:pt x="8" y="0"/>
                    </a:cubicBezTo>
                    <a:lnTo>
                      <a:pt x="113" y="0"/>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08" name="Freeform 64"/>
              <p:cNvSpPr>
                <a:spLocks/>
              </p:cNvSpPr>
              <p:nvPr/>
            </p:nvSpPr>
            <p:spPr bwMode="auto">
              <a:xfrm>
                <a:off x="1312" y="844"/>
                <a:ext cx="65" cy="36"/>
              </a:xfrm>
              <a:custGeom>
                <a:avLst/>
                <a:gdLst/>
                <a:ahLst/>
                <a:cxnLst>
                  <a:cxn ang="0">
                    <a:pos x="0" y="23"/>
                  </a:cxn>
                  <a:cxn ang="0">
                    <a:pos x="7" y="15"/>
                  </a:cxn>
                  <a:cxn ang="0">
                    <a:pos x="20" y="17"/>
                  </a:cxn>
                  <a:cxn ang="0">
                    <a:pos x="4" y="8"/>
                  </a:cxn>
                  <a:cxn ang="0">
                    <a:pos x="8" y="2"/>
                  </a:cxn>
                  <a:cxn ang="0">
                    <a:pos x="34" y="14"/>
                  </a:cxn>
                  <a:cxn ang="0">
                    <a:pos x="19" y="2"/>
                  </a:cxn>
                  <a:cxn ang="0">
                    <a:pos x="58" y="0"/>
                  </a:cxn>
                  <a:cxn ang="0">
                    <a:pos x="65" y="27"/>
                  </a:cxn>
                  <a:cxn ang="0">
                    <a:pos x="57" y="22"/>
                  </a:cxn>
                  <a:cxn ang="0">
                    <a:pos x="56" y="36"/>
                  </a:cxn>
                  <a:cxn ang="0">
                    <a:pos x="25" y="35"/>
                  </a:cxn>
                  <a:cxn ang="0">
                    <a:pos x="31" y="31"/>
                  </a:cxn>
                  <a:cxn ang="0">
                    <a:pos x="23" y="26"/>
                  </a:cxn>
                  <a:cxn ang="0">
                    <a:pos x="45" y="19"/>
                  </a:cxn>
                  <a:cxn ang="0">
                    <a:pos x="0" y="23"/>
                  </a:cxn>
                </a:cxnLst>
                <a:rect l="0" t="0" r="r" b="b"/>
                <a:pathLst>
                  <a:path w="65" h="36">
                    <a:moveTo>
                      <a:pt x="0" y="23"/>
                    </a:moveTo>
                    <a:lnTo>
                      <a:pt x="7" y="15"/>
                    </a:lnTo>
                    <a:lnTo>
                      <a:pt x="20" y="17"/>
                    </a:lnTo>
                    <a:lnTo>
                      <a:pt x="4" y="8"/>
                    </a:lnTo>
                    <a:lnTo>
                      <a:pt x="8" y="2"/>
                    </a:lnTo>
                    <a:lnTo>
                      <a:pt x="34" y="14"/>
                    </a:lnTo>
                    <a:lnTo>
                      <a:pt x="19" y="2"/>
                    </a:lnTo>
                    <a:lnTo>
                      <a:pt x="58" y="0"/>
                    </a:lnTo>
                    <a:lnTo>
                      <a:pt x="65" y="27"/>
                    </a:lnTo>
                    <a:lnTo>
                      <a:pt x="57" y="22"/>
                    </a:lnTo>
                    <a:lnTo>
                      <a:pt x="56" y="36"/>
                    </a:lnTo>
                    <a:lnTo>
                      <a:pt x="25" y="35"/>
                    </a:lnTo>
                    <a:lnTo>
                      <a:pt x="31" y="31"/>
                    </a:lnTo>
                    <a:lnTo>
                      <a:pt x="23" y="26"/>
                    </a:lnTo>
                    <a:lnTo>
                      <a:pt x="45" y="19"/>
                    </a:lnTo>
                    <a:lnTo>
                      <a:pt x="0" y="23"/>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09" name="Freeform 65"/>
              <p:cNvSpPr>
                <a:spLocks noEditPoints="1"/>
              </p:cNvSpPr>
              <p:nvPr/>
            </p:nvSpPr>
            <p:spPr bwMode="auto">
              <a:xfrm>
                <a:off x="1309" y="842"/>
                <a:ext cx="70" cy="40"/>
              </a:xfrm>
              <a:custGeom>
                <a:avLst/>
                <a:gdLst/>
                <a:ahLst/>
                <a:cxnLst>
                  <a:cxn ang="0">
                    <a:pos x="2" y="116"/>
                  </a:cxn>
                  <a:cxn ang="0">
                    <a:pos x="27" y="70"/>
                  </a:cxn>
                  <a:cxn ang="0">
                    <a:pos x="78" y="74"/>
                  </a:cxn>
                  <a:cxn ang="0">
                    <a:pos x="18" y="49"/>
                  </a:cxn>
                  <a:cxn ang="0">
                    <a:pos x="28" y="15"/>
                  </a:cxn>
                  <a:cxn ang="0">
                    <a:pos x="39" y="12"/>
                  </a:cxn>
                  <a:cxn ang="0">
                    <a:pos x="119" y="75"/>
                  </a:cxn>
                  <a:cxn ang="0">
                    <a:pos x="67" y="13"/>
                  </a:cxn>
                  <a:cxn ang="0">
                    <a:pos x="208" y="0"/>
                  </a:cxn>
                  <a:cxn ang="0">
                    <a:pos x="240" y="125"/>
                  </a:cxn>
                  <a:cxn ang="0">
                    <a:pos x="228" y="133"/>
                  </a:cxn>
                  <a:cxn ang="0">
                    <a:pos x="214" y="108"/>
                  </a:cxn>
                  <a:cxn ang="0">
                    <a:pos x="207" y="174"/>
                  </a:cxn>
                  <a:cxn ang="0">
                    <a:pos x="94" y="169"/>
                  </a:cxn>
                  <a:cxn ang="0">
                    <a:pos x="90" y="155"/>
                  </a:cxn>
                  <a:cxn ang="0">
                    <a:pos x="111" y="151"/>
                  </a:cxn>
                  <a:cxn ang="0">
                    <a:pos x="80" y="121"/>
                  </a:cxn>
                  <a:cxn ang="0">
                    <a:pos x="162" y="83"/>
                  </a:cxn>
                  <a:cxn ang="0">
                    <a:pos x="10" y="120"/>
                  </a:cxn>
                  <a:cxn ang="0">
                    <a:pos x="173" y="89"/>
                  </a:cxn>
                  <a:cxn ang="0">
                    <a:pos x="91" y="130"/>
                  </a:cxn>
                  <a:cxn ang="0">
                    <a:pos x="121" y="138"/>
                  </a:cxn>
                  <a:cxn ang="0">
                    <a:pos x="121" y="151"/>
                  </a:cxn>
                  <a:cxn ang="0">
                    <a:pos x="95" y="153"/>
                  </a:cxn>
                  <a:cxn ang="0">
                    <a:pos x="194" y="168"/>
                  </a:cxn>
                  <a:cxn ang="0">
                    <a:pos x="202" y="100"/>
                  </a:cxn>
                  <a:cxn ang="0">
                    <a:pos x="237" y="120"/>
                  </a:cxn>
                  <a:cxn ang="0">
                    <a:pos x="201" y="10"/>
                  </a:cxn>
                  <a:cxn ang="0">
                    <a:pos x="75" y="24"/>
                  </a:cxn>
                  <a:cxn ang="0">
                    <a:pos x="131" y="64"/>
                  </a:cxn>
                  <a:cxn ang="0">
                    <a:pos x="121" y="77"/>
                  </a:cxn>
                  <a:cxn ang="0">
                    <a:pos x="42" y="23"/>
                  </a:cxn>
                  <a:cxn ang="0">
                    <a:pos x="27" y="36"/>
                  </a:cxn>
                  <a:cxn ang="0">
                    <a:pos x="84" y="85"/>
                  </a:cxn>
                  <a:cxn ang="0">
                    <a:pos x="32" y="82"/>
                  </a:cxn>
                  <a:cxn ang="0">
                    <a:pos x="15" y="116"/>
                  </a:cxn>
                  <a:cxn ang="0">
                    <a:pos x="164" y="83"/>
                  </a:cxn>
                </a:cxnLst>
                <a:rect l="0" t="0" r="r" b="b"/>
                <a:pathLst>
                  <a:path w="241" h="177">
                    <a:moveTo>
                      <a:pt x="10" y="120"/>
                    </a:moveTo>
                    <a:cubicBezTo>
                      <a:pt x="6" y="120"/>
                      <a:pt x="3" y="119"/>
                      <a:pt x="2" y="116"/>
                    </a:cubicBezTo>
                    <a:cubicBezTo>
                      <a:pt x="0" y="113"/>
                      <a:pt x="0" y="110"/>
                      <a:pt x="2" y="107"/>
                    </a:cubicBezTo>
                    <a:lnTo>
                      <a:pt x="27" y="70"/>
                    </a:lnTo>
                    <a:cubicBezTo>
                      <a:pt x="29" y="67"/>
                      <a:pt x="32" y="66"/>
                      <a:pt x="35" y="66"/>
                    </a:cubicBezTo>
                    <a:lnTo>
                      <a:pt x="78" y="74"/>
                    </a:lnTo>
                    <a:lnTo>
                      <a:pt x="72" y="88"/>
                    </a:lnTo>
                    <a:lnTo>
                      <a:pt x="18" y="49"/>
                    </a:lnTo>
                    <a:cubicBezTo>
                      <a:pt x="14" y="47"/>
                      <a:pt x="13" y="43"/>
                      <a:pt x="15" y="39"/>
                    </a:cubicBezTo>
                    <a:lnTo>
                      <a:pt x="28" y="15"/>
                    </a:lnTo>
                    <a:cubicBezTo>
                      <a:pt x="29" y="13"/>
                      <a:pt x="31" y="12"/>
                      <a:pt x="33" y="11"/>
                    </a:cubicBezTo>
                    <a:cubicBezTo>
                      <a:pt x="35" y="11"/>
                      <a:pt x="37" y="11"/>
                      <a:pt x="39" y="12"/>
                    </a:cubicBezTo>
                    <a:lnTo>
                      <a:pt x="129" y="63"/>
                    </a:lnTo>
                    <a:lnTo>
                      <a:pt x="119" y="75"/>
                    </a:lnTo>
                    <a:lnTo>
                      <a:pt x="68" y="21"/>
                    </a:lnTo>
                    <a:cubicBezTo>
                      <a:pt x="66" y="19"/>
                      <a:pt x="66" y="16"/>
                      <a:pt x="67" y="13"/>
                    </a:cubicBezTo>
                    <a:cubicBezTo>
                      <a:pt x="68" y="10"/>
                      <a:pt x="71" y="8"/>
                      <a:pt x="74" y="8"/>
                    </a:cubicBezTo>
                    <a:lnTo>
                      <a:pt x="208" y="0"/>
                    </a:lnTo>
                    <a:cubicBezTo>
                      <a:pt x="212" y="0"/>
                      <a:pt x="215" y="3"/>
                      <a:pt x="216" y="7"/>
                    </a:cubicBezTo>
                    <a:lnTo>
                      <a:pt x="240" y="125"/>
                    </a:lnTo>
                    <a:cubicBezTo>
                      <a:pt x="241" y="128"/>
                      <a:pt x="240" y="132"/>
                      <a:pt x="237" y="133"/>
                    </a:cubicBezTo>
                    <a:cubicBezTo>
                      <a:pt x="234" y="135"/>
                      <a:pt x="230" y="135"/>
                      <a:pt x="228" y="133"/>
                    </a:cubicBezTo>
                    <a:lnTo>
                      <a:pt x="201" y="114"/>
                    </a:lnTo>
                    <a:lnTo>
                      <a:pt x="214" y="108"/>
                    </a:lnTo>
                    <a:lnTo>
                      <a:pt x="210" y="169"/>
                    </a:lnTo>
                    <a:cubicBezTo>
                      <a:pt x="210" y="171"/>
                      <a:pt x="209" y="173"/>
                      <a:pt x="207" y="174"/>
                    </a:cubicBezTo>
                    <a:cubicBezTo>
                      <a:pt x="206" y="176"/>
                      <a:pt x="204" y="177"/>
                      <a:pt x="202" y="176"/>
                    </a:cubicBezTo>
                    <a:lnTo>
                      <a:pt x="94" y="169"/>
                    </a:lnTo>
                    <a:cubicBezTo>
                      <a:pt x="91" y="169"/>
                      <a:pt x="88" y="166"/>
                      <a:pt x="87" y="163"/>
                    </a:cubicBezTo>
                    <a:cubicBezTo>
                      <a:pt x="86" y="160"/>
                      <a:pt x="87" y="157"/>
                      <a:pt x="90" y="155"/>
                    </a:cubicBezTo>
                    <a:lnTo>
                      <a:pt x="111" y="138"/>
                    </a:lnTo>
                    <a:lnTo>
                      <a:pt x="111" y="151"/>
                    </a:lnTo>
                    <a:lnTo>
                      <a:pt x="83" y="128"/>
                    </a:lnTo>
                    <a:cubicBezTo>
                      <a:pt x="81" y="127"/>
                      <a:pt x="80" y="124"/>
                      <a:pt x="80" y="121"/>
                    </a:cubicBezTo>
                    <a:cubicBezTo>
                      <a:pt x="81" y="118"/>
                      <a:pt x="83" y="116"/>
                      <a:pt x="85" y="115"/>
                    </a:cubicBezTo>
                    <a:lnTo>
                      <a:pt x="162" y="83"/>
                    </a:lnTo>
                    <a:lnTo>
                      <a:pt x="166" y="99"/>
                    </a:lnTo>
                    <a:lnTo>
                      <a:pt x="10" y="120"/>
                    </a:lnTo>
                    <a:close/>
                    <a:moveTo>
                      <a:pt x="164" y="83"/>
                    </a:moveTo>
                    <a:cubicBezTo>
                      <a:pt x="168" y="82"/>
                      <a:pt x="172" y="85"/>
                      <a:pt x="173" y="89"/>
                    </a:cubicBezTo>
                    <a:cubicBezTo>
                      <a:pt x="174" y="93"/>
                      <a:pt x="172" y="97"/>
                      <a:pt x="168" y="98"/>
                    </a:cubicBezTo>
                    <a:lnTo>
                      <a:pt x="91" y="130"/>
                    </a:lnTo>
                    <a:lnTo>
                      <a:pt x="93" y="116"/>
                    </a:lnTo>
                    <a:lnTo>
                      <a:pt x="121" y="138"/>
                    </a:lnTo>
                    <a:cubicBezTo>
                      <a:pt x="123" y="140"/>
                      <a:pt x="124" y="142"/>
                      <a:pt x="124" y="145"/>
                    </a:cubicBezTo>
                    <a:cubicBezTo>
                      <a:pt x="124" y="147"/>
                      <a:pt x="123" y="149"/>
                      <a:pt x="121" y="151"/>
                    </a:cubicBezTo>
                    <a:lnTo>
                      <a:pt x="99" y="167"/>
                    </a:lnTo>
                    <a:lnTo>
                      <a:pt x="95" y="153"/>
                    </a:lnTo>
                    <a:lnTo>
                      <a:pt x="203" y="160"/>
                    </a:lnTo>
                    <a:lnTo>
                      <a:pt x="194" y="168"/>
                    </a:lnTo>
                    <a:lnTo>
                      <a:pt x="198" y="107"/>
                    </a:lnTo>
                    <a:cubicBezTo>
                      <a:pt x="198" y="104"/>
                      <a:pt x="200" y="101"/>
                      <a:pt x="202" y="100"/>
                    </a:cubicBezTo>
                    <a:cubicBezTo>
                      <a:pt x="205" y="99"/>
                      <a:pt x="208" y="99"/>
                      <a:pt x="211" y="101"/>
                    </a:cubicBezTo>
                    <a:lnTo>
                      <a:pt x="237" y="120"/>
                    </a:lnTo>
                    <a:lnTo>
                      <a:pt x="225" y="128"/>
                    </a:lnTo>
                    <a:lnTo>
                      <a:pt x="201" y="10"/>
                    </a:lnTo>
                    <a:lnTo>
                      <a:pt x="209" y="16"/>
                    </a:lnTo>
                    <a:lnTo>
                      <a:pt x="75" y="24"/>
                    </a:lnTo>
                    <a:lnTo>
                      <a:pt x="80" y="10"/>
                    </a:lnTo>
                    <a:lnTo>
                      <a:pt x="131" y="64"/>
                    </a:lnTo>
                    <a:cubicBezTo>
                      <a:pt x="133" y="67"/>
                      <a:pt x="134" y="72"/>
                      <a:pt x="131" y="75"/>
                    </a:cubicBezTo>
                    <a:cubicBezTo>
                      <a:pt x="129" y="78"/>
                      <a:pt x="124" y="79"/>
                      <a:pt x="121" y="77"/>
                    </a:cubicBezTo>
                    <a:lnTo>
                      <a:pt x="31" y="26"/>
                    </a:lnTo>
                    <a:lnTo>
                      <a:pt x="42" y="23"/>
                    </a:lnTo>
                    <a:lnTo>
                      <a:pt x="29" y="47"/>
                    </a:lnTo>
                    <a:lnTo>
                      <a:pt x="27" y="36"/>
                    </a:lnTo>
                    <a:lnTo>
                      <a:pt x="81" y="75"/>
                    </a:lnTo>
                    <a:cubicBezTo>
                      <a:pt x="85" y="77"/>
                      <a:pt x="86" y="81"/>
                      <a:pt x="84" y="85"/>
                    </a:cubicBezTo>
                    <a:cubicBezTo>
                      <a:pt x="83" y="88"/>
                      <a:pt x="79" y="90"/>
                      <a:pt x="75" y="90"/>
                    </a:cubicBezTo>
                    <a:lnTo>
                      <a:pt x="32" y="82"/>
                    </a:lnTo>
                    <a:lnTo>
                      <a:pt x="40" y="79"/>
                    </a:lnTo>
                    <a:lnTo>
                      <a:pt x="15" y="116"/>
                    </a:lnTo>
                    <a:lnTo>
                      <a:pt x="7" y="104"/>
                    </a:lnTo>
                    <a:lnTo>
                      <a:pt x="164" y="83"/>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10" name="Freeform 66"/>
              <p:cNvSpPr>
                <a:spLocks/>
              </p:cNvSpPr>
              <p:nvPr/>
            </p:nvSpPr>
            <p:spPr bwMode="auto">
              <a:xfrm>
                <a:off x="1312" y="913"/>
                <a:ext cx="79" cy="62"/>
              </a:xfrm>
              <a:custGeom>
                <a:avLst/>
                <a:gdLst/>
                <a:ahLst/>
                <a:cxnLst>
                  <a:cxn ang="0">
                    <a:pos x="0" y="32"/>
                  </a:cxn>
                  <a:cxn ang="0">
                    <a:pos x="4" y="24"/>
                  </a:cxn>
                  <a:cxn ang="0">
                    <a:pos x="30" y="28"/>
                  </a:cxn>
                  <a:cxn ang="0">
                    <a:pos x="26" y="18"/>
                  </a:cxn>
                  <a:cxn ang="0">
                    <a:pos x="33" y="19"/>
                  </a:cxn>
                  <a:cxn ang="0">
                    <a:pos x="16" y="13"/>
                  </a:cxn>
                  <a:cxn ang="0">
                    <a:pos x="24" y="11"/>
                  </a:cxn>
                  <a:cxn ang="0">
                    <a:pos x="16" y="6"/>
                  </a:cxn>
                  <a:cxn ang="0">
                    <a:pos x="67" y="0"/>
                  </a:cxn>
                  <a:cxn ang="0">
                    <a:pos x="69" y="14"/>
                  </a:cxn>
                  <a:cxn ang="0">
                    <a:pos x="53" y="25"/>
                  </a:cxn>
                  <a:cxn ang="0">
                    <a:pos x="76" y="28"/>
                  </a:cxn>
                  <a:cxn ang="0">
                    <a:pos x="79" y="50"/>
                  </a:cxn>
                  <a:cxn ang="0">
                    <a:pos x="45" y="62"/>
                  </a:cxn>
                  <a:cxn ang="0">
                    <a:pos x="30" y="45"/>
                  </a:cxn>
                  <a:cxn ang="0">
                    <a:pos x="0" y="32"/>
                  </a:cxn>
                </a:cxnLst>
                <a:rect l="0" t="0" r="r" b="b"/>
                <a:pathLst>
                  <a:path w="79" h="62">
                    <a:moveTo>
                      <a:pt x="0" y="32"/>
                    </a:moveTo>
                    <a:lnTo>
                      <a:pt x="4" y="24"/>
                    </a:lnTo>
                    <a:lnTo>
                      <a:pt x="30" y="28"/>
                    </a:lnTo>
                    <a:lnTo>
                      <a:pt x="26" y="18"/>
                    </a:lnTo>
                    <a:lnTo>
                      <a:pt x="33" y="19"/>
                    </a:lnTo>
                    <a:lnTo>
                      <a:pt x="16" y="13"/>
                    </a:lnTo>
                    <a:lnTo>
                      <a:pt x="24" y="11"/>
                    </a:lnTo>
                    <a:lnTo>
                      <a:pt x="16" y="6"/>
                    </a:lnTo>
                    <a:lnTo>
                      <a:pt x="67" y="0"/>
                    </a:lnTo>
                    <a:lnTo>
                      <a:pt x="69" y="14"/>
                    </a:lnTo>
                    <a:lnTo>
                      <a:pt x="53" y="25"/>
                    </a:lnTo>
                    <a:lnTo>
                      <a:pt x="76" y="28"/>
                    </a:lnTo>
                    <a:lnTo>
                      <a:pt x="79" y="50"/>
                    </a:lnTo>
                    <a:lnTo>
                      <a:pt x="45" y="62"/>
                    </a:lnTo>
                    <a:lnTo>
                      <a:pt x="30" y="45"/>
                    </a:lnTo>
                    <a:lnTo>
                      <a:pt x="0" y="32"/>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11" name="Freeform 67"/>
              <p:cNvSpPr>
                <a:spLocks noEditPoints="1"/>
              </p:cNvSpPr>
              <p:nvPr/>
            </p:nvSpPr>
            <p:spPr bwMode="auto">
              <a:xfrm>
                <a:off x="1309" y="911"/>
                <a:ext cx="84" cy="66"/>
              </a:xfrm>
              <a:custGeom>
                <a:avLst/>
                <a:gdLst/>
                <a:ahLst/>
                <a:cxnLst>
                  <a:cxn ang="0">
                    <a:pos x="1" y="142"/>
                  </a:cxn>
                  <a:cxn ang="0">
                    <a:pos x="23" y="102"/>
                  </a:cxn>
                  <a:cxn ang="0">
                    <a:pos x="105" y="133"/>
                  </a:cxn>
                  <a:cxn ang="0">
                    <a:pos x="93" y="82"/>
                  </a:cxn>
                  <a:cxn ang="0">
                    <a:pos x="124" y="83"/>
                  </a:cxn>
                  <a:cxn ang="0">
                    <a:pos x="61" y="74"/>
                  </a:cxn>
                  <a:cxn ang="0">
                    <a:pos x="61" y="59"/>
                  </a:cxn>
                  <a:cxn ang="0">
                    <a:pos x="87" y="60"/>
                  </a:cxn>
                  <a:cxn ang="0">
                    <a:pos x="58" y="31"/>
                  </a:cxn>
                  <a:cxn ang="0">
                    <a:pos x="237" y="1"/>
                  </a:cxn>
                  <a:cxn ang="0">
                    <a:pos x="246" y="8"/>
                  </a:cxn>
                  <a:cxn ang="0">
                    <a:pos x="250" y="74"/>
                  </a:cxn>
                  <a:cxn ang="0">
                    <a:pos x="193" y="110"/>
                  </a:cxn>
                  <a:cxn ang="0">
                    <a:pos x="279" y="130"/>
                  </a:cxn>
                  <a:cxn ang="0">
                    <a:pos x="284" y="235"/>
                  </a:cxn>
                  <a:cxn ang="0">
                    <a:pos x="158" y="285"/>
                  </a:cxn>
                  <a:cxn ang="0">
                    <a:pos x="109" y="210"/>
                  </a:cxn>
                  <a:cxn ang="0">
                    <a:pos x="117" y="196"/>
                  </a:cxn>
                  <a:cxn ang="0">
                    <a:pos x="171" y="276"/>
                  </a:cxn>
                  <a:cxn ang="0">
                    <a:pos x="277" y="220"/>
                  </a:cxn>
                  <a:cxn ang="0">
                    <a:pos x="263" y="132"/>
                  </a:cxn>
                  <a:cxn ang="0">
                    <a:pos x="191" y="126"/>
                  </a:cxn>
                  <a:cxn ang="0">
                    <a:pos x="187" y="112"/>
                  </a:cxn>
                  <a:cxn ang="0">
                    <a:pos x="237" y="69"/>
                  </a:cxn>
                  <a:cxn ang="0">
                    <a:pos x="239" y="16"/>
                  </a:cxn>
                  <a:cxn ang="0">
                    <a:pos x="70" y="26"/>
                  </a:cxn>
                  <a:cxn ang="0">
                    <a:pos x="100" y="54"/>
                  </a:cxn>
                  <a:cxn ang="0">
                    <a:pos x="67" y="74"/>
                  </a:cxn>
                  <a:cxn ang="0">
                    <a:pos x="126" y="83"/>
                  </a:cxn>
                  <a:cxn ang="0">
                    <a:pos x="122" y="98"/>
                  </a:cxn>
                  <a:cxn ang="0">
                    <a:pos x="107" y="85"/>
                  </a:cxn>
                  <a:cxn ang="0">
                    <a:pos x="119" y="136"/>
                  </a:cxn>
                  <a:cxn ang="0">
                    <a:pos x="20" y="118"/>
                  </a:cxn>
                  <a:cxn ang="0">
                    <a:pos x="16" y="148"/>
                  </a:cxn>
                  <a:cxn ang="0">
                    <a:pos x="117" y="196"/>
                  </a:cxn>
                </a:cxnLst>
                <a:rect l="0" t="0" r="r" b="b"/>
                <a:pathLst>
                  <a:path w="289" h="289">
                    <a:moveTo>
                      <a:pt x="5" y="152"/>
                    </a:moveTo>
                    <a:cubicBezTo>
                      <a:pt x="1" y="150"/>
                      <a:pt x="0" y="146"/>
                      <a:pt x="1" y="142"/>
                    </a:cubicBezTo>
                    <a:lnTo>
                      <a:pt x="14" y="107"/>
                    </a:lnTo>
                    <a:cubicBezTo>
                      <a:pt x="16" y="103"/>
                      <a:pt x="20" y="101"/>
                      <a:pt x="23" y="102"/>
                    </a:cubicBezTo>
                    <a:lnTo>
                      <a:pt x="115" y="123"/>
                    </a:lnTo>
                    <a:lnTo>
                      <a:pt x="105" y="133"/>
                    </a:lnTo>
                    <a:lnTo>
                      <a:pt x="92" y="90"/>
                    </a:lnTo>
                    <a:cubicBezTo>
                      <a:pt x="91" y="87"/>
                      <a:pt x="92" y="84"/>
                      <a:pt x="93" y="82"/>
                    </a:cubicBezTo>
                    <a:cubicBezTo>
                      <a:pt x="95" y="80"/>
                      <a:pt x="98" y="79"/>
                      <a:pt x="101" y="79"/>
                    </a:cubicBezTo>
                    <a:lnTo>
                      <a:pt x="124" y="83"/>
                    </a:lnTo>
                    <a:lnTo>
                      <a:pt x="120" y="98"/>
                    </a:lnTo>
                    <a:lnTo>
                      <a:pt x="61" y="74"/>
                    </a:lnTo>
                    <a:cubicBezTo>
                      <a:pt x="58" y="73"/>
                      <a:pt x="56" y="70"/>
                      <a:pt x="56" y="67"/>
                    </a:cubicBezTo>
                    <a:cubicBezTo>
                      <a:pt x="56" y="63"/>
                      <a:pt x="58" y="60"/>
                      <a:pt x="61" y="59"/>
                    </a:cubicBezTo>
                    <a:lnTo>
                      <a:pt x="88" y="46"/>
                    </a:lnTo>
                    <a:lnTo>
                      <a:pt x="87" y="60"/>
                    </a:lnTo>
                    <a:lnTo>
                      <a:pt x="60" y="39"/>
                    </a:lnTo>
                    <a:cubicBezTo>
                      <a:pt x="58" y="37"/>
                      <a:pt x="57" y="34"/>
                      <a:pt x="58" y="31"/>
                    </a:cubicBezTo>
                    <a:cubicBezTo>
                      <a:pt x="58" y="27"/>
                      <a:pt x="61" y="25"/>
                      <a:pt x="64" y="25"/>
                    </a:cubicBezTo>
                    <a:lnTo>
                      <a:pt x="237" y="1"/>
                    </a:lnTo>
                    <a:cubicBezTo>
                      <a:pt x="239" y="0"/>
                      <a:pt x="241" y="1"/>
                      <a:pt x="243" y="2"/>
                    </a:cubicBezTo>
                    <a:cubicBezTo>
                      <a:pt x="245" y="3"/>
                      <a:pt x="246" y="5"/>
                      <a:pt x="246" y="8"/>
                    </a:cubicBezTo>
                    <a:lnTo>
                      <a:pt x="253" y="67"/>
                    </a:lnTo>
                    <a:cubicBezTo>
                      <a:pt x="253" y="70"/>
                      <a:pt x="252" y="72"/>
                      <a:pt x="250" y="74"/>
                    </a:cubicBezTo>
                    <a:lnTo>
                      <a:pt x="198" y="124"/>
                    </a:lnTo>
                    <a:lnTo>
                      <a:pt x="193" y="110"/>
                    </a:lnTo>
                    <a:lnTo>
                      <a:pt x="273" y="123"/>
                    </a:lnTo>
                    <a:cubicBezTo>
                      <a:pt x="276" y="123"/>
                      <a:pt x="279" y="126"/>
                      <a:pt x="279" y="130"/>
                    </a:cubicBezTo>
                    <a:lnTo>
                      <a:pt x="288" y="227"/>
                    </a:lnTo>
                    <a:cubicBezTo>
                      <a:pt x="289" y="230"/>
                      <a:pt x="287" y="233"/>
                      <a:pt x="284" y="235"/>
                    </a:cubicBezTo>
                    <a:lnTo>
                      <a:pt x="168" y="288"/>
                    </a:lnTo>
                    <a:cubicBezTo>
                      <a:pt x="164" y="289"/>
                      <a:pt x="160" y="288"/>
                      <a:pt x="158" y="285"/>
                    </a:cubicBezTo>
                    <a:lnTo>
                      <a:pt x="106" y="208"/>
                    </a:lnTo>
                    <a:lnTo>
                      <a:pt x="109" y="210"/>
                    </a:lnTo>
                    <a:lnTo>
                      <a:pt x="5" y="152"/>
                    </a:lnTo>
                    <a:close/>
                    <a:moveTo>
                      <a:pt x="117" y="196"/>
                    </a:moveTo>
                    <a:cubicBezTo>
                      <a:pt x="118" y="197"/>
                      <a:pt x="119" y="198"/>
                      <a:pt x="119" y="199"/>
                    </a:cubicBezTo>
                    <a:lnTo>
                      <a:pt x="171" y="276"/>
                    </a:lnTo>
                    <a:lnTo>
                      <a:pt x="161" y="273"/>
                    </a:lnTo>
                    <a:lnTo>
                      <a:pt x="277" y="220"/>
                    </a:lnTo>
                    <a:lnTo>
                      <a:pt x="272" y="228"/>
                    </a:lnTo>
                    <a:lnTo>
                      <a:pt x="263" y="132"/>
                    </a:lnTo>
                    <a:lnTo>
                      <a:pt x="270" y="139"/>
                    </a:lnTo>
                    <a:lnTo>
                      <a:pt x="191" y="126"/>
                    </a:lnTo>
                    <a:cubicBezTo>
                      <a:pt x="188" y="125"/>
                      <a:pt x="185" y="123"/>
                      <a:pt x="184" y="120"/>
                    </a:cubicBezTo>
                    <a:cubicBezTo>
                      <a:pt x="183" y="117"/>
                      <a:pt x="184" y="114"/>
                      <a:pt x="187" y="112"/>
                    </a:cubicBezTo>
                    <a:lnTo>
                      <a:pt x="239" y="62"/>
                    </a:lnTo>
                    <a:lnTo>
                      <a:pt x="237" y="69"/>
                    </a:lnTo>
                    <a:lnTo>
                      <a:pt x="230" y="9"/>
                    </a:lnTo>
                    <a:lnTo>
                      <a:pt x="239" y="16"/>
                    </a:lnTo>
                    <a:lnTo>
                      <a:pt x="66" y="41"/>
                    </a:lnTo>
                    <a:lnTo>
                      <a:pt x="70" y="26"/>
                    </a:lnTo>
                    <a:lnTo>
                      <a:pt x="97" y="47"/>
                    </a:lnTo>
                    <a:cubicBezTo>
                      <a:pt x="99" y="49"/>
                      <a:pt x="100" y="52"/>
                      <a:pt x="100" y="54"/>
                    </a:cubicBezTo>
                    <a:cubicBezTo>
                      <a:pt x="99" y="57"/>
                      <a:pt x="98" y="60"/>
                      <a:pt x="95" y="61"/>
                    </a:cubicBezTo>
                    <a:lnTo>
                      <a:pt x="67" y="74"/>
                    </a:lnTo>
                    <a:lnTo>
                      <a:pt x="67" y="59"/>
                    </a:lnTo>
                    <a:lnTo>
                      <a:pt x="126" y="83"/>
                    </a:lnTo>
                    <a:cubicBezTo>
                      <a:pt x="130" y="85"/>
                      <a:pt x="132" y="89"/>
                      <a:pt x="131" y="93"/>
                    </a:cubicBezTo>
                    <a:cubicBezTo>
                      <a:pt x="130" y="97"/>
                      <a:pt x="126" y="99"/>
                      <a:pt x="122" y="98"/>
                    </a:cubicBezTo>
                    <a:lnTo>
                      <a:pt x="98" y="95"/>
                    </a:lnTo>
                    <a:lnTo>
                      <a:pt x="107" y="85"/>
                    </a:lnTo>
                    <a:lnTo>
                      <a:pt x="120" y="128"/>
                    </a:lnTo>
                    <a:cubicBezTo>
                      <a:pt x="121" y="131"/>
                      <a:pt x="121" y="134"/>
                      <a:pt x="119" y="136"/>
                    </a:cubicBezTo>
                    <a:cubicBezTo>
                      <a:pt x="117" y="138"/>
                      <a:pt x="114" y="139"/>
                      <a:pt x="111" y="139"/>
                    </a:cubicBezTo>
                    <a:lnTo>
                      <a:pt x="20" y="118"/>
                    </a:lnTo>
                    <a:lnTo>
                      <a:pt x="29" y="113"/>
                    </a:lnTo>
                    <a:lnTo>
                      <a:pt x="16" y="148"/>
                    </a:lnTo>
                    <a:lnTo>
                      <a:pt x="12" y="138"/>
                    </a:lnTo>
                    <a:lnTo>
                      <a:pt x="117" y="196"/>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12" name="Freeform 68"/>
              <p:cNvSpPr>
                <a:spLocks/>
              </p:cNvSpPr>
              <p:nvPr/>
            </p:nvSpPr>
            <p:spPr bwMode="auto">
              <a:xfrm>
                <a:off x="1367" y="778"/>
                <a:ext cx="52" cy="29"/>
              </a:xfrm>
              <a:custGeom>
                <a:avLst/>
                <a:gdLst/>
                <a:ahLst/>
                <a:cxnLst>
                  <a:cxn ang="0">
                    <a:pos x="0" y="0"/>
                  </a:cxn>
                  <a:cxn ang="0">
                    <a:pos x="6" y="17"/>
                  </a:cxn>
                  <a:cxn ang="0">
                    <a:pos x="22" y="18"/>
                  </a:cxn>
                  <a:cxn ang="0">
                    <a:pos x="8" y="21"/>
                  </a:cxn>
                  <a:cxn ang="0">
                    <a:pos x="15" y="29"/>
                  </a:cxn>
                  <a:cxn ang="0">
                    <a:pos x="47" y="24"/>
                  </a:cxn>
                  <a:cxn ang="0">
                    <a:pos x="52" y="14"/>
                  </a:cxn>
                  <a:cxn ang="0">
                    <a:pos x="0" y="0"/>
                  </a:cxn>
                </a:cxnLst>
                <a:rect l="0" t="0" r="r" b="b"/>
                <a:pathLst>
                  <a:path w="52" h="29">
                    <a:moveTo>
                      <a:pt x="0" y="0"/>
                    </a:moveTo>
                    <a:lnTo>
                      <a:pt x="6" y="17"/>
                    </a:lnTo>
                    <a:lnTo>
                      <a:pt x="22" y="18"/>
                    </a:lnTo>
                    <a:lnTo>
                      <a:pt x="8" y="21"/>
                    </a:lnTo>
                    <a:lnTo>
                      <a:pt x="15" y="29"/>
                    </a:lnTo>
                    <a:lnTo>
                      <a:pt x="47" y="24"/>
                    </a:lnTo>
                    <a:lnTo>
                      <a:pt x="52" y="14"/>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13" name="Freeform 69"/>
              <p:cNvSpPr>
                <a:spLocks noEditPoints="1"/>
              </p:cNvSpPr>
              <p:nvPr/>
            </p:nvSpPr>
            <p:spPr bwMode="auto">
              <a:xfrm>
                <a:off x="1365" y="776"/>
                <a:ext cx="56" cy="33"/>
              </a:xfrm>
              <a:custGeom>
                <a:avLst/>
                <a:gdLst/>
                <a:ahLst/>
                <a:cxnLst>
                  <a:cxn ang="0">
                    <a:pos x="6" y="16"/>
                  </a:cxn>
                  <a:cxn ang="0">
                    <a:pos x="16" y="6"/>
                  </a:cxn>
                  <a:cxn ang="0">
                    <a:pos x="36" y="82"/>
                  </a:cxn>
                  <a:cxn ang="0">
                    <a:pos x="29" y="76"/>
                  </a:cxn>
                  <a:cxn ang="0">
                    <a:pos x="83" y="81"/>
                  </a:cxn>
                  <a:cxn ang="0">
                    <a:pos x="90" y="88"/>
                  </a:cxn>
                  <a:cxn ang="0">
                    <a:pos x="84" y="97"/>
                  </a:cxn>
                  <a:cxn ang="0">
                    <a:pos x="37" y="107"/>
                  </a:cxn>
                  <a:cxn ang="0">
                    <a:pos x="42" y="95"/>
                  </a:cxn>
                  <a:cxn ang="0">
                    <a:pos x="65" y="132"/>
                  </a:cxn>
                  <a:cxn ang="0">
                    <a:pos x="57" y="129"/>
                  </a:cxn>
                  <a:cxn ang="0">
                    <a:pos x="166" y="106"/>
                  </a:cxn>
                  <a:cxn ang="0">
                    <a:pos x="160" y="111"/>
                  </a:cxn>
                  <a:cxn ang="0">
                    <a:pos x="177" y="69"/>
                  </a:cxn>
                  <a:cxn ang="0">
                    <a:pos x="182" y="80"/>
                  </a:cxn>
                  <a:cxn ang="0">
                    <a:pos x="6" y="16"/>
                  </a:cxn>
                  <a:cxn ang="0">
                    <a:pos x="187" y="65"/>
                  </a:cxn>
                  <a:cxn ang="0">
                    <a:pos x="192" y="69"/>
                  </a:cxn>
                  <a:cxn ang="0">
                    <a:pos x="192" y="75"/>
                  </a:cxn>
                  <a:cxn ang="0">
                    <a:pos x="175" y="117"/>
                  </a:cxn>
                  <a:cxn ang="0">
                    <a:pos x="169" y="122"/>
                  </a:cxn>
                  <a:cxn ang="0">
                    <a:pos x="60" y="144"/>
                  </a:cxn>
                  <a:cxn ang="0">
                    <a:pos x="51" y="141"/>
                  </a:cxn>
                  <a:cxn ang="0">
                    <a:pos x="29" y="103"/>
                  </a:cxn>
                  <a:cxn ang="0">
                    <a:pos x="28" y="96"/>
                  </a:cxn>
                  <a:cxn ang="0">
                    <a:pos x="34" y="91"/>
                  </a:cxn>
                  <a:cxn ang="0">
                    <a:pos x="81" y="81"/>
                  </a:cxn>
                  <a:cxn ang="0">
                    <a:pos x="82" y="97"/>
                  </a:cxn>
                  <a:cxn ang="0">
                    <a:pos x="28" y="92"/>
                  </a:cxn>
                  <a:cxn ang="0">
                    <a:pos x="21" y="86"/>
                  </a:cxn>
                  <a:cxn ang="0">
                    <a:pos x="1" y="10"/>
                  </a:cxn>
                  <a:cxn ang="0">
                    <a:pos x="3" y="3"/>
                  </a:cxn>
                  <a:cxn ang="0">
                    <a:pos x="11" y="1"/>
                  </a:cxn>
                  <a:cxn ang="0">
                    <a:pos x="187" y="65"/>
                  </a:cxn>
                </a:cxnLst>
                <a:rect l="0" t="0" r="r" b="b"/>
                <a:pathLst>
                  <a:path w="193" h="145">
                    <a:moveTo>
                      <a:pt x="6" y="16"/>
                    </a:moveTo>
                    <a:lnTo>
                      <a:pt x="16" y="6"/>
                    </a:lnTo>
                    <a:lnTo>
                      <a:pt x="36" y="82"/>
                    </a:lnTo>
                    <a:lnTo>
                      <a:pt x="29" y="76"/>
                    </a:lnTo>
                    <a:lnTo>
                      <a:pt x="83" y="81"/>
                    </a:lnTo>
                    <a:cubicBezTo>
                      <a:pt x="87" y="81"/>
                      <a:pt x="90" y="84"/>
                      <a:pt x="90" y="88"/>
                    </a:cubicBezTo>
                    <a:cubicBezTo>
                      <a:pt x="91" y="92"/>
                      <a:pt x="88" y="96"/>
                      <a:pt x="84" y="97"/>
                    </a:cubicBezTo>
                    <a:lnTo>
                      <a:pt x="37" y="107"/>
                    </a:lnTo>
                    <a:lnTo>
                      <a:pt x="42" y="95"/>
                    </a:lnTo>
                    <a:lnTo>
                      <a:pt x="65" y="132"/>
                    </a:lnTo>
                    <a:lnTo>
                      <a:pt x="57" y="129"/>
                    </a:lnTo>
                    <a:lnTo>
                      <a:pt x="166" y="106"/>
                    </a:lnTo>
                    <a:lnTo>
                      <a:pt x="160" y="111"/>
                    </a:lnTo>
                    <a:lnTo>
                      <a:pt x="177" y="69"/>
                    </a:lnTo>
                    <a:lnTo>
                      <a:pt x="182" y="80"/>
                    </a:lnTo>
                    <a:lnTo>
                      <a:pt x="6" y="16"/>
                    </a:lnTo>
                    <a:close/>
                    <a:moveTo>
                      <a:pt x="187" y="65"/>
                    </a:moveTo>
                    <a:cubicBezTo>
                      <a:pt x="189" y="66"/>
                      <a:pt x="191" y="67"/>
                      <a:pt x="192" y="69"/>
                    </a:cubicBezTo>
                    <a:cubicBezTo>
                      <a:pt x="193" y="71"/>
                      <a:pt x="193" y="73"/>
                      <a:pt x="192" y="75"/>
                    </a:cubicBezTo>
                    <a:lnTo>
                      <a:pt x="175" y="117"/>
                    </a:lnTo>
                    <a:cubicBezTo>
                      <a:pt x="174" y="120"/>
                      <a:pt x="172" y="121"/>
                      <a:pt x="169" y="122"/>
                    </a:cubicBezTo>
                    <a:lnTo>
                      <a:pt x="60" y="144"/>
                    </a:lnTo>
                    <a:cubicBezTo>
                      <a:pt x="56" y="145"/>
                      <a:pt x="53" y="144"/>
                      <a:pt x="51" y="141"/>
                    </a:cubicBezTo>
                    <a:lnTo>
                      <a:pt x="29" y="103"/>
                    </a:lnTo>
                    <a:cubicBezTo>
                      <a:pt x="27" y="101"/>
                      <a:pt x="27" y="99"/>
                      <a:pt x="28" y="96"/>
                    </a:cubicBezTo>
                    <a:cubicBezTo>
                      <a:pt x="29" y="94"/>
                      <a:pt x="31" y="92"/>
                      <a:pt x="34" y="91"/>
                    </a:cubicBezTo>
                    <a:lnTo>
                      <a:pt x="81" y="81"/>
                    </a:lnTo>
                    <a:lnTo>
                      <a:pt x="82" y="97"/>
                    </a:lnTo>
                    <a:lnTo>
                      <a:pt x="28" y="92"/>
                    </a:lnTo>
                    <a:cubicBezTo>
                      <a:pt x="24" y="92"/>
                      <a:pt x="21" y="90"/>
                      <a:pt x="21" y="86"/>
                    </a:cubicBezTo>
                    <a:lnTo>
                      <a:pt x="1" y="10"/>
                    </a:lnTo>
                    <a:cubicBezTo>
                      <a:pt x="0" y="8"/>
                      <a:pt x="1" y="5"/>
                      <a:pt x="3" y="3"/>
                    </a:cubicBezTo>
                    <a:cubicBezTo>
                      <a:pt x="5" y="1"/>
                      <a:pt x="8" y="0"/>
                      <a:pt x="11" y="1"/>
                    </a:cubicBezTo>
                    <a:lnTo>
                      <a:pt x="187" y="65"/>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14" name="Freeform 70"/>
              <p:cNvSpPr>
                <a:spLocks/>
              </p:cNvSpPr>
              <p:nvPr/>
            </p:nvSpPr>
            <p:spPr bwMode="auto">
              <a:xfrm>
                <a:off x="1386" y="825"/>
                <a:ext cx="241" cy="74"/>
              </a:xfrm>
              <a:custGeom>
                <a:avLst/>
                <a:gdLst/>
                <a:ahLst/>
                <a:cxnLst>
                  <a:cxn ang="0">
                    <a:pos x="0" y="12"/>
                  </a:cxn>
                  <a:cxn ang="0">
                    <a:pos x="15" y="0"/>
                  </a:cxn>
                  <a:cxn ang="0">
                    <a:pos x="37" y="7"/>
                  </a:cxn>
                  <a:cxn ang="0">
                    <a:pos x="51" y="12"/>
                  </a:cxn>
                  <a:cxn ang="0">
                    <a:pos x="46" y="20"/>
                  </a:cxn>
                  <a:cxn ang="0">
                    <a:pos x="74" y="13"/>
                  </a:cxn>
                  <a:cxn ang="0">
                    <a:pos x="92" y="20"/>
                  </a:cxn>
                  <a:cxn ang="0">
                    <a:pos x="76" y="20"/>
                  </a:cxn>
                  <a:cxn ang="0">
                    <a:pos x="107" y="26"/>
                  </a:cxn>
                  <a:cxn ang="0">
                    <a:pos x="74" y="29"/>
                  </a:cxn>
                  <a:cxn ang="0">
                    <a:pos x="92" y="33"/>
                  </a:cxn>
                  <a:cxn ang="0">
                    <a:pos x="78" y="40"/>
                  </a:cxn>
                  <a:cxn ang="0">
                    <a:pos x="95" y="34"/>
                  </a:cxn>
                  <a:cxn ang="0">
                    <a:pos x="110" y="49"/>
                  </a:cxn>
                  <a:cxn ang="0">
                    <a:pos x="113" y="42"/>
                  </a:cxn>
                  <a:cxn ang="0">
                    <a:pos x="158" y="49"/>
                  </a:cxn>
                  <a:cxn ang="0">
                    <a:pos x="204" y="35"/>
                  </a:cxn>
                  <a:cxn ang="0">
                    <a:pos x="241" y="51"/>
                  </a:cxn>
                  <a:cxn ang="0">
                    <a:pos x="229" y="59"/>
                  </a:cxn>
                  <a:cxn ang="0">
                    <a:pos x="234" y="71"/>
                  </a:cxn>
                  <a:cxn ang="0">
                    <a:pos x="212" y="74"/>
                  </a:cxn>
                  <a:cxn ang="0">
                    <a:pos x="187" y="62"/>
                  </a:cxn>
                  <a:cxn ang="0">
                    <a:pos x="187" y="71"/>
                  </a:cxn>
                  <a:cxn ang="0">
                    <a:pos x="174" y="73"/>
                  </a:cxn>
                  <a:cxn ang="0">
                    <a:pos x="120" y="74"/>
                  </a:cxn>
                  <a:cxn ang="0">
                    <a:pos x="113" y="64"/>
                  </a:cxn>
                  <a:cxn ang="0">
                    <a:pos x="100" y="73"/>
                  </a:cxn>
                  <a:cxn ang="0">
                    <a:pos x="84" y="64"/>
                  </a:cxn>
                  <a:cxn ang="0">
                    <a:pos x="73" y="70"/>
                  </a:cxn>
                  <a:cxn ang="0">
                    <a:pos x="52" y="22"/>
                  </a:cxn>
                  <a:cxn ang="0">
                    <a:pos x="27" y="27"/>
                  </a:cxn>
                  <a:cxn ang="0">
                    <a:pos x="0" y="12"/>
                  </a:cxn>
                </a:cxnLst>
                <a:rect l="0" t="0" r="r" b="b"/>
                <a:pathLst>
                  <a:path w="241" h="74">
                    <a:moveTo>
                      <a:pt x="0" y="12"/>
                    </a:moveTo>
                    <a:lnTo>
                      <a:pt x="15" y="0"/>
                    </a:lnTo>
                    <a:lnTo>
                      <a:pt x="37" y="7"/>
                    </a:lnTo>
                    <a:lnTo>
                      <a:pt x="51" y="12"/>
                    </a:lnTo>
                    <a:lnTo>
                      <a:pt x="46" y="20"/>
                    </a:lnTo>
                    <a:lnTo>
                      <a:pt x="74" y="13"/>
                    </a:lnTo>
                    <a:lnTo>
                      <a:pt x="92" y="20"/>
                    </a:lnTo>
                    <a:lnTo>
                      <a:pt x="76" y="20"/>
                    </a:lnTo>
                    <a:lnTo>
                      <a:pt x="107" y="26"/>
                    </a:lnTo>
                    <a:lnTo>
                      <a:pt x="74" y="29"/>
                    </a:lnTo>
                    <a:lnTo>
                      <a:pt x="92" y="33"/>
                    </a:lnTo>
                    <a:lnTo>
                      <a:pt x="78" y="40"/>
                    </a:lnTo>
                    <a:lnTo>
                      <a:pt x="95" y="34"/>
                    </a:lnTo>
                    <a:lnTo>
                      <a:pt x="110" y="49"/>
                    </a:lnTo>
                    <a:lnTo>
                      <a:pt x="113" y="42"/>
                    </a:lnTo>
                    <a:lnTo>
                      <a:pt x="158" y="49"/>
                    </a:lnTo>
                    <a:lnTo>
                      <a:pt x="204" y="35"/>
                    </a:lnTo>
                    <a:lnTo>
                      <a:pt x="241" y="51"/>
                    </a:lnTo>
                    <a:lnTo>
                      <a:pt x="229" y="59"/>
                    </a:lnTo>
                    <a:lnTo>
                      <a:pt x="234" y="71"/>
                    </a:lnTo>
                    <a:lnTo>
                      <a:pt x="212" y="74"/>
                    </a:lnTo>
                    <a:lnTo>
                      <a:pt x="187" y="62"/>
                    </a:lnTo>
                    <a:lnTo>
                      <a:pt x="187" y="71"/>
                    </a:lnTo>
                    <a:lnTo>
                      <a:pt x="174" y="73"/>
                    </a:lnTo>
                    <a:lnTo>
                      <a:pt x="120" y="74"/>
                    </a:lnTo>
                    <a:lnTo>
                      <a:pt x="113" y="64"/>
                    </a:lnTo>
                    <a:lnTo>
                      <a:pt x="100" y="73"/>
                    </a:lnTo>
                    <a:lnTo>
                      <a:pt x="84" y="64"/>
                    </a:lnTo>
                    <a:lnTo>
                      <a:pt x="73" y="70"/>
                    </a:lnTo>
                    <a:lnTo>
                      <a:pt x="52" y="22"/>
                    </a:lnTo>
                    <a:lnTo>
                      <a:pt x="27" y="27"/>
                    </a:lnTo>
                    <a:lnTo>
                      <a:pt x="0" y="12"/>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15" name="Freeform 71"/>
              <p:cNvSpPr>
                <a:spLocks noEditPoints="1"/>
              </p:cNvSpPr>
              <p:nvPr/>
            </p:nvSpPr>
            <p:spPr bwMode="auto">
              <a:xfrm>
                <a:off x="1384" y="824"/>
                <a:ext cx="246" cy="77"/>
              </a:xfrm>
              <a:custGeom>
                <a:avLst/>
                <a:gdLst/>
                <a:ahLst/>
                <a:cxnLst>
                  <a:cxn ang="0">
                    <a:pos x="3" y="54"/>
                  </a:cxn>
                  <a:cxn ang="0">
                    <a:pos x="136" y="28"/>
                  </a:cxn>
                  <a:cxn ang="0">
                    <a:pos x="176" y="98"/>
                  </a:cxn>
                  <a:cxn ang="0">
                    <a:pos x="267" y="57"/>
                  </a:cxn>
                  <a:cxn ang="0">
                    <a:pos x="324" y="103"/>
                  </a:cxn>
                  <a:cxn ang="0">
                    <a:pos x="379" y="113"/>
                  </a:cxn>
                  <a:cxn ang="0">
                    <a:pos x="264" y="139"/>
                  </a:cxn>
                  <a:cxn ang="0">
                    <a:pos x="332" y="151"/>
                  </a:cxn>
                  <a:cxn ang="0">
                    <a:pos x="276" y="171"/>
                  </a:cxn>
                  <a:cxn ang="0">
                    <a:pos x="393" y="216"/>
                  </a:cxn>
                  <a:cxn ang="0">
                    <a:pos x="401" y="184"/>
                  </a:cxn>
                  <a:cxn ang="0">
                    <a:pos x="708" y="152"/>
                  </a:cxn>
                  <a:cxn ang="0">
                    <a:pos x="848" y="231"/>
                  </a:cxn>
                  <a:cxn ang="0">
                    <a:pos x="806" y="262"/>
                  </a:cxn>
                  <a:cxn ang="0">
                    <a:pos x="814" y="326"/>
                  </a:cxn>
                  <a:cxn ang="0">
                    <a:pos x="649" y="286"/>
                  </a:cxn>
                  <a:cxn ang="0">
                    <a:pos x="654" y="326"/>
                  </a:cxn>
                  <a:cxn ang="0">
                    <a:pos x="413" y="332"/>
                  </a:cxn>
                  <a:cxn ang="0">
                    <a:pos x="359" y="331"/>
                  </a:cxn>
                  <a:cxn ang="0">
                    <a:pos x="302" y="293"/>
                  </a:cxn>
                  <a:cxn ang="0">
                    <a:pos x="251" y="314"/>
                  </a:cxn>
                  <a:cxn ang="0">
                    <a:pos x="103" y="130"/>
                  </a:cxn>
                  <a:cxn ang="0">
                    <a:pos x="106" y="116"/>
                  </a:cxn>
                  <a:cxn ang="0">
                    <a:pos x="194" y="101"/>
                  </a:cxn>
                  <a:cxn ang="0">
                    <a:pos x="293" y="279"/>
                  </a:cxn>
                  <a:cxn ang="0">
                    <a:pos x="348" y="319"/>
                  </a:cxn>
                  <a:cxn ang="0">
                    <a:pos x="407" y="282"/>
                  </a:cxn>
                  <a:cxn ang="0">
                    <a:pos x="606" y="317"/>
                  </a:cxn>
                  <a:cxn ang="0">
                    <a:pos x="645" y="279"/>
                  </a:cxn>
                  <a:cxn ang="0">
                    <a:pos x="742" y="322"/>
                  </a:cxn>
                  <a:cxn ang="0">
                    <a:pos x="805" y="320"/>
                  </a:cxn>
                  <a:cxn ang="0">
                    <a:pos x="836" y="225"/>
                  </a:cxn>
                  <a:cxn ang="0">
                    <a:pos x="714" y="167"/>
                  </a:cxn>
                  <a:cxn ang="0">
                    <a:pos x="398" y="200"/>
                  </a:cxn>
                  <a:cxn ang="0">
                    <a:pos x="388" y="229"/>
                  </a:cxn>
                  <a:cxn ang="0">
                    <a:pos x="340" y="164"/>
                  </a:cxn>
                  <a:cxn ang="0">
                    <a:pos x="274" y="172"/>
                  </a:cxn>
                  <a:cxn ang="0">
                    <a:pos x="261" y="139"/>
                  </a:cxn>
                  <a:cxn ang="0">
                    <a:pos x="376" y="113"/>
                  </a:cxn>
                  <a:cxn ang="0">
                    <a:pos x="263" y="94"/>
                  </a:cxn>
                  <a:cxn ang="0">
                    <a:pos x="321" y="102"/>
                  </a:cxn>
                  <a:cxn ang="0">
                    <a:pos x="171" y="103"/>
                  </a:cxn>
                  <a:cxn ang="0">
                    <a:pos x="176" y="56"/>
                  </a:cxn>
                  <a:cxn ang="0">
                    <a:pos x="56" y="16"/>
                  </a:cxn>
                  <a:cxn ang="0">
                    <a:pos x="13" y="53"/>
                  </a:cxn>
                </a:cxnLst>
                <a:rect l="0" t="0" r="r" b="b"/>
                <a:pathLst>
                  <a:path w="849" h="337">
                    <a:moveTo>
                      <a:pt x="4" y="66"/>
                    </a:moveTo>
                    <a:cubicBezTo>
                      <a:pt x="2" y="65"/>
                      <a:pt x="1" y="63"/>
                      <a:pt x="0" y="60"/>
                    </a:cubicBezTo>
                    <a:cubicBezTo>
                      <a:pt x="0" y="58"/>
                      <a:pt x="1" y="56"/>
                      <a:pt x="3" y="54"/>
                    </a:cubicBezTo>
                    <a:lnTo>
                      <a:pt x="53" y="3"/>
                    </a:lnTo>
                    <a:cubicBezTo>
                      <a:pt x="55" y="1"/>
                      <a:pt x="58" y="0"/>
                      <a:pt x="61" y="1"/>
                    </a:cubicBezTo>
                    <a:lnTo>
                      <a:pt x="136" y="28"/>
                    </a:lnTo>
                    <a:lnTo>
                      <a:pt x="187" y="52"/>
                    </a:lnTo>
                    <a:cubicBezTo>
                      <a:pt x="191" y="54"/>
                      <a:pt x="193" y="59"/>
                      <a:pt x="191" y="63"/>
                    </a:cubicBezTo>
                    <a:lnTo>
                      <a:pt x="176" y="98"/>
                    </a:lnTo>
                    <a:lnTo>
                      <a:pt x="166" y="88"/>
                    </a:lnTo>
                    <a:lnTo>
                      <a:pt x="261" y="57"/>
                    </a:lnTo>
                    <a:cubicBezTo>
                      <a:pt x="263" y="56"/>
                      <a:pt x="265" y="57"/>
                      <a:pt x="267" y="57"/>
                    </a:cubicBezTo>
                    <a:lnTo>
                      <a:pt x="328" y="88"/>
                    </a:lnTo>
                    <a:cubicBezTo>
                      <a:pt x="331" y="90"/>
                      <a:pt x="333" y="94"/>
                      <a:pt x="332" y="97"/>
                    </a:cubicBezTo>
                    <a:cubicBezTo>
                      <a:pt x="331" y="101"/>
                      <a:pt x="328" y="103"/>
                      <a:pt x="324" y="103"/>
                    </a:cubicBezTo>
                    <a:lnTo>
                      <a:pt x="271" y="103"/>
                    </a:lnTo>
                    <a:lnTo>
                      <a:pt x="273" y="87"/>
                    </a:lnTo>
                    <a:lnTo>
                      <a:pt x="379" y="113"/>
                    </a:lnTo>
                    <a:cubicBezTo>
                      <a:pt x="383" y="114"/>
                      <a:pt x="385" y="117"/>
                      <a:pt x="385" y="121"/>
                    </a:cubicBezTo>
                    <a:cubicBezTo>
                      <a:pt x="385" y="125"/>
                      <a:pt x="382" y="128"/>
                      <a:pt x="378" y="129"/>
                    </a:cubicBezTo>
                    <a:lnTo>
                      <a:pt x="264" y="139"/>
                    </a:lnTo>
                    <a:lnTo>
                      <a:pt x="266" y="123"/>
                    </a:lnTo>
                    <a:lnTo>
                      <a:pt x="327" y="144"/>
                    </a:lnTo>
                    <a:cubicBezTo>
                      <a:pt x="330" y="145"/>
                      <a:pt x="332" y="147"/>
                      <a:pt x="332" y="151"/>
                    </a:cubicBezTo>
                    <a:cubicBezTo>
                      <a:pt x="333" y="154"/>
                      <a:pt x="331" y="157"/>
                      <a:pt x="328" y="158"/>
                    </a:cubicBezTo>
                    <a:lnTo>
                      <a:pt x="282" y="186"/>
                    </a:lnTo>
                    <a:lnTo>
                      <a:pt x="276" y="171"/>
                    </a:lnTo>
                    <a:lnTo>
                      <a:pt x="334" y="149"/>
                    </a:lnTo>
                    <a:cubicBezTo>
                      <a:pt x="337" y="148"/>
                      <a:pt x="341" y="149"/>
                      <a:pt x="343" y="152"/>
                    </a:cubicBezTo>
                    <a:lnTo>
                      <a:pt x="393" y="216"/>
                    </a:lnTo>
                    <a:lnTo>
                      <a:pt x="380" y="218"/>
                    </a:lnTo>
                    <a:lnTo>
                      <a:pt x="392" y="189"/>
                    </a:lnTo>
                    <a:cubicBezTo>
                      <a:pt x="394" y="186"/>
                      <a:pt x="397" y="184"/>
                      <a:pt x="401" y="184"/>
                    </a:cubicBezTo>
                    <a:lnTo>
                      <a:pt x="554" y="213"/>
                    </a:lnTo>
                    <a:lnTo>
                      <a:pt x="550" y="214"/>
                    </a:lnTo>
                    <a:lnTo>
                      <a:pt x="708" y="152"/>
                    </a:lnTo>
                    <a:cubicBezTo>
                      <a:pt x="710" y="152"/>
                      <a:pt x="713" y="152"/>
                      <a:pt x="715" y="153"/>
                    </a:cubicBezTo>
                    <a:lnTo>
                      <a:pt x="844" y="224"/>
                    </a:lnTo>
                    <a:cubicBezTo>
                      <a:pt x="847" y="226"/>
                      <a:pt x="848" y="228"/>
                      <a:pt x="848" y="231"/>
                    </a:cubicBezTo>
                    <a:cubicBezTo>
                      <a:pt x="849" y="234"/>
                      <a:pt x="848" y="236"/>
                      <a:pt x="845" y="238"/>
                    </a:cubicBezTo>
                    <a:lnTo>
                      <a:pt x="804" y="270"/>
                    </a:lnTo>
                    <a:lnTo>
                      <a:pt x="806" y="262"/>
                    </a:lnTo>
                    <a:lnTo>
                      <a:pt x="820" y="316"/>
                    </a:lnTo>
                    <a:cubicBezTo>
                      <a:pt x="821" y="318"/>
                      <a:pt x="821" y="321"/>
                      <a:pt x="819" y="323"/>
                    </a:cubicBezTo>
                    <a:cubicBezTo>
                      <a:pt x="818" y="325"/>
                      <a:pt x="816" y="326"/>
                      <a:pt x="814" y="326"/>
                    </a:cubicBezTo>
                    <a:lnTo>
                      <a:pt x="739" y="336"/>
                    </a:lnTo>
                    <a:cubicBezTo>
                      <a:pt x="737" y="337"/>
                      <a:pt x="735" y="336"/>
                      <a:pt x="733" y="335"/>
                    </a:cubicBezTo>
                    <a:lnTo>
                      <a:pt x="649" y="286"/>
                    </a:lnTo>
                    <a:lnTo>
                      <a:pt x="661" y="279"/>
                    </a:lnTo>
                    <a:lnTo>
                      <a:pt x="661" y="318"/>
                    </a:lnTo>
                    <a:cubicBezTo>
                      <a:pt x="661" y="322"/>
                      <a:pt x="658" y="326"/>
                      <a:pt x="654" y="326"/>
                    </a:cubicBezTo>
                    <a:lnTo>
                      <a:pt x="608" y="333"/>
                    </a:lnTo>
                    <a:lnTo>
                      <a:pt x="420" y="336"/>
                    </a:lnTo>
                    <a:cubicBezTo>
                      <a:pt x="417" y="337"/>
                      <a:pt x="414" y="335"/>
                      <a:pt x="413" y="332"/>
                    </a:cubicBezTo>
                    <a:lnTo>
                      <a:pt x="392" y="289"/>
                    </a:lnTo>
                    <a:lnTo>
                      <a:pt x="405" y="292"/>
                    </a:lnTo>
                    <a:lnTo>
                      <a:pt x="359" y="331"/>
                    </a:lnTo>
                    <a:cubicBezTo>
                      <a:pt x="356" y="334"/>
                      <a:pt x="352" y="334"/>
                      <a:pt x="349" y="332"/>
                    </a:cubicBezTo>
                    <a:lnTo>
                      <a:pt x="293" y="292"/>
                    </a:lnTo>
                    <a:lnTo>
                      <a:pt x="302" y="293"/>
                    </a:lnTo>
                    <a:lnTo>
                      <a:pt x="263" y="318"/>
                    </a:lnTo>
                    <a:cubicBezTo>
                      <a:pt x="261" y="319"/>
                      <a:pt x="259" y="320"/>
                      <a:pt x="256" y="319"/>
                    </a:cubicBezTo>
                    <a:cubicBezTo>
                      <a:pt x="254" y="318"/>
                      <a:pt x="252" y="316"/>
                      <a:pt x="251" y="314"/>
                    </a:cubicBezTo>
                    <a:lnTo>
                      <a:pt x="179" y="106"/>
                    </a:lnTo>
                    <a:lnTo>
                      <a:pt x="188" y="112"/>
                    </a:lnTo>
                    <a:lnTo>
                      <a:pt x="103" y="130"/>
                    </a:lnTo>
                    <a:cubicBezTo>
                      <a:pt x="101" y="131"/>
                      <a:pt x="99" y="130"/>
                      <a:pt x="97" y="129"/>
                    </a:cubicBezTo>
                    <a:lnTo>
                      <a:pt x="4" y="66"/>
                    </a:lnTo>
                    <a:close/>
                    <a:moveTo>
                      <a:pt x="106" y="116"/>
                    </a:moveTo>
                    <a:lnTo>
                      <a:pt x="100" y="115"/>
                    </a:lnTo>
                    <a:lnTo>
                      <a:pt x="185" y="96"/>
                    </a:lnTo>
                    <a:cubicBezTo>
                      <a:pt x="189" y="95"/>
                      <a:pt x="193" y="97"/>
                      <a:pt x="194" y="101"/>
                    </a:cubicBezTo>
                    <a:lnTo>
                      <a:pt x="266" y="309"/>
                    </a:lnTo>
                    <a:lnTo>
                      <a:pt x="255" y="305"/>
                    </a:lnTo>
                    <a:lnTo>
                      <a:pt x="293" y="279"/>
                    </a:lnTo>
                    <a:cubicBezTo>
                      <a:pt x="296" y="277"/>
                      <a:pt x="300" y="277"/>
                      <a:pt x="302" y="279"/>
                    </a:cubicBezTo>
                    <a:lnTo>
                      <a:pt x="358" y="319"/>
                    </a:lnTo>
                    <a:lnTo>
                      <a:pt x="348" y="319"/>
                    </a:lnTo>
                    <a:lnTo>
                      <a:pt x="394" y="280"/>
                    </a:lnTo>
                    <a:cubicBezTo>
                      <a:pt x="396" y="278"/>
                      <a:pt x="399" y="278"/>
                      <a:pt x="401" y="278"/>
                    </a:cubicBezTo>
                    <a:cubicBezTo>
                      <a:pt x="403" y="279"/>
                      <a:pt x="406" y="280"/>
                      <a:pt x="407" y="282"/>
                    </a:cubicBezTo>
                    <a:lnTo>
                      <a:pt x="427" y="325"/>
                    </a:lnTo>
                    <a:lnTo>
                      <a:pt x="420" y="320"/>
                    </a:lnTo>
                    <a:lnTo>
                      <a:pt x="606" y="317"/>
                    </a:lnTo>
                    <a:lnTo>
                      <a:pt x="651" y="310"/>
                    </a:lnTo>
                    <a:lnTo>
                      <a:pt x="645" y="318"/>
                    </a:lnTo>
                    <a:lnTo>
                      <a:pt x="645" y="279"/>
                    </a:lnTo>
                    <a:cubicBezTo>
                      <a:pt x="645" y="276"/>
                      <a:pt x="646" y="274"/>
                      <a:pt x="649" y="272"/>
                    </a:cubicBezTo>
                    <a:cubicBezTo>
                      <a:pt x="651" y="271"/>
                      <a:pt x="654" y="271"/>
                      <a:pt x="657" y="272"/>
                    </a:cubicBezTo>
                    <a:lnTo>
                      <a:pt x="742" y="322"/>
                    </a:lnTo>
                    <a:lnTo>
                      <a:pt x="736" y="321"/>
                    </a:lnTo>
                    <a:lnTo>
                      <a:pt x="812" y="310"/>
                    </a:lnTo>
                    <a:lnTo>
                      <a:pt x="805" y="320"/>
                    </a:lnTo>
                    <a:lnTo>
                      <a:pt x="791" y="266"/>
                    </a:lnTo>
                    <a:cubicBezTo>
                      <a:pt x="790" y="263"/>
                      <a:pt x="791" y="259"/>
                      <a:pt x="794" y="257"/>
                    </a:cubicBezTo>
                    <a:lnTo>
                      <a:pt x="836" y="225"/>
                    </a:lnTo>
                    <a:lnTo>
                      <a:pt x="837" y="238"/>
                    </a:lnTo>
                    <a:lnTo>
                      <a:pt x="707" y="167"/>
                    </a:lnTo>
                    <a:lnTo>
                      <a:pt x="714" y="167"/>
                    </a:lnTo>
                    <a:lnTo>
                      <a:pt x="555" y="229"/>
                    </a:lnTo>
                    <a:cubicBezTo>
                      <a:pt x="554" y="229"/>
                      <a:pt x="552" y="229"/>
                      <a:pt x="551" y="229"/>
                    </a:cubicBezTo>
                    <a:lnTo>
                      <a:pt x="398" y="200"/>
                    </a:lnTo>
                    <a:lnTo>
                      <a:pt x="407" y="195"/>
                    </a:lnTo>
                    <a:lnTo>
                      <a:pt x="394" y="224"/>
                    </a:lnTo>
                    <a:cubicBezTo>
                      <a:pt x="393" y="227"/>
                      <a:pt x="391" y="229"/>
                      <a:pt x="388" y="229"/>
                    </a:cubicBezTo>
                    <a:cubicBezTo>
                      <a:pt x="385" y="230"/>
                      <a:pt x="382" y="228"/>
                      <a:pt x="381" y="226"/>
                    </a:cubicBezTo>
                    <a:lnTo>
                      <a:pt x="330" y="161"/>
                    </a:lnTo>
                    <a:lnTo>
                      <a:pt x="340" y="164"/>
                    </a:lnTo>
                    <a:lnTo>
                      <a:pt x="281" y="186"/>
                    </a:lnTo>
                    <a:cubicBezTo>
                      <a:pt x="277" y="188"/>
                      <a:pt x="273" y="186"/>
                      <a:pt x="271" y="182"/>
                    </a:cubicBezTo>
                    <a:cubicBezTo>
                      <a:pt x="269" y="178"/>
                      <a:pt x="271" y="174"/>
                      <a:pt x="274" y="172"/>
                    </a:cubicBezTo>
                    <a:lnTo>
                      <a:pt x="320" y="145"/>
                    </a:lnTo>
                    <a:lnTo>
                      <a:pt x="322" y="159"/>
                    </a:lnTo>
                    <a:lnTo>
                      <a:pt x="261" y="139"/>
                    </a:lnTo>
                    <a:cubicBezTo>
                      <a:pt x="257" y="137"/>
                      <a:pt x="255" y="134"/>
                      <a:pt x="255" y="130"/>
                    </a:cubicBezTo>
                    <a:cubicBezTo>
                      <a:pt x="256" y="126"/>
                      <a:pt x="259" y="123"/>
                      <a:pt x="262" y="123"/>
                    </a:cubicBezTo>
                    <a:lnTo>
                      <a:pt x="376" y="113"/>
                    </a:lnTo>
                    <a:lnTo>
                      <a:pt x="375" y="129"/>
                    </a:lnTo>
                    <a:lnTo>
                      <a:pt x="270" y="103"/>
                    </a:lnTo>
                    <a:cubicBezTo>
                      <a:pt x="266" y="102"/>
                      <a:pt x="263" y="98"/>
                      <a:pt x="263" y="94"/>
                    </a:cubicBezTo>
                    <a:cubicBezTo>
                      <a:pt x="264" y="90"/>
                      <a:pt x="267" y="87"/>
                      <a:pt x="271" y="87"/>
                    </a:cubicBezTo>
                    <a:lnTo>
                      <a:pt x="324" y="87"/>
                    </a:lnTo>
                    <a:lnTo>
                      <a:pt x="321" y="102"/>
                    </a:lnTo>
                    <a:lnTo>
                      <a:pt x="259" y="72"/>
                    </a:lnTo>
                    <a:lnTo>
                      <a:pt x="266" y="72"/>
                    </a:lnTo>
                    <a:lnTo>
                      <a:pt x="171" y="103"/>
                    </a:lnTo>
                    <a:cubicBezTo>
                      <a:pt x="168" y="104"/>
                      <a:pt x="165" y="103"/>
                      <a:pt x="163" y="101"/>
                    </a:cubicBezTo>
                    <a:cubicBezTo>
                      <a:pt x="160" y="98"/>
                      <a:pt x="160" y="95"/>
                      <a:pt x="161" y="92"/>
                    </a:cubicBezTo>
                    <a:lnTo>
                      <a:pt x="176" y="56"/>
                    </a:lnTo>
                    <a:lnTo>
                      <a:pt x="180" y="67"/>
                    </a:lnTo>
                    <a:lnTo>
                      <a:pt x="131" y="43"/>
                    </a:lnTo>
                    <a:lnTo>
                      <a:pt x="56" y="16"/>
                    </a:lnTo>
                    <a:lnTo>
                      <a:pt x="64" y="14"/>
                    </a:lnTo>
                    <a:lnTo>
                      <a:pt x="14" y="65"/>
                    </a:lnTo>
                    <a:lnTo>
                      <a:pt x="13" y="53"/>
                    </a:lnTo>
                    <a:lnTo>
                      <a:pt x="106" y="116"/>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16" name="Freeform 72"/>
              <p:cNvSpPr>
                <a:spLocks/>
              </p:cNvSpPr>
              <p:nvPr/>
            </p:nvSpPr>
            <p:spPr bwMode="auto">
              <a:xfrm>
                <a:off x="1395" y="701"/>
                <a:ext cx="158" cy="99"/>
              </a:xfrm>
              <a:custGeom>
                <a:avLst/>
                <a:gdLst/>
                <a:ahLst/>
                <a:cxnLst>
                  <a:cxn ang="0">
                    <a:pos x="0" y="31"/>
                  </a:cxn>
                  <a:cxn ang="0">
                    <a:pos x="39" y="26"/>
                  </a:cxn>
                  <a:cxn ang="0">
                    <a:pos x="18" y="12"/>
                  </a:cxn>
                  <a:cxn ang="0">
                    <a:pos x="52" y="6"/>
                  </a:cxn>
                  <a:cxn ang="0">
                    <a:pos x="25" y="0"/>
                  </a:cxn>
                  <a:cxn ang="0">
                    <a:pos x="67" y="7"/>
                  </a:cxn>
                  <a:cxn ang="0">
                    <a:pos x="80" y="26"/>
                  </a:cxn>
                  <a:cxn ang="0">
                    <a:pos x="102" y="26"/>
                  </a:cxn>
                  <a:cxn ang="0">
                    <a:pos x="110" y="39"/>
                  </a:cxn>
                  <a:cxn ang="0">
                    <a:pos x="111" y="30"/>
                  </a:cxn>
                  <a:cxn ang="0">
                    <a:pos x="123" y="31"/>
                  </a:cxn>
                  <a:cxn ang="0">
                    <a:pos x="118" y="39"/>
                  </a:cxn>
                  <a:cxn ang="0">
                    <a:pos x="130" y="46"/>
                  </a:cxn>
                  <a:cxn ang="0">
                    <a:pos x="123" y="54"/>
                  </a:cxn>
                  <a:cxn ang="0">
                    <a:pos x="147" y="54"/>
                  </a:cxn>
                  <a:cxn ang="0">
                    <a:pos x="158" y="66"/>
                  </a:cxn>
                  <a:cxn ang="0">
                    <a:pos x="128" y="71"/>
                  </a:cxn>
                  <a:cxn ang="0">
                    <a:pos x="120" y="82"/>
                  </a:cxn>
                  <a:cxn ang="0">
                    <a:pos x="114" y="70"/>
                  </a:cxn>
                  <a:cxn ang="0">
                    <a:pos x="106" y="99"/>
                  </a:cxn>
                  <a:cxn ang="0">
                    <a:pos x="87" y="84"/>
                  </a:cxn>
                  <a:cxn ang="0">
                    <a:pos x="97" y="99"/>
                  </a:cxn>
                  <a:cxn ang="0">
                    <a:pos x="60" y="97"/>
                  </a:cxn>
                  <a:cxn ang="0">
                    <a:pos x="48" y="89"/>
                  </a:cxn>
                  <a:cxn ang="0">
                    <a:pos x="66" y="88"/>
                  </a:cxn>
                  <a:cxn ang="0">
                    <a:pos x="47" y="85"/>
                  </a:cxn>
                  <a:cxn ang="0">
                    <a:pos x="42" y="80"/>
                  </a:cxn>
                  <a:cxn ang="0">
                    <a:pos x="52" y="80"/>
                  </a:cxn>
                  <a:cxn ang="0">
                    <a:pos x="36" y="73"/>
                  </a:cxn>
                  <a:cxn ang="0">
                    <a:pos x="86" y="65"/>
                  </a:cxn>
                  <a:cxn ang="0">
                    <a:pos x="25" y="66"/>
                  </a:cxn>
                  <a:cxn ang="0">
                    <a:pos x="14" y="57"/>
                  </a:cxn>
                  <a:cxn ang="0">
                    <a:pos x="36" y="52"/>
                  </a:cxn>
                  <a:cxn ang="0">
                    <a:pos x="3" y="46"/>
                  </a:cxn>
                  <a:cxn ang="0">
                    <a:pos x="10" y="45"/>
                  </a:cxn>
                  <a:cxn ang="0">
                    <a:pos x="1" y="38"/>
                  </a:cxn>
                  <a:cxn ang="0">
                    <a:pos x="39" y="38"/>
                  </a:cxn>
                  <a:cxn ang="0">
                    <a:pos x="0" y="31"/>
                  </a:cxn>
                </a:cxnLst>
                <a:rect l="0" t="0" r="r" b="b"/>
                <a:pathLst>
                  <a:path w="158" h="99">
                    <a:moveTo>
                      <a:pt x="0" y="31"/>
                    </a:moveTo>
                    <a:lnTo>
                      <a:pt x="39" y="26"/>
                    </a:lnTo>
                    <a:lnTo>
                      <a:pt x="18" y="12"/>
                    </a:lnTo>
                    <a:lnTo>
                      <a:pt x="52" y="6"/>
                    </a:lnTo>
                    <a:lnTo>
                      <a:pt x="25" y="0"/>
                    </a:lnTo>
                    <a:lnTo>
                      <a:pt x="67" y="7"/>
                    </a:lnTo>
                    <a:lnTo>
                      <a:pt x="80" y="26"/>
                    </a:lnTo>
                    <a:lnTo>
                      <a:pt x="102" y="26"/>
                    </a:lnTo>
                    <a:lnTo>
                      <a:pt x="110" y="39"/>
                    </a:lnTo>
                    <a:lnTo>
                      <a:pt x="111" y="30"/>
                    </a:lnTo>
                    <a:lnTo>
                      <a:pt x="123" y="31"/>
                    </a:lnTo>
                    <a:lnTo>
                      <a:pt x="118" y="39"/>
                    </a:lnTo>
                    <a:lnTo>
                      <a:pt x="130" y="46"/>
                    </a:lnTo>
                    <a:lnTo>
                      <a:pt x="123" y="54"/>
                    </a:lnTo>
                    <a:lnTo>
                      <a:pt x="147" y="54"/>
                    </a:lnTo>
                    <a:lnTo>
                      <a:pt x="158" y="66"/>
                    </a:lnTo>
                    <a:lnTo>
                      <a:pt x="128" y="71"/>
                    </a:lnTo>
                    <a:lnTo>
                      <a:pt x="120" y="82"/>
                    </a:lnTo>
                    <a:lnTo>
                      <a:pt x="114" y="70"/>
                    </a:lnTo>
                    <a:lnTo>
                      <a:pt x="106" y="99"/>
                    </a:lnTo>
                    <a:lnTo>
                      <a:pt x="87" y="84"/>
                    </a:lnTo>
                    <a:lnTo>
                      <a:pt x="97" y="99"/>
                    </a:lnTo>
                    <a:lnTo>
                      <a:pt x="60" y="97"/>
                    </a:lnTo>
                    <a:lnTo>
                      <a:pt x="48" y="89"/>
                    </a:lnTo>
                    <a:lnTo>
                      <a:pt x="66" y="88"/>
                    </a:lnTo>
                    <a:lnTo>
                      <a:pt x="47" y="85"/>
                    </a:lnTo>
                    <a:lnTo>
                      <a:pt x="42" y="80"/>
                    </a:lnTo>
                    <a:lnTo>
                      <a:pt x="52" y="80"/>
                    </a:lnTo>
                    <a:lnTo>
                      <a:pt x="36" y="73"/>
                    </a:lnTo>
                    <a:lnTo>
                      <a:pt x="86" y="65"/>
                    </a:lnTo>
                    <a:lnTo>
                      <a:pt x="25" y="66"/>
                    </a:lnTo>
                    <a:lnTo>
                      <a:pt x="14" y="57"/>
                    </a:lnTo>
                    <a:lnTo>
                      <a:pt x="36" y="52"/>
                    </a:lnTo>
                    <a:lnTo>
                      <a:pt x="3" y="46"/>
                    </a:lnTo>
                    <a:lnTo>
                      <a:pt x="10" y="45"/>
                    </a:lnTo>
                    <a:lnTo>
                      <a:pt x="1" y="38"/>
                    </a:lnTo>
                    <a:lnTo>
                      <a:pt x="39" y="38"/>
                    </a:lnTo>
                    <a:lnTo>
                      <a:pt x="0" y="3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17" name="Freeform 73"/>
              <p:cNvSpPr>
                <a:spLocks noEditPoints="1"/>
              </p:cNvSpPr>
              <p:nvPr/>
            </p:nvSpPr>
            <p:spPr bwMode="auto">
              <a:xfrm>
                <a:off x="1393" y="699"/>
                <a:ext cx="163" cy="103"/>
              </a:xfrm>
              <a:custGeom>
                <a:avLst/>
                <a:gdLst/>
                <a:ahLst/>
                <a:cxnLst>
                  <a:cxn ang="0">
                    <a:pos x="7" y="134"/>
                  </a:cxn>
                  <a:cxn ang="0">
                    <a:pos x="65" y="68"/>
                  </a:cxn>
                  <a:cxn ang="0">
                    <a:pos x="184" y="26"/>
                  </a:cxn>
                  <a:cxn ang="0">
                    <a:pos x="86" y="7"/>
                  </a:cxn>
                  <a:cxn ang="0">
                    <a:pos x="246" y="36"/>
                  </a:cxn>
                  <a:cxn ang="0">
                    <a:pos x="357" y="115"/>
                  </a:cxn>
                  <a:cxn ang="0">
                    <a:pos x="377" y="179"/>
                  </a:cxn>
                  <a:cxn ang="0">
                    <a:pos x="430" y="134"/>
                  </a:cxn>
                  <a:cxn ang="0">
                    <a:pos x="420" y="183"/>
                  </a:cxn>
                  <a:cxn ang="0">
                    <a:pos x="464" y="206"/>
                  </a:cxn>
                  <a:cxn ang="0">
                    <a:pos x="429" y="237"/>
                  </a:cxn>
                  <a:cxn ang="0">
                    <a:pos x="559" y="294"/>
                  </a:cxn>
                  <a:cxn ang="0">
                    <a:pos x="451" y="325"/>
                  </a:cxn>
                  <a:cxn ang="0">
                    <a:pos x="421" y="376"/>
                  </a:cxn>
                  <a:cxn ang="0">
                    <a:pos x="408" y="317"/>
                  </a:cxn>
                  <a:cxn ang="0">
                    <a:pos x="368" y="444"/>
                  </a:cxn>
                  <a:cxn ang="0">
                    <a:pos x="349" y="437"/>
                  </a:cxn>
                  <a:cxn ang="0">
                    <a:pos x="213" y="438"/>
                  </a:cxn>
                  <a:cxn ang="0">
                    <a:pos x="167" y="393"/>
                  </a:cxn>
                  <a:cxn ang="0">
                    <a:pos x="233" y="399"/>
                  </a:cxn>
                  <a:cxn ang="0">
                    <a:pos x="146" y="363"/>
                  </a:cxn>
                  <a:cxn ang="0">
                    <a:pos x="185" y="348"/>
                  </a:cxn>
                  <a:cxn ang="0">
                    <a:pos x="123" y="328"/>
                  </a:cxn>
                  <a:cxn ang="0">
                    <a:pos x="305" y="298"/>
                  </a:cxn>
                  <a:cxn ang="0">
                    <a:pos x="50" y="261"/>
                  </a:cxn>
                  <a:cxn ang="0">
                    <a:pos x="129" y="229"/>
                  </a:cxn>
                  <a:cxn ang="0">
                    <a:pos x="9" y="207"/>
                  </a:cxn>
                  <a:cxn ang="0">
                    <a:pos x="38" y="212"/>
                  </a:cxn>
                  <a:cxn ang="0">
                    <a:pos x="10" y="168"/>
                  </a:cxn>
                  <a:cxn ang="0">
                    <a:pos x="6" y="150"/>
                  </a:cxn>
                  <a:cxn ang="0">
                    <a:pos x="140" y="184"/>
                  </a:cxn>
                  <a:cxn ang="0">
                    <a:pos x="49" y="200"/>
                  </a:cxn>
                  <a:cxn ang="0">
                    <a:pos x="17" y="215"/>
                  </a:cxn>
                  <a:cxn ang="0">
                    <a:pos x="139" y="236"/>
                  </a:cxn>
                  <a:cxn ang="0">
                    <a:pos x="62" y="250"/>
                  </a:cxn>
                  <a:cxn ang="0">
                    <a:pos x="304" y="282"/>
                  </a:cxn>
                  <a:cxn ang="0">
                    <a:pos x="133" y="337"/>
                  </a:cxn>
                  <a:cxn ang="0">
                    <a:pos x="193" y="358"/>
                  </a:cxn>
                  <a:cxn ang="0">
                    <a:pos x="158" y="353"/>
                  </a:cxn>
                  <a:cxn ang="0">
                    <a:pos x="236" y="383"/>
                  </a:cxn>
                  <a:cxn ang="0">
                    <a:pos x="175" y="404"/>
                  </a:cxn>
                  <a:cxn ang="0">
                    <a:pos x="214" y="422"/>
                  </a:cxn>
                  <a:cxn ang="0">
                    <a:pos x="300" y="377"/>
                  </a:cxn>
                  <a:cxn ang="0">
                    <a:pos x="380" y="433"/>
                  </a:cxn>
                  <a:cxn ang="0">
                    <a:pos x="400" y="307"/>
                  </a:cxn>
                  <a:cxn ang="0">
                    <a:pos x="414" y="365"/>
                  </a:cxn>
                  <a:cxn ang="0">
                    <a:pos x="551" y="290"/>
                  </a:cxn>
                  <a:cxn ang="0">
                    <a:pos x="515" y="250"/>
                  </a:cxn>
                  <a:cxn ang="0">
                    <a:pos x="423" y="240"/>
                  </a:cxn>
                  <a:cxn ang="0">
                    <a:pos x="409" y="187"/>
                  </a:cxn>
                  <a:cxn ang="0">
                    <a:pos x="429" y="150"/>
                  </a:cxn>
                  <a:cxn ang="0">
                    <a:pos x="393" y="181"/>
                  </a:cxn>
                  <a:cxn ang="0">
                    <a:pos x="350" y="127"/>
                  </a:cxn>
                  <a:cxn ang="0">
                    <a:pos x="275" y="125"/>
                  </a:cxn>
                  <a:cxn ang="0">
                    <a:pos x="92" y="16"/>
                  </a:cxn>
                  <a:cxn ang="0">
                    <a:pos x="194" y="34"/>
                  </a:cxn>
                  <a:cxn ang="0">
                    <a:pos x="75" y="55"/>
                  </a:cxn>
                  <a:cxn ang="0">
                    <a:pos x="141" y="128"/>
                  </a:cxn>
                  <a:cxn ang="0">
                    <a:pos x="142" y="169"/>
                  </a:cxn>
                </a:cxnLst>
                <a:rect l="0" t="0" r="r" b="b"/>
                <a:pathLst>
                  <a:path w="561" h="449">
                    <a:moveTo>
                      <a:pt x="6" y="150"/>
                    </a:moveTo>
                    <a:cubicBezTo>
                      <a:pt x="3" y="149"/>
                      <a:pt x="0" y="146"/>
                      <a:pt x="0" y="142"/>
                    </a:cubicBezTo>
                    <a:cubicBezTo>
                      <a:pt x="1" y="138"/>
                      <a:pt x="3" y="135"/>
                      <a:pt x="7" y="134"/>
                    </a:cubicBezTo>
                    <a:lnTo>
                      <a:pt x="138" y="112"/>
                    </a:lnTo>
                    <a:lnTo>
                      <a:pt x="134" y="126"/>
                    </a:lnTo>
                    <a:lnTo>
                      <a:pt x="65" y="68"/>
                    </a:lnTo>
                    <a:cubicBezTo>
                      <a:pt x="62" y="66"/>
                      <a:pt x="61" y="63"/>
                      <a:pt x="62" y="60"/>
                    </a:cubicBezTo>
                    <a:cubicBezTo>
                      <a:pt x="63" y="57"/>
                      <a:pt x="65" y="55"/>
                      <a:pt x="68" y="54"/>
                    </a:cubicBezTo>
                    <a:lnTo>
                      <a:pt x="184" y="26"/>
                    </a:lnTo>
                    <a:lnTo>
                      <a:pt x="183" y="42"/>
                    </a:lnTo>
                    <a:lnTo>
                      <a:pt x="91" y="16"/>
                    </a:lnTo>
                    <a:cubicBezTo>
                      <a:pt x="87" y="15"/>
                      <a:pt x="85" y="11"/>
                      <a:pt x="86" y="7"/>
                    </a:cubicBezTo>
                    <a:cubicBezTo>
                      <a:pt x="87" y="2"/>
                      <a:pt x="91" y="0"/>
                      <a:pt x="95" y="1"/>
                    </a:cubicBezTo>
                    <a:lnTo>
                      <a:pt x="240" y="31"/>
                    </a:lnTo>
                    <a:cubicBezTo>
                      <a:pt x="243" y="32"/>
                      <a:pt x="245" y="33"/>
                      <a:pt x="246" y="36"/>
                    </a:cubicBezTo>
                    <a:lnTo>
                      <a:pt x="289" y="118"/>
                    </a:lnTo>
                    <a:lnTo>
                      <a:pt x="282" y="114"/>
                    </a:lnTo>
                    <a:lnTo>
                      <a:pt x="357" y="115"/>
                    </a:lnTo>
                    <a:cubicBezTo>
                      <a:pt x="360" y="115"/>
                      <a:pt x="363" y="117"/>
                      <a:pt x="364" y="120"/>
                    </a:cubicBezTo>
                    <a:lnTo>
                      <a:pt x="392" y="176"/>
                    </a:lnTo>
                    <a:lnTo>
                      <a:pt x="377" y="179"/>
                    </a:lnTo>
                    <a:lnTo>
                      <a:pt x="383" y="139"/>
                    </a:lnTo>
                    <a:cubicBezTo>
                      <a:pt x="383" y="135"/>
                      <a:pt x="387" y="132"/>
                      <a:pt x="391" y="132"/>
                    </a:cubicBezTo>
                    <a:lnTo>
                      <a:pt x="430" y="134"/>
                    </a:lnTo>
                    <a:cubicBezTo>
                      <a:pt x="433" y="134"/>
                      <a:pt x="435" y="136"/>
                      <a:pt x="437" y="138"/>
                    </a:cubicBezTo>
                    <a:cubicBezTo>
                      <a:pt x="438" y="140"/>
                      <a:pt x="438" y="143"/>
                      <a:pt x="437" y="145"/>
                    </a:cubicBezTo>
                    <a:lnTo>
                      <a:pt x="420" y="183"/>
                    </a:lnTo>
                    <a:lnTo>
                      <a:pt x="417" y="173"/>
                    </a:lnTo>
                    <a:lnTo>
                      <a:pt x="461" y="201"/>
                    </a:lnTo>
                    <a:cubicBezTo>
                      <a:pt x="462" y="202"/>
                      <a:pt x="464" y="204"/>
                      <a:pt x="464" y="206"/>
                    </a:cubicBezTo>
                    <a:cubicBezTo>
                      <a:pt x="465" y="208"/>
                      <a:pt x="464" y="210"/>
                      <a:pt x="463" y="212"/>
                    </a:cubicBezTo>
                    <a:lnTo>
                      <a:pt x="436" y="250"/>
                    </a:lnTo>
                    <a:lnTo>
                      <a:pt x="429" y="237"/>
                    </a:lnTo>
                    <a:lnTo>
                      <a:pt x="514" y="234"/>
                    </a:lnTo>
                    <a:cubicBezTo>
                      <a:pt x="517" y="233"/>
                      <a:pt x="520" y="235"/>
                      <a:pt x="521" y="237"/>
                    </a:cubicBezTo>
                    <a:lnTo>
                      <a:pt x="559" y="294"/>
                    </a:lnTo>
                    <a:cubicBezTo>
                      <a:pt x="561" y="296"/>
                      <a:pt x="561" y="299"/>
                      <a:pt x="560" y="301"/>
                    </a:cubicBezTo>
                    <a:cubicBezTo>
                      <a:pt x="559" y="304"/>
                      <a:pt x="557" y="306"/>
                      <a:pt x="554" y="306"/>
                    </a:cubicBezTo>
                    <a:lnTo>
                      <a:pt x="451" y="325"/>
                    </a:lnTo>
                    <a:lnTo>
                      <a:pt x="456" y="321"/>
                    </a:lnTo>
                    <a:lnTo>
                      <a:pt x="428" y="372"/>
                    </a:lnTo>
                    <a:cubicBezTo>
                      <a:pt x="427" y="375"/>
                      <a:pt x="424" y="377"/>
                      <a:pt x="421" y="376"/>
                    </a:cubicBezTo>
                    <a:cubicBezTo>
                      <a:pt x="418" y="376"/>
                      <a:pt x="415" y="374"/>
                      <a:pt x="414" y="371"/>
                    </a:cubicBezTo>
                    <a:lnTo>
                      <a:pt x="393" y="318"/>
                    </a:lnTo>
                    <a:lnTo>
                      <a:pt x="408" y="317"/>
                    </a:lnTo>
                    <a:lnTo>
                      <a:pt x="382" y="440"/>
                    </a:lnTo>
                    <a:cubicBezTo>
                      <a:pt x="381" y="443"/>
                      <a:pt x="379" y="446"/>
                      <a:pt x="376" y="446"/>
                    </a:cubicBezTo>
                    <a:cubicBezTo>
                      <a:pt x="373" y="447"/>
                      <a:pt x="370" y="447"/>
                      <a:pt x="368" y="444"/>
                    </a:cubicBezTo>
                    <a:lnTo>
                      <a:pt x="301" y="379"/>
                    </a:lnTo>
                    <a:lnTo>
                      <a:pt x="314" y="370"/>
                    </a:lnTo>
                    <a:lnTo>
                      <a:pt x="349" y="437"/>
                    </a:lnTo>
                    <a:cubicBezTo>
                      <a:pt x="350" y="439"/>
                      <a:pt x="350" y="442"/>
                      <a:pt x="349" y="445"/>
                    </a:cubicBezTo>
                    <a:cubicBezTo>
                      <a:pt x="347" y="447"/>
                      <a:pt x="344" y="449"/>
                      <a:pt x="341" y="448"/>
                    </a:cubicBezTo>
                    <a:lnTo>
                      <a:pt x="213" y="438"/>
                    </a:lnTo>
                    <a:cubicBezTo>
                      <a:pt x="211" y="438"/>
                      <a:pt x="210" y="437"/>
                      <a:pt x="208" y="436"/>
                    </a:cubicBezTo>
                    <a:lnTo>
                      <a:pt x="169" y="402"/>
                    </a:lnTo>
                    <a:cubicBezTo>
                      <a:pt x="167" y="400"/>
                      <a:pt x="166" y="396"/>
                      <a:pt x="167" y="393"/>
                    </a:cubicBezTo>
                    <a:cubicBezTo>
                      <a:pt x="168" y="390"/>
                      <a:pt x="171" y="388"/>
                      <a:pt x="174" y="388"/>
                    </a:cubicBezTo>
                    <a:lnTo>
                      <a:pt x="234" y="383"/>
                    </a:lnTo>
                    <a:lnTo>
                      <a:pt x="233" y="399"/>
                    </a:lnTo>
                    <a:lnTo>
                      <a:pt x="169" y="388"/>
                    </a:lnTo>
                    <a:cubicBezTo>
                      <a:pt x="167" y="388"/>
                      <a:pt x="165" y="387"/>
                      <a:pt x="164" y="386"/>
                    </a:cubicBezTo>
                    <a:lnTo>
                      <a:pt x="146" y="363"/>
                    </a:lnTo>
                    <a:cubicBezTo>
                      <a:pt x="144" y="361"/>
                      <a:pt x="144" y="358"/>
                      <a:pt x="145" y="355"/>
                    </a:cubicBezTo>
                    <a:cubicBezTo>
                      <a:pt x="146" y="352"/>
                      <a:pt x="149" y="350"/>
                      <a:pt x="152" y="350"/>
                    </a:cubicBezTo>
                    <a:lnTo>
                      <a:pt x="185" y="348"/>
                    </a:lnTo>
                    <a:lnTo>
                      <a:pt x="182" y="364"/>
                    </a:lnTo>
                    <a:lnTo>
                      <a:pt x="128" y="336"/>
                    </a:lnTo>
                    <a:cubicBezTo>
                      <a:pt x="125" y="335"/>
                      <a:pt x="123" y="331"/>
                      <a:pt x="123" y="328"/>
                    </a:cubicBezTo>
                    <a:cubicBezTo>
                      <a:pt x="124" y="325"/>
                      <a:pt x="126" y="322"/>
                      <a:pt x="129" y="321"/>
                    </a:cubicBezTo>
                    <a:lnTo>
                      <a:pt x="302" y="282"/>
                    </a:lnTo>
                    <a:lnTo>
                      <a:pt x="305" y="298"/>
                    </a:lnTo>
                    <a:lnTo>
                      <a:pt x="94" y="306"/>
                    </a:lnTo>
                    <a:cubicBezTo>
                      <a:pt x="91" y="306"/>
                      <a:pt x="89" y="305"/>
                      <a:pt x="88" y="303"/>
                    </a:cubicBezTo>
                    <a:lnTo>
                      <a:pt x="50" y="261"/>
                    </a:lnTo>
                    <a:cubicBezTo>
                      <a:pt x="48" y="259"/>
                      <a:pt x="47" y="256"/>
                      <a:pt x="48" y="253"/>
                    </a:cubicBezTo>
                    <a:cubicBezTo>
                      <a:pt x="49" y="250"/>
                      <a:pt x="51" y="248"/>
                      <a:pt x="54" y="248"/>
                    </a:cubicBezTo>
                    <a:lnTo>
                      <a:pt x="129" y="229"/>
                    </a:lnTo>
                    <a:lnTo>
                      <a:pt x="129" y="244"/>
                    </a:lnTo>
                    <a:lnTo>
                      <a:pt x="15" y="215"/>
                    </a:lnTo>
                    <a:cubicBezTo>
                      <a:pt x="11" y="214"/>
                      <a:pt x="8" y="211"/>
                      <a:pt x="9" y="207"/>
                    </a:cubicBezTo>
                    <a:cubicBezTo>
                      <a:pt x="9" y="203"/>
                      <a:pt x="12" y="200"/>
                      <a:pt x="16" y="199"/>
                    </a:cubicBezTo>
                    <a:lnTo>
                      <a:pt x="43" y="198"/>
                    </a:lnTo>
                    <a:lnTo>
                      <a:pt x="38" y="212"/>
                    </a:lnTo>
                    <a:lnTo>
                      <a:pt x="5" y="183"/>
                    </a:lnTo>
                    <a:cubicBezTo>
                      <a:pt x="2" y="180"/>
                      <a:pt x="1" y="177"/>
                      <a:pt x="2" y="174"/>
                    </a:cubicBezTo>
                    <a:cubicBezTo>
                      <a:pt x="4" y="171"/>
                      <a:pt x="7" y="168"/>
                      <a:pt x="10" y="168"/>
                    </a:cubicBezTo>
                    <a:lnTo>
                      <a:pt x="140" y="168"/>
                    </a:lnTo>
                    <a:lnTo>
                      <a:pt x="138" y="184"/>
                    </a:lnTo>
                    <a:lnTo>
                      <a:pt x="6" y="150"/>
                    </a:lnTo>
                    <a:close/>
                    <a:moveTo>
                      <a:pt x="142" y="169"/>
                    </a:moveTo>
                    <a:cubicBezTo>
                      <a:pt x="146" y="170"/>
                      <a:pt x="148" y="173"/>
                      <a:pt x="148" y="177"/>
                    </a:cubicBezTo>
                    <a:cubicBezTo>
                      <a:pt x="147" y="181"/>
                      <a:pt x="144" y="184"/>
                      <a:pt x="140" y="184"/>
                    </a:cubicBezTo>
                    <a:lnTo>
                      <a:pt x="10" y="184"/>
                    </a:lnTo>
                    <a:lnTo>
                      <a:pt x="15" y="170"/>
                    </a:lnTo>
                    <a:lnTo>
                      <a:pt x="49" y="200"/>
                    </a:lnTo>
                    <a:cubicBezTo>
                      <a:pt x="51" y="202"/>
                      <a:pt x="52" y="205"/>
                      <a:pt x="51" y="208"/>
                    </a:cubicBezTo>
                    <a:cubicBezTo>
                      <a:pt x="50" y="211"/>
                      <a:pt x="47" y="213"/>
                      <a:pt x="44" y="214"/>
                    </a:cubicBezTo>
                    <a:lnTo>
                      <a:pt x="17" y="215"/>
                    </a:lnTo>
                    <a:lnTo>
                      <a:pt x="19" y="200"/>
                    </a:lnTo>
                    <a:lnTo>
                      <a:pt x="133" y="229"/>
                    </a:lnTo>
                    <a:cubicBezTo>
                      <a:pt x="137" y="230"/>
                      <a:pt x="139" y="233"/>
                      <a:pt x="139" y="236"/>
                    </a:cubicBezTo>
                    <a:cubicBezTo>
                      <a:pt x="139" y="240"/>
                      <a:pt x="137" y="243"/>
                      <a:pt x="133" y="244"/>
                    </a:cubicBezTo>
                    <a:lnTo>
                      <a:pt x="58" y="263"/>
                    </a:lnTo>
                    <a:lnTo>
                      <a:pt x="62" y="250"/>
                    </a:lnTo>
                    <a:lnTo>
                      <a:pt x="100" y="293"/>
                    </a:lnTo>
                    <a:lnTo>
                      <a:pt x="93" y="290"/>
                    </a:lnTo>
                    <a:lnTo>
                      <a:pt x="304" y="282"/>
                    </a:lnTo>
                    <a:cubicBezTo>
                      <a:pt x="308" y="281"/>
                      <a:pt x="312" y="284"/>
                      <a:pt x="312" y="289"/>
                    </a:cubicBezTo>
                    <a:cubicBezTo>
                      <a:pt x="313" y="293"/>
                      <a:pt x="310" y="296"/>
                      <a:pt x="306" y="297"/>
                    </a:cubicBezTo>
                    <a:lnTo>
                      <a:pt x="133" y="337"/>
                    </a:lnTo>
                    <a:lnTo>
                      <a:pt x="135" y="322"/>
                    </a:lnTo>
                    <a:lnTo>
                      <a:pt x="189" y="349"/>
                    </a:lnTo>
                    <a:cubicBezTo>
                      <a:pt x="192" y="351"/>
                      <a:pt x="194" y="355"/>
                      <a:pt x="193" y="358"/>
                    </a:cubicBezTo>
                    <a:cubicBezTo>
                      <a:pt x="193" y="362"/>
                      <a:pt x="190" y="364"/>
                      <a:pt x="186" y="364"/>
                    </a:cubicBezTo>
                    <a:lnTo>
                      <a:pt x="153" y="366"/>
                    </a:lnTo>
                    <a:lnTo>
                      <a:pt x="158" y="353"/>
                    </a:lnTo>
                    <a:lnTo>
                      <a:pt x="176" y="375"/>
                    </a:lnTo>
                    <a:lnTo>
                      <a:pt x="172" y="373"/>
                    </a:lnTo>
                    <a:lnTo>
                      <a:pt x="236" y="383"/>
                    </a:lnTo>
                    <a:cubicBezTo>
                      <a:pt x="240" y="383"/>
                      <a:pt x="243" y="387"/>
                      <a:pt x="242" y="391"/>
                    </a:cubicBezTo>
                    <a:cubicBezTo>
                      <a:pt x="242" y="395"/>
                      <a:pt x="239" y="398"/>
                      <a:pt x="235" y="399"/>
                    </a:cubicBezTo>
                    <a:lnTo>
                      <a:pt x="175" y="404"/>
                    </a:lnTo>
                    <a:lnTo>
                      <a:pt x="180" y="390"/>
                    </a:lnTo>
                    <a:lnTo>
                      <a:pt x="219" y="424"/>
                    </a:lnTo>
                    <a:lnTo>
                      <a:pt x="214" y="422"/>
                    </a:lnTo>
                    <a:lnTo>
                      <a:pt x="342" y="432"/>
                    </a:lnTo>
                    <a:lnTo>
                      <a:pt x="335" y="444"/>
                    </a:lnTo>
                    <a:lnTo>
                      <a:pt x="300" y="377"/>
                    </a:lnTo>
                    <a:cubicBezTo>
                      <a:pt x="298" y="374"/>
                      <a:pt x="299" y="370"/>
                      <a:pt x="302" y="367"/>
                    </a:cubicBezTo>
                    <a:cubicBezTo>
                      <a:pt x="305" y="365"/>
                      <a:pt x="310" y="365"/>
                      <a:pt x="313" y="368"/>
                    </a:cubicBezTo>
                    <a:lnTo>
                      <a:pt x="380" y="433"/>
                    </a:lnTo>
                    <a:lnTo>
                      <a:pt x="366" y="437"/>
                    </a:lnTo>
                    <a:lnTo>
                      <a:pt x="393" y="314"/>
                    </a:lnTo>
                    <a:cubicBezTo>
                      <a:pt x="393" y="310"/>
                      <a:pt x="396" y="308"/>
                      <a:pt x="400" y="307"/>
                    </a:cubicBezTo>
                    <a:cubicBezTo>
                      <a:pt x="403" y="307"/>
                      <a:pt x="407" y="309"/>
                      <a:pt x="408" y="312"/>
                    </a:cubicBezTo>
                    <a:lnTo>
                      <a:pt x="429" y="366"/>
                    </a:lnTo>
                    <a:lnTo>
                      <a:pt x="414" y="365"/>
                    </a:lnTo>
                    <a:lnTo>
                      <a:pt x="442" y="313"/>
                    </a:lnTo>
                    <a:cubicBezTo>
                      <a:pt x="443" y="311"/>
                      <a:pt x="445" y="310"/>
                      <a:pt x="448" y="309"/>
                    </a:cubicBezTo>
                    <a:lnTo>
                      <a:pt x="551" y="290"/>
                    </a:lnTo>
                    <a:lnTo>
                      <a:pt x="546" y="303"/>
                    </a:lnTo>
                    <a:lnTo>
                      <a:pt x="508" y="246"/>
                    </a:lnTo>
                    <a:lnTo>
                      <a:pt x="515" y="250"/>
                    </a:lnTo>
                    <a:lnTo>
                      <a:pt x="430" y="253"/>
                    </a:lnTo>
                    <a:cubicBezTo>
                      <a:pt x="427" y="253"/>
                      <a:pt x="424" y="252"/>
                      <a:pt x="423" y="249"/>
                    </a:cubicBezTo>
                    <a:cubicBezTo>
                      <a:pt x="421" y="246"/>
                      <a:pt x="421" y="243"/>
                      <a:pt x="423" y="240"/>
                    </a:cubicBezTo>
                    <a:lnTo>
                      <a:pt x="450" y="203"/>
                    </a:lnTo>
                    <a:lnTo>
                      <a:pt x="452" y="214"/>
                    </a:lnTo>
                    <a:lnTo>
                      <a:pt x="409" y="187"/>
                    </a:lnTo>
                    <a:cubicBezTo>
                      <a:pt x="405" y="185"/>
                      <a:pt x="404" y="180"/>
                      <a:pt x="406" y="177"/>
                    </a:cubicBezTo>
                    <a:lnTo>
                      <a:pt x="422" y="139"/>
                    </a:lnTo>
                    <a:lnTo>
                      <a:pt x="429" y="150"/>
                    </a:lnTo>
                    <a:lnTo>
                      <a:pt x="390" y="148"/>
                    </a:lnTo>
                    <a:lnTo>
                      <a:pt x="399" y="142"/>
                    </a:lnTo>
                    <a:lnTo>
                      <a:pt x="393" y="181"/>
                    </a:lnTo>
                    <a:cubicBezTo>
                      <a:pt x="393" y="184"/>
                      <a:pt x="390" y="187"/>
                      <a:pt x="386" y="188"/>
                    </a:cubicBezTo>
                    <a:cubicBezTo>
                      <a:pt x="383" y="188"/>
                      <a:pt x="379" y="187"/>
                      <a:pt x="378" y="183"/>
                    </a:cubicBezTo>
                    <a:lnTo>
                      <a:pt x="350" y="127"/>
                    </a:lnTo>
                    <a:lnTo>
                      <a:pt x="357" y="131"/>
                    </a:lnTo>
                    <a:lnTo>
                      <a:pt x="282" y="130"/>
                    </a:lnTo>
                    <a:cubicBezTo>
                      <a:pt x="279" y="130"/>
                      <a:pt x="276" y="128"/>
                      <a:pt x="275" y="125"/>
                    </a:cubicBezTo>
                    <a:lnTo>
                      <a:pt x="232" y="43"/>
                    </a:lnTo>
                    <a:lnTo>
                      <a:pt x="237" y="47"/>
                    </a:lnTo>
                    <a:lnTo>
                      <a:pt x="92" y="16"/>
                    </a:lnTo>
                    <a:lnTo>
                      <a:pt x="96" y="1"/>
                    </a:lnTo>
                    <a:lnTo>
                      <a:pt x="188" y="26"/>
                    </a:lnTo>
                    <a:cubicBezTo>
                      <a:pt x="191" y="27"/>
                      <a:pt x="194" y="31"/>
                      <a:pt x="194" y="34"/>
                    </a:cubicBezTo>
                    <a:cubicBezTo>
                      <a:pt x="194" y="38"/>
                      <a:pt x="191" y="41"/>
                      <a:pt x="187" y="42"/>
                    </a:cubicBezTo>
                    <a:lnTo>
                      <a:pt x="72" y="69"/>
                    </a:lnTo>
                    <a:lnTo>
                      <a:pt x="75" y="55"/>
                    </a:lnTo>
                    <a:lnTo>
                      <a:pt x="145" y="114"/>
                    </a:lnTo>
                    <a:cubicBezTo>
                      <a:pt x="147" y="116"/>
                      <a:pt x="148" y="119"/>
                      <a:pt x="147" y="122"/>
                    </a:cubicBezTo>
                    <a:cubicBezTo>
                      <a:pt x="147" y="125"/>
                      <a:pt x="144" y="127"/>
                      <a:pt x="141" y="128"/>
                    </a:cubicBezTo>
                    <a:lnTo>
                      <a:pt x="10" y="150"/>
                    </a:lnTo>
                    <a:lnTo>
                      <a:pt x="10" y="134"/>
                    </a:lnTo>
                    <a:lnTo>
                      <a:pt x="142" y="169"/>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18" name="Freeform 74"/>
              <p:cNvSpPr>
                <a:spLocks/>
              </p:cNvSpPr>
              <p:nvPr/>
            </p:nvSpPr>
            <p:spPr bwMode="auto">
              <a:xfrm>
                <a:off x="1395" y="869"/>
                <a:ext cx="37" cy="22"/>
              </a:xfrm>
              <a:custGeom>
                <a:avLst/>
                <a:gdLst/>
                <a:ahLst/>
                <a:cxnLst>
                  <a:cxn ang="0">
                    <a:pos x="0" y="15"/>
                  </a:cxn>
                  <a:cxn ang="0">
                    <a:pos x="7" y="0"/>
                  </a:cxn>
                  <a:cxn ang="0">
                    <a:pos x="31" y="5"/>
                  </a:cxn>
                  <a:cxn ang="0">
                    <a:pos x="37" y="22"/>
                  </a:cxn>
                  <a:cxn ang="0">
                    <a:pos x="0" y="15"/>
                  </a:cxn>
                </a:cxnLst>
                <a:rect l="0" t="0" r="r" b="b"/>
                <a:pathLst>
                  <a:path w="37" h="22">
                    <a:moveTo>
                      <a:pt x="0" y="15"/>
                    </a:moveTo>
                    <a:lnTo>
                      <a:pt x="7" y="0"/>
                    </a:lnTo>
                    <a:lnTo>
                      <a:pt x="31" y="5"/>
                    </a:lnTo>
                    <a:lnTo>
                      <a:pt x="37" y="22"/>
                    </a:lnTo>
                    <a:lnTo>
                      <a:pt x="0" y="15"/>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19" name="Freeform 75"/>
              <p:cNvSpPr>
                <a:spLocks noEditPoints="1"/>
              </p:cNvSpPr>
              <p:nvPr/>
            </p:nvSpPr>
            <p:spPr bwMode="auto">
              <a:xfrm>
                <a:off x="1393" y="867"/>
                <a:ext cx="42" cy="26"/>
              </a:xfrm>
              <a:custGeom>
                <a:avLst/>
                <a:gdLst/>
                <a:ahLst/>
                <a:cxnLst>
                  <a:cxn ang="0">
                    <a:pos x="7" y="81"/>
                  </a:cxn>
                  <a:cxn ang="0">
                    <a:pos x="1" y="77"/>
                  </a:cxn>
                  <a:cxn ang="0">
                    <a:pos x="1" y="71"/>
                  </a:cxn>
                  <a:cxn ang="0">
                    <a:pos x="23" y="6"/>
                  </a:cxn>
                  <a:cxn ang="0">
                    <a:pos x="32" y="1"/>
                  </a:cxn>
                  <a:cxn ang="0">
                    <a:pos x="115" y="20"/>
                  </a:cxn>
                  <a:cxn ang="0">
                    <a:pos x="121" y="25"/>
                  </a:cxn>
                  <a:cxn ang="0">
                    <a:pos x="144" y="102"/>
                  </a:cxn>
                  <a:cxn ang="0">
                    <a:pos x="142" y="110"/>
                  </a:cxn>
                  <a:cxn ang="0">
                    <a:pos x="135" y="112"/>
                  </a:cxn>
                  <a:cxn ang="0">
                    <a:pos x="7" y="81"/>
                  </a:cxn>
                  <a:cxn ang="0">
                    <a:pos x="138" y="97"/>
                  </a:cxn>
                  <a:cxn ang="0">
                    <a:pos x="129" y="107"/>
                  </a:cxn>
                  <a:cxn ang="0">
                    <a:pos x="106" y="30"/>
                  </a:cxn>
                  <a:cxn ang="0">
                    <a:pos x="112" y="35"/>
                  </a:cxn>
                  <a:cxn ang="0">
                    <a:pos x="28" y="16"/>
                  </a:cxn>
                  <a:cxn ang="0">
                    <a:pos x="38" y="11"/>
                  </a:cxn>
                  <a:cxn ang="0">
                    <a:pos x="16" y="76"/>
                  </a:cxn>
                  <a:cxn ang="0">
                    <a:pos x="10" y="66"/>
                  </a:cxn>
                  <a:cxn ang="0">
                    <a:pos x="138" y="97"/>
                  </a:cxn>
                </a:cxnLst>
                <a:rect l="0" t="0" r="r" b="b"/>
                <a:pathLst>
                  <a:path w="145" h="113">
                    <a:moveTo>
                      <a:pt x="7" y="81"/>
                    </a:moveTo>
                    <a:cubicBezTo>
                      <a:pt x="4" y="81"/>
                      <a:pt x="3" y="79"/>
                      <a:pt x="1" y="77"/>
                    </a:cubicBezTo>
                    <a:cubicBezTo>
                      <a:pt x="0" y="75"/>
                      <a:pt x="0" y="73"/>
                      <a:pt x="1" y="71"/>
                    </a:cubicBezTo>
                    <a:lnTo>
                      <a:pt x="23" y="6"/>
                    </a:lnTo>
                    <a:cubicBezTo>
                      <a:pt x="24" y="2"/>
                      <a:pt x="28" y="0"/>
                      <a:pt x="32" y="1"/>
                    </a:cubicBezTo>
                    <a:lnTo>
                      <a:pt x="115" y="20"/>
                    </a:lnTo>
                    <a:cubicBezTo>
                      <a:pt x="118" y="21"/>
                      <a:pt x="120" y="23"/>
                      <a:pt x="121" y="25"/>
                    </a:cubicBezTo>
                    <a:lnTo>
                      <a:pt x="144" y="102"/>
                    </a:lnTo>
                    <a:cubicBezTo>
                      <a:pt x="145" y="105"/>
                      <a:pt x="144" y="108"/>
                      <a:pt x="142" y="110"/>
                    </a:cubicBezTo>
                    <a:cubicBezTo>
                      <a:pt x="140" y="112"/>
                      <a:pt x="137" y="113"/>
                      <a:pt x="135" y="112"/>
                    </a:cubicBezTo>
                    <a:lnTo>
                      <a:pt x="7" y="81"/>
                    </a:lnTo>
                    <a:close/>
                    <a:moveTo>
                      <a:pt x="138" y="97"/>
                    </a:moveTo>
                    <a:lnTo>
                      <a:pt x="129" y="107"/>
                    </a:lnTo>
                    <a:lnTo>
                      <a:pt x="106" y="30"/>
                    </a:lnTo>
                    <a:lnTo>
                      <a:pt x="112" y="35"/>
                    </a:lnTo>
                    <a:lnTo>
                      <a:pt x="28" y="16"/>
                    </a:lnTo>
                    <a:lnTo>
                      <a:pt x="38" y="11"/>
                    </a:lnTo>
                    <a:lnTo>
                      <a:pt x="16" y="76"/>
                    </a:lnTo>
                    <a:lnTo>
                      <a:pt x="10" y="66"/>
                    </a:lnTo>
                    <a:lnTo>
                      <a:pt x="138" y="97"/>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20" name="Freeform 76"/>
              <p:cNvSpPr>
                <a:spLocks/>
              </p:cNvSpPr>
              <p:nvPr/>
            </p:nvSpPr>
            <p:spPr bwMode="auto">
              <a:xfrm>
                <a:off x="1395" y="807"/>
                <a:ext cx="42" cy="11"/>
              </a:xfrm>
              <a:custGeom>
                <a:avLst/>
                <a:gdLst/>
                <a:ahLst/>
                <a:cxnLst>
                  <a:cxn ang="0">
                    <a:pos x="0" y="4"/>
                  </a:cxn>
                  <a:cxn ang="0">
                    <a:pos x="10" y="11"/>
                  </a:cxn>
                  <a:cxn ang="0">
                    <a:pos x="42" y="4"/>
                  </a:cxn>
                  <a:cxn ang="0">
                    <a:pos x="12" y="0"/>
                  </a:cxn>
                  <a:cxn ang="0">
                    <a:pos x="0" y="4"/>
                  </a:cxn>
                </a:cxnLst>
                <a:rect l="0" t="0" r="r" b="b"/>
                <a:pathLst>
                  <a:path w="42" h="11">
                    <a:moveTo>
                      <a:pt x="0" y="4"/>
                    </a:moveTo>
                    <a:lnTo>
                      <a:pt x="10" y="11"/>
                    </a:lnTo>
                    <a:lnTo>
                      <a:pt x="42" y="4"/>
                    </a:lnTo>
                    <a:lnTo>
                      <a:pt x="12" y="0"/>
                    </a:lnTo>
                    <a:lnTo>
                      <a:pt x="0" y="4"/>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21" name="Freeform 77"/>
              <p:cNvSpPr>
                <a:spLocks noEditPoints="1"/>
              </p:cNvSpPr>
              <p:nvPr/>
            </p:nvSpPr>
            <p:spPr bwMode="auto">
              <a:xfrm>
                <a:off x="1393" y="805"/>
                <a:ext cx="47" cy="15"/>
              </a:xfrm>
              <a:custGeom>
                <a:avLst/>
                <a:gdLst/>
                <a:ahLst/>
                <a:cxnLst>
                  <a:cxn ang="0">
                    <a:pos x="12" y="33"/>
                  </a:cxn>
                  <a:cxn ang="0">
                    <a:pos x="14" y="20"/>
                  </a:cxn>
                  <a:cxn ang="0">
                    <a:pos x="47" y="51"/>
                  </a:cxn>
                  <a:cxn ang="0">
                    <a:pos x="40" y="49"/>
                  </a:cxn>
                  <a:cxn ang="0">
                    <a:pos x="150" y="18"/>
                  </a:cxn>
                  <a:cxn ang="0">
                    <a:pos x="151" y="34"/>
                  </a:cxn>
                  <a:cxn ang="0">
                    <a:pos x="46" y="16"/>
                  </a:cxn>
                  <a:cxn ang="0">
                    <a:pos x="51" y="16"/>
                  </a:cxn>
                  <a:cxn ang="0">
                    <a:pos x="12" y="33"/>
                  </a:cxn>
                  <a:cxn ang="0">
                    <a:pos x="44" y="1"/>
                  </a:cxn>
                  <a:cxn ang="0">
                    <a:pos x="49" y="1"/>
                  </a:cxn>
                  <a:cxn ang="0">
                    <a:pos x="154" y="18"/>
                  </a:cxn>
                  <a:cxn ang="0">
                    <a:pos x="160" y="26"/>
                  </a:cxn>
                  <a:cxn ang="0">
                    <a:pos x="155" y="34"/>
                  </a:cxn>
                  <a:cxn ang="0">
                    <a:pos x="44" y="64"/>
                  </a:cxn>
                  <a:cxn ang="0">
                    <a:pos x="37" y="62"/>
                  </a:cxn>
                  <a:cxn ang="0">
                    <a:pos x="3" y="32"/>
                  </a:cxn>
                  <a:cxn ang="0">
                    <a:pos x="1" y="25"/>
                  </a:cxn>
                  <a:cxn ang="0">
                    <a:pos x="5" y="19"/>
                  </a:cxn>
                  <a:cxn ang="0">
                    <a:pos x="44" y="1"/>
                  </a:cxn>
                </a:cxnLst>
                <a:rect l="0" t="0" r="r" b="b"/>
                <a:pathLst>
                  <a:path w="161" h="65">
                    <a:moveTo>
                      <a:pt x="12" y="33"/>
                    </a:moveTo>
                    <a:lnTo>
                      <a:pt x="14" y="20"/>
                    </a:lnTo>
                    <a:lnTo>
                      <a:pt x="47" y="51"/>
                    </a:lnTo>
                    <a:lnTo>
                      <a:pt x="40" y="49"/>
                    </a:lnTo>
                    <a:lnTo>
                      <a:pt x="150" y="18"/>
                    </a:lnTo>
                    <a:lnTo>
                      <a:pt x="151" y="34"/>
                    </a:lnTo>
                    <a:lnTo>
                      <a:pt x="46" y="16"/>
                    </a:lnTo>
                    <a:lnTo>
                      <a:pt x="51" y="16"/>
                    </a:lnTo>
                    <a:lnTo>
                      <a:pt x="12" y="33"/>
                    </a:lnTo>
                    <a:close/>
                    <a:moveTo>
                      <a:pt x="44" y="1"/>
                    </a:moveTo>
                    <a:cubicBezTo>
                      <a:pt x="46" y="1"/>
                      <a:pt x="47" y="0"/>
                      <a:pt x="49" y="1"/>
                    </a:cubicBezTo>
                    <a:lnTo>
                      <a:pt x="154" y="18"/>
                    </a:lnTo>
                    <a:cubicBezTo>
                      <a:pt x="157" y="19"/>
                      <a:pt x="160" y="22"/>
                      <a:pt x="160" y="26"/>
                    </a:cubicBezTo>
                    <a:cubicBezTo>
                      <a:pt x="161" y="29"/>
                      <a:pt x="158" y="33"/>
                      <a:pt x="155" y="34"/>
                    </a:cubicBezTo>
                    <a:lnTo>
                      <a:pt x="44" y="64"/>
                    </a:lnTo>
                    <a:cubicBezTo>
                      <a:pt x="42" y="65"/>
                      <a:pt x="39" y="64"/>
                      <a:pt x="37" y="62"/>
                    </a:cubicBezTo>
                    <a:lnTo>
                      <a:pt x="3" y="32"/>
                    </a:lnTo>
                    <a:cubicBezTo>
                      <a:pt x="1" y="30"/>
                      <a:pt x="0" y="27"/>
                      <a:pt x="1" y="25"/>
                    </a:cubicBezTo>
                    <a:cubicBezTo>
                      <a:pt x="1" y="22"/>
                      <a:pt x="3" y="20"/>
                      <a:pt x="5" y="19"/>
                    </a:cubicBezTo>
                    <a:lnTo>
                      <a:pt x="44" y="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22" name="Freeform 78"/>
              <p:cNvSpPr>
                <a:spLocks/>
              </p:cNvSpPr>
              <p:nvPr/>
            </p:nvSpPr>
            <p:spPr bwMode="auto">
              <a:xfrm>
                <a:off x="1405" y="910"/>
                <a:ext cx="74" cy="51"/>
              </a:xfrm>
              <a:custGeom>
                <a:avLst/>
                <a:gdLst/>
                <a:ahLst/>
                <a:cxnLst>
                  <a:cxn ang="0">
                    <a:pos x="0" y="8"/>
                  </a:cxn>
                  <a:cxn ang="0">
                    <a:pos x="2" y="32"/>
                  </a:cxn>
                  <a:cxn ang="0">
                    <a:pos x="9" y="36"/>
                  </a:cxn>
                  <a:cxn ang="0">
                    <a:pos x="7" y="50"/>
                  </a:cxn>
                  <a:cxn ang="0">
                    <a:pos x="18" y="51"/>
                  </a:cxn>
                  <a:cxn ang="0">
                    <a:pos x="30" y="40"/>
                  </a:cxn>
                  <a:cxn ang="0">
                    <a:pos x="18" y="32"/>
                  </a:cxn>
                  <a:cxn ang="0">
                    <a:pos x="48" y="32"/>
                  </a:cxn>
                  <a:cxn ang="0">
                    <a:pos x="74" y="3"/>
                  </a:cxn>
                  <a:cxn ang="0">
                    <a:pos x="5" y="0"/>
                  </a:cxn>
                  <a:cxn ang="0">
                    <a:pos x="15" y="9"/>
                  </a:cxn>
                  <a:cxn ang="0">
                    <a:pos x="0" y="8"/>
                  </a:cxn>
                </a:cxnLst>
                <a:rect l="0" t="0" r="r" b="b"/>
                <a:pathLst>
                  <a:path w="74" h="51">
                    <a:moveTo>
                      <a:pt x="0" y="8"/>
                    </a:moveTo>
                    <a:lnTo>
                      <a:pt x="2" y="32"/>
                    </a:lnTo>
                    <a:lnTo>
                      <a:pt x="9" y="36"/>
                    </a:lnTo>
                    <a:lnTo>
                      <a:pt x="7" y="50"/>
                    </a:lnTo>
                    <a:lnTo>
                      <a:pt x="18" y="51"/>
                    </a:lnTo>
                    <a:lnTo>
                      <a:pt x="30" y="40"/>
                    </a:lnTo>
                    <a:lnTo>
                      <a:pt x="18" y="32"/>
                    </a:lnTo>
                    <a:lnTo>
                      <a:pt x="48" y="32"/>
                    </a:lnTo>
                    <a:lnTo>
                      <a:pt x="74" y="3"/>
                    </a:lnTo>
                    <a:lnTo>
                      <a:pt x="5" y="0"/>
                    </a:lnTo>
                    <a:lnTo>
                      <a:pt x="15" y="9"/>
                    </a:lnTo>
                    <a:lnTo>
                      <a:pt x="0" y="8"/>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23" name="Freeform 79"/>
              <p:cNvSpPr>
                <a:spLocks noEditPoints="1"/>
              </p:cNvSpPr>
              <p:nvPr/>
            </p:nvSpPr>
            <p:spPr bwMode="auto">
              <a:xfrm>
                <a:off x="1402" y="908"/>
                <a:ext cx="79" cy="55"/>
              </a:xfrm>
              <a:custGeom>
                <a:avLst/>
                <a:gdLst/>
                <a:ahLst/>
                <a:cxnLst>
                  <a:cxn ang="0">
                    <a:pos x="8" y="52"/>
                  </a:cxn>
                  <a:cxn ang="0">
                    <a:pos x="16" y="43"/>
                  </a:cxn>
                  <a:cxn ang="0">
                    <a:pos x="23" y="149"/>
                  </a:cxn>
                  <a:cxn ang="0">
                    <a:pos x="20" y="143"/>
                  </a:cxn>
                  <a:cxn ang="0">
                    <a:pos x="46" y="162"/>
                  </a:cxn>
                  <a:cxn ang="0">
                    <a:pos x="49" y="170"/>
                  </a:cxn>
                  <a:cxn ang="0">
                    <a:pos x="40" y="230"/>
                  </a:cxn>
                  <a:cxn ang="0">
                    <a:pos x="33" y="221"/>
                  </a:cxn>
                  <a:cxn ang="0">
                    <a:pos x="72" y="224"/>
                  </a:cxn>
                  <a:cxn ang="0">
                    <a:pos x="66" y="227"/>
                  </a:cxn>
                  <a:cxn ang="0">
                    <a:pos x="107" y="178"/>
                  </a:cxn>
                  <a:cxn ang="0">
                    <a:pos x="108" y="190"/>
                  </a:cxn>
                  <a:cxn ang="0">
                    <a:pos x="67" y="156"/>
                  </a:cxn>
                  <a:cxn ang="0">
                    <a:pos x="64" y="147"/>
                  </a:cxn>
                  <a:cxn ang="0">
                    <a:pos x="72" y="142"/>
                  </a:cxn>
                  <a:cxn ang="0">
                    <a:pos x="176" y="142"/>
                  </a:cxn>
                  <a:cxn ang="0">
                    <a:pos x="170" y="145"/>
                  </a:cxn>
                  <a:cxn ang="0">
                    <a:pos x="258" y="17"/>
                  </a:cxn>
                  <a:cxn ang="0">
                    <a:pos x="264" y="30"/>
                  </a:cxn>
                  <a:cxn ang="0">
                    <a:pos x="27" y="16"/>
                  </a:cxn>
                  <a:cxn ang="0">
                    <a:pos x="34" y="3"/>
                  </a:cxn>
                  <a:cxn ang="0">
                    <a:pos x="67" y="44"/>
                  </a:cxn>
                  <a:cxn ang="0">
                    <a:pos x="68" y="53"/>
                  </a:cxn>
                  <a:cxn ang="0">
                    <a:pos x="60" y="57"/>
                  </a:cxn>
                  <a:cxn ang="0">
                    <a:pos x="8" y="52"/>
                  </a:cxn>
                  <a:cxn ang="0">
                    <a:pos x="62" y="41"/>
                  </a:cxn>
                  <a:cxn ang="0">
                    <a:pos x="55" y="54"/>
                  </a:cxn>
                  <a:cxn ang="0">
                    <a:pos x="22" y="14"/>
                  </a:cxn>
                  <a:cxn ang="0">
                    <a:pos x="21" y="5"/>
                  </a:cxn>
                  <a:cxn ang="0">
                    <a:pos x="28" y="0"/>
                  </a:cxn>
                  <a:cxn ang="0">
                    <a:pos x="265" y="14"/>
                  </a:cxn>
                  <a:cxn ang="0">
                    <a:pos x="272" y="18"/>
                  </a:cxn>
                  <a:cxn ang="0">
                    <a:pos x="271" y="26"/>
                  </a:cxn>
                  <a:cxn ang="0">
                    <a:pos x="183" y="154"/>
                  </a:cxn>
                  <a:cxn ang="0">
                    <a:pos x="176" y="158"/>
                  </a:cxn>
                  <a:cxn ang="0">
                    <a:pos x="72" y="158"/>
                  </a:cxn>
                  <a:cxn ang="0">
                    <a:pos x="77" y="144"/>
                  </a:cxn>
                  <a:cxn ang="0">
                    <a:pos x="118" y="177"/>
                  </a:cxn>
                  <a:cxn ang="0">
                    <a:pos x="121" y="183"/>
                  </a:cxn>
                  <a:cxn ang="0">
                    <a:pos x="119" y="189"/>
                  </a:cxn>
                  <a:cxn ang="0">
                    <a:pos x="78" y="238"/>
                  </a:cxn>
                  <a:cxn ang="0">
                    <a:pos x="71" y="240"/>
                  </a:cxn>
                  <a:cxn ang="0">
                    <a:pos x="31" y="237"/>
                  </a:cxn>
                  <a:cxn ang="0">
                    <a:pos x="26" y="234"/>
                  </a:cxn>
                  <a:cxn ang="0">
                    <a:pos x="24" y="228"/>
                  </a:cxn>
                  <a:cxn ang="0">
                    <a:pos x="34" y="167"/>
                  </a:cxn>
                  <a:cxn ang="0">
                    <a:pos x="37" y="175"/>
                  </a:cxn>
                  <a:cxn ang="0">
                    <a:pos x="11" y="156"/>
                  </a:cxn>
                  <a:cxn ang="0">
                    <a:pos x="7" y="150"/>
                  </a:cxn>
                  <a:cxn ang="0">
                    <a:pos x="0" y="44"/>
                  </a:cxn>
                  <a:cxn ang="0">
                    <a:pos x="3" y="38"/>
                  </a:cxn>
                  <a:cxn ang="0">
                    <a:pos x="9" y="36"/>
                  </a:cxn>
                  <a:cxn ang="0">
                    <a:pos x="62" y="41"/>
                  </a:cxn>
                </a:cxnLst>
                <a:rect l="0" t="0" r="r" b="b"/>
                <a:pathLst>
                  <a:path w="273" h="241">
                    <a:moveTo>
                      <a:pt x="8" y="52"/>
                    </a:moveTo>
                    <a:lnTo>
                      <a:pt x="16" y="43"/>
                    </a:lnTo>
                    <a:lnTo>
                      <a:pt x="23" y="149"/>
                    </a:lnTo>
                    <a:lnTo>
                      <a:pt x="20" y="143"/>
                    </a:lnTo>
                    <a:lnTo>
                      <a:pt x="46" y="162"/>
                    </a:lnTo>
                    <a:cubicBezTo>
                      <a:pt x="49" y="164"/>
                      <a:pt x="50" y="167"/>
                      <a:pt x="49" y="170"/>
                    </a:cubicBezTo>
                    <a:lnTo>
                      <a:pt x="40" y="230"/>
                    </a:lnTo>
                    <a:lnTo>
                      <a:pt x="33" y="221"/>
                    </a:lnTo>
                    <a:lnTo>
                      <a:pt x="72" y="224"/>
                    </a:lnTo>
                    <a:lnTo>
                      <a:pt x="66" y="227"/>
                    </a:lnTo>
                    <a:lnTo>
                      <a:pt x="107" y="178"/>
                    </a:lnTo>
                    <a:lnTo>
                      <a:pt x="108" y="190"/>
                    </a:lnTo>
                    <a:lnTo>
                      <a:pt x="67" y="156"/>
                    </a:lnTo>
                    <a:cubicBezTo>
                      <a:pt x="64" y="154"/>
                      <a:pt x="63" y="150"/>
                      <a:pt x="64" y="147"/>
                    </a:cubicBezTo>
                    <a:cubicBezTo>
                      <a:pt x="65" y="144"/>
                      <a:pt x="68" y="142"/>
                      <a:pt x="72" y="142"/>
                    </a:cubicBezTo>
                    <a:lnTo>
                      <a:pt x="176" y="142"/>
                    </a:lnTo>
                    <a:lnTo>
                      <a:pt x="170" y="145"/>
                    </a:lnTo>
                    <a:lnTo>
                      <a:pt x="258" y="17"/>
                    </a:lnTo>
                    <a:lnTo>
                      <a:pt x="264" y="30"/>
                    </a:lnTo>
                    <a:lnTo>
                      <a:pt x="27" y="16"/>
                    </a:lnTo>
                    <a:lnTo>
                      <a:pt x="34" y="3"/>
                    </a:lnTo>
                    <a:lnTo>
                      <a:pt x="67" y="44"/>
                    </a:lnTo>
                    <a:cubicBezTo>
                      <a:pt x="69" y="46"/>
                      <a:pt x="69" y="50"/>
                      <a:pt x="68" y="53"/>
                    </a:cubicBezTo>
                    <a:cubicBezTo>
                      <a:pt x="66" y="56"/>
                      <a:pt x="63" y="57"/>
                      <a:pt x="60" y="57"/>
                    </a:cubicBezTo>
                    <a:lnTo>
                      <a:pt x="8" y="52"/>
                    </a:lnTo>
                    <a:close/>
                    <a:moveTo>
                      <a:pt x="62" y="41"/>
                    </a:moveTo>
                    <a:lnTo>
                      <a:pt x="55" y="54"/>
                    </a:lnTo>
                    <a:lnTo>
                      <a:pt x="22" y="14"/>
                    </a:lnTo>
                    <a:cubicBezTo>
                      <a:pt x="20" y="11"/>
                      <a:pt x="19" y="8"/>
                      <a:pt x="21" y="5"/>
                    </a:cubicBezTo>
                    <a:cubicBezTo>
                      <a:pt x="22" y="2"/>
                      <a:pt x="25" y="0"/>
                      <a:pt x="28" y="0"/>
                    </a:cubicBezTo>
                    <a:lnTo>
                      <a:pt x="265" y="14"/>
                    </a:lnTo>
                    <a:cubicBezTo>
                      <a:pt x="268" y="14"/>
                      <a:pt x="270" y="16"/>
                      <a:pt x="272" y="18"/>
                    </a:cubicBezTo>
                    <a:cubicBezTo>
                      <a:pt x="273" y="21"/>
                      <a:pt x="273" y="24"/>
                      <a:pt x="271" y="26"/>
                    </a:cubicBezTo>
                    <a:lnTo>
                      <a:pt x="183" y="154"/>
                    </a:lnTo>
                    <a:cubicBezTo>
                      <a:pt x="181" y="157"/>
                      <a:pt x="179" y="158"/>
                      <a:pt x="176" y="158"/>
                    </a:cubicBezTo>
                    <a:lnTo>
                      <a:pt x="72" y="158"/>
                    </a:lnTo>
                    <a:lnTo>
                      <a:pt x="77" y="144"/>
                    </a:lnTo>
                    <a:lnTo>
                      <a:pt x="118" y="177"/>
                    </a:lnTo>
                    <a:cubicBezTo>
                      <a:pt x="120" y="179"/>
                      <a:pt x="121" y="181"/>
                      <a:pt x="121" y="183"/>
                    </a:cubicBezTo>
                    <a:cubicBezTo>
                      <a:pt x="121" y="185"/>
                      <a:pt x="121" y="187"/>
                      <a:pt x="119" y="189"/>
                    </a:cubicBezTo>
                    <a:lnTo>
                      <a:pt x="78" y="238"/>
                    </a:lnTo>
                    <a:cubicBezTo>
                      <a:pt x="76" y="240"/>
                      <a:pt x="74" y="241"/>
                      <a:pt x="71" y="240"/>
                    </a:cubicBezTo>
                    <a:lnTo>
                      <a:pt x="31" y="237"/>
                    </a:lnTo>
                    <a:cubicBezTo>
                      <a:pt x="29" y="237"/>
                      <a:pt x="27" y="236"/>
                      <a:pt x="26" y="234"/>
                    </a:cubicBezTo>
                    <a:cubicBezTo>
                      <a:pt x="24" y="232"/>
                      <a:pt x="24" y="230"/>
                      <a:pt x="24" y="228"/>
                    </a:cubicBezTo>
                    <a:lnTo>
                      <a:pt x="34" y="167"/>
                    </a:lnTo>
                    <a:lnTo>
                      <a:pt x="37" y="175"/>
                    </a:lnTo>
                    <a:lnTo>
                      <a:pt x="11" y="156"/>
                    </a:lnTo>
                    <a:cubicBezTo>
                      <a:pt x="9" y="155"/>
                      <a:pt x="8" y="153"/>
                      <a:pt x="7" y="150"/>
                    </a:cubicBezTo>
                    <a:lnTo>
                      <a:pt x="0" y="44"/>
                    </a:lnTo>
                    <a:cubicBezTo>
                      <a:pt x="0" y="42"/>
                      <a:pt x="1" y="40"/>
                      <a:pt x="3" y="38"/>
                    </a:cubicBezTo>
                    <a:cubicBezTo>
                      <a:pt x="5" y="36"/>
                      <a:pt x="7" y="36"/>
                      <a:pt x="9" y="36"/>
                    </a:cubicBezTo>
                    <a:lnTo>
                      <a:pt x="62" y="4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24" name="Freeform 80"/>
              <p:cNvSpPr>
                <a:spLocks/>
              </p:cNvSpPr>
              <p:nvPr/>
            </p:nvSpPr>
            <p:spPr bwMode="auto">
              <a:xfrm>
                <a:off x="1456" y="646"/>
                <a:ext cx="431" cy="205"/>
              </a:xfrm>
              <a:custGeom>
                <a:avLst/>
                <a:gdLst/>
                <a:ahLst/>
                <a:cxnLst>
                  <a:cxn ang="0">
                    <a:pos x="24" y="56"/>
                  </a:cxn>
                  <a:cxn ang="0">
                    <a:pos x="46" y="60"/>
                  </a:cxn>
                  <a:cxn ang="0">
                    <a:pos x="105" y="58"/>
                  </a:cxn>
                  <a:cxn ang="0">
                    <a:pos x="94" y="66"/>
                  </a:cxn>
                  <a:cxn ang="0">
                    <a:pos x="80" y="80"/>
                  </a:cxn>
                  <a:cxn ang="0">
                    <a:pos x="118" y="81"/>
                  </a:cxn>
                  <a:cxn ang="0">
                    <a:pos x="167" y="61"/>
                  </a:cxn>
                  <a:cxn ang="0">
                    <a:pos x="231" y="68"/>
                  </a:cxn>
                  <a:cxn ang="0">
                    <a:pos x="168" y="106"/>
                  </a:cxn>
                  <a:cxn ang="0">
                    <a:pos x="77" y="87"/>
                  </a:cxn>
                  <a:cxn ang="0">
                    <a:pos x="77" y="103"/>
                  </a:cxn>
                  <a:cxn ang="0">
                    <a:pos x="146" y="127"/>
                  </a:cxn>
                  <a:cxn ang="0">
                    <a:pos x="95" y="128"/>
                  </a:cxn>
                  <a:cxn ang="0">
                    <a:pos x="86" y="145"/>
                  </a:cxn>
                  <a:cxn ang="0">
                    <a:pos x="103" y="138"/>
                  </a:cxn>
                  <a:cxn ang="0">
                    <a:pos x="87" y="156"/>
                  </a:cxn>
                  <a:cxn ang="0">
                    <a:pos x="101" y="168"/>
                  </a:cxn>
                  <a:cxn ang="0">
                    <a:pos x="105" y="174"/>
                  </a:cxn>
                  <a:cxn ang="0">
                    <a:pos x="73" y="178"/>
                  </a:cxn>
                  <a:cxn ang="0">
                    <a:pos x="47" y="188"/>
                  </a:cxn>
                  <a:cxn ang="0">
                    <a:pos x="91" y="203"/>
                  </a:cxn>
                  <a:cxn ang="0">
                    <a:pos x="120" y="197"/>
                  </a:cxn>
                  <a:cxn ang="0">
                    <a:pos x="136" y="197"/>
                  </a:cxn>
                  <a:cxn ang="0">
                    <a:pos x="153" y="205"/>
                  </a:cxn>
                  <a:cxn ang="0">
                    <a:pos x="180" y="188"/>
                  </a:cxn>
                  <a:cxn ang="0">
                    <a:pos x="193" y="174"/>
                  </a:cxn>
                  <a:cxn ang="0">
                    <a:pos x="224" y="156"/>
                  </a:cxn>
                  <a:cxn ang="0">
                    <a:pos x="238" y="148"/>
                  </a:cxn>
                  <a:cxn ang="0">
                    <a:pos x="240" y="131"/>
                  </a:cxn>
                  <a:cxn ang="0">
                    <a:pos x="198" y="122"/>
                  </a:cxn>
                  <a:cxn ang="0">
                    <a:pos x="198" y="118"/>
                  </a:cxn>
                  <a:cxn ang="0">
                    <a:pos x="284" y="106"/>
                  </a:cxn>
                  <a:cxn ang="0">
                    <a:pos x="304" y="93"/>
                  </a:cxn>
                  <a:cxn ang="0">
                    <a:pos x="386" y="53"/>
                  </a:cxn>
                  <a:cxn ang="0">
                    <a:pos x="323" y="52"/>
                  </a:cxn>
                  <a:cxn ang="0">
                    <a:pos x="431" y="31"/>
                  </a:cxn>
                  <a:cxn ang="0">
                    <a:pos x="397" y="9"/>
                  </a:cxn>
                  <a:cxn ang="0">
                    <a:pos x="257" y="0"/>
                  </a:cxn>
                  <a:cxn ang="0">
                    <a:pos x="238" y="4"/>
                  </a:cxn>
                  <a:cxn ang="0">
                    <a:pos x="214" y="23"/>
                  </a:cxn>
                  <a:cxn ang="0">
                    <a:pos x="166" y="13"/>
                  </a:cxn>
                  <a:cxn ang="0">
                    <a:pos x="126" y="15"/>
                  </a:cxn>
                  <a:cxn ang="0">
                    <a:pos x="151" y="36"/>
                  </a:cxn>
                  <a:cxn ang="0">
                    <a:pos x="93" y="37"/>
                  </a:cxn>
                </a:cxnLst>
                <a:rect l="0" t="0" r="r" b="b"/>
                <a:pathLst>
                  <a:path w="431" h="205">
                    <a:moveTo>
                      <a:pt x="0" y="49"/>
                    </a:moveTo>
                    <a:lnTo>
                      <a:pt x="37" y="49"/>
                    </a:lnTo>
                    <a:lnTo>
                      <a:pt x="24" y="56"/>
                    </a:lnTo>
                    <a:lnTo>
                      <a:pt x="77" y="50"/>
                    </a:lnTo>
                    <a:lnTo>
                      <a:pt x="31" y="56"/>
                    </a:lnTo>
                    <a:lnTo>
                      <a:pt x="46" y="60"/>
                    </a:lnTo>
                    <a:lnTo>
                      <a:pt x="30" y="60"/>
                    </a:lnTo>
                    <a:lnTo>
                      <a:pt x="36" y="66"/>
                    </a:lnTo>
                    <a:lnTo>
                      <a:pt x="105" y="58"/>
                    </a:lnTo>
                    <a:lnTo>
                      <a:pt x="37" y="70"/>
                    </a:lnTo>
                    <a:lnTo>
                      <a:pt x="67" y="80"/>
                    </a:lnTo>
                    <a:lnTo>
                      <a:pt x="94" y="66"/>
                    </a:lnTo>
                    <a:lnTo>
                      <a:pt x="139" y="63"/>
                    </a:lnTo>
                    <a:lnTo>
                      <a:pt x="91" y="69"/>
                    </a:lnTo>
                    <a:lnTo>
                      <a:pt x="80" y="80"/>
                    </a:lnTo>
                    <a:lnTo>
                      <a:pt x="108" y="81"/>
                    </a:lnTo>
                    <a:lnTo>
                      <a:pt x="139" y="70"/>
                    </a:lnTo>
                    <a:lnTo>
                      <a:pt x="118" y="81"/>
                    </a:lnTo>
                    <a:lnTo>
                      <a:pt x="139" y="81"/>
                    </a:lnTo>
                    <a:lnTo>
                      <a:pt x="171" y="72"/>
                    </a:lnTo>
                    <a:lnTo>
                      <a:pt x="167" y="61"/>
                    </a:lnTo>
                    <a:lnTo>
                      <a:pt x="202" y="52"/>
                    </a:lnTo>
                    <a:lnTo>
                      <a:pt x="177" y="71"/>
                    </a:lnTo>
                    <a:lnTo>
                      <a:pt x="231" y="68"/>
                    </a:lnTo>
                    <a:lnTo>
                      <a:pt x="120" y="87"/>
                    </a:lnTo>
                    <a:lnTo>
                      <a:pt x="146" y="106"/>
                    </a:lnTo>
                    <a:lnTo>
                      <a:pt x="168" y="106"/>
                    </a:lnTo>
                    <a:lnTo>
                      <a:pt x="156" y="110"/>
                    </a:lnTo>
                    <a:lnTo>
                      <a:pt x="113" y="90"/>
                    </a:lnTo>
                    <a:lnTo>
                      <a:pt x="77" y="87"/>
                    </a:lnTo>
                    <a:lnTo>
                      <a:pt x="75" y="95"/>
                    </a:lnTo>
                    <a:lnTo>
                      <a:pt x="92" y="99"/>
                    </a:lnTo>
                    <a:lnTo>
                      <a:pt x="77" y="103"/>
                    </a:lnTo>
                    <a:lnTo>
                      <a:pt x="120" y="124"/>
                    </a:lnTo>
                    <a:lnTo>
                      <a:pt x="102" y="126"/>
                    </a:lnTo>
                    <a:lnTo>
                      <a:pt x="146" y="127"/>
                    </a:lnTo>
                    <a:lnTo>
                      <a:pt x="122" y="132"/>
                    </a:lnTo>
                    <a:lnTo>
                      <a:pt x="135" y="139"/>
                    </a:lnTo>
                    <a:lnTo>
                      <a:pt x="95" y="128"/>
                    </a:lnTo>
                    <a:lnTo>
                      <a:pt x="72" y="133"/>
                    </a:lnTo>
                    <a:lnTo>
                      <a:pt x="63" y="151"/>
                    </a:lnTo>
                    <a:lnTo>
                      <a:pt x="86" y="145"/>
                    </a:lnTo>
                    <a:lnTo>
                      <a:pt x="82" y="152"/>
                    </a:lnTo>
                    <a:lnTo>
                      <a:pt x="90" y="152"/>
                    </a:lnTo>
                    <a:lnTo>
                      <a:pt x="103" y="138"/>
                    </a:lnTo>
                    <a:lnTo>
                      <a:pt x="99" y="149"/>
                    </a:lnTo>
                    <a:lnTo>
                      <a:pt x="112" y="151"/>
                    </a:lnTo>
                    <a:lnTo>
                      <a:pt x="87" y="156"/>
                    </a:lnTo>
                    <a:lnTo>
                      <a:pt x="102" y="156"/>
                    </a:lnTo>
                    <a:lnTo>
                      <a:pt x="90" y="160"/>
                    </a:lnTo>
                    <a:lnTo>
                      <a:pt x="101" y="168"/>
                    </a:lnTo>
                    <a:lnTo>
                      <a:pt x="118" y="168"/>
                    </a:lnTo>
                    <a:lnTo>
                      <a:pt x="135" y="153"/>
                    </a:lnTo>
                    <a:lnTo>
                      <a:pt x="105" y="174"/>
                    </a:lnTo>
                    <a:lnTo>
                      <a:pt x="77" y="159"/>
                    </a:lnTo>
                    <a:lnTo>
                      <a:pt x="51" y="161"/>
                    </a:lnTo>
                    <a:lnTo>
                      <a:pt x="73" y="178"/>
                    </a:lnTo>
                    <a:lnTo>
                      <a:pt x="36" y="187"/>
                    </a:lnTo>
                    <a:lnTo>
                      <a:pt x="40" y="199"/>
                    </a:lnTo>
                    <a:lnTo>
                      <a:pt x="47" y="188"/>
                    </a:lnTo>
                    <a:lnTo>
                      <a:pt x="48" y="199"/>
                    </a:lnTo>
                    <a:lnTo>
                      <a:pt x="74" y="193"/>
                    </a:lnTo>
                    <a:lnTo>
                      <a:pt x="91" y="203"/>
                    </a:lnTo>
                    <a:lnTo>
                      <a:pt x="104" y="203"/>
                    </a:lnTo>
                    <a:lnTo>
                      <a:pt x="95" y="195"/>
                    </a:lnTo>
                    <a:lnTo>
                      <a:pt x="120" y="197"/>
                    </a:lnTo>
                    <a:lnTo>
                      <a:pt x="118" y="190"/>
                    </a:lnTo>
                    <a:lnTo>
                      <a:pt x="129" y="199"/>
                    </a:lnTo>
                    <a:lnTo>
                      <a:pt x="136" y="197"/>
                    </a:lnTo>
                    <a:lnTo>
                      <a:pt x="132" y="191"/>
                    </a:lnTo>
                    <a:lnTo>
                      <a:pt x="153" y="197"/>
                    </a:lnTo>
                    <a:lnTo>
                      <a:pt x="153" y="205"/>
                    </a:lnTo>
                    <a:lnTo>
                      <a:pt x="190" y="197"/>
                    </a:lnTo>
                    <a:lnTo>
                      <a:pt x="197" y="185"/>
                    </a:lnTo>
                    <a:lnTo>
                      <a:pt x="180" y="188"/>
                    </a:lnTo>
                    <a:lnTo>
                      <a:pt x="180" y="177"/>
                    </a:lnTo>
                    <a:lnTo>
                      <a:pt x="139" y="176"/>
                    </a:lnTo>
                    <a:lnTo>
                      <a:pt x="193" y="174"/>
                    </a:lnTo>
                    <a:lnTo>
                      <a:pt x="202" y="165"/>
                    </a:lnTo>
                    <a:lnTo>
                      <a:pt x="193" y="155"/>
                    </a:lnTo>
                    <a:lnTo>
                      <a:pt x="224" y="156"/>
                    </a:lnTo>
                    <a:lnTo>
                      <a:pt x="231" y="152"/>
                    </a:lnTo>
                    <a:lnTo>
                      <a:pt x="210" y="149"/>
                    </a:lnTo>
                    <a:lnTo>
                      <a:pt x="238" y="148"/>
                    </a:lnTo>
                    <a:lnTo>
                      <a:pt x="219" y="141"/>
                    </a:lnTo>
                    <a:lnTo>
                      <a:pt x="242" y="136"/>
                    </a:lnTo>
                    <a:lnTo>
                      <a:pt x="240" y="131"/>
                    </a:lnTo>
                    <a:lnTo>
                      <a:pt x="199" y="128"/>
                    </a:lnTo>
                    <a:lnTo>
                      <a:pt x="222" y="124"/>
                    </a:lnTo>
                    <a:lnTo>
                      <a:pt x="198" y="122"/>
                    </a:lnTo>
                    <a:lnTo>
                      <a:pt x="242" y="126"/>
                    </a:lnTo>
                    <a:lnTo>
                      <a:pt x="244" y="120"/>
                    </a:lnTo>
                    <a:lnTo>
                      <a:pt x="198" y="118"/>
                    </a:lnTo>
                    <a:lnTo>
                      <a:pt x="257" y="110"/>
                    </a:lnTo>
                    <a:lnTo>
                      <a:pt x="242" y="104"/>
                    </a:lnTo>
                    <a:lnTo>
                      <a:pt x="284" y="106"/>
                    </a:lnTo>
                    <a:lnTo>
                      <a:pt x="297" y="95"/>
                    </a:lnTo>
                    <a:lnTo>
                      <a:pt x="276" y="94"/>
                    </a:lnTo>
                    <a:lnTo>
                      <a:pt x="304" y="93"/>
                    </a:lnTo>
                    <a:lnTo>
                      <a:pt x="300" y="85"/>
                    </a:lnTo>
                    <a:lnTo>
                      <a:pt x="313" y="87"/>
                    </a:lnTo>
                    <a:lnTo>
                      <a:pt x="386" y="53"/>
                    </a:lnTo>
                    <a:lnTo>
                      <a:pt x="306" y="65"/>
                    </a:lnTo>
                    <a:lnTo>
                      <a:pt x="350" y="50"/>
                    </a:lnTo>
                    <a:lnTo>
                      <a:pt x="323" y="52"/>
                    </a:lnTo>
                    <a:lnTo>
                      <a:pt x="317" y="45"/>
                    </a:lnTo>
                    <a:lnTo>
                      <a:pt x="367" y="49"/>
                    </a:lnTo>
                    <a:lnTo>
                      <a:pt x="431" y="31"/>
                    </a:lnTo>
                    <a:lnTo>
                      <a:pt x="431" y="23"/>
                    </a:lnTo>
                    <a:lnTo>
                      <a:pt x="404" y="23"/>
                    </a:lnTo>
                    <a:lnTo>
                      <a:pt x="397" y="9"/>
                    </a:lnTo>
                    <a:lnTo>
                      <a:pt x="323" y="15"/>
                    </a:lnTo>
                    <a:lnTo>
                      <a:pt x="355" y="6"/>
                    </a:lnTo>
                    <a:lnTo>
                      <a:pt x="257" y="0"/>
                    </a:lnTo>
                    <a:lnTo>
                      <a:pt x="249" y="7"/>
                    </a:lnTo>
                    <a:lnTo>
                      <a:pt x="256" y="11"/>
                    </a:lnTo>
                    <a:lnTo>
                      <a:pt x="238" y="4"/>
                    </a:lnTo>
                    <a:lnTo>
                      <a:pt x="194" y="5"/>
                    </a:lnTo>
                    <a:lnTo>
                      <a:pt x="225" y="18"/>
                    </a:lnTo>
                    <a:lnTo>
                      <a:pt x="214" y="23"/>
                    </a:lnTo>
                    <a:lnTo>
                      <a:pt x="198" y="8"/>
                    </a:lnTo>
                    <a:lnTo>
                      <a:pt x="158" y="7"/>
                    </a:lnTo>
                    <a:lnTo>
                      <a:pt x="166" y="13"/>
                    </a:lnTo>
                    <a:lnTo>
                      <a:pt x="135" y="11"/>
                    </a:lnTo>
                    <a:lnTo>
                      <a:pt x="150" y="21"/>
                    </a:lnTo>
                    <a:lnTo>
                      <a:pt x="126" y="15"/>
                    </a:lnTo>
                    <a:lnTo>
                      <a:pt x="134" y="21"/>
                    </a:lnTo>
                    <a:lnTo>
                      <a:pt x="120" y="23"/>
                    </a:lnTo>
                    <a:lnTo>
                      <a:pt x="151" y="36"/>
                    </a:lnTo>
                    <a:lnTo>
                      <a:pt x="83" y="21"/>
                    </a:lnTo>
                    <a:lnTo>
                      <a:pt x="67" y="32"/>
                    </a:lnTo>
                    <a:lnTo>
                      <a:pt x="93" y="37"/>
                    </a:lnTo>
                    <a:lnTo>
                      <a:pt x="48" y="33"/>
                    </a:lnTo>
                    <a:lnTo>
                      <a:pt x="0" y="49"/>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25" name="Freeform 81"/>
              <p:cNvSpPr>
                <a:spLocks noEditPoints="1"/>
              </p:cNvSpPr>
              <p:nvPr/>
            </p:nvSpPr>
            <p:spPr bwMode="auto">
              <a:xfrm>
                <a:off x="1453" y="644"/>
                <a:ext cx="437" cy="209"/>
              </a:xfrm>
              <a:custGeom>
                <a:avLst/>
                <a:gdLst/>
                <a:ahLst/>
                <a:cxnLst>
                  <a:cxn ang="0">
                    <a:pos x="278" y="236"/>
                  </a:cxn>
                  <a:cxn ang="0">
                    <a:pos x="370" y="253"/>
                  </a:cxn>
                  <a:cxn ang="0">
                    <a:pos x="497" y="281"/>
                  </a:cxn>
                  <a:cxn ang="0">
                    <a:pos x="493" y="319"/>
                  </a:cxn>
                  <a:cxn ang="0">
                    <a:pos x="712" y="230"/>
                  </a:cxn>
                  <a:cxn ang="0">
                    <a:pos x="512" y="464"/>
                  </a:cxn>
                  <a:cxn ang="0">
                    <a:pos x="277" y="424"/>
                  </a:cxn>
                  <a:cxn ang="0">
                    <a:pos x="362" y="566"/>
                  </a:cxn>
                  <a:cxn ang="0">
                    <a:pos x="335" y="575"/>
                  </a:cxn>
                  <a:cxn ang="0">
                    <a:pos x="292" y="662"/>
                  </a:cxn>
                  <a:cxn ang="0">
                    <a:pos x="396" y="675"/>
                  </a:cxn>
                  <a:cxn ang="0">
                    <a:pos x="416" y="733"/>
                  </a:cxn>
                  <a:cxn ang="0">
                    <a:pos x="267" y="778"/>
                  </a:cxn>
                  <a:cxn ang="0">
                    <a:pos x="183" y="876"/>
                  </a:cxn>
                  <a:cxn ang="0">
                    <a:pos x="338" y="850"/>
                  </a:cxn>
                  <a:cxn ang="0">
                    <a:pos x="459" y="845"/>
                  </a:cxn>
                  <a:cxn ang="0">
                    <a:pos x="690" y="823"/>
                  </a:cxn>
                  <a:cxn ang="0">
                    <a:pos x="669" y="763"/>
                  </a:cxn>
                  <a:cxn ang="0">
                    <a:pos x="732" y="667"/>
                  </a:cxn>
                  <a:cxn ang="0">
                    <a:pos x="830" y="583"/>
                  </a:cxn>
                  <a:cxn ang="0">
                    <a:pos x="835" y="556"/>
                  </a:cxn>
                  <a:cxn ang="0">
                    <a:pos x="842" y="453"/>
                  </a:cxn>
                  <a:cxn ang="0">
                    <a:pos x="1037" y="381"/>
                  </a:cxn>
                  <a:cxn ang="0">
                    <a:pos x="1214" y="221"/>
                  </a:cxn>
                  <a:cxn ang="0">
                    <a:pos x="1488" y="144"/>
                  </a:cxn>
                  <a:cxn ang="0">
                    <a:pos x="1231" y="24"/>
                  </a:cxn>
                  <a:cxn ang="0">
                    <a:pos x="829" y="33"/>
                  </a:cxn>
                  <a:cxn ang="0">
                    <a:pos x="552" y="45"/>
                  </a:cxn>
                  <a:cxn ang="0">
                    <a:pos x="443" y="79"/>
                  </a:cxn>
                  <a:cxn ang="0">
                    <a:pos x="295" y="107"/>
                  </a:cxn>
                  <a:cxn ang="0">
                    <a:pos x="172" y="145"/>
                  </a:cxn>
                  <a:cxn ang="0">
                    <a:pos x="525" y="172"/>
                  </a:cxn>
                  <a:cxn ang="0">
                    <a:pos x="523" y="104"/>
                  </a:cxn>
                  <a:cxn ang="0">
                    <a:pos x="698" y="38"/>
                  </a:cxn>
                  <a:cxn ang="0">
                    <a:pos x="894" y="47"/>
                  </a:cxn>
                  <a:cxn ang="0">
                    <a:pos x="1127" y="80"/>
                  </a:cxn>
                  <a:cxn ang="0">
                    <a:pos x="1277" y="227"/>
                  </a:cxn>
                  <a:cxn ang="0">
                    <a:pos x="1062" y="283"/>
                  </a:cxn>
                  <a:cxn ang="0">
                    <a:pos x="1057" y="422"/>
                  </a:cxn>
                  <a:cxn ang="0">
                    <a:pos x="900" y="483"/>
                  </a:cxn>
                  <a:cxn ang="0">
                    <a:pos x="692" y="549"/>
                  </a:cxn>
                  <a:cxn ang="0">
                    <a:pos x="851" y="602"/>
                  </a:cxn>
                  <a:cxn ang="0">
                    <a:pos x="813" y="668"/>
                  </a:cxn>
                  <a:cxn ang="0">
                    <a:pos x="489" y="787"/>
                  </a:cxn>
                  <a:cxn ang="0">
                    <a:pos x="667" y="876"/>
                  </a:cxn>
                  <a:cxn ang="0">
                    <a:pos x="480" y="876"/>
                  </a:cxn>
                  <a:cxn ang="0">
                    <a:pos x="375" y="889"/>
                  </a:cxn>
                  <a:cxn ang="0">
                    <a:pos x="162" y="829"/>
                  </a:cxn>
                  <a:cxn ang="0">
                    <a:pos x="178" y="711"/>
                  </a:cxn>
                  <a:cxn ang="0">
                    <a:pos x="416" y="749"/>
                  </a:cxn>
                  <a:cxn ang="0">
                    <a:pos x="308" y="681"/>
                  </a:cxn>
                  <a:cxn ang="0">
                    <a:pos x="292" y="678"/>
                  </a:cxn>
                  <a:cxn ang="0">
                    <a:pos x="336" y="560"/>
                  </a:cxn>
                  <a:cxn ang="0">
                    <a:pos x="354" y="558"/>
                  </a:cxn>
                  <a:cxn ang="0">
                    <a:pos x="262" y="421"/>
                  </a:cxn>
                  <a:cxn ang="0">
                    <a:pos x="507" y="478"/>
                  </a:cxn>
                  <a:cxn ang="0">
                    <a:pos x="707" y="242"/>
                  </a:cxn>
                  <a:cxn ang="0">
                    <a:pos x="484" y="305"/>
                  </a:cxn>
                  <a:cxn ang="0">
                    <a:pos x="489" y="290"/>
                  </a:cxn>
                  <a:cxn ang="0">
                    <a:pos x="135" y="304"/>
                  </a:cxn>
                  <a:cxn ang="0">
                    <a:pos x="275" y="220"/>
                  </a:cxn>
                  <a:cxn ang="0">
                    <a:pos x="172" y="145"/>
                  </a:cxn>
                </a:cxnLst>
                <a:rect l="0" t="0" r="r" b="b"/>
                <a:pathLst>
                  <a:path w="1505" h="913">
                    <a:moveTo>
                      <a:pt x="11" y="227"/>
                    </a:moveTo>
                    <a:lnTo>
                      <a:pt x="8" y="212"/>
                    </a:lnTo>
                    <a:lnTo>
                      <a:pt x="138" y="212"/>
                    </a:lnTo>
                    <a:cubicBezTo>
                      <a:pt x="142" y="212"/>
                      <a:pt x="145" y="214"/>
                      <a:pt x="146" y="217"/>
                    </a:cubicBezTo>
                    <a:cubicBezTo>
                      <a:pt x="147" y="221"/>
                      <a:pt x="146" y="224"/>
                      <a:pt x="143" y="226"/>
                    </a:cubicBezTo>
                    <a:lnTo>
                      <a:pt x="97" y="259"/>
                    </a:lnTo>
                    <a:lnTo>
                      <a:pt x="91" y="245"/>
                    </a:lnTo>
                    <a:lnTo>
                      <a:pt x="275" y="220"/>
                    </a:lnTo>
                    <a:cubicBezTo>
                      <a:pt x="280" y="219"/>
                      <a:pt x="284" y="222"/>
                      <a:pt x="284" y="227"/>
                    </a:cubicBezTo>
                    <a:cubicBezTo>
                      <a:pt x="285" y="231"/>
                      <a:pt x="282" y="235"/>
                      <a:pt x="278" y="236"/>
                    </a:cubicBezTo>
                    <a:lnTo>
                      <a:pt x="117" y="261"/>
                    </a:lnTo>
                    <a:lnTo>
                      <a:pt x="118" y="245"/>
                    </a:lnTo>
                    <a:lnTo>
                      <a:pt x="170" y="260"/>
                    </a:lnTo>
                    <a:cubicBezTo>
                      <a:pt x="174" y="261"/>
                      <a:pt x="176" y="265"/>
                      <a:pt x="176" y="268"/>
                    </a:cubicBezTo>
                    <a:cubicBezTo>
                      <a:pt x="175" y="272"/>
                      <a:pt x="172" y="275"/>
                      <a:pt x="168" y="276"/>
                    </a:cubicBezTo>
                    <a:lnTo>
                      <a:pt x="114" y="279"/>
                    </a:lnTo>
                    <a:lnTo>
                      <a:pt x="119" y="266"/>
                    </a:lnTo>
                    <a:lnTo>
                      <a:pt x="140" y="290"/>
                    </a:lnTo>
                    <a:lnTo>
                      <a:pt x="133" y="288"/>
                    </a:lnTo>
                    <a:lnTo>
                      <a:pt x="370" y="253"/>
                    </a:lnTo>
                    <a:cubicBezTo>
                      <a:pt x="374" y="252"/>
                      <a:pt x="378" y="255"/>
                      <a:pt x="379" y="259"/>
                    </a:cubicBezTo>
                    <a:cubicBezTo>
                      <a:pt x="380" y="264"/>
                      <a:pt x="377" y="268"/>
                      <a:pt x="373" y="269"/>
                    </a:cubicBezTo>
                    <a:lnTo>
                      <a:pt x="140" y="322"/>
                    </a:lnTo>
                    <a:lnTo>
                      <a:pt x="141" y="306"/>
                    </a:lnTo>
                    <a:lnTo>
                      <a:pt x="243" y="351"/>
                    </a:lnTo>
                    <a:lnTo>
                      <a:pt x="236" y="352"/>
                    </a:lnTo>
                    <a:lnTo>
                      <a:pt x="328" y="287"/>
                    </a:lnTo>
                    <a:cubicBezTo>
                      <a:pt x="329" y="287"/>
                      <a:pt x="330" y="286"/>
                      <a:pt x="332" y="286"/>
                    </a:cubicBezTo>
                    <a:lnTo>
                      <a:pt x="488" y="274"/>
                    </a:lnTo>
                    <a:cubicBezTo>
                      <a:pt x="492" y="274"/>
                      <a:pt x="496" y="277"/>
                      <a:pt x="497" y="281"/>
                    </a:cubicBezTo>
                    <a:cubicBezTo>
                      <a:pt x="497" y="286"/>
                      <a:pt x="494" y="290"/>
                      <a:pt x="490" y="290"/>
                    </a:cubicBezTo>
                    <a:lnTo>
                      <a:pt x="325" y="315"/>
                    </a:lnTo>
                    <a:lnTo>
                      <a:pt x="330" y="312"/>
                    </a:lnTo>
                    <a:lnTo>
                      <a:pt x="291" y="363"/>
                    </a:lnTo>
                    <a:lnTo>
                      <a:pt x="285" y="350"/>
                    </a:lnTo>
                    <a:lnTo>
                      <a:pt x="383" y="355"/>
                    </a:lnTo>
                    <a:lnTo>
                      <a:pt x="379" y="356"/>
                    </a:lnTo>
                    <a:lnTo>
                      <a:pt x="485" y="305"/>
                    </a:lnTo>
                    <a:cubicBezTo>
                      <a:pt x="489" y="303"/>
                      <a:pt x="494" y="304"/>
                      <a:pt x="496" y="308"/>
                    </a:cubicBezTo>
                    <a:cubicBezTo>
                      <a:pt x="498" y="312"/>
                      <a:pt x="497" y="316"/>
                      <a:pt x="493" y="319"/>
                    </a:cubicBezTo>
                    <a:lnTo>
                      <a:pt x="420" y="367"/>
                    </a:lnTo>
                    <a:lnTo>
                      <a:pt x="416" y="352"/>
                    </a:lnTo>
                    <a:lnTo>
                      <a:pt x="489" y="352"/>
                    </a:lnTo>
                    <a:lnTo>
                      <a:pt x="486" y="352"/>
                    </a:lnTo>
                    <a:lnTo>
                      <a:pt x="595" y="316"/>
                    </a:lnTo>
                    <a:lnTo>
                      <a:pt x="590" y="326"/>
                    </a:lnTo>
                    <a:lnTo>
                      <a:pt x="576" y="276"/>
                    </a:lnTo>
                    <a:cubicBezTo>
                      <a:pt x="575" y="272"/>
                      <a:pt x="577" y="268"/>
                      <a:pt x="581" y="267"/>
                    </a:cubicBezTo>
                    <a:lnTo>
                      <a:pt x="703" y="227"/>
                    </a:lnTo>
                    <a:cubicBezTo>
                      <a:pt x="706" y="226"/>
                      <a:pt x="710" y="227"/>
                      <a:pt x="712" y="230"/>
                    </a:cubicBezTo>
                    <a:cubicBezTo>
                      <a:pt x="714" y="234"/>
                      <a:pt x="713" y="238"/>
                      <a:pt x="711" y="240"/>
                    </a:cubicBezTo>
                    <a:lnTo>
                      <a:pt x="624" y="324"/>
                    </a:lnTo>
                    <a:lnTo>
                      <a:pt x="618" y="311"/>
                    </a:lnTo>
                    <a:lnTo>
                      <a:pt x="806" y="296"/>
                    </a:lnTo>
                    <a:cubicBezTo>
                      <a:pt x="810" y="296"/>
                      <a:pt x="814" y="299"/>
                      <a:pt x="815" y="303"/>
                    </a:cubicBezTo>
                    <a:cubicBezTo>
                      <a:pt x="815" y="307"/>
                      <a:pt x="813" y="311"/>
                      <a:pt x="809" y="312"/>
                    </a:cubicBezTo>
                    <a:lnTo>
                      <a:pt x="425" y="394"/>
                    </a:lnTo>
                    <a:lnTo>
                      <a:pt x="429" y="381"/>
                    </a:lnTo>
                    <a:lnTo>
                      <a:pt x="518" y="466"/>
                    </a:lnTo>
                    <a:lnTo>
                      <a:pt x="512" y="464"/>
                    </a:lnTo>
                    <a:lnTo>
                      <a:pt x="588" y="464"/>
                    </a:lnTo>
                    <a:cubicBezTo>
                      <a:pt x="592" y="464"/>
                      <a:pt x="595" y="467"/>
                      <a:pt x="596" y="470"/>
                    </a:cubicBezTo>
                    <a:cubicBezTo>
                      <a:pt x="596" y="474"/>
                      <a:pt x="594" y="478"/>
                      <a:pt x="591" y="479"/>
                    </a:cubicBezTo>
                    <a:lnTo>
                      <a:pt x="551" y="498"/>
                    </a:lnTo>
                    <a:cubicBezTo>
                      <a:pt x="548" y="499"/>
                      <a:pt x="545" y="499"/>
                      <a:pt x="543" y="497"/>
                    </a:cubicBezTo>
                    <a:lnTo>
                      <a:pt x="395" y="406"/>
                    </a:lnTo>
                    <a:lnTo>
                      <a:pt x="398" y="408"/>
                    </a:lnTo>
                    <a:lnTo>
                      <a:pt x="274" y="394"/>
                    </a:lnTo>
                    <a:lnTo>
                      <a:pt x="283" y="388"/>
                    </a:lnTo>
                    <a:lnTo>
                      <a:pt x="277" y="424"/>
                    </a:lnTo>
                    <a:lnTo>
                      <a:pt x="272" y="415"/>
                    </a:lnTo>
                    <a:lnTo>
                      <a:pt x="331" y="435"/>
                    </a:lnTo>
                    <a:cubicBezTo>
                      <a:pt x="334" y="436"/>
                      <a:pt x="336" y="439"/>
                      <a:pt x="336" y="443"/>
                    </a:cubicBezTo>
                    <a:cubicBezTo>
                      <a:pt x="336" y="446"/>
                      <a:pt x="334" y="449"/>
                      <a:pt x="330" y="450"/>
                    </a:cubicBezTo>
                    <a:lnTo>
                      <a:pt x="276" y="465"/>
                    </a:lnTo>
                    <a:lnTo>
                      <a:pt x="278" y="451"/>
                    </a:lnTo>
                    <a:lnTo>
                      <a:pt x="427" y="545"/>
                    </a:lnTo>
                    <a:cubicBezTo>
                      <a:pt x="430" y="546"/>
                      <a:pt x="432" y="550"/>
                      <a:pt x="431" y="553"/>
                    </a:cubicBezTo>
                    <a:cubicBezTo>
                      <a:pt x="430" y="556"/>
                      <a:pt x="427" y="559"/>
                      <a:pt x="424" y="559"/>
                    </a:cubicBezTo>
                    <a:lnTo>
                      <a:pt x="362" y="566"/>
                    </a:lnTo>
                    <a:lnTo>
                      <a:pt x="362" y="550"/>
                    </a:lnTo>
                    <a:lnTo>
                      <a:pt x="514" y="555"/>
                    </a:lnTo>
                    <a:cubicBezTo>
                      <a:pt x="518" y="555"/>
                      <a:pt x="521" y="558"/>
                      <a:pt x="522" y="562"/>
                    </a:cubicBezTo>
                    <a:cubicBezTo>
                      <a:pt x="522" y="566"/>
                      <a:pt x="520" y="570"/>
                      <a:pt x="516" y="571"/>
                    </a:cubicBezTo>
                    <a:lnTo>
                      <a:pt x="431" y="594"/>
                    </a:lnTo>
                    <a:lnTo>
                      <a:pt x="433" y="579"/>
                    </a:lnTo>
                    <a:lnTo>
                      <a:pt x="479" y="611"/>
                    </a:lnTo>
                    <a:cubicBezTo>
                      <a:pt x="483" y="613"/>
                      <a:pt x="484" y="617"/>
                      <a:pt x="482" y="621"/>
                    </a:cubicBezTo>
                    <a:cubicBezTo>
                      <a:pt x="480" y="625"/>
                      <a:pt x="476" y="626"/>
                      <a:pt x="472" y="625"/>
                    </a:cubicBezTo>
                    <a:lnTo>
                      <a:pt x="335" y="575"/>
                    </a:lnTo>
                    <a:lnTo>
                      <a:pt x="340" y="576"/>
                    </a:lnTo>
                    <a:lnTo>
                      <a:pt x="260" y="595"/>
                    </a:lnTo>
                    <a:lnTo>
                      <a:pt x="266" y="590"/>
                    </a:lnTo>
                    <a:lnTo>
                      <a:pt x="235" y="671"/>
                    </a:lnTo>
                    <a:lnTo>
                      <a:pt x="225" y="661"/>
                    </a:lnTo>
                    <a:lnTo>
                      <a:pt x="302" y="635"/>
                    </a:lnTo>
                    <a:cubicBezTo>
                      <a:pt x="305" y="633"/>
                      <a:pt x="308" y="634"/>
                      <a:pt x="310" y="637"/>
                    </a:cubicBezTo>
                    <a:cubicBezTo>
                      <a:pt x="312" y="639"/>
                      <a:pt x="313" y="642"/>
                      <a:pt x="312" y="645"/>
                    </a:cubicBezTo>
                    <a:lnTo>
                      <a:pt x="299" y="673"/>
                    </a:lnTo>
                    <a:lnTo>
                      <a:pt x="292" y="662"/>
                    </a:lnTo>
                    <a:lnTo>
                      <a:pt x="321" y="662"/>
                    </a:lnTo>
                    <a:lnTo>
                      <a:pt x="315" y="665"/>
                    </a:lnTo>
                    <a:lnTo>
                      <a:pt x="359" y="606"/>
                    </a:lnTo>
                    <a:cubicBezTo>
                      <a:pt x="362" y="603"/>
                      <a:pt x="366" y="602"/>
                      <a:pt x="369" y="604"/>
                    </a:cubicBezTo>
                    <a:cubicBezTo>
                      <a:pt x="373" y="605"/>
                      <a:pt x="375" y="609"/>
                      <a:pt x="373" y="613"/>
                    </a:cubicBezTo>
                    <a:lnTo>
                      <a:pt x="358" y="661"/>
                    </a:lnTo>
                    <a:lnTo>
                      <a:pt x="352" y="651"/>
                    </a:lnTo>
                    <a:lnTo>
                      <a:pt x="395" y="659"/>
                    </a:lnTo>
                    <a:cubicBezTo>
                      <a:pt x="399" y="660"/>
                      <a:pt x="402" y="663"/>
                      <a:pt x="402" y="667"/>
                    </a:cubicBezTo>
                    <a:cubicBezTo>
                      <a:pt x="402" y="670"/>
                      <a:pt x="399" y="674"/>
                      <a:pt x="396" y="675"/>
                    </a:cubicBezTo>
                    <a:lnTo>
                      <a:pt x="312" y="696"/>
                    </a:lnTo>
                    <a:lnTo>
                      <a:pt x="310" y="680"/>
                    </a:lnTo>
                    <a:lnTo>
                      <a:pt x="362" y="682"/>
                    </a:lnTo>
                    <a:cubicBezTo>
                      <a:pt x="366" y="682"/>
                      <a:pt x="369" y="685"/>
                      <a:pt x="369" y="688"/>
                    </a:cubicBezTo>
                    <a:cubicBezTo>
                      <a:pt x="370" y="692"/>
                      <a:pt x="368" y="696"/>
                      <a:pt x="365" y="697"/>
                    </a:cubicBezTo>
                    <a:lnTo>
                      <a:pt x="324" y="715"/>
                    </a:lnTo>
                    <a:lnTo>
                      <a:pt x="327" y="702"/>
                    </a:lnTo>
                    <a:lnTo>
                      <a:pt x="362" y="735"/>
                    </a:lnTo>
                    <a:lnTo>
                      <a:pt x="356" y="733"/>
                    </a:lnTo>
                    <a:lnTo>
                      <a:pt x="416" y="733"/>
                    </a:lnTo>
                    <a:lnTo>
                      <a:pt x="410" y="736"/>
                    </a:lnTo>
                    <a:lnTo>
                      <a:pt x="469" y="671"/>
                    </a:lnTo>
                    <a:lnTo>
                      <a:pt x="480" y="683"/>
                    </a:lnTo>
                    <a:lnTo>
                      <a:pt x="377" y="775"/>
                    </a:lnTo>
                    <a:cubicBezTo>
                      <a:pt x="374" y="778"/>
                      <a:pt x="370" y="778"/>
                      <a:pt x="367" y="776"/>
                    </a:cubicBezTo>
                    <a:lnTo>
                      <a:pt x="269" y="708"/>
                    </a:lnTo>
                    <a:lnTo>
                      <a:pt x="275" y="709"/>
                    </a:lnTo>
                    <a:lnTo>
                      <a:pt x="187" y="721"/>
                    </a:lnTo>
                    <a:lnTo>
                      <a:pt x="191" y="707"/>
                    </a:lnTo>
                    <a:lnTo>
                      <a:pt x="267" y="778"/>
                    </a:lnTo>
                    <a:cubicBezTo>
                      <a:pt x="269" y="780"/>
                      <a:pt x="270" y="783"/>
                      <a:pt x="269" y="786"/>
                    </a:cubicBezTo>
                    <a:cubicBezTo>
                      <a:pt x="268" y="789"/>
                      <a:pt x="266" y="791"/>
                      <a:pt x="264" y="792"/>
                    </a:cubicBezTo>
                    <a:lnTo>
                      <a:pt x="136" y="831"/>
                    </a:lnTo>
                    <a:lnTo>
                      <a:pt x="142" y="822"/>
                    </a:lnTo>
                    <a:lnTo>
                      <a:pt x="154" y="875"/>
                    </a:lnTo>
                    <a:lnTo>
                      <a:pt x="139" y="873"/>
                    </a:lnTo>
                    <a:lnTo>
                      <a:pt x="163" y="825"/>
                    </a:lnTo>
                    <a:cubicBezTo>
                      <a:pt x="165" y="822"/>
                      <a:pt x="168" y="820"/>
                      <a:pt x="172" y="821"/>
                    </a:cubicBezTo>
                    <a:cubicBezTo>
                      <a:pt x="175" y="821"/>
                      <a:pt x="178" y="824"/>
                      <a:pt x="178" y="828"/>
                    </a:cubicBezTo>
                    <a:lnTo>
                      <a:pt x="183" y="876"/>
                    </a:lnTo>
                    <a:lnTo>
                      <a:pt x="173" y="869"/>
                    </a:lnTo>
                    <a:lnTo>
                      <a:pt x="260" y="846"/>
                    </a:lnTo>
                    <a:cubicBezTo>
                      <a:pt x="263" y="845"/>
                      <a:pt x="265" y="845"/>
                      <a:pt x="267" y="847"/>
                    </a:cubicBezTo>
                    <a:lnTo>
                      <a:pt x="329" y="890"/>
                    </a:lnTo>
                    <a:lnTo>
                      <a:pt x="324" y="888"/>
                    </a:lnTo>
                    <a:lnTo>
                      <a:pt x="368" y="887"/>
                    </a:lnTo>
                    <a:lnTo>
                      <a:pt x="363" y="900"/>
                    </a:lnTo>
                    <a:lnTo>
                      <a:pt x="330" y="864"/>
                    </a:lnTo>
                    <a:cubicBezTo>
                      <a:pt x="328" y="861"/>
                      <a:pt x="328" y="857"/>
                      <a:pt x="329" y="854"/>
                    </a:cubicBezTo>
                    <a:cubicBezTo>
                      <a:pt x="331" y="852"/>
                      <a:pt x="334" y="850"/>
                      <a:pt x="338" y="850"/>
                    </a:cubicBezTo>
                    <a:lnTo>
                      <a:pt x="424" y="862"/>
                    </a:lnTo>
                    <a:lnTo>
                      <a:pt x="415" y="872"/>
                    </a:lnTo>
                    <a:lnTo>
                      <a:pt x="408" y="840"/>
                    </a:lnTo>
                    <a:cubicBezTo>
                      <a:pt x="407" y="837"/>
                      <a:pt x="409" y="833"/>
                      <a:pt x="412" y="831"/>
                    </a:cubicBezTo>
                    <a:cubicBezTo>
                      <a:pt x="415" y="830"/>
                      <a:pt x="419" y="830"/>
                      <a:pt x="422" y="833"/>
                    </a:cubicBezTo>
                    <a:lnTo>
                      <a:pt x="461" y="871"/>
                    </a:lnTo>
                    <a:lnTo>
                      <a:pt x="452" y="869"/>
                    </a:lnTo>
                    <a:lnTo>
                      <a:pt x="475" y="861"/>
                    </a:lnTo>
                    <a:lnTo>
                      <a:pt x="470" y="871"/>
                    </a:lnTo>
                    <a:lnTo>
                      <a:pt x="459" y="845"/>
                    </a:lnTo>
                    <a:cubicBezTo>
                      <a:pt x="458" y="842"/>
                      <a:pt x="458" y="839"/>
                      <a:pt x="461" y="836"/>
                    </a:cubicBezTo>
                    <a:cubicBezTo>
                      <a:pt x="463" y="834"/>
                      <a:pt x="466" y="833"/>
                      <a:pt x="469" y="834"/>
                    </a:cubicBezTo>
                    <a:lnTo>
                      <a:pt x="539" y="861"/>
                    </a:lnTo>
                    <a:cubicBezTo>
                      <a:pt x="542" y="862"/>
                      <a:pt x="544" y="865"/>
                      <a:pt x="544" y="868"/>
                    </a:cubicBezTo>
                    <a:lnTo>
                      <a:pt x="546" y="904"/>
                    </a:lnTo>
                    <a:lnTo>
                      <a:pt x="535" y="897"/>
                    </a:lnTo>
                    <a:lnTo>
                      <a:pt x="662" y="860"/>
                    </a:lnTo>
                    <a:lnTo>
                      <a:pt x="657" y="865"/>
                    </a:lnTo>
                    <a:lnTo>
                      <a:pt x="681" y="812"/>
                    </a:lnTo>
                    <a:lnTo>
                      <a:pt x="690" y="823"/>
                    </a:lnTo>
                    <a:lnTo>
                      <a:pt x="631" y="836"/>
                    </a:lnTo>
                    <a:cubicBezTo>
                      <a:pt x="629" y="837"/>
                      <a:pt x="627" y="836"/>
                      <a:pt x="625" y="835"/>
                    </a:cubicBezTo>
                    <a:cubicBezTo>
                      <a:pt x="623" y="833"/>
                      <a:pt x="622" y="831"/>
                      <a:pt x="622" y="829"/>
                    </a:cubicBezTo>
                    <a:lnTo>
                      <a:pt x="622" y="781"/>
                    </a:lnTo>
                    <a:lnTo>
                      <a:pt x="630" y="789"/>
                    </a:lnTo>
                    <a:lnTo>
                      <a:pt x="489" y="787"/>
                    </a:lnTo>
                    <a:cubicBezTo>
                      <a:pt x="484" y="787"/>
                      <a:pt x="481" y="784"/>
                      <a:pt x="481" y="779"/>
                    </a:cubicBezTo>
                    <a:cubicBezTo>
                      <a:pt x="481" y="775"/>
                      <a:pt x="484" y="771"/>
                      <a:pt x="488" y="771"/>
                    </a:cubicBezTo>
                    <a:lnTo>
                      <a:pt x="675" y="760"/>
                    </a:lnTo>
                    <a:lnTo>
                      <a:pt x="669" y="763"/>
                    </a:lnTo>
                    <a:lnTo>
                      <a:pt x="697" y="726"/>
                    </a:lnTo>
                    <a:lnTo>
                      <a:pt x="697" y="735"/>
                    </a:lnTo>
                    <a:lnTo>
                      <a:pt x="669" y="691"/>
                    </a:lnTo>
                    <a:cubicBezTo>
                      <a:pt x="667" y="688"/>
                      <a:pt x="667" y="685"/>
                      <a:pt x="669" y="683"/>
                    </a:cubicBezTo>
                    <a:cubicBezTo>
                      <a:pt x="670" y="680"/>
                      <a:pt x="673" y="679"/>
                      <a:pt x="676" y="679"/>
                    </a:cubicBezTo>
                    <a:lnTo>
                      <a:pt x="783" y="680"/>
                    </a:lnTo>
                    <a:lnTo>
                      <a:pt x="778" y="682"/>
                    </a:lnTo>
                    <a:lnTo>
                      <a:pt x="800" y="664"/>
                    </a:lnTo>
                    <a:lnTo>
                      <a:pt x="804" y="678"/>
                    </a:lnTo>
                    <a:lnTo>
                      <a:pt x="732" y="667"/>
                    </a:lnTo>
                    <a:cubicBezTo>
                      <a:pt x="728" y="666"/>
                      <a:pt x="725" y="662"/>
                      <a:pt x="725" y="658"/>
                    </a:cubicBezTo>
                    <a:cubicBezTo>
                      <a:pt x="725" y="654"/>
                      <a:pt x="728" y="651"/>
                      <a:pt x="733" y="651"/>
                    </a:cubicBezTo>
                    <a:lnTo>
                      <a:pt x="829" y="646"/>
                    </a:lnTo>
                    <a:lnTo>
                      <a:pt x="826" y="661"/>
                    </a:lnTo>
                    <a:lnTo>
                      <a:pt x="762" y="631"/>
                    </a:lnTo>
                    <a:cubicBezTo>
                      <a:pt x="759" y="630"/>
                      <a:pt x="757" y="627"/>
                      <a:pt x="757" y="623"/>
                    </a:cubicBezTo>
                    <a:cubicBezTo>
                      <a:pt x="757" y="620"/>
                      <a:pt x="760" y="617"/>
                      <a:pt x="763" y="616"/>
                    </a:cubicBezTo>
                    <a:lnTo>
                      <a:pt x="841" y="596"/>
                    </a:lnTo>
                    <a:lnTo>
                      <a:pt x="835" y="606"/>
                    </a:lnTo>
                    <a:lnTo>
                      <a:pt x="830" y="583"/>
                    </a:lnTo>
                    <a:lnTo>
                      <a:pt x="837" y="589"/>
                    </a:lnTo>
                    <a:lnTo>
                      <a:pt x="694" y="576"/>
                    </a:lnTo>
                    <a:cubicBezTo>
                      <a:pt x="691" y="575"/>
                      <a:pt x="688" y="572"/>
                      <a:pt x="687" y="568"/>
                    </a:cubicBezTo>
                    <a:cubicBezTo>
                      <a:pt x="687" y="565"/>
                      <a:pt x="690" y="561"/>
                      <a:pt x="693" y="560"/>
                    </a:cubicBezTo>
                    <a:lnTo>
                      <a:pt x="774" y="540"/>
                    </a:lnTo>
                    <a:lnTo>
                      <a:pt x="776" y="556"/>
                    </a:lnTo>
                    <a:lnTo>
                      <a:pt x="692" y="549"/>
                    </a:lnTo>
                    <a:lnTo>
                      <a:pt x="693" y="533"/>
                    </a:lnTo>
                    <a:lnTo>
                      <a:pt x="844" y="550"/>
                    </a:lnTo>
                    <a:lnTo>
                      <a:pt x="835" y="556"/>
                    </a:lnTo>
                    <a:lnTo>
                      <a:pt x="841" y="531"/>
                    </a:lnTo>
                    <a:lnTo>
                      <a:pt x="848" y="541"/>
                    </a:lnTo>
                    <a:lnTo>
                      <a:pt x="691" y="531"/>
                    </a:lnTo>
                    <a:cubicBezTo>
                      <a:pt x="686" y="531"/>
                      <a:pt x="683" y="528"/>
                      <a:pt x="683" y="524"/>
                    </a:cubicBezTo>
                    <a:cubicBezTo>
                      <a:pt x="683" y="520"/>
                      <a:pt x="686" y="516"/>
                      <a:pt x="690" y="515"/>
                    </a:cubicBezTo>
                    <a:lnTo>
                      <a:pt x="895" y="482"/>
                    </a:lnTo>
                    <a:lnTo>
                      <a:pt x="892" y="497"/>
                    </a:lnTo>
                    <a:lnTo>
                      <a:pt x="838" y="468"/>
                    </a:lnTo>
                    <a:cubicBezTo>
                      <a:pt x="835" y="466"/>
                      <a:pt x="833" y="462"/>
                      <a:pt x="834" y="458"/>
                    </a:cubicBezTo>
                    <a:cubicBezTo>
                      <a:pt x="835" y="455"/>
                      <a:pt x="839" y="452"/>
                      <a:pt x="842" y="453"/>
                    </a:cubicBezTo>
                    <a:lnTo>
                      <a:pt x="989" y="464"/>
                    </a:lnTo>
                    <a:lnTo>
                      <a:pt x="983" y="467"/>
                    </a:lnTo>
                    <a:lnTo>
                      <a:pt x="1029" y="417"/>
                    </a:lnTo>
                    <a:lnTo>
                      <a:pt x="1034" y="431"/>
                    </a:lnTo>
                    <a:lnTo>
                      <a:pt x="960" y="426"/>
                    </a:lnTo>
                    <a:cubicBezTo>
                      <a:pt x="956" y="425"/>
                      <a:pt x="952" y="422"/>
                      <a:pt x="952" y="418"/>
                    </a:cubicBezTo>
                    <a:cubicBezTo>
                      <a:pt x="953" y="413"/>
                      <a:pt x="956" y="410"/>
                      <a:pt x="960" y="410"/>
                    </a:cubicBezTo>
                    <a:lnTo>
                      <a:pt x="1056" y="406"/>
                    </a:lnTo>
                    <a:lnTo>
                      <a:pt x="1049" y="417"/>
                    </a:lnTo>
                    <a:lnTo>
                      <a:pt x="1037" y="381"/>
                    </a:lnTo>
                    <a:cubicBezTo>
                      <a:pt x="1036" y="378"/>
                      <a:pt x="1036" y="375"/>
                      <a:pt x="1038" y="373"/>
                    </a:cubicBezTo>
                    <a:cubicBezTo>
                      <a:pt x="1040" y="371"/>
                      <a:pt x="1043" y="370"/>
                      <a:pt x="1046" y="370"/>
                    </a:cubicBezTo>
                    <a:lnTo>
                      <a:pt x="1092" y="378"/>
                    </a:lnTo>
                    <a:lnTo>
                      <a:pt x="1086" y="379"/>
                    </a:lnTo>
                    <a:lnTo>
                      <a:pt x="1336" y="231"/>
                    </a:lnTo>
                    <a:lnTo>
                      <a:pt x="1342" y="246"/>
                    </a:lnTo>
                    <a:lnTo>
                      <a:pt x="1065" y="298"/>
                    </a:lnTo>
                    <a:cubicBezTo>
                      <a:pt x="1061" y="299"/>
                      <a:pt x="1057" y="297"/>
                      <a:pt x="1056" y="293"/>
                    </a:cubicBezTo>
                    <a:cubicBezTo>
                      <a:pt x="1055" y="289"/>
                      <a:pt x="1057" y="285"/>
                      <a:pt x="1061" y="283"/>
                    </a:cubicBezTo>
                    <a:lnTo>
                      <a:pt x="1214" y="221"/>
                    </a:lnTo>
                    <a:lnTo>
                      <a:pt x="1218" y="236"/>
                    </a:lnTo>
                    <a:lnTo>
                      <a:pt x="1124" y="243"/>
                    </a:lnTo>
                    <a:cubicBezTo>
                      <a:pt x="1122" y="243"/>
                      <a:pt x="1119" y="242"/>
                      <a:pt x="1117" y="239"/>
                    </a:cubicBezTo>
                    <a:lnTo>
                      <a:pt x="1096" y="211"/>
                    </a:lnTo>
                    <a:cubicBezTo>
                      <a:pt x="1095" y="209"/>
                      <a:pt x="1094" y="205"/>
                      <a:pt x="1096" y="203"/>
                    </a:cubicBezTo>
                    <a:cubicBezTo>
                      <a:pt x="1097" y="200"/>
                      <a:pt x="1100" y="198"/>
                      <a:pt x="1103" y="198"/>
                    </a:cubicBezTo>
                    <a:lnTo>
                      <a:pt x="1275" y="212"/>
                    </a:lnTo>
                    <a:lnTo>
                      <a:pt x="1272" y="212"/>
                    </a:lnTo>
                    <a:lnTo>
                      <a:pt x="1494" y="136"/>
                    </a:lnTo>
                    <a:lnTo>
                      <a:pt x="1488" y="144"/>
                    </a:lnTo>
                    <a:lnTo>
                      <a:pt x="1487" y="108"/>
                    </a:lnTo>
                    <a:lnTo>
                      <a:pt x="1495" y="115"/>
                    </a:lnTo>
                    <a:lnTo>
                      <a:pt x="1402" y="115"/>
                    </a:lnTo>
                    <a:cubicBezTo>
                      <a:pt x="1398" y="115"/>
                      <a:pt x="1395" y="113"/>
                      <a:pt x="1394" y="110"/>
                    </a:cubicBezTo>
                    <a:lnTo>
                      <a:pt x="1372" y="47"/>
                    </a:lnTo>
                    <a:lnTo>
                      <a:pt x="1380" y="53"/>
                    </a:lnTo>
                    <a:lnTo>
                      <a:pt x="1125" y="81"/>
                    </a:lnTo>
                    <a:cubicBezTo>
                      <a:pt x="1121" y="81"/>
                      <a:pt x="1117" y="79"/>
                      <a:pt x="1116" y="75"/>
                    </a:cubicBezTo>
                    <a:cubicBezTo>
                      <a:pt x="1115" y="71"/>
                      <a:pt x="1117" y="67"/>
                      <a:pt x="1121" y="65"/>
                    </a:cubicBezTo>
                    <a:lnTo>
                      <a:pt x="1231" y="24"/>
                    </a:lnTo>
                    <a:lnTo>
                      <a:pt x="1233" y="40"/>
                    </a:lnTo>
                    <a:lnTo>
                      <a:pt x="894" y="16"/>
                    </a:lnTo>
                    <a:lnTo>
                      <a:pt x="901" y="14"/>
                    </a:lnTo>
                    <a:lnTo>
                      <a:pt x="873" y="44"/>
                    </a:lnTo>
                    <a:lnTo>
                      <a:pt x="871" y="32"/>
                    </a:lnTo>
                    <a:lnTo>
                      <a:pt x="895" y="48"/>
                    </a:lnTo>
                    <a:cubicBezTo>
                      <a:pt x="899" y="50"/>
                      <a:pt x="900" y="55"/>
                      <a:pt x="898" y="59"/>
                    </a:cubicBezTo>
                    <a:cubicBezTo>
                      <a:pt x="895" y="62"/>
                      <a:pt x="891" y="64"/>
                      <a:pt x="887" y="62"/>
                    </a:cubicBezTo>
                    <a:lnTo>
                      <a:pt x="826" y="32"/>
                    </a:lnTo>
                    <a:lnTo>
                      <a:pt x="829" y="33"/>
                    </a:lnTo>
                    <a:lnTo>
                      <a:pt x="677" y="35"/>
                    </a:lnTo>
                    <a:lnTo>
                      <a:pt x="681" y="20"/>
                    </a:lnTo>
                    <a:lnTo>
                      <a:pt x="789" y="81"/>
                    </a:lnTo>
                    <a:cubicBezTo>
                      <a:pt x="791" y="82"/>
                      <a:pt x="793" y="85"/>
                      <a:pt x="793" y="88"/>
                    </a:cubicBezTo>
                    <a:cubicBezTo>
                      <a:pt x="793" y="91"/>
                      <a:pt x="791" y="93"/>
                      <a:pt x="788" y="95"/>
                    </a:cubicBezTo>
                    <a:lnTo>
                      <a:pt x="752" y="115"/>
                    </a:lnTo>
                    <a:cubicBezTo>
                      <a:pt x="749" y="116"/>
                      <a:pt x="745" y="116"/>
                      <a:pt x="742" y="113"/>
                    </a:cubicBezTo>
                    <a:lnTo>
                      <a:pt x="686" y="48"/>
                    </a:lnTo>
                    <a:lnTo>
                      <a:pt x="692" y="51"/>
                    </a:lnTo>
                    <a:lnTo>
                      <a:pt x="552" y="45"/>
                    </a:lnTo>
                    <a:lnTo>
                      <a:pt x="558" y="31"/>
                    </a:lnTo>
                    <a:lnTo>
                      <a:pt x="588" y="59"/>
                    </a:lnTo>
                    <a:cubicBezTo>
                      <a:pt x="590" y="61"/>
                      <a:pt x="591" y="65"/>
                      <a:pt x="589" y="68"/>
                    </a:cubicBezTo>
                    <a:cubicBezTo>
                      <a:pt x="588" y="71"/>
                      <a:pt x="585" y="73"/>
                      <a:pt x="581" y="73"/>
                    </a:cubicBezTo>
                    <a:lnTo>
                      <a:pt x="475" y="63"/>
                    </a:lnTo>
                    <a:lnTo>
                      <a:pt x="481" y="49"/>
                    </a:lnTo>
                    <a:lnTo>
                      <a:pt x="533" y="91"/>
                    </a:lnTo>
                    <a:cubicBezTo>
                      <a:pt x="536" y="94"/>
                      <a:pt x="537" y="98"/>
                      <a:pt x="535" y="101"/>
                    </a:cubicBezTo>
                    <a:cubicBezTo>
                      <a:pt x="533" y="105"/>
                      <a:pt x="529" y="106"/>
                      <a:pt x="525" y="105"/>
                    </a:cubicBezTo>
                    <a:lnTo>
                      <a:pt x="443" y="79"/>
                    </a:lnTo>
                    <a:lnTo>
                      <a:pt x="451" y="66"/>
                    </a:lnTo>
                    <a:lnTo>
                      <a:pt x="476" y="92"/>
                    </a:lnTo>
                    <a:cubicBezTo>
                      <a:pt x="478" y="94"/>
                      <a:pt x="479" y="97"/>
                      <a:pt x="478" y="100"/>
                    </a:cubicBezTo>
                    <a:cubicBezTo>
                      <a:pt x="477" y="103"/>
                      <a:pt x="475" y="105"/>
                      <a:pt x="472" y="105"/>
                    </a:cubicBezTo>
                    <a:lnTo>
                      <a:pt x="423" y="115"/>
                    </a:lnTo>
                    <a:lnTo>
                      <a:pt x="425" y="100"/>
                    </a:lnTo>
                    <a:lnTo>
                      <a:pt x="533" y="158"/>
                    </a:lnTo>
                    <a:cubicBezTo>
                      <a:pt x="537" y="160"/>
                      <a:pt x="538" y="164"/>
                      <a:pt x="537" y="168"/>
                    </a:cubicBezTo>
                    <a:cubicBezTo>
                      <a:pt x="535" y="172"/>
                      <a:pt x="531" y="174"/>
                      <a:pt x="527" y="173"/>
                    </a:cubicBezTo>
                    <a:lnTo>
                      <a:pt x="295" y="107"/>
                    </a:lnTo>
                    <a:lnTo>
                      <a:pt x="302" y="105"/>
                    </a:lnTo>
                    <a:lnTo>
                      <a:pt x="244" y="153"/>
                    </a:lnTo>
                    <a:lnTo>
                      <a:pt x="241" y="139"/>
                    </a:lnTo>
                    <a:lnTo>
                      <a:pt x="331" y="161"/>
                    </a:lnTo>
                    <a:cubicBezTo>
                      <a:pt x="335" y="162"/>
                      <a:pt x="338" y="166"/>
                      <a:pt x="337" y="170"/>
                    </a:cubicBezTo>
                    <a:cubicBezTo>
                      <a:pt x="337" y="174"/>
                      <a:pt x="333" y="177"/>
                      <a:pt x="329" y="176"/>
                    </a:cubicBezTo>
                    <a:lnTo>
                      <a:pt x="174" y="160"/>
                    </a:lnTo>
                    <a:lnTo>
                      <a:pt x="178" y="159"/>
                    </a:lnTo>
                    <a:lnTo>
                      <a:pt x="11" y="227"/>
                    </a:lnTo>
                    <a:close/>
                    <a:moveTo>
                      <a:pt x="172" y="145"/>
                    </a:moveTo>
                    <a:cubicBezTo>
                      <a:pt x="173" y="144"/>
                      <a:pt x="174" y="144"/>
                      <a:pt x="175" y="144"/>
                    </a:cubicBezTo>
                    <a:lnTo>
                      <a:pt x="330" y="161"/>
                    </a:lnTo>
                    <a:lnTo>
                      <a:pt x="328" y="176"/>
                    </a:lnTo>
                    <a:lnTo>
                      <a:pt x="237" y="155"/>
                    </a:lnTo>
                    <a:cubicBezTo>
                      <a:pt x="234" y="154"/>
                      <a:pt x="232" y="152"/>
                      <a:pt x="231" y="149"/>
                    </a:cubicBezTo>
                    <a:cubicBezTo>
                      <a:pt x="230" y="146"/>
                      <a:pt x="231" y="143"/>
                      <a:pt x="234" y="141"/>
                    </a:cubicBezTo>
                    <a:lnTo>
                      <a:pt x="292" y="93"/>
                    </a:lnTo>
                    <a:cubicBezTo>
                      <a:pt x="294" y="91"/>
                      <a:pt x="297" y="91"/>
                      <a:pt x="300" y="92"/>
                    </a:cubicBezTo>
                    <a:lnTo>
                      <a:pt x="531" y="158"/>
                    </a:lnTo>
                    <a:lnTo>
                      <a:pt x="525" y="172"/>
                    </a:lnTo>
                    <a:lnTo>
                      <a:pt x="418" y="115"/>
                    </a:lnTo>
                    <a:cubicBezTo>
                      <a:pt x="415" y="113"/>
                      <a:pt x="413" y="110"/>
                      <a:pt x="414" y="106"/>
                    </a:cubicBezTo>
                    <a:cubicBezTo>
                      <a:pt x="414" y="103"/>
                      <a:pt x="417" y="100"/>
                      <a:pt x="420" y="100"/>
                    </a:cubicBezTo>
                    <a:lnTo>
                      <a:pt x="469" y="90"/>
                    </a:lnTo>
                    <a:lnTo>
                      <a:pt x="465" y="103"/>
                    </a:lnTo>
                    <a:lnTo>
                      <a:pt x="440" y="77"/>
                    </a:lnTo>
                    <a:cubicBezTo>
                      <a:pt x="437" y="74"/>
                      <a:pt x="437" y="70"/>
                      <a:pt x="439" y="67"/>
                    </a:cubicBezTo>
                    <a:cubicBezTo>
                      <a:pt x="441" y="64"/>
                      <a:pt x="444" y="62"/>
                      <a:pt x="448" y="64"/>
                    </a:cubicBezTo>
                    <a:lnTo>
                      <a:pt x="530" y="90"/>
                    </a:lnTo>
                    <a:lnTo>
                      <a:pt x="523" y="104"/>
                    </a:lnTo>
                    <a:lnTo>
                      <a:pt x="471" y="61"/>
                    </a:lnTo>
                    <a:cubicBezTo>
                      <a:pt x="468" y="59"/>
                      <a:pt x="467" y="55"/>
                      <a:pt x="469" y="52"/>
                    </a:cubicBezTo>
                    <a:cubicBezTo>
                      <a:pt x="470" y="48"/>
                      <a:pt x="473" y="46"/>
                      <a:pt x="477" y="47"/>
                    </a:cubicBezTo>
                    <a:lnTo>
                      <a:pt x="583" y="57"/>
                    </a:lnTo>
                    <a:lnTo>
                      <a:pt x="577" y="70"/>
                    </a:lnTo>
                    <a:lnTo>
                      <a:pt x="547" y="42"/>
                    </a:lnTo>
                    <a:cubicBezTo>
                      <a:pt x="545" y="40"/>
                      <a:pt x="544" y="36"/>
                      <a:pt x="545" y="33"/>
                    </a:cubicBezTo>
                    <a:cubicBezTo>
                      <a:pt x="547" y="30"/>
                      <a:pt x="550" y="28"/>
                      <a:pt x="553" y="29"/>
                    </a:cubicBezTo>
                    <a:lnTo>
                      <a:pt x="693" y="35"/>
                    </a:lnTo>
                    <a:cubicBezTo>
                      <a:pt x="695" y="35"/>
                      <a:pt x="697" y="36"/>
                      <a:pt x="698" y="38"/>
                    </a:cubicBezTo>
                    <a:lnTo>
                      <a:pt x="754" y="102"/>
                    </a:lnTo>
                    <a:lnTo>
                      <a:pt x="744" y="100"/>
                    </a:lnTo>
                    <a:lnTo>
                      <a:pt x="781" y="81"/>
                    </a:lnTo>
                    <a:lnTo>
                      <a:pt x="781" y="95"/>
                    </a:lnTo>
                    <a:lnTo>
                      <a:pt x="673" y="34"/>
                    </a:lnTo>
                    <a:cubicBezTo>
                      <a:pt x="670" y="32"/>
                      <a:pt x="668" y="28"/>
                      <a:pt x="669" y="25"/>
                    </a:cubicBezTo>
                    <a:cubicBezTo>
                      <a:pt x="670" y="21"/>
                      <a:pt x="673" y="19"/>
                      <a:pt x="677" y="19"/>
                    </a:cubicBezTo>
                    <a:lnTo>
                      <a:pt x="829" y="17"/>
                    </a:lnTo>
                    <a:cubicBezTo>
                      <a:pt x="830" y="17"/>
                      <a:pt x="832" y="17"/>
                      <a:pt x="833" y="18"/>
                    </a:cubicBezTo>
                    <a:lnTo>
                      <a:pt x="894" y="47"/>
                    </a:lnTo>
                    <a:lnTo>
                      <a:pt x="886" y="61"/>
                    </a:lnTo>
                    <a:lnTo>
                      <a:pt x="862" y="45"/>
                    </a:lnTo>
                    <a:cubicBezTo>
                      <a:pt x="860" y="43"/>
                      <a:pt x="859" y="41"/>
                      <a:pt x="859" y="39"/>
                    </a:cubicBezTo>
                    <a:cubicBezTo>
                      <a:pt x="859" y="37"/>
                      <a:pt x="859" y="34"/>
                      <a:pt x="861" y="33"/>
                    </a:cubicBezTo>
                    <a:lnTo>
                      <a:pt x="889" y="3"/>
                    </a:lnTo>
                    <a:cubicBezTo>
                      <a:pt x="891" y="1"/>
                      <a:pt x="893" y="0"/>
                      <a:pt x="895" y="0"/>
                    </a:cubicBezTo>
                    <a:lnTo>
                      <a:pt x="1235" y="24"/>
                    </a:lnTo>
                    <a:cubicBezTo>
                      <a:pt x="1238" y="24"/>
                      <a:pt x="1241" y="27"/>
                      <a:pt x="1242" y="30"/>
                    </a:cubicBezTo>
                    <a:cubicBezTo>
                      <a:pt x="1243" y="34"/>
                      <a:pt x="1240" y="38"/>
                      <a:pt x="1237" y="39"/>
                    </a:cubicBezTo>
                    <a:lnTo>
                      <a:pt x="1127" y="80"/>
                    </a:lnTo>
                    <a:lnTo>
                      <a:pt x="1123" y="65"/>
                    </a:lnTo>
                    <a:lnTo>
                      <a:pt x="1378" y="37"/>
                    </a:lnTo>
                    <a:cubicBezTo>
                      <a:pt x="1382" y="36"/>
                      <a:pt x="1386" y="39"/>
                      <a:pt x="1387" y="42"/>
                    </a:cubicBezTo>
                    <a:lnTo>
                      <a:pt x="1409" y="105"/>
                    </a:lnTo>
                    <a:lnTo>
                      <a:pt x="1402" y="99"/>
                    </a:lnTo>
                    <a:lnTo>
                      <a:pt x="1495" y="99"/>
                    </a:lnTo>
                    <a:cubicBezTo>
                      <a:pt x="1499" y="99"/>
                      <a:pt x="1503" y="103"/>
                      <a:pt x="1503" y="107"/>
                    </a:cubicBezTo>
                    <a:lnTo>
                      <a:pt x="1504" y="143"/>
                    </a:lnTo>
                    <a:cubicBezTo>
                      <a:pt x="1505" y="147"/>
                      <a:pt x="1502" y="150"/>
                      <a:pt x="1499" y="151"/>
                    </a:cubicBezTo>
                    <a:lnTo>
                      <a:pt x="1277" y="227"/>
                    </a:lnTo>
                    <a:cubicBezTo>
                      <a:pt x="1276" y="228"/>
                      <a:pt x="1275" y="228"/>
                      <a:pt x="1274" y="228"/>
                    </a:cubicBezTo>
                    <a:lnTo>
                      <a:pt x="1102" y="214"/>
                    </a:lnTo>
                    <a:lnTo>
                      <a:pt x="1109" y="202"/>
                    </a:lnTo>
                    <a:lnTo>
                      <a:pt x="1130" y="230"/>
                    </a:lnTo>
                    <a:lnTo>
                      <a:pt x="1123" y="227"/>
                    </a:lnTo>
                    <a:lnTo>
                      <a:pt x="1217" y="220"/>
                    </a:lnTo>
                    <a:cubicBezTo>
                      <a:pt x="1221" y="220"/>
                      <a:pt x="1224" y="222"/>
                      <a:pt x="1225" y="226"/>
                    </a:cubicBezTo>
                    <a:cubicBezTo>
                      <a:pt x="1226" y="230"/>
                      <a:pt x="1224" y="234"/>
                      <a:pt x="1220" y="235"/>
                    </a:cubicBezTo>
                    <a:lnTo>
                      <a:pt x="1067" y="298"/>
                    </a:lnTo>
                    <a:lnTo>
                      <a:pt x="1062" y="283"/>
                    </a:lnTo>
                    <a:lnTo>
                      <a:pt x="1339" y="230"/>
                    </a:lnTo>
                    <a:cubicBezTo>
                      <a:pt x="1342" y="229"/>
                      <a:pt x="1346" y="231"/>
                      <a:pt x="1348" y="235"/>
                    </a:cubicBezTo>
                    <a:cubicBezTo>
                      <a:pt x="1349" y="239"/>
                      <a:pt x="1348" y="243"/>
                      <a:pt x="1344" y="245"/>
                    </a:cubicBezTo>
                    <a:lnTo>
                      <a:pt x="1094" y="393"/>
                    </a:lnTo>
                    <a:cubicBezTo>
                      <a:pt x="1093" y="394"/>
                      <a:pt x="1091" y="395"/>
                      <a:pt x="1089" y="394"/>
                    </a:cubicBezTo>
                    <a:lnTo>
                      <a:pt x="1043" y="386"/>
                    </a:lnTo>
                    <a:lnTo>
                      <a:pt x="1052" y="375"/>
                    </a:lnTo>
                    <a:lnTo>
                      <a:pt x="1064" y="412"/>
                    </a:lnTo>
                    <a:cubicBezTo>
                      <a:pt x="1065" y="414"/>
                      <a:pt x="1065" y="417"/>
                      <a:pt x="1063" y="419"/>
                    </a:cubicBezTo>
                    <a:cubicBezTo>
                      <a:pt x="1062" y="421"/>
                      <a:pt x="1060" y="422"/>
                      <a:pt x="1057" y="422"/>
                    </a:cubicBezTo>
                    <a:lnTo>
                      <a:pt x="961" y="426"/>
                    </a:lnTo>
                    <a:lnTo>
                      <a:pt x="961" y="410"/>
                    </a:lnTo>
                    <a:lnTo>
                      <a:pt x="1035" y="415"/>
                    </a:lnTo>
                    <a:cubicBezTo>
                      <a:pt x="1038" y="415"/>
                      <a:pt x="1041" y="417"/>
                      <a:pt x="1042" y="420"/>
                    </a:cubicBezTo>
                    <a:cubicBezTo>
                      <a:pt x="1043" y="423"/>
                      <a:pt x="1042" y="426"/>
                      <a:pt x="1040" y="428"/>
                    </a:cubicBezTo>
                    <a:lnTo>
                      <a:pt x="994" y="478"/>
                    </a:lnTo>
                    <a:cubicBezTo>
                      <a:pt x="993" y="479"/>
                      <a:pt x="990" y="480"/>
                      <a:pt x="988" y="480"/>
                    </a:cubicBezTo>
                    <a:lnTo>
                      <a:pt x="841" y="469"/>
                    </a:lnTo>
                    <a:lnTo>
                      <a:pt x="846" y="454"/>
                    </a:lnTo>
                    <a:lnTo>
                      <a:pt x="900" y="483"/>
                    </a:lnTo>
                    <a:cubicBezTo>
                      <a:pt x="903" y="485"/>
                      <a:pt x="905" y="488"/>
                      <a:pt x="904" y="492"/>
                    </a:cubicBezTo>
                    <a:cubicBezTo>
                      <a:pt x="904" y="495"/>
                      <a:pt x="901" y="498"/>
                      <a:pt x="898" y="498"/>
                    </a:cubicBezTo>
                    <a:lnTo>
                      <a:pt x="692" y="531"/>
                    </a:lnTo>
                    <a:lnTo>
                      <a:pt x="692" y="515"/>
                    </a:lnTo>
                    <a:lnTo>
                      <a:pt x="849" y="525"/>
                    </a:lnTo>
                    <a:cubicBezTo>
                      <a:pt x="852" y="525"/>
                      <a:pt x="854" y="527"/>
                      <a:pt x="855" y="528"/>
                    </a:cubicBezTo>
                    <a:cubicBezTo>
                      <a:pt x="857" y="530"/>
                      <a:pt x="857" y="533"/>
                      <a:pt x="857" y="535"/>
                    </a:cubicBezTo>
                    <a:lnTo>
                      <a:pt x="851" y="560"/>
                    </a:lnTo>
                    <a:cubicBezTo>
                      <a:pt x="850" y="564"/>
                      <a:pt x="846" y="566"/>
                      <a:pt x="842" y="566"/>
                    </a:cubicBezTo>
                    <a:lnTo>
                      <a:pt x="692" y="549"/>
                    </a:lnTo>
                    <a:cubicBezTo>
                      <a:pt x="687" y="549"/>
                      <a:pt x="684" y="545"/>
                      <a:pt x="684" y="541"/>
                    </a:cubicBezTo>
                    <a:cubicBezTo>
                      <a:pt x="685" y="536"/>
                      <a:pt x="689" y="533"/>
                      <a:pt x="693" y="533"/>
                    </a:cubicBezTo>
                    <a:lnTo>
                      <a:pt x="777" y="540"/>
                    </a:lnTo>
                    <a:cubicBezTo>
                      <a:pt x="781" y="540"/>
                      <a:pt x="784" y="543"/>
                      <a:pt x="784" y="547"/>
                    </a:cubicBezTo>
                    <a:cubicBezTo>
                      <a:pt x="784" y="551"/>
                      <a:pt x="782" y="555"/>
                      <a:pt x="778" y="556"/>
                    </a:cubicBezTo>
                    <a:lnTo>
                      <a:pt x="697" y="576"/>
                    </a:lnTo>
                    <a:lnTo>
                      <a:pt x="696" y="560"/>
                    </a:lnTo>
                    <a:lnTo>
                      <a:pt x="838" y="573"/>
                    </a:lnTo>
                    <a:cubicBezTo>
                      <a:pt x="842" y="573"/>
                      <a:pt x="845" y="576"/>
                      <a:pt x="845" y="579"/>
                    </a:cubicBezTo>
                    <a:lnTo>
                      <a:pt x="851" y="602"/>
                    </a:lnTo>
                    <a:cubicBezTo>
                      <a:pt x="852" y="607"/>
                      <a:pt x="849" y="611"/>
                      <a:pt x="845" y="612"/>
                    </a:cubicBezTo>
                    <a:lnTo>
                      <a:pt x="767" y="632"/>
                    </a:lnTo>
                    <a:lnTo>
                      <a:pt x="768" y="617"/>
                    </a:lnTo>
                    <a:lnTo>
                      <a:pt x="833" y="646"/>
                    </a:lnTo>
                    <a:cubicBezTo>
                      <a:pt x="836" y="648"/>
                      <a:pt x="838" y="652"/>
                      <a:pt x="837" y="655"/>
                    </a:cubicBezTo>
                    <a:cubicBezTo>
                      <a:pt x="836" y="659"/>
                      <a:pt x="833" y="661"/>
                      <a:pt x="830" y="662"/>
                    </a:cubicBezTo>
                    <a:lnTo>
                      <a:pt x="733" y="667"/>
                    </a:lnTo>
                    <a:lnTo>
                      <a:pt x="734" y="651"/>
                    </a:lnTo>
                    <a:lnTo>
                      <a:pt x="807" y="662"/>
                    </a:lnTo>
                    <a:cubicBezTo>
                      <a:pt x="810" y="663"/>
                      <a:pt x="812" y="665"/>
                      <a:pt x="813" y="668"/>
                    </a:cubicBezTo>
                    <a:cubicBezTo>
                      <a:pt x="814" y="671"/>
                      <a:pt x="813" y="674"/>
                      <a:pt x="811" y="676"/>
                    </a:cubicBezTo>
                    <a:lnTo>
                      <a:pt x="788" y="695"/>
                    </a:lnTo>
                    <a:cubicBezTo>
                      <a:pt x="787" y="696"/>
                      <a:pt x="785" y="696"/>
                      <a:pt x="783" y="696"/>
                    </a:cubicBezTo>
                    <a:lnTo>
                      <a:pt x="676" y="695"/>
                    </a:lnTo>
                    <a:lnTo>
                      <a:pt x="682" y="682"/>
                    </a:lnTo>
                    <a:lnTo>
                      <a:pt x="710" y="727"/>
                    </a:lnTo>
                    <a:cubicBezTo>
                      <a:pt x="712" y="730"/>
                      <a:pt x="712" y="733"/>
                      <a:pt x="710" y="736"/>
                    </a:cubicBezTo>
                    <a:lnTo>
                      <a:pt x="682" y="772"/>
                    </a:lnTo>
                    <a:cubicBezTo>
                      <a:pt x="681" y="774"/>
                      <a:pt x="678" y="775"/>
                      <a:pt x="676" y="776"/>
                    </a:cubicBezTo>
                    <a:lnTo>
                      <a:pt x="489" y="787"/>
                    </a:lnTo>
                    <a:lnTo>
                      <a:pt x="489" y="771"/>
                    </a:lnTo>
                    <a:lnTo>
                      <a:pt x="630" y="773"/>
                    </a:lnTo>
                    <a:cubicBezTo>
                      <a:pt x="634" y="773"/>
                      <a:pt x="638" y="776"/>
                      <a:pt x="638" y="781"/>
                    </a:cubicBezTo>
                    <a:lnTo>
                      <a:pt x="638" y="829"/>
                    </a:lnTo>
                    <a:lnTo>
                      <a:pt x="628" y="821"/>
                    </a:lnTo>
                    <a:lnTo>
                      <a:pt x="686" y="808"/>
                    </a:lnTo>
                    <a:cubicBezTo>
                      <a:pt x="689" y="807"/>
                      <a:pt x="693" y="808"/>
                      <a:pt x="694" y="810"/>
                    </a:cubicBezTo>
                    <a:cubicBezTo>
                      <a:pt x="696" y="813"/>
                      <a:pt x="697" y="816"/>
                      <a:pt x="696" y="819"/>
                    </a:cubicBezTo>
                    <a:lnTo>
                      <a:pt x="672" y="871"/>
                    </a:lnTo>
                    <a:cubicBezTo>
                      <a:pt x="671" y="874"/>
                      <a:pt x="669" y="875"/>
                      <a:pt x="667" y="876"/>
                    </a:cubicBezTo>
                    <a:lnTo>
                      <a:pt x="540" y="912"/>
                    </a:lnTo>
                    <a:cubicBezTo>
                      <a:pt x="537" y="913"/>
                      <a:pt x="535" y="912"/>
                      <a:pt x="533" y="911"/>
                    </a:cubicBezTo>
                    <a:cubicBezTo>
                      <a:pt x="531" y="910"/>
                      <a:pt x="530" y="907"/>
                      <a:pt x="530" y="905"/>
                    </a:cubicBezTo>
                    <a:lnTo>
                      <a:pt x="528" y="868"/>
                    </a:lnTo>
                    <a:lnTo>
                      <a:pt x="533" y="876"/>
                    </a:lnTo>
                    <a:lnTo>
                      <a:pt x="463" y="849"/>
                    </a:lnTo>
                    <a:lnTo>
                      <a:pt x="474" y="839"/>
                    </a:lnTo>
                    <a:lnTo>
                      <a:pt x="485" y="865"/>
                    </a:lnTo>
                    <a:cubicBezTo>
                      <a:pt x="486" y="867"/>
                      <a:pt x="486" y="869"/>
                      <a:pt x="485" y="871"/>
                    </a:cubicBezTo>
                    <a:cubicBezTo>
                      <a:pt x="484" y="873"/>
                      <a:pt x="482" y="875"/>
                      <a:pt x="480" y="876"/>
                    </a:cubicBezTo>
                    <a:lnTo>
                      <a:pt x="458" y="884"/>
                    </a:lnTo>
                    <a:cubicBezTo>
                      <a:pt x="455" y="885"/>
                      <a:pt x="452" y="884"/>
                      <a:pt x="450" y="882"/>
                    </a:cubicBezTo>
                    <a:lnTo>
                      <a:pt x="410" y="844"/>
                    </a:lnTo>
                    <a:lnTo>
                      <a:pt x="424" y="837"/>
                    </a:lnTo>
                    <a:lnTo>
                      <a:pt x="431" y="868"/>
                    </a:lnTo>
                    <a:cubicBezTo>
                      <a:pt x="431" y="871"/>
                      <a:pt x="431" y="873"/>
                      <a:pt x="429" y="875"/>
                    </a:cubicBezTo>
                    <a:cubicBezTo>
                      <a:pt x="427" y="877"/>
                      <a:pt x="425" y="878"/>
                      <a:pt x="422" y="878"/>
                    </a:cubicBezTo>
                    <a:lnTo>
                      <a:pt x="335" y="866"/>
                    </a:lnTo>
                    <a:lnTo>
                      <a:pt x="342" y="853"/>
                    </a:lnTo>
                    <a:lnTo>
                      <a:pt x="375" y="889"/>
                    </a:lnTo>
                    <a:cubicBezTo>
                      <a:pt x="377" y="892"/>
                      <a:pt x="377" y="895"/>
                      <a:pt x="376" y="898"/>
                    </a:cubicBezTo>
                    <a:cubicBezTo>
                      <a:pt x="375" y="901"/>
                      <a:pt x="372" y="902"/>
                      <a:pt x="369" y="903"/>
                    </a:cubicBezTo>
                    <a:lnTo>
                      <a:pt x="324" y="904"/>
                    </a:lnTo>
                    <a:cubicBezTo>
                      <a:pt x="322" y="904"/>
                      <a:pt x="321" y="904"/>
                      <a:pt x="319" y="903"/>
                    </a:cubicBezTo>
                    <a:lnTo>
                      <a:pt x="258" y="860"/>
                    </a:lnTo>
                    <a:lnTo>
                      <a:pt x="265" y="861"/>
                    </a:lnTo>
                    <a:lnTo>
                      <a:pt x="177" y="884"/>
                    </a:lnTo>
                    <a:cubicBezTo>
                      <a:pt x="174" y="885"/>
                      <a:pt x="172" y="884"/>
                      <a:pt x="170" y="883"/>
                    </a:cubicBezTo>
                    <a:cubicBezTo>
                      <a:pt x="168" y="882"/>
                      <a:pt x="167" y="879"/>
                      <a:pt x="167" y="877"/>
                    </a:cubicBezTo>
                    <a:lnTo>
                      <a:pt x="162" y="829"/>
                    </a:lnTo>
                    <a:lnTo>
                      <a:pt x="178" y="832"/>
                    </a:lnTo>
                    <a:lnTo>
                      <a:pt x="154" y="880"/>
                    </a:lnTo>
                    <a:cubicBezTo>
                      <a:pt x="152" y="883"/>
                      <a:pt x="149" y="885"/>
                      <a:pt x="146" y="884"/>
                    </a:cubicBezTo>
                    <a:cubicBezTo>
                      <a:pt x="142" y="884"/>
                      <a:pt x="140" y="882"/>
                      <a:pt x="139" y="878"/>
                    </a:cubicBezTo>
                    <a:lnTo>
                      <a:pt x="126" y="825"/>
                    </a:lnTo>
                    <a:cubicBezTo>
                      <a:pt x="125" y="821"/>
                      <a:pt x="128" y="817"/>
                      <a:pt x="132" y="816"/>
                    </a:cubicBezTo>
                    <a:lnTo>
                      <a:pt x="259" y="776"/>
                    </a:lnTo>
                    <a:lnTo>
                      <a:pt x="256" y="790"/>
                    </a:lnTo>
                    <a:lnTo>
                      <a:pt x="180" y="719"/>
                    </a:lnTo>
                    <a:cubicBezTo>
                      <a:pt x="178" y="717"/>
                      <a:pt x="177" y="714"/>
                      <a:pt x="178" y="711"/>
                    </a:cubicBezTo>
                    <a:cubicBezTo>
                      <a:pt x="179" y="708"/>
                      <a:pt x="182" y="706"/>
                      <a:pt x="185" y="705"/>
                    </a:cubicBezTo>
                    <a:lnTo>
                      <a:pt x="273" y="694"/>
                    </a:lnTo>
                    <a:cubicBezTo>
                      <a:pt x="275" y="693"/>
                      <a:pt x="277" y="694"/>
                      <a:pt x="278" y="695"/>
                    </a:cubicBezTo>
                    <a:lnTo>
                      <a:pt x="376" y="763"/>
                    </a:lnTo>
                    <a:lnTo>
                      <a:pt x="366" y="763"/>
                    </a:lnTo>
                    <a:lnTo>
                      <a:pt x="469" y="671"/>
                    </a:lnTo>
                    <a:cubicBezTo>
                      <a:pt x="473" y="668"/>
                      <a:pt x="477" y="668"/>
                      <a:pt x="480" y="671"/>
                    </a:cubicBezTo>
                    <a:cubicBezTo>
                      <a:pt x="483" y="674"/>
                      <a:pt x="483" y="679"/>
                      <a:pt x="481" y="682"/>
                    </a:cubicBezTo>
                    <a:lnTo>
                      <a:pt x="422" y="747"/>
                    </a:lnTo>
                    <a:cubicBezTo>
                      <a:pt x="420" y="748"/>
                      <a:pt x="418" y="749"/>
                      <a:pt x="416" y="749"/>
                    </a:cubicBezTo>
                    <a:lnTo>
                      <a:pt x="356" y="749"/>
                    </a:lnTo>
                    <a:cubicBezTo>
                      <a:pt x="354" y="749"/>
                      <a:pt x="352" y="748"/>
                      <a:pt x="351" y="747"/>
                    </a:cubicBezTo>
                    <a:lnTo>
                      <a:pt x="316" y="714"/>
                    </a:lnTo>
                    <a:cubicBezTo>
                      <a:pt x="314" y="712"/>
                      <a:pt x="313" y="709"/>
                      <a:pt x="313" y="707"/>
                    </a:cubicBezTo>
                    <a:cubicBezTo>
                      <a:pt x="314" y="704"/>
                      <a:pt x="315" y="702"/>
                      <a:pt x="318" y="701"/>
                    </a:cubicBezTo>
                    <a:lnTo>
                      <a:pt x="358" y="683"/>
                    </a:lnTo>
                    <a:lnTo>
                      <a:pt x="361" y="698"/>
                    </a:lnTo>
                    <a:lnTo>
                      <a:pt x="310" y="696"/>
                    </a:lnTo>
                    <a:cubicBezTo>
                      <a:pt x="306" y="696"/>
                      <a:pt x="302" y="693"/>
                      <a:pt x="302" y="689"/>
                    </a:cubicBezTo>
                    <a:cubicBezTo>
                      <a:pt x="302" y="685"/>
                      <a:pt x="304" y="682"/>
                      <a:pt x="308" y="681"/>
                    </a:cubicBezTo>
                    <a:lnTo>
                      <a:pt x="392" y="659"/>
                    </a:lnTo>
                    <a:lnTo>
                      <a:pt x="392" y="675"/>
                    </a:lnTo>
                    <a:lnTo>
                      <a:pt x="349" y="666"/>
                    </a:lnTo>
                    <a:cubicBezTo>
                      <a:pt x="347" y="666"/>
                      <a:pt x="345" y="665"/>
                      <a:pt x="344" y="663"/>
                    </a:cubicBezTo>
                    <a:cubicBezTo>
                      <a:pt x="342" y="661"/>
                      <a:pt x="342" y="658"/>
                      <a:pt x="343" y="656"/>
                    </a:cubicBezTo>
                    <a:lnTo>
                      <a:pt x="358" y="608"/>
                    </a:lnTo>
                    <a:lnTo>
                      <a:pt x="372" y="616"/>
                    </a:lnTo>
                    <a:lnTo>
                      <a:pt x="328" y="675"/>
                    </a:lnTo>
                    <a:cubicBezTo>
                      <a:pt x="326" y="677"/>
                      <a:pt x="324" y="678"/>
                      <a:pt x="321" y="678"/>
                    </a:cubicBezTo>
                    <a:lnTo>
                      <a:pt x="292" y="678"/>
                    </a:lnTo>
                    <a:cubicBezTo>
                      <a:pt x="289" y="678"/>
                      <a:pt x="287" y="677"/>
                      <a:pt x="285" y="675"/>
                    </a:cubicBezTo>
                    <a:cubicBezTo>
                      <a:pt x="284" y="672"/>
                      <a:pt x="283" y="669"/>
                      <a:pt x="285" y="667"/>
                    </a:cubicBezTo>
                    <a:lnTo>
                      <a:pt x="297" y="639"/>
                    </a:lnTo>
                    <a:lnTo>
                      <a:pt x="307" y="650"/>
                    </a:lnTo>
                    <a:lnTo>
                      <a:pt x="230" y="676"/>
                    </a:lnTo>
                    <a:cubicBezTo>
                      <a:pt x="227" y="677"/>
                      <a:pt x="224" y="676"/>
                      <a:pt x="222" y="674"/>
                    </a:cubicBezTo>
                    <a:cubicBezTo>
                      <a:pt x="220" y="672"/>
                      <a:pt x="219" y="669"/>
                      <a:pt x="220" y="666"/>
                    </a:cubicBezTo>
                    <a:lnTo>
                      <a:pt x="251" y="585"/>
                    </a:lnTo>
                    <a:cubicBezTo>
                      <a:pt x="252" y="582"/>
                      <a:pt x="254" y="581"/>
                      <a:pt x="256" y="580"/>
                    </a:cubicBezTo>
                    <a:lnTo>
                      <a:pt x="336" y="560"/>
                    </a:lnTo>
                    <a:cubicBezTo>
                      <a:pt x="338" y="560"/>
                      <a:pt x="339" y="560"/>
                      <a:pt x="341" y="560"/>
                    </a:cubicBezTo>
                    <a:lnTo>
                      <a:pt x="477" y="610"/>
                    </a:lnTo>
                    <a:lnTo>
                      <a:pt x="470" y="624"/>
                    </a:lnTo>
                    <a:lnTo>
                      <a:pt x="424" y="593"/>
                    </a:lnTo>
                    <a:cubicBezTo>
                      <a:pt x="422" y="591"/>
                      <a:pt x="420" y="588"/>
                      <a:pt x="421" y="585"/>
                    </a:cubicBezTo>
                    <a:cubicBezTo>
                      <a:pt x="421" y="582"/>
                      <a:pt x="424" y="579"/>
                      <a:pt x="427" y="578"/>
                    </a:cubicBezTo>
                    <a:lnTo>
                      <a:pt x="512" y="555"/>
                    </a:lnTo>
                    <a:lnTo>
                      <a:pt x="514" y="571"/>
                    </a:lnTo>
                    <a:lnTo>
                      <a:pt x="361" y="566"/>
                    </a:lnTo>
                    <a:cubicBezTo>
                      <a:pt x="357" y="566"/>
                      <a:pt x="354" y="562"/>
                      <a:pt x="354" y="558"/>
                    </a:cubicBezTo>
                    <a:cubicBezTo>
                      <a:pt x="353" y="554"/>
                      <a:pt x="357" y="550"/>
                      <a:pt x="361" y="550"/>
                    </a:cubicBezTo>
                    <a:lnTo>
                      <a:pt x="422" y="543"/>
                    </a:lnTo>
                    <a:lnTo>
                      <a:pt x="419" y="558"/>
                    </a:lnTo>
                    <a:lnTo>
                      <a:pt x="269" y="464"/>
                    </a:lnTo>
                    <a:cubicBezTo>
                      <a:pt x="267" y="462"/>
                      <a:pt x="265" y="459"/>
                      <a:pt x="266" y="456"/>
                    </a:cubicBezTo>
                    <a:cubicBezTo>
                      <a:pt x="266" y="453"/>
                      <a:pt x="269" y="450"/>
                      <a:pt x="272" y="450"/>
                    </a:cubicBezTo>
                    <a:lnTo>
                      <a:pt x="326" y="435"/>
                    </a:lnTo>
                    <a:lnTo>
                      <a:pt x="326" y="450"/>
                    </a:lnTo>
                    <a:lnTo>
                      <a:pt x="267" y="430"/>
                    </a:lnTo>
                    <a:cubicBezTo>
                      <a:pt x="263" y="429"/>
                      <a:pt x="261" y="425"/>
                      <a:pt x="262" y="421"/>
                    </a:cubicBezTo>
                    <a:lnTo>
                      <a:pt x="267" y="385"/>
                    </a:lnTo>
                    <a:cubicBezTo>
                      <a:pt x="268" y="381"/>
                      <a:pt x="272" y="378"/>
                      <a:pt x="276" y="378"/>
                    </a:cubicBezTo>
                    <a:lnTo>
                      <a:pt x="400" y="392"/>
                    </a:lnTo>
                    <a:cubicBezTo>
                      <a:pt x="401" y="392"/>
                      <a:pt x="402" y="392"/>
                      <a:pt x="403" y="393"/>
                    </a:cubicBezTo>
                    <a:lnTo>
                      <a:pt x="551" y="483"/>
                    </a:lnTo>
                    <a:lnTo>
                      <a:pt x="544" y="483"/>
                    </a:lnTo>
                    <a:lnTo>
                      <a:pt x="584" y="465"/>
                    </a:lnTo>
                    <a:lnTo>
                      <a:pt x="588" y="480"/>
                    </a:lnTo>
                    <a:lnTo>
                      <a:pt x="512" y="480"/>
                    </a:lnTo>
                    <a:cubicBezTo>
                      <a:pt x="510" y="480"/>
                      <a:pt x="508" y="479"/>
                      <a:pt x="507" y="478"/>
                    </a:cubicBezTo>
                    <a:lnTo>
                      <a:pt x="417" y="392"/>
                    </a:lnTo>
                    <a:cubicBezTo>
                      <a:pt x="415" y="390"/>
                      <a:pt x="415" y="387"/>
                      <a:pt x="415" y="384"/>
                    </a:cubicBezTo>
                    <a:cubicBezTo>
                      <a:pt x="416" y="381"/>
                      <a:pt x="418" y="379"/>
                      <a:pt x="421" y="379"/>
                    </a:cubicBezTo>
                    <a:lnTo>
                      <a:pt x="805" y="296"/>
                    </a:lnTo>
                    <a:lnTo>
                      <a:pt x="808" y="312"/>
                    </a:lnTo>
                    <a:lnTo>
                      <a:pt x="619" y="327"/>
                    </a:lnTo>
                    <a:cubicBezTo>
                      <a:pt x="616" y="327"/>
                      <a:pt x="613" y="325"/>
                      <a:pt x="611" y="322"/>
                    </a:cubicBezTo>
                    <a:cubicBezTo>
                      <a:pt x="610" y="319"/>
                      <a:pt x="610" y="315"/>
                      <a:pt x="613" y="313"/>
                    </a:cubicBezTo>
                    <a:lnTo>
                      <a:pt x="699" y="229"/>
                    </a:lnTo>
                    <a:lnTo>
                      <a:pt x="707" y="242"/>
                    </a:lnTo>
                    <a:lnTo>
                      <a:pt x="586" y="282"/>
                    </a:lnTo>
                    <a:lnTo>
                      <a:pt x="591" y="272"/>
                    </a:lnTo>
                    <a:lnTo>
                      <a:pt x="605" y="321"/>
                    </a:lnTo>
                    <a:cubicBezTo>
                      <a:pt x="606" y="326"/>
                      <a:pt x="604" y="330"/>
                      <a:pt x="600" y="331"/>
                    </a:cubicBezTo>
                    <a:lnTo>
                      <a:pt x="491" y="368"/>
                    </a:lnTo>
                    <a:cubicBezTo>
                      <a:pt x="490" y="368"/>
                      <a:pt x="490" y="368"/>
                      <a:pt x="489" y="368"/>
                    </a:cubicBezTo>
                    <a:lnTo>
                      <a:pt x="416" y="368"/>
                    </a:lnTo>
                    <a:cubicBezTo>
                      <a:pt x="413" y="368"/>
                      <a:pt x="409" y="366"/>
                      <a:pt x="408" y="362"/>
                    </a:cubicBezTo>
                    <a:cubicBezTo>
                      <a:pt x="407" y="359"/>
                      <a:pt x="409" y="355"/>
                      <a:pt x="412" y="353"/>
                    </a:cubicBezTo>
                    <a:lnTo>
                      <a:pt x="484" y="305"/>
                    </a:lnTo>
                    <a:lnTo>
                      <a:pt x="492" y="319"/>
                    </a:lnTo>
                    <a:lnTo>
                      <a:pt x="386" y="370"/>
                    </a:lnTo>
                    <a:cubicBezTo>
                      <a:pt x="385" y="371"/>
                      <a:pt x="383" y="371"/>
                      <a:pt x="382" y="371"/>
                    </a:cubicBezTo>
                    <a:lnTo>
                      <a:pt x="284" y="366"/>
                    </a:lnTo>
                    <a:cubicBezTo>
                      <a:pt x="281" y="366"/>
                      <a:pt x="279" y="364"/>
                      <a:pt x="278" y="362"/>
                    </a:cubicBezTo>
                    <a:cubicBezTo>
                      <a:pt x="276" y="359"/>
                      <a:pt x="277" y="356"/>
                      <a:pt x="278" y="353"/>
                    </a:cubicBezTo>
                    <a:lnTo>
                      <a:pt x="318" y="302"/>
                    </a:lnTo>
                    <a:cubicBezTo>
                      <a:pt x="319" y="301"/>
                      <a:pt x="321" y="300"/>
                      <a:pt x="323" y="299"/>
                    </a:cubicBezTo>
                    <a:lnTo>
                      <a:pt x="487" y="274"/>
                    </a:lnTo>
                    <a:lnTo>
                      <a:pt x="489" y="290"/>
                    </a:lnTo>
                    <a:lnTo>
                      <a:pt x="333" y="302"/>
                    </a:lnTo>
                    <a:lnTo>
                      <a:pt x="337" y="300"/>
                    </a:lnTo>
                    <a:lnTo>
                      <a:pt x="245" y="365"/>
                    </a:lnTo>
                    <a:cubicBezTo>
                      <a:pt x="242" y="366"/>
                      <a:pt x="240" y="367"/>
                      <a:pt x="237" y="366"/>
                    </a:cubicBezTo>
                    <a:lnTo>
                      <a:pt x="135" y="321"/>
                    </a:lnTo>
                    <a:cubicBezTo>
                      <a:pt x="132" y="320"/>
                      <a:pt x="130" y="316"/>
                      <a:pt x="130" y="313"/>
                    </a:cubicBezTo>
                    <a:cubicBezTo>
                      <a:pt x="131" y="310"/>
                      <a:pt x="133" y="307"/>
                      <a:pt x="137" y="306"/>
                    </a:cubicBezTo>
                    <a:lnTo>
                      <a:pt x="370" y="253"/>
                    </a:lnTo>
                    <a:lnTo>
                      <a:pt x="373" y="269"/>
                    </a:lnTo>
                    <a:lnTo>
                      <a:pt x="135" y="304"/>
                    </a:lnTo>
                    <a:cubicBezTo>
                      <a:pt x="133" y="304"/>
                      <a:pt x="130" y="303"/>
                      <a:pt x="128" y="301"/>
                    </a:cubicBezTo>
                    <a:lnTo>
                      <a:pt x="107" y="276"/>
                    </a:lnTo>
                    <a:cubicBezTo>
                      <a:pt x="105" y="274"/>
                      <a:pt x="105" y="270"/>
                      <a:pt x="106" y="268"/>
                    </a:cubicBezTo>
                    <a:cubicBezTo>
                      <a:pt x="107" y="265"/>
                      <a:pt x="110" y="263"/>
                      <a:pt x="113" y="263"/>
                    </a:cubicBezTo>
                    <a:lnTo>
                      <a:pt x="167" y="260"/>
                    </a:lnTo>
                    <a:lnTo>
                      <a:pt x="165" y="275"/>
                    </a:lnTo>
                    <a:lnTo>
                      <a:pt x="114" y="260"/>
                    </a:lnTo>
                    <a:cubicBezTo>
                      <a:pt x="110" y="259"/>
                      <a:pt x="108" y="256"/>
                      <a:pt x="108" y="252"/>
                    </a:cubicBezTo>
                    <a:cubicBezTo>
                      <a:pt x="108" y="248"/>
                      <a:pt x="111" y="245"/>
                      <a:pt x="115" y="245"/>
                    </a:cubicBezTo>
                    <a:lnTo>
                      <a:pt x="275" y="220"/>
                    </a:lnTo>
                    <a:lnTo>
                      <a:pt x="278" y="236"/>
                    </a:lnTo>
                    <a:lnTo>
                      <a:pt x="93" y="261"/>
                    </a:lnTo>
                    <a:cubicBezTo>
                      <a:pt x="90" y="261"/>
                      <a:pt x="86" y="259"/>
                      <a:pt x="85" y="256"/>
                    </a:cubicBezTo>
                    <a:cubicBezTo>
                      <a:pt x="83" y="252"/>
                      <a:pt x="85" y="248"/>
                      <a:pt x="88" y="246"/>
                    </a:cubicBezTo>
                    <a:lnTo>
                      <a:pt x="134" y="213"/>
                    </a:lnTo>
                    <a:lnTo>
                      <a:pt x="138" y="228"/>
                    </a:lnTo>
                    <a:lnTo>
                      <a:pt x="8" y="228"/>
                    </a:lnTo>
                    <a:cubicBezTo>
                      <a:pt x="5" y="228"/>
                      <a:pt x="1" y="225"/>
                      <a:pt x="1" y="221"/>
                    </a:cubicBezTo>
                    <a:cubicBezTo>
                      <a:pt x="0" y="217"/>
                      <a:pt x="2" y="214"/>
                      <a:pt x="5" y="212"/>
                    </a:cubicBezTo>
                    <a:lnTo>
                      <a:pt x="172" y="145"/>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26" name="Freeform 82"/>
              <p:cNvSpPr>
                <a:spLocks/>
              </p:cNvSpPr>
              <p:nvPr/>
            </p:nvSpPr>
            <p:spPr bwMode="auto">
              <a:xfrm>
                <a:off x="1484" y="913"/>
                <a:ext cx="399" cy="271"/>
              </a:xfrm>
              <a:custGeom>
                <a:avLst/>
                <a:gdLst/>
                <a:ahLst/>
                <a:cxnLst>
                  <a:cxn ang="0">
                    <a:pos x="3" y="32"/>
                  </a:cxn>
                  <a:cxn ang="0">
                    <a:pos x="47" y="0"/>
                  </a:cxn>
                  <a:cxn ang="0">
                    <a:pos x="46" y="32"/>
                  </a:cxn>
                  <a:cxn ang="0">
                    <a:pos x="70" y="64"/>
                  </a:cxn>
                  <a:cxn ang="0">
                    <a:pos x="71" y="70"/>
                  </a:cxn>
                  <a:cxn ang="0">
                    <a:pos x="56" y="47"/>
                  </a:cxn>
                  <a:cxn ang="0">
                    <a:pos x="60" y="24"/>
                  </a:cxn>
                  <a:cxn ang="0">
                    <a:pos x="62" y="21"/>
                  </a:cxn>
                  <a:cxn ang="0">
                    <a:pos x="70" y="13"/>
                  </a:cxn>
                  <a:cxn ang="0">
                    <a:pos x="102" y="4"/>
                  </a:cxn>
                  <a:cxn ang="0">
                    <a:pos x="118" y="16"/>
                  </a:cxn>
                  <a:cxn ang="0">
                    <a:pos x="126" y="48"/>
                  </a:cxn>
                  <a:cxn ang="0">
                    <a:pos x="151" y="41"/>
                  </a:cxn>
                  <a:cxn ang="0">
                    <a:pos x="206" y="36"/>
                  </a:cxn>
                  <a:cxn ang="0">
                    <a:pos x="210" y="56"/>
                  </a:cxn>
                  <a:cxn ang="0">
                    <a:pos x="223" y="60"/>
                  </a:cxn>
                  <a:cxn ang="0">
                    <a:pos x="244" y="55"/>
                  </a:cxn>
                  <a:cxn ang="0">
                    <a:pos x="263" y="68"/>
                  </a:cxn>
                  <a:cxn ang="0">
                    <a:pos x="270" y="70"/>
                  </a:cxn>
                  <a:cxn ang="0">
                    <a:pos x="281" y="75"/>
                  </a:cxn>
                  <a:cxn ang="0">
                    <a:pos x="300" y="81"/>
                  </a:cxn>
                  <a:cxn ang="0">
                    <a:pos x="298" y="90"/>
                  </a:cxn>
                  <a:cxn ang="0">
                    <a:pos x="305" y="88"/>
                  </a:cxn>
                  <a:cxn ang="0">
                    <a:pos x="295" y="105"/>
                  </a:cxn>
                  <a:cxn ang="0">
                    <a:pos x="299" y="114"/>
                  </a:cxn>
                  <a:cxn ang="0">
                    <a:pos x="302" y="127"/>
                  </a:cxn>
                  <a:cxn ang="0">
                    <a:pos x="351" y="140"/>
                  </a:cxn>
                  <a:cxn ang="0">
                    <a:pos x="376" y="158"/>
                  </a:cxn>
                  <a:cxn ang="0">
                    <a:pos x="399" y="170"/>
                  </a:cxn>
                  <a:cxn ang="0">
                    <a:pos x="383" y="179"/>
                  </a:cxn>
                  <a:cxn ang="0">
                    <a:pos x="382" y="195"/>
                  </a:cxn>
                  <a:cxn ang="0">
                    <a:pos x="368" y="209"/>
                  </a:cxn>
                  <a:cxn ang="0">
                    <a:pos x="306" y="178"/>
                  </a:cxn>
                  <a:cxn ang="0">
                    <a:pos x="309" y="195"/>
                  </a:cxn>
                  <a:cxn ang="0">
                    <a:pos x="326" y="211"/>
                  </a:cxn>
                  <a:cxn ang="0">
                    <a:pos x="346" y="225"/>
                  </a:cxn>
                  <a:cxn ang="0">
                    <a:pos x="352" y="258"/>
                  </a:cxn>
                  <a:cxn ang="0">
                    <a:pos x="333" y="271"/>
                  </a:cxn>
                  <a:cxn ang="0">
                    <a:pos x="251" y="237"/>
                  </a:cxn>
                  <a:cxn ang="0">
                    <a:pos x="238" y="229"/>
                  </a:cxn>
                  <a:cxn ang="0">
                    <a:pos x="213" y="209"/>
                  </a:cxn>
                  <a:cxn ang="0">
                    <a:pos x="201" y="214"/>
                  </a:cxn>
                  <a:cxn ang="0">
                    <a:pos x="166" y="214"/>
                  </a:cxn>
                  <a:cxn ang="0">
                    <a:pos x="230" y="198"/>
                  </a:cxn>
                  <a:cxn ang="0">
                    <a:pos x="247" y="158"/>
                  </a:cxn>
                  <a:cxn ang="0">
                    <a:pos x="211" y="123"/>
                  </a:cxn>
                  <a:cxn ang="0">
                    <a:pos x="186" y="126"/>
                  </a:cxn>
                  <a:cxn ang="0">
                    <a:pos x="198" y="112"/>
                  </a:cxn>
                  <a:cxn ang="0">
                    <a:pos x="173" y="90"/>
                  </a:cxn>
                  <a:cxn ang="0">
                    <a:pos x="156" y="98"/>
                  </a:cxn>
                  <a:cxn ang="0">
                    <a:pos x="127" y="101"/>
                  </a:cxn>
                  <a:cxn ang="0">
                    <a:pos x="8" y="70"/>
                  </a:cxn>
                  <a:cxn ang="0">
                    <a:pos x="0" y="61"/>
                  </a:cxn>
                </a:cxnLst>
                <a:rect l="0" t="0" r="r" b="b"/>
                <a:pathLst>
                  <a:path w="399" h="271">
                    <a:moveTo>
                      <a:pt x="0" y="61"/>
                    </a:moveTo>
                    <a:lnTo>
                      <a:pt x="3" y="32"/>
                    </a:lnTo>
                    <a:lnTo>
                      <a:pt x="19" y="10"/>
                    </a:lnTo>
                    <a:lnTo>
                      <a:pt x="47" y="0"/>
                    </a:lnTo>
                    <a:lnTo>
                      <a:pt x="70" y="4"/>
                    </a:lnTo>
                    <a:lnTo>
                      <a:pt x="46" y="32"/>
                    </a:lnTo>
                    <a:lnTo>
                      <a:pt x="52" y="48"/>
                    </a:lnTo>
                    <a:lnTo>
                      <a:pt x="70" y="64"/>
                    </a:lnTo>
                    <a:lnTo>
                      <a:pt x="47" y="70"/>
                    </a:lnTo>
                    <a:lnTo>
                      <a:pt x="71" y="70"/>
                    </a:lnTo>
                    <a:lnTo>
                      <a:pt x="74" y="56"/>
                    </a:lnTo>
                    <a:lnTo>
                      <a:pt x="56" y="47"/>
                    </a:lnTo>
                    <a:lnTo>
                      <a:pt x="71" y="38"/>
                    </a:lnTo>
                    <a:lnTo>
                      <a:pt x="60" y="24"/>
                    </a:lnTo>
                    <a:lnTo>
                      <a:pt x="83" y="28"/>
                    </a:lnTo>
                    <a:lnTo>
                      <a:pt x="62" y="21"/>
                    </a:lnTo>
                    <a:lnTo>
                      <a:pt x="87" y="23"/>
                    </a:lnTo>
                    <a:lnTo>
                      <a:pt x="70" y="13"/>
                    </a:lnTo>
                    <a:lnTo>
                      <a:pt x="89" y="14"/>
                    </a:lnTo>
                    <a:lnTo>
                      <a:pt x="102" y="4"/>
                    </a:lnTo>
                    <a:lnTo>
                      <a:pt x="118" y="3"/>
                    </a:lnTo>
                    <a:lnTo>
                      <a:pt x="118" y="16"/>
                    </a:lnTo>
                    <a:lnTo>
                      <a:pt x="131" y="21"/>
                    </a:lnTo>
                    <a:lnTo>
                      <a:pt x="126" y="48"/>
                    </a:lnTo>
                    <a:lnTo>
                      <a:pt x="142" y="36"/>
                    </a:lnTo>
                    <a:lnTo>
                      <a:pt x="151" y="41"/>
                    </a:lnTo>
                    <a:lnTo>
                      <a:pt x="173" y="28"/>
                    </a:lnTo>
                    <a:lnTo>
                      <a:pt x="206" y="36"/>
                    </a:lnTo>
                    <a:lnTo>
                      <a:pt x="219" y="48"/>
                    </a:lnTo>
                    <a:lnTo>
                      <a:pt x="210" y="56"/>
                    </a:lnTo>
                    <a:lnTo>
                      <a:pt x="230" y="52"/>
                    </a:lnTo>
                    <a:lnTo>
                      <a:pt x="223" y="60"/>
                    </a:lnTo>
                    <a:lnTo>
                      <a:pt x="235" y="64"/>
                    </a:lnTo>
                    <a:lnTo>
                      <a:pt x="244" y="55"/>
                    </a:lnTo>
                    <a:lnTo>
                      <a:pt x="259" y="60"/>
                    </a:lnTo>
                    <a:lnTo>
                      <a:pt x="263" y="68"/>
                    </a:lnTo>
                    <a:lnTo>
                      <a:pt x="250" y="70"/>
                    </a:lnTo>
                    <a:lnTo>
                      <a:pt x="270" y="70"/>
                    </a:lnTo>
                    <a:lnTo>
                      <a:pt x="267" y="80"/>
                    </a:lnTo>
                    <a:lnTo>
                      <a:pt x="281" y="75"/>
                    </a:lnTo>
                    <a:lnTo>
                      <a:pt x="272" y="83"/>
                    </a:lnTo>
                    <a:lnTo>
                      <a:pt x="300" y="81"/>
                    </a:lnTo>
                    <a:lnTo>
                      <a:pt x="285" y="90"/>
                    </a:lnTo>
                    <a:lnTo>
                      <a:pt x="298" y="90"/>
                    </a:lnTo>
                    <a:lnTo>
                      <a:pt x="293" y="97"/>
                    </a:lnTo>
                    <a:lnTo>
                      <a:pt x="305" y="88"/>
                    </a:lnTo>
                    <a:lnTo>
                      <a:pt x="318" y="97"/>
                    </a:lnTo>
                    <a:lnTo>
                      <a:pt x="295" y="105"/>
                    </a:lnTo>
                    <a:lnTo>
                      <a:pt x="328" y="112"/>
                    </a:lnTo>
                    <a:lnTo>
                      <a:pt x="299" y="114"/>
                    </a:lnTo>
                    <a:lnTo>
                      <a:pt x="311" y="118"/>
                    </a:lnTo>
                    <a:lnTo>
                      <a:pt x="302" y="127"/>
                    </a:lnTo>
                    <a:lnTo>
                      <a:pt x="335" y="143"/>
                    </a:lnTo>
                    <a:lnTo>
                      <a:pt x="351" y="140"/>
                    </a:lnTo>
                    <a:lnTo>
                      <a:pt x="359" y="159"/>
                    </a:lnTo>
                    <a:lnTo>
                      <a:pt x="376" y="158"/>
                    </a:lnTo>
                    <a:lnTo>
                      <a:pt x="373" y="166"/>
                    </a:lnTo>
                    <a:lnTo>
                      <a:pt x="399" y="170"/>
                    </a:lnTo>
                    <a:lnTo>
                      <a:pt x="395" y="181"/>
                    </a:lnTo>
                    <a:lnTo>
                      <a:pt x="383" y="179"/>
                    </a:lnTo>
                    <a:lnTo>
                      <a:pt x="388" y="185"/>
                    </a:lnTo>
                    <a:lnTo>
                      <a:pt x="382" y="195"/>
                    </a:lnTo>
                    <a:lnTo>
                      <a:pt x="370" y="190"/>
                    </a:lnTo>
                    <a:lnTo>
                      <a:pt x="368" y="209"/>
                    </a:lnTo>
                    <a:lnTo>
                      <a:pt x="323" y="174"/>
                    </a:lnTo>
                    <a:lnTo>
                      <a:pt x="306" y="178"/>
                    </a:lnTo>
                    <a:lnTo>
                      <a:pt x="318" y="186"/>
                    </a:lnTo>
                    <a:lnTo>
                      <a:pt x="309" y="195"/>
                    </a:lnTo>
                    <a:lnTo>
                      <a:pt x="316" y="194"/>
                    </a:lnTo>
                    <a:lnTo>
                      <a:pt x="326" y="211"/>
                    </a:lnTo>
                    <a:lnTo>
                      <a:pt x="348" y="216"/>
                    </a:lnTo>
                    <a:lnTo>
                      <a:pt x="346" y="225"/>
                    </a:lnTo>
                    <a:lnTo>
                      <a:pt x="358" y="234"/>
                    </a:lnTo>
                    <a:lnTo>
                      <a:pt x="352" y="258"/>
                    </a:lnTo>
                    <a:lnTo>
                      <a:pt x="295" y="233"/>
                    </a:lnTo>
                    <a:lnTo>
                      <a:pt x="333" y="271"/>
                    </a:lnTo>
                    <a:lnTo>
                      <a:pt x="261" y="250"/>
                    </a:lnTo>
                    <a:lnTo>
                      <a:pt x="251" y="237"/>
                    </a:lnTo>
                    <a:lnTo>
                      <a:pt x="261" y="236"/>
                    </a:lnTo>
                    <a:lnTo>
                      <a:pt x="238" y="229"/>
                    </a:lnTo>
                    <a:lnTo>
                      <a:pt x="231" y="214"/>
                    </a:lnTo>
                    <a:lnTo>
                      <a:pt x="213" y="209"/>
                    </a:lnTo>
                    <a:lnTo>
                      <a:pt x="212" y="219"/>
                    </a:lnTo>
                    <a:lnTo>
                      <a:pt x="201" y="214"/>
                    </a:lnTo>
                    <a:lnTo>
                      <a:pt x="186" y="224"/>
                    </a:lnTo>
                    <a:lnTo>
                      <a:pt x="166" y="214"/>
                    </a:lnTo>
                    <a:lnTo>
                      <a:pt x="176" y="198"/>
                    </a:lnTo>
                    <a:lnTo>
                      <a:pt x="230" y="198"/>
                    </a:lnTo>
                    <a:lnTo>
                      <a:pt x="217" y="182"/>
                    </a:lnTo>
                    <a:lnTo>
                      <a:pt x="247" y="158"/>
                    </a:lnTo>
                    <a:lnTo>
                      <a:pt x="225" y="126"/>
                    </a:lnTo>
                    <a:lnTo>
                      <a:pt x="211" y="123"/>
                    </a:lnTo>
                    <a:lnTo>
                      <a:pt x="219" y="118"/>
                    </a:lnTo>
                    <a:lnTo>
                      <a:pt x="186" y="126"/>
                    </a:lnTo>
                    <a:lnTo>
                      <a:pt x="186" y="117"/>
                    </a:lnTo>
                    <a:lnTo>
                      <a:pt x="198" y="112"/>
                    </a:lnTo>
                    <a:lnTo>
                      <a:pt x="173" y="99"/>
                    </a:lnTo>
                    <a:lnTo>
                      <a:pt x="173" y="90"/>
                    </a:lnTo>
                    <a:lnTo>
                      <a:pt x="151" y="85"/>
                    </a:lnTo>
                    <a:lnTo>
                      <a:pt x="156" y="98"/>
                    </a:lnTo>
                    <a:lnTo>
                      <a:pt x="117" y="93"/>
                    </a:lnTo>
                    <a:lnTo>
                      <a:pt x="127" y="101"/>
                    </a:lnTo>
                    <a:lnTo>
                      <a:pt x="26" y="87"/>
                    </a:lnTo>
                    <a:lnTo>
                      <a:pt x="8" y="70"/>
                    </a:lnTo>
                    <a:lnTo>
                      <a:pt x="40" y="71"/>
                    </a:lnTo>
                    <a:lnTo>
                      <a:pt x="0" y="6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27" name="Freeform 83"/>
              <p:cNvSpPr>
                <a:spLocks noEditPoints="1"/>
              </p:cNvSpPr>
              <p:nvPr/>
            </p:nvSpPr>
            <p:spPr bwMode="auto">
              <a:xfrm>
                <a:off x="1481" y="911"/>
                <a:ext cx="404" cy="275"/>
              </a:xfrm>
              <a:custGeom>
                <a:avLst/>
                <a:gdLst/>
                <a:ahLst/>
                <a:cxnLst>
                  <a:cxn ang="0">
                    <a:pos x="174" y="1"/>
                  </a:cxn>
                  <a:cxn ang="0">
                    <a:pos x="257" y="283"/>
                  </a:cxn>
                  <a:cxn ang="0">
                    <a:pos x="261" y="256"/>
                  </a:cxn>
                  <a:cxn ang="0">
                    <a:pos x="218" y="106"/>
                  </a:cxn>
                  <a:cxn ang="0">
                    <a:pos x="245" y="72"/>
                  </a:cxn>
                  <a:cxn ang="0">
                    <a:pos x="421" y="16"/>
                  </a:cxn>
                  <a:cxn ang="0">
                    <a:pos x="493" y="157"/>
                  </a:cxn>
                  <a:cxn ang="0">
                    <a:pos x="772" y="213"/>
                  </a:cxn>
                  <a:cxn ang="0">
                    <a:pos x="782" y="262"/>
                  </a:cxn>
                  <a:cxn ang="0">
                    <a:pos x="924" y="307"/>
                  </a:cxn>
                  <a:cxn ang="0">
                    <a:pos x="927" y="351"/>
                  </a:cxn>
                  <a:cxn ang="0">
                    <a:pos x="1050" y="368"/>
                  </a:cxn>
                  <a:cxn ang="0">
                    <a:pos x="1056" y="386"/>
                  </a:cxn>
                  <a:cxn ang="0">
                    <a:pos x="1150" y="496"/>
                  </a:cxn>
                  <a:cxn ang="0">
                    <a:pos x="1055" y="554"/>
                  </a:cxn>
                  <a:cxn ang="0">
                    <a:pos x="1312" y="692"/>
                  </a:cxn>
                  <a:cxn ang="0">
                    <a:pos x="1370" y="805"/>
                  </a:cxn>
                  <a:cxn ang="0">
                    <a:pos x="1294" y="840"/>
                  </a:cxn>
                  <a:cxn ang="0">
                    <a:pos x="1111" y="813"/>
                  </a:cxn>
                  <a:cxn ang="0">
                    <a:pos x="1211" y="942"/>
                  </a:cxn>
                  <a:cxn ang="0">
                    <a:pos x="1219" y="1141"/>
                  </a:cxn>
                  <a:cxn ang="0">
                    <a:pos x="868" y="1049"/>
                  </a:cxn>
                  <a:cxn ang="0">
                    <a:pos x="804" y="952"/>
                  </a:cxn>
                  <a:cxn ang="0">
                    <a:pos x="655" y="991"/>
                  </a:cxn>
                  <a:cxn ang="0">
                    <a:pos x="750" y="805"/>
                  </a:cxn>
                  <a:cxn ang="0">
                    <a:pos x="731" y="538"/>
                  </a:cxn>
                  <a:cxn ang="0">
                    <a:pos x="689" y="489"/>
                  </a:cxn>
                  <a:cxn ang="0">
                    <a:pos x="554" y="431"/>
                  </a:cxn>
                  <a:cxn ang="0">
                    <a:pos x="98" y="397"/>
                  </a:cxn>
                  <a:cxn ang="0">
                    <a:pos x="150" y="309"/>
                  </a:cxn>
                  <a:cxn ang="0">
                    <a:pos x="442" y="453"/>
                  </a:cxn>
                  <a:cxn ang="0">
                    <a:pos x="531" y="369"/>
                  </a:cxn>
                  <a:cxn ang="0">
                    <a:pos x="654" y="525"/>
                  </a:cxn>
                  <a:cxn ang="0">
                    <a:pos x="738" y="537"/>
                  </a:cxn>
                  <a:cxn ang="0">
                    <a:pos x="808" y="877"/>
                  </a:cxn>
                  <a:cxn ang="0">
                    <a:pos x="699" y="938"/>
                  </a:cxn>
                  <a:cxn ang="0">
                    <a:pos x="814" y="942"/>
                  </a:cxn>
                  <a:cxn ang="0">
                    <a:pos x="916" y="1096"/>
                  </a:cxn>
                  <a:cxn ang="0">
                    <a:pos x="1215" y="1132"/>
                  </a:cxn>
                  <a:cxn ang="0">
                    <a:pos x="1126" y="935"/>
                  </a:cxn>
                  <a:cxn ang="0">
                    <a:pos x="1059" y="790"/>
                  </a:cxn>
                  <a:cxn ang="0">
                    <a:pos x="1282" y="832"/>
                  </a:cxn>
                  <a:cxn ang="0">
                    <a:pos x="1332" y="781"/>
                  </a:cxn>
                  <a:cxn ang="0">
                    <a:pos x="1298" y="695"/>
                  </a:cxn>
                  <a:cxn ang="0">
                    <a:pos x="1046" y="568"/>
                  </a:cxn>
                  <a:cxn ang="0">
                    <a:pos x="1141" y="488"/>
                  </a:cxn>
                  <a:cxn ang="0">
                    <a:pos x="1067" y="398"/>
                  </a:cxn>
                  <a:cxn ang="0">
                    <a:pos x="986" y="396"/>
                  </a:cxn>
                  <a:cxn ang="0">
                    <a:pos x="934" y="366"/>
                  </a:cxn>
                  <a:cxn ang="0">
                    <a:pos x="915" y="295"/>
                  </a:cxn>
                  <a:cxn ang="0">
                    <a:pos x="775" y="277"/>
                  </a:cxn>
                  <a:cxn ang="0">
                    <a:pos x="761" y="212"/>
                  </a:cxn>
                  <a:cxn ang="0">
                    <a:pos x="494" y="169"/>
                  </a:cxn>
                  <a:cxn ang="0">
                    <a:pos x="410" y="78"/>
                  </a:cxn>
                  <a:cxn ang="0">
                    <a:pos x="255" y="59"/>
                  </a:cxn>
                  <a:cxn ang="0">
                    <a:pos x="295" y="137"/>
                  </a:cxn>
                  <a:cxn ang="0">
                    <a:pos x="273" y="251"/>
                  </a:cxn>
                  <a:cxn ang="0">
                    <a:pos x="183" y="223"/>
                  </a:cxn>
                  <a:cxn ang="0">
                    <a:pos x="79" y="58"/>
                  </a:cxn>
                </a:cxnLst>
                <a:rect l="0" t="0" r="r" b="b"/>
                <a:pathLst>
                  <a:path w="1393" h="1201">
                    <a:moveTo>
                      <a:pt x="6" y="281"/>
                    </a:moveTo>
                    <a:cubicBezTo>
                      <a:pt x="2" y="280"/>
                      <a:pt x="0" y="276"/>
                      <a:pt x="0" y="272"/>
                    </a:cubicBezTo>
                    <a:lnTo>
                      <a:pt x="12" y="145"/>
                    </a:lnTo>
                    <a:cubicBezTo>
                      <a:pt x="12" y="144"/>
                      <a:pt x="12" y="143"/>
                      <a:pt x="13" y="142"/>
                    </a:cubicBezTo>
                    <a:lnTo>
                      <a:pt x="69" y="46"/>
                    </a:lnTo>
                    <a:cubicBezTo>
                      <a:pt x="70" y="45"/>
                      <a:pt x="71" y="44"/>
                      <a:pt x="73" y="43"/>
                    </a:cubicBezTo>
                    <a:lnTo>
                      <a:pt x="170" y="1"/>
                    </a:lnTo>
                    <a:cubicBezTo>
                      <a:pt x="171" y="0"/>
                      <a:pt x="173" y="0"/>
                      <a:pt x="174" y="1"/>
                    </a:cubicBezTo>
                    <a:lnTo>
                      <a:pt x="253" y="17"/>
                    </a:lnTo>
                    <a:cubicBezTo>
                      <a:pt x="256" y="18"/>
                      <a:pt x="258" y="20"/>
                      <a:pt x="259" y="22"/>
                    </a:cubicBezTo>
                    <a:cubicBezTo>
                      <a:pt x="260" y="25"/>
                      <a:pt x="259" y="28"/>
                      <a:pt x="258" y="30"/>
                    </a:cubicBezTo>
                    <a:lnTo>
                      <a:pt x="174" y="150"/>
                    </a:lnTo>
                    <a:lnTo>
                      <a:pt x="175" y="143"/>
                    </a:lnTo>
                    <a:lnTo>
                      <a:pt x="197" y="215"/>
                    </a:lnTo>
                    <a:lnTo>
                      <a:pt x="195" y="213"/>
                    </a:lnTo>
                    <a:lnTo>
                      <a:pt x="257" y="283"/>
                    </a:lnTo>
                    <a:cubicBezTo>
                      <a:pt x="259" y="285"/>
                      <a:pt x="260" y="288"/>
                      <a:pt x="259" y="290"/>
                    </a:cubicBezTo>
                    <a:cubicBezTo>
                      <a:pt x="258" y="293"/>
                      <a:pt x="256" y="295"/>
                      <a:pt x="254" y="296"/>
                    </a:cubicBezTo>
                    <a:lnTo>
                      <a:pt x="175" y="323"/>
                    </a:lnTo>
                    <a:lnTo>
                      <a:pt x="173" y="307"/>
                    </a:lnTo>
                    <a:lnTo>
                      <a:pt x="255" y="305"/>
                    </a:lnTo>
                    <a:lnTo>
                      <a:pt x="248" y="312"/>
                    </a:lnTo>
                    <a:lnTo>
                      <a:pt x="257" y="248"/>
                    </a:lnTo>
                    <a:lnTo>
                      <a:pt x="261" y="256"/>
                    </a:lnTo>
                    <a:lnTo>
                      <a:pt x="200" y="220"/>
                    </a:lnTo>
                    <a:cubicBezTo>
                      <a:pt x="198" y="218"/>
                      <a:pt x="197" y="216"/>
                      <a:pt x="196" y="213"/>
                    </a:cubicBezTo>
                    <a:cubicBezTo>
                      <a:pt x="196" y="211"/>
                      <a:pt x="197" y="208"/>
                      <a:pt x="199" y="206"/>
                    </a:cubicBezTo>
                    <a:lnTo>
                      <a:pt x="251" y="166"/>
                    </a:lnTo>
                    <a:lnTo>
                      <a:pt x="249" y="177"/>
                    </a:lnTo>
                    <a:lnTo>
                      <a:pt x="210" y="118"/>
                    </a:lnTo>
                    <a:cubicBezTo>
                      <a:pt x="208" y="116"/>
                      <a:pt x="208" y="112"/>
                      <a:pt x="210" y="110"/>
                    </a:cubicBezTo>
                    <a:cubicBezTo>
                      <a:pt x="212" y="107"/>
                      <a:pt x="215" y="106"/>
                      <a:pt x="218" y="106"/>
                    </a:cubicBezTo>
                    <a:lnTo>
                      <a:pt x="298" y="121"/>
                    </a:lnTo>
                    <a:lnTo>
                      <a:pt x="294" y="136"/>
                    </a:lnTo>
                    <a:lnTo>
                      <a:pt x="222" y="108"/>
                    </a:lnTo>
                    <a:cubicBezTo>
                      <a:pt x="219" y="107"/>
                      <a:pt x="216" y="103"/>
                      <a:pt x="217" y="99"/>
                    </a:cubicBezTo>
                    <a:cubicBezTo>
                      <a:pt x="218" y="95"/>
                      <a:pt x="222" y="92"/>
                      <a:pt x="226" y="93"/>
                    </a:cubicBezTo>
                    <a:lnTo>
                      <a:pt x="309" y="99"/>
                    </a:lnTo>
                    <a:lnTo>
                      <a:pt x="303" y="114"/>
                    </a:lnTo>
                    <a:lnTo>
                      <a:pt x="245" y="72"/>
                    </a:lnTo>
                    <a:cubicBezTo>
                      <a:pt x="242" y="70"/>
                      <a:pt x="241" y="66"/>
                      <a:pt x="242" y="63"/>
                    </a:cubicBezTo>
                    <a:cubicBezTo>
                      <a:pt x="244" y="59"/>
                      <a:pt x="247" y="57"/>
                      <a:pt x="251" y="57"/>
                    </a:cubicBezTo>
                    <a:lnTo>
                      <a:pt x="318" y="62"/>
                    </a:lnTo>
                    <a:lnTo>
                      <a:pt x="312" y="65"/>
                    </a:lnTo>
                    <a:lnTo>
                      <a:pt x="355" y="20"/>
                    </a:lnTo>
                    <a:cubicBezTo>
                      <a:pt x="356" y="18"/>
                      <a:pt x="358" y="17"/>
                      <a:pt x="360" y="17"/>
                    </a:cubicBezTo>
                    <a:lnTo>
                      <a:pt x="415" y="14"/>
                    </a:lnTo>
                    <a:cubicBezTo>
                      <a:pt x="417" y="14"/>
                      <a:pt x="419" y="14"/>
                      <a:pt x="421" y="16"/>
                    </a:cubicBezTo>
                    <a:cubicBezTo>
                      <a:pt x="423" y="17"/>
                      <a:pt x="423" y="19"/>
                      <a:pt x="424" y="21"/>
                    </a:cubicBezTo>
                    <a:lnTo>
                      <a:pt x="426" y="77"/>
                    </a:lnTo>
                    <a:lnTo>
                      <a:pt x="422" y="70"/>
                    </a:lnTo>
                    <a:lnTo>
                      <a:pt x="464" y="94"/>
                    </a:lnTo>
                    <a:cubicBezTo>
                      <a:pt x="467" y="95"/>
                      <a:pt x="468" y="98"/>
                      <a:pt x="468" y="102"/>
                    </a:cubicBezTo>
                    <a:lnTo>
                      <a:pt x="453" y="219"/>
                    </a:lnTo>
                    <a:lnTo>
                      <a:pt x="439" y="212"/>
                    </a:lnTo>
                    <a:lnTo>
                      <a:pt x="493" y="157"/>
                    </a:lnTo>
                    <a:cubicBezTo>
                      <a:pt x="495" y="154"/>
                      <a:pt x="500" y="154"/>
                      <a:pt x="503" y="156"/>
                    </a:cubicBezTo>
                    <a:lnTo>
                      <a:pt x="535" y="180"/>
                    </a:lnTo>
                    <a:lnTo>
                      <a:pt x="525" y="180"/>
                    </a:lnTo>
                    <a:lnTo>
                      <a:pt x="600" y="124"/>
                    </a:lnTo>
                    <a:cubicBezTo>
                      <a:pt x="602" y="123"/>
                      <a:pt x="604" y="122"/>
                      <a:pt x="607" y="123"/>
                    </a:cubicBezTo>
                    <a:lnTo>
                      <a:pt x="721" y="155"/>
                    </a:lnTo>
                    <a:cubicBezTo>
                      <a:pt x="723" y="155"/>
                      <a:pt x="724" y="156"/>
                      <a:pt x="725" y="157"/>
                    </a:cubicBezTo>
                    <a:lnTo>
                      <a:pt x="772" y="213"/>
                    </a:lnTo>
                    <a:cubicBezTo>
                      <a:pt x="775" y="216"/>
                      <a:pt x="775" y="221"/>
                      <a:pt x="772" y="224"/>
                    </a:cubicBezTo>
                    <a:lnTo>
                      <a:pt x="739" y="255"/>
                    </a:lnTo>
                    <a:lnTo>
                      <a:pt x="731" y="242"/>
                    </a:lnTo>
                    <a:lnTo>
                      <a:pt x="799" y="228"/>
                    </a:lnTo>
                    <a:cubicBezTo>
                      <a:pt x="802" y="228"/>
                      <a:pt x="806" y="229"/>
                      <a:pt x="807" y="232"/>
                    </a:cubicBezTo>
                    <a:cubicBezTo>
                      <a:pt x="809" y="234"/>
                      <a:pt x="809" y="238"/>
                      <a:pt x="807" y="241"/>
                    </a:cubicBezTo>
                    <a:lnTo>
                      <a:pt x="785" y="274"/>
                    </a:lnTo>
                    <a:lnTo>
                      <a:pt x="782" y="262"/>
                    </a:lnTo>
                    <a:lnTo>
                      <a:pt x="822" y="281"/>
                    </a:lnTo>
                    <a:lnTo>
                      <a:pt x="812" y="283"/>
                    </a:lnTo>
                    <a:lnTo>
                      <a:pt x="845" y="241"/>
                    </a:lnTo>
                    <a:cubicBezTo>
                      <a:pt x="848" y="238"/>
                      <a:pt x="852" y="237"/>
                      <a:pt x="855" y="239"/>
                    </a:cubicBezTo>
                    <a:lnTo>
                      <a:pt x="906" y="261"/>
                    </a:lnTo>
                    <a:cubicBezTo>
                      <a:pt x="908" y="262"/>
                      <a:pt x="909" y="263"/>
                      <a:pt x="910" y="265"/>
                    </a:cubicBezTo>
                    <a:lnTo>
                      <a:pt x="924" y="300"/>
                    </a:lnTo>
                    <a:cubicBezTo>
                      <a:pt x="925" y="302"/>
                      <a:pt x="925" y="305"/>
                      <a:pt x="924" y="307"/>
                    </a:cubicBezTo>
                    <a:cubicBezTo>
                      <a:pt x="923" y="309"/>
                      <a:pt x="921" y="311"/>
                      <a:pt x="918" y="311"/>
                    </a:cubicBezTo>
                    <a:lnTo>
                      <a:pt x="874" y="321"/>
                    </a:lnTo>
                    <a:lnTo>
                      <a:pt x="872" y="305"/>
                    </a:lnTo>
                    <a:lnTo>
                      <a:pt x="940" y="305"/>
                    </a:lnTo>
                    <a:cubicBezTo>
                      <a:pt x="942" y="305"/>
                      <a:pt x="945" y="306"/>
                      <a:pt x="946" y="308"/>
                    </a:cubicBezTo>
                    <a:cubicBezTo>
                      <a:pt x="948" y="310"/>
                      <a:pt x="948" y="313"/>
                      <a:pt x="948" y="315"/>
                    </a:cubicBezTo>
                    <a:lnTo>
                      <a:pt x="938" y="360"/>
                    </a:lnTo>
                    <a:lnTo>
                      <a:pt x="927" y="351"/>
                    </a:lnTo>
                    <a:lnTo>
                      <a:pt x="974" y="326"/>
                    </a:lnTo>
                    <a:cubicBezTo>
                      <a:pt x="977" y="325"/>
                      <a:pt x="981" y="325"/>
                      <a:pt x="983" y="328"/>
                    </a:cubicBezTo>
                    <a:cubicBezTo>
                      <a:pt x="986" y="331"/>
                      <a:pt x="986" y="335"/>
                      <a:pt x="984" y="338"/>
                    </a:cubicBezTo>
                    <a:lnTo>
                      <a:pt x="953" y="377"/>
                    </a:lnTo>
                    <a:lnTo>
                      <a:pt x="946" y="364"/>
                    </a:lnTo>
                    <a:lnTo>
                      <a:pt x="1044" y="354"/>
                    </a:lnTo>
                    <a:cubicBezTo>
                      <a:pt x="1048" y="353"/>
                      <a:pt x="1051" y="356"/>
                      <a:pt x="1052" y="359"/>
                    </a:cubicBezTo>
                    <a:cubicBezTo>
                      <a:pt x="1054" y="362"/>
                      <a:pt x="1053" y="366"/>
                      <a:pt x="1050" y="368"/>
                    </a:cubicBezTo>
                    <a:lnTo>
                      <a:pt x="996" y="408"/>
                    </a:lnTo>
                    <a:lnTo>
                      <a:pt x="991" y="394"/>
                    </a:lnTo>
                    <a:lnTo>
                      <a:pt x="1037" y="394"/>
                    </a:lnTo>
                    <a:cubicBezTo>
                      <a:pt x="1040" y="394"/>
                      <a:pt x="1042" y="396"/>
                      <a:pt x="1044" y="398"/>
                    </a:cubicBezTo>
                    <a:cubicBezTo>
                      <a:pt x="1045" y="401"/>
                      <a:pt x="1045" y="404"/>
                      <a:pt x="1043" y="406"/>
                    </a:cubicBezTo>
                    <a:lnTo>
                      <a:pt x="1026" y="435"/>
                    </a:lnTo>
                    <a:lnTo>
                      <a:pt x="1013" y="425"/>
                    </a:lnTo>
                    <a:lnTo>
                      <a:pt x="1056" y="386"/>
                    </a:lnTo>
                    <a:cubicBezTo>
                      <a:pt x="1059" y="383"/>
                      <a:pt x="1064" y="383"/>
                      <a:pt x="1067" y="386"/>
                    </a:cubicBezTo>
                    <a:lnTo>
                      <a:pt x="1111" y="426"/>
                    </a:lnTo>
                    <a:cubicBezTo>
                      <a:pt x="1113" y="428"/>
                      <a:pt x="1114" y="431"/>
                      <a:pt x="1114" y="433"/>
                    </a:cubicBezTo>
                    <a:cubicBezTo>
                      <a:pt x="1113" y="436"/>
                      <a:pt x="1111" y="438"/>
                      <a:pt x="1109" y="439"/>
                    </a:cubicBezTo>
                    <a:lnTo>
                      <a:pt x="1030" y="475"/>
                    </a:lnTo>
                    <a:lnTo>
                      <a:pt x="1029" y="460"/>
                    </a:lnTo>
                    <a:lnTo>
                      <a:pt x="1143" y="488"/>
                    </a:lnTo>
                    <a:cubicBezTo>
                      <a:pt x="1147" y="489"/>
                      <a:pt x="1150" y="493"/>
                      <a:pt x="1150" y="496"/>
                    </a:cubicBezTo>
                    <a:cubicBezTo>
                      <a:pt x="1149" y="500"/>
                      <a:pt x="1146" y="503"/>
                      <a:pt x="1142" y="504"/>
                    </a:cubicBezTo>
                    <a:lnTo>
                      <a:pt x="1043" y="512"/>
                    </a:lnTo>
                    <a:lnTo>
                      <a:pt x="1046" y="497"/>
                    </a:lnTo>
                    <a:lnTo>
                      <a:pt x="1085" y="517"/>
                    </a:lnTo>
                    <a:cubicBezTo>
                      <a:pt x="1087" y="518"/>
                      <a:pt x="1088" y="520"/>
                      <a:pt x="1089" y="523"/>
                    </a:cubicBezTo>
                    <a:cubicBezTo>
                      <a:pt x="1089" y="525"/>
                      <a:pt x="1089" y="527"/>
                      <a:pt x="1087" y="529"/>
                    </a:cubicBezTo>
                    <a:lnTo>
                      <a:pt x="1057" y="566"/>
                    </a:lnTo>
                    <a:lnTo>
                      <a:pt x="1055" y="554"/>
                    </a:lnTo>
                    <a:lnTo>
                      <a:pt x="1169" y="625"/>
                    </a:lnTo>
                    <a:lnTo>
                      <a:pt x="1163" y="624"/>
                    </a:lnTo>
                    <a:lnTo>
                      <a:pt x="1218" y="610"/>
                    </a:lnTo>
                    <a:cubicBezTo>
                      <a:pt x="1222" y="609"/>
                      <a:pt x="1227" y="612"/>
                      <a:pt x="1228" y="616"/>
                    </a:cubicBezTo>
                    <a:lnTo>
                      <a:pt x="1255" y="699"/>
                    </a:lnTo>
                    <a:lnTo>
                      <a:pt x="1247" y="694"/>
                    </a:lnTo>
                    <a:lnTo>
                      <a:pt x="1305" y="689"/>
                    </a:lnTo>
                    <a:cubicBezTo>
                      <a:pt x="1308" y="689"/>
                      <a:pt x="1310" y="690"/>
                      <a:pt x="1312" y="692"/>
                    </a:cubicBezTo>
                    <a:cubicBezTo>
                      <a:pt x="1314" y="694"/>
                      <a:pt x="1314" y="696"/>
                      <a:pt x="1314" y="699"/>
                    </a:cubicBezTo>
                    <a:lnTo>
                      <a:pt x="1304" y="734"/>
                    </a:lnTo>
                    <a:lnTo>
                      <a:pt x="1298" y="724"/>
                    </a:lnTo>
                    <a:lnTo>
                      <a:pt x="1386" y="744"/>
                    </a:lnTo>
                    <a:cubicBezTo>
                      <a:pt x="1388" y="745"/>
                      <a:pt x="1390" y="746"/>
                      <a:pt x="1391" y="748"/>
                    </a:cubicBezTo>
                    <a:cubicBezTo>
                      <a:pt x="1392" y="750"/>
                      <a:pt x="1393" y="752"/>
                      <a:pt x="1392" y="754"/>
                    </a:cubicBezTo>
                    <a:lnTo>
                      <a:pt x="1380" y="799"/>
                    </a:lnTo>
                    <a:cubicBezTo>
                      <a:pt x="1379" y="803"/>
                      <a:pt x="1375" y="806"/>
                      <a:pt x="1370" y="805"/>
                    </a:cubicBezTo>
                    <a:lnTo>
                      <a:pt x="1329" y="797"/>
                    </a:lnTo>
                    <a:lnTo>
                      <a:pt x="1337" y="785"/>
                    </a:lnTo>
                    <a:lnTo>
                      <a:pt x="1355" y="813"/>
                    </a:lnTo>
                    <a:cubicBezTo>
                      <a:pt x="1357" y="816"/>
                      <a:pt x="1357" y="819"/>
                      <a:pt x="1356" y="821"/>
                    </a:cubicBezTo>
                    <a:lnTo>
                      <a:pt x="1334" y="861"/>
                    </a:lnTo>
                    <a:cubicBezTo>
                      <a:pt x="1331" y="865"/>
                      <a:pt x="1327" y="867"/>
                      <a:pt x="1323" y="865"/>
                    </a:cubicBezTo>
                    <a:lnTo>
                      <a:pt x="1283" y="846"/>
                    </a:lnTo>
                    <a:lnTo>
                      <a:pt x="1294" y="840"/>
                    </a:lnTo>
                    <a:lnTo>
                      <a:pt x="1288" y="924"/>
                    </a:lnTo>
                    <a:cubicBezTo>
                      <a:pt x="1287" y="927"/>
                      <a:pt x="1285" y="929"/>
                      <a:pt x="1282" y="930"/>
                    </a:cubicBezTo>
                    <a:cubicBezTo>
                      <a:pt x="1279" y="931"/>
                      <a:pt x="1276" y="931"/>
                      <a:pt x="1274" y="929"/>
                    </a:cubicBezTo>
                    <a:lnTo>
                      <a:pt x="1117" y="774"/>
                    </a:lnTo>
                    <a:lnTo>
                      <a:pt x="1124" y="777"/>
                    </a:lnTo>
                    <a:lnTo>
                      <a:pt x="1066" y="792"/>
                    </a:lnTo>
                    <a:lnTo>
                      <a:pt x="1069" y="778"/>
                    </a:lnTo>
                    <a:lnTo>
                      <a:pt x="1111" y="813"/>
                    </a:lnTo>
                    <a:cubicBezTo>
                      <a:pt x="1114" y="816"/>
                      <a:pt x="1115" y="821"/>
                      <a:pt x="1112" y="824"/>
                    </a:cubicBezTo>
                    <a:lnTo>
                      <a:pt x="1080" y="863"/>
                    </a:lnTo>
                    <a:lnTo>
                      <a:pt x="1073" y="850"/>
                    </a:lnTo>
                    <a:lnTo>
                      <a:pt x="1098" y="848"/>
                    </a:lnTo>
                    <a:cubicBezTo>
                      <a:pt x="1102" y="848"/>
                      <a:pt x="1105" y="849"/>
                      <a:pt x="1106" y="853"/>
                    </a:cubicBezTo>
                    <a:lnTo>
                      <a:pt x="1141" y="928"/>
                    </a:lnTo>
                    <a:lnTo>
                      <a:pt x="1135" y="923"/>
                    </a:lnTo>
                    <a:lnTo>
                      <a:pt x="1211" y="942"/>
                    </a:lnTo>
                    <a:cubicBezTo>
                      <a:pt x="1215" y="943"/>
                      <a:pt x="1218" y="947"/>
                      <a:pt x="1217" y="951"/>
                    </a:cubicBezTo>
                    <a:lnTo>
                      <a:pt x="1210" y="994"/>
                    </a:lnTo>
                    <a:lnTo>
                      <a:pt x="1208" y="987"/>
                    </a:lnTo>
                    <a:lnTo>
                      <a:pt x="1250" y="1024"/>
                    </a:lnTo>
                    <a:cubicBezTo>
                      <a:pt x="1253" y="1026"/>
                      <a:pt x="1254" y="1029"/>
                      <a:pt x="1253" y="1032"/>
                    </a:cubicBezTo>
                    <a:lnTo>
                      <a:pt x="1231" y="1136"/>
                    </a:lnTo>
                    <a:cubicBezTo>
                      <a:pt x="1230" y="1138"/>
                      <a:pt x="1229" y="1140"/>
                      <a:pt x="1226" y="1141"/>
                    </a:cubicBezTo>
                    <a:cubicBezTo>
                      <a:pt x="1224" y="1142"/>
                      <a:pt x="1221" y="1142"/>
                      <a:pt x="1219" y="1141"/>
                    </a:cubicBezTo>
                    <a:lnTo>
                      <a:pt x="1023" y="1035"/>
                    </a:lnTo>
                    <a:lnTo>
                      <a:pt x="1033" y="1023"/>
                    </a:lnTo>
                    <a:lnTo>
                      <a:pt x="1163" y="1188"/>
                    </a:lnTo>
                    <a:cubicBezTo>
                      <a:pt x="1165" y="1190"/>
                      <a:pt x="1165" y="1194"/>
                      <a:pt x="1163" y="1197"/>
                    </a:cubicBezTo>
                    <a:cubicBezTo>
                      <a:pt x="1161" y="1200"/>
                      <a:pt x="1157" y="1201"/>
                      <a:pt x="1154" y="1200"/>
                    </a:cubicBezTo>
                    <a:lnTo>
                      <a:pt x="907" y="1108"/>
                    </a:lnTo>
                    <a:cubicBezTo>
                      <a:pt x="905" y="1107"/>
                      <a:pt x="904" y="1106"/>
                      <a:pt x="903" y="1105"/>
                    </a:cubicBezTo>
                    <a:lnTo>
                      <a:pt x="868" y="1049"/>
                    </a:lnTo>
                    <a:cubicBezTo>
                      <a:pt x="867" y="1047"/>
                      <a:pt x="867" y="1044"/>
                      <a:pt x="868" y="1042"/>
                    </a:cubicBezTo>
                    <a:cubicBezTo>
                      <a:pt x="869" y="1039"/>
                      <a:pt x="871" y="1038"/>
                      <a:pt x="874" y="1037"/>
                    </a:cubicBezTo>
                    <a:lnTo>
                      <a:pt x="907" y="1032"/>
                    </a:lnTo>
                    <a:lnTo>
                      <a:pt x="905" y="1047"/>
                    </a:lnTo>
                    <a:lnTo>
                      <a:pt x="827" y="1016"/>
                    </a:lnTo>
                    <a:cubicBezTo>
                      <a:pt x="825" y="1015"/>
                      <a:pt x="823" y="1013"/>
                      <a:pt x="822" y="1011"/>
                    </a:cubicBezTo>
                    <a:lnTo>
                      <a:pt x="799" y="947"/>
                    </a:lnTo>
                    <a:lnTo>
                      <a:pt x="804" y="952"/>
                    </a:lnTo>
                    <a:lnTo>
                      <a:pt x="741" y="930"/>
                    </a:lnTo>
                    <a:lnTo>
                      <a:pt x="752" y="923"/>
                    </a:lnTo>
                    <a:lnTo>
                      <a:pt x="749" y="967"/>
                    </a:lnTo>
                    <a:cubicBezTo>
                      <a:pt x="749" y="970"/>
                      <a:pt x="748" y="972"/>
                      <a:pt x="745" y="973"/>
                    </a:cubicBezTo>
                    <a:cubicBezTo>
                      <a:pt x="743" y="975"/>
                      <a:pt x="740" y="975"/>
                      <a:pt x="737" y="973"/>
                    </a:cubicBezTo>
                    <a:lnTo>
                      <a:pt x="700" y="952"/>
                    </a:lnTo>
                    <a:lnTo>
                      <a:pt x="709" y="951"/>
                    </a:lnTo>
                    <a:lnTo>
                      <a:pt x="655" y="991"/>
                    </a:lnTo>
                    <a:cubicBezTo>
                      <a:pt x="652" y="993"/>
                      <a:pt x="649" y="993"/>
                      <a:pt x="646" y="992"/>
                    </a:cubicBezTo>
                    <a:lnTo>
                      <a:pt x="577" y="952"/>
                    </a:lnTo>
                    <a:cubicBezTo>
                      <a:pt x="574" y="949"/>
                      <a:pt x="572" y="945"/>
                      <a:pt x="574" y="941"/>
                    </a:cubicBezTo>
                    <a:lnTo>
                      <a:pt x="611" y="869"/>
                    </a:lnTo>
                    <a:cubicBezTo>
                      <a:pt x="613" y="866"/>
                      <a:pt x="615" y="865"/>
                      <a:pt x="618" y="865"/>
                    </a:cubicBezTo>
                    <a:lnTo>
                      <a:pt x="801" y="865"/>
                    </a:lnTo>
                    <a:lnTo>
                      <a:pt x="794" y="877"/>
                    </a:lnTo>
                    <a:lnTo>
                      <a:pt x="750" y="805"/>
                    </a:lnTo>
                    <a:cubicBezTo>
                      <a:pt x="748" y="802"/>
                      <a:pt x="748" y="798"/>
                      <a:pt x="751" y="795"/>
                    </a:cubicBezTo>
                    <a:lnTo>
                      <a:pt x="854" y="691"/>
                    </a:lnTo>
                    <a:lnTo>
                      <a:pt x="853" y="700"/>
                    </a:lnTo>
                    <a:lnTo>
                      <a:pt x="780" y="561"/>
                    </a:lnTo>
                    <a:lnTo>
                      <a:pt x="785" y="566"/>
                    </a:lnTo>
                    <a:lnTo>
                      <a:pt x="734" y="552"/>
                    </a:lnTo>
                    <a:cubicBezTo>
                      <a:pt x="731" y="551"/>
                      <a:pt x="729" y="549"/>
                      <a:pt x="728" y="546"/>
                    </a:cubicBezTo>
                    <a:cubicBezTo>
                      <a:pt x="727" y="543"/>
                      <a:pt x="728" y="540"/>
                      <a:pt x="731" y="538"/>
                    </a:cubicBezTo>
                    <a:lnTo>
                      <a:pt x="760" y="515"/>
                    </a:lnTo>
                    <a:lnTo>
                      <a:pt x="767" y="529"/>
                    </a:lnTo>
                    <a:lnTo>
                      <a:pt x="654" y="567"/>
                    </a:lnTo>
                    <a:cubicBezTo>
                      <a:pt x="652" y="568"/>
                      <a:pt x="649" y="567"/>
                      <a:pt x="647" y="566"/>
                    </a:cubicBezTo>
                    <a:cubicBezTo>
                      <a:pt x="645" y="565"/>
                      <a:pt x="644" y="562"/>
                      <a:pt x="644" y="560"/>
                    </a:cubicBezTo>
                    <a:lnTo>
                      <a:pt x="642" y="518"/>
                    </a:lnTo>
                    <a:cubicBezTo>
                      <a:pt x="642" y="515"/>
                      <a:pt x="644" y="512"/>
                      <a:pt x="647" y="510"/>
                    </a:cubicBezTo>
                    <a:lnTo>
                      <a:pt x="689" y="489"/>
                    </a:lnTo>
                    <a:lnTo>
                      <a:pt x="689" y="503"/>
                    </a:lnTo>
                    <a:lnTo>
                      <a:pt x="602" y="449"/>
                    </a:lnTo>
                    <a:cubicBezTo>
                      <a:pt x="600" y="448"/>
                      <a:pt x="598" y="445"/>
                      <a:pt x="598" y="442"/>
                    </a:cubicBezTo>
                    <a:lnTo>
                      <a:pt x="597" y="399"/>
                    </a:lnTo>
                    <a:lnTo>
                      <a:pt x="602" y="406"/>
                    </a:lnTo>
                    <a:lnTo>
                      <a:pt x="527" y="385"/>
                    </a:lnTo>
                    <a:lnTo>
                      <a:pt x="536" y="374"/>
                    </a:lnTo>
                    <a:lnTo>
                      <a:pt x="554" y="431"/>
                    </a:lnTo>
                    <a:cubicBezTo>
                      <a:pt x="555" y="434"/>
                      <a:pt x="555" y="437"/>
                      <a:pt x="553" y="439"/>
                    </a:cubicBezTo>
                    <a:cubicBezTo>
                      <a:pt x="551" y="441"/>
                      <a:pt x="548" y="442"/>
                      <a:pt x="546" y="442"/>
                    </a:cubicBezTo>
                    <a:lnTo>
                      <a:pt x="413" y="422"/>
                    </a:lnTo>
                    <a:lnTo>
                      <a:pt x="420" y="408"/>
                    </a:lnTo>
                    <a:lnTo>
                      <a:pt x="453" y="442"/>
                    </a:lnTo>
                    <a:cubicBezTo>
                      <a:pt x="455" y="444"/>
                      <a:pt x="456" y="448"/>
                      <a:pt x="454" y="451"/>
                    </a:cubicBezTo>
                    <a:cubicBezTo>
                      <a:pt x="453" y="454"/>
                      <a:pt x="449" y="456"/>
                      <a:pt x="446" y="455"/>
                    </a:cubicBezTo>
                    <a:lnTo>
                      <a:pt x="98" y="397"/>
                    </a:lnTo>
                    <a:cubicBezTo>
                      <a:pt x="96" y="396"/>
                      <a:pt x="95" y="395"/>
                      <a:pt x="93" y="394"/>
                    </a:cubicBezTo>
                    <a:lnTo>
                      <a:pt x="33" y="318"/>
                    </a:lnTo>
                    <a:cubicBezTo>
                      <a:pt x="31" y="316"/>
                      <a:pt x="30" y="312"/>
                      <a:pt x="32" y="310"/>
                    </a:cubicBezTo>
                    <a:cubicBezTo>
                      <a:pt x="33" y="307"/>
                      <a:pt x="36" y="305"/>
                      <a:pt x="39" y="305"/>
                    </a:cubicBezTo>
                    <a:lnTo>
                      <a:pt x="148" y="309"/>
                    </a:lnTo>
                    <a:lnTo>
                      <a:pt x="145" y="324"/>
                    </a:lnTo>
                    <a:lnTo>
                      <a:pt x="6" y="281"/>
                    </a:lnTo>
                    <a:close/>
                    <a:moveTo>
                      <a:pt x="150" y="309"/>
                    </a:moveTo>
                    <a:cubicBezTo>
                      <a:pt x="154" y="310"/>
                      <a:pt x="156" y="314"/>
                      <a:pt x="156" y="318"/>
                    </a:cubicBezTo>
                    <a:cubicBezTo>
                      <a:pt x="155" y="322"/>
                      <a:pt x="152" y="325"/>
                      <a:pt x="148" y="325"/>
                    </a:cubicBezTo>
                    <a:lnTo>
                      <a:pt x="39" y="321"/>
                    </a:lnTo>
                    <a:lnTo>
                      <a:pt x="45" y="308"/>
                    </a:lnTo>
                    <a:lnTo>
                      <a:pt x="106" y="384"/>
                    </a:lnTo>
                    <a:lnTo>
                      <a:pt x="101" y="381"/>
                    </a:lnTo>
                    <a:lnTo>
                      <a:pt x="449" y="439"/>
                    </a:lnTo>
                    <a:lnTo>
                      <a:pt x="442" y="453"/>
                    </a:lnTo>
                    <a:lnTo>
                      <a:pt x="409" y="419"/>
                    </a:lnTo>
                    <a:cubicBezTo>
                      <a:pt x="406" y="417"/>
                      <a:pt x="406" y="413"/>
                      <a:pt x="407" y="410"/>
                    </a:cubicBezTo>
                    <a:cubicBezTo>
                      <a:pt x="409" y="407"/>
                      <a:pt x="412" y="405"/>
                      <a:pt x="415" y="406"/>
                    </a:cubicBezTo>
                    <a:lnTo>
                      <a:pt x="548" y="426"/>
                    </a:lnTo>
                    <a:lnTo>
                      <a:pt x="539" y="436"/>
                    </a:lnTo>
                    <a:lnTo>
                      <a:pt x="521" y="379"/>
                    </a:lnTo>
                    <a:cubicBezTo>
                      <a:pt x="520" y="376"/>
                      <a:pt x="521" y="373"/>
                      <a:pt x="523" y="371"/>
                    </a:cubicBezTo>
                    <a:cubicBezTo>
                      <a:pt x="525" y="369"/>
                      <a:pt x="528" y="368"/>
                      <a:pt x="531" y="369"/>
                    </a:cubicBezTo>
                    <a:lnTo>
                      <a:pt x="607" y="391"/>
                    </a:lnTo>
                    <a:cubicBezTo>
                      <a:pt x="610" y="392"/>
                      <a:pt x="613" y="395"/>
                      <a:pt x="613" y="398"/>
                    </a:cubicBezTo>
                    <a:lnTo>
                      <a:pt x="614" y="442"/>
                    </a:lnTo>
                    <a:lnTo>
                      <a:pt x="610" y="435"/>
                    </a:lnTo>
                    <a:lnTo>
                      <a:pt x="697" y="489"/>
                    </a:lnTo>
                    <a:cubicBezTo>
                      <a:pt x="700" y="491"/>
                      <a:pt x="701" y="493"/>
                      <a:pt x="701" y="496"/>
                    </a:cubicBezTo>
                    <a:cubicBezTo>
                      <a:pt x="701" y="499"/>
                      <a:pt x="699" y="502"/>
                      <a:pt x="697" y="503"/>
                    </a:cubicBezTo>
                    <a:lnTo>
                      <a:pt x="654" y="525"/>
                    </a:lnTo>
                    <a:lnTo>
                      <a:pt x="658" y="517"/>
                    </a:lnTo>
                    <a:lnTo>
                      <a:pt x="660" y="559"/>
                    </a:lnTo>
                    <a:lnTo>
                      <a:pt x="649" y="552"/>
                    </a:lnTo>
                    <a:lnTo>
                      <a:pt x="762" y="513"/>
                    </a:lnTo>
                    <a:cubicBezTo>
                      <a:pt x="766" y="512"/>
                      <a:pt x="770" y="514"/>
                      <a:pt x="772" y="517"/>
                    </a:cubicBezTo>
                    <a:cubicBezTo>
                      <a:pt x="774" y="520"/>
                      <a:pt x="773" y="525"/>
                      <a:pt x="770" y="527"/>
                    </a:cubicBezTo>
                    <a:lnTo>
                      <a:pt x="741" y="551"/>
                    </a:lnTo>
                    <a:lnTo>
                      <a:pt x="738" y="537"/>
                    </a:lnTo>
                    <a:lnTo>
                      <a:pt x="789" y="550"/>
                    </a:lnTo>
                    <a:cubicBezTo>
                      <a:pt x="791" y="551"/>
                      <a:pt x="793" y="552"/>
                      <a:pt x="794" y="554"/>
                    </a:cubicBezTo>
                    <a:lnTo>
                      <a:pt x="867" y="693"/>
                    </a:lnTo>
                    <a:cubicBezTo>
                      <a:pt x="869" y="696"/>
                      <a:pt x="868" y="700"/>
                      <a:pt x="866" y="702"/>
                    </a:cubicBezTo>
                    <a:lnTo>
                      <a:pt x="762" y="806"/>
                    </a:lnTo>
                    <a:lnTo>
                      <a:pt x="763" y="796"/>
                    </a:lnTo>
                    <a:lnTo>
                      <a:pt x="807" y="868"/>
                    </a:lnTo>
                    <a:cubicBezTo>
                      <a:pt x="809" y="871"/>
                      <a:pt x="809" y="874"/>
                      <a:pt x="808" y="877"/>
                    </a:cubicBezTo>
                    <a:cubicBezTo>
                      <a:pt x="806" y="879"/>
                      <a:pt x="804" y="881"/>
                      <a:pt x="801" y="881"/>
                    </a:cubicBezTo>
                    <a:lnTo>
                      <a:pt x="618" y="881"/>
                    </a:lnTo>
                    <a:lnTo>
                      <a:pt x="626" y="876"/>
                    </a:lnTo>
                    <a:lnTo>
                      <a:pt x="588" y="948"/>
                    </a:lnTo>
                    <a:lnTo>
                      <a:pt x="585" y="938"/>
                    </a:lnTo>
                    <a:lnTo>
                      <a:pt x="654" y="978"/>
                    </a:lnTo>
                    <a:lnTo>
                      <a:pt x="645" y="978"/>
                    </a:lnTo>
                    <a:lnTo>
                      <a:pt x="699" y="938"/>
                    </a:lnTo>
                    <a:cubicBezTo>
                      <a:pt x="702" y="936"/>
                      <a:pt x="705" y="936"/>
                      <a:pt x="708" y="938"/>
                    </a:cubicBezTo>
                    <a:lnTo>
                      <a:pt x="745" y="959"/>
                    </a:lnTo>
                    <a:lnTo>
                      <a:pt x="733" y="966"/>
                    </a:lnTo>
                    <a:lnTo>
                      <a:pt x="736" y="922"/>
                    </a:lnTo>
                    <a:cubicBezTo>
                      <a:pt x="736" y="920"/>
                      <a:pt x="738" y="918"/>
                      <a:pt x="740" y="916"/>
                    </a:cubicBezTo>
                    <a:cubicBezTo>
                      <a:pt x="742" y="915"/>
                      <a:pt x="744" y="914"/>
                      <a:pt x="747" y="915"/>
                    </a:cubicBezTo>
                    <a:lnTo>
                      <a:pt x="809" y="937"/>
                    </a:lnTo>
                    <a:cubicBezTo>
                      <a:pt x="811" y="938"/>
                      <a:pt x="813" y="940"/>
                      <a:pt x="814" y="942"/>
                    </a:cubicBezTo>
                    <a:lnTo>
                      <a:pt x="837" y="1005"/>
                    </a:lnTo>
                    <a:lnTo>
                      <a:pt x="833" y="1001"/>
                    </a:lnTo>
                    <a:lnTo>
                      <a:pt x="911" y="1033"/>
                    </a:lnTo>
                    <a:cubicBezTo>
                      <a:pt x="915" y="1034"/>
                      <a:pt x="917" y="1037"/>
                      <a:pt x="916" y="1041"/>
                    </a:cubicBezTo>
                    <a:cubicBezTo>
                      <a:pt x="916" y="1045"/>
                      <a:pt x="913" y="1047"/>
                      <a:pt x="910" y="1048"/>
                    </a:cubicBezTo>
                    <a:lnTo>
                      <a:pt x="876" y="1053"/>
                    </a:lnTo>
                    <a:lnTo>
                      <a:pt x="882" y="1041"/>
                    </a:lnTo>
                    <a:lnTo>
                      <a:pt x="916" y="1096"/>
                    </a:lnTo>
                    <a:lnTo>
                      <a:pt x="912" y="1093"/>
                    </a:lnTo>
                    <a:lnTo>
                      <a:pt x="1160" y="1185"/>
                    </a:lnTo>
                    <a:lnTo>
                      <a:pt x="1150" y="1197"/>
                    </a:lnTo>
                    <a:lnTo>
                      <a:pt x="1021" y="1033"/>
                    </a:lnTo>
                    <a:cubicBezTo>
                      <a:pt x="1018" y="1030"/>
                      <a:pt x="1018" y="1026"/>
                      <a:pt x="1021" y="1023"/>
                    </a:cubicBezTo>
                    <a:cubicBezTo>
                      <a:pt x="1023" y="1020"/>
                      <a:pt x="1027" y="1019"/>
                      <a:pt x="1031" y="1021"/>
                    </a:cubicBezTo>
                    <a:lnTo>
                      <a:pt x="1227" y="1127"/>
                    </a:lnTo>
                    <a:lnTo>
                      <a:pt x="1215" y="1132"/>
                    </a:lnTo>
                    <a:lnTo>
                      <a:pt x="1237" y="1028"/>
                    </a:lnTo>
                    <a:lnTo>
                      <a:pt x="1240" y="1036"/>
                    </a:lnTo>
                    <a:lnTo>
                      <a:pt x="1197" y="999"/>
                    </a:lnTo>
                    <a:cubicBezTo>
                      <a:pt x="1195" y="997"/>
                      <a:pt x="1194" y="995"/>
                      <a:pt x="1194" y="992"/>
                    </a:cubicBezTo>
                    <a:lnTo>
                      <a:pt x="1201" y="948"/>
                    </a:lnTo>
                    <a:lnTo>
                      <a:pt x="1207" y="957"/>
                    </a:lnTo>
                    <a:lnTo>
                      <a:pt x="1131" y="939"/>
                    </a:lnTo>
                    <a:cubicBezTo>
                      <a:pt x="1129" y="938"/>
                      <a:pt x="1127" y="937"/>
                      <a:pt x="1126" y="935"/>
                    </a:cubicBezTo>
                    <a:lnTo>
                      <a:pt x="1091" y="859"/>
                    </a:lnTo>
                    <a:lnTo>
                      <a:pt x="1099" y="864"/>
                    </a:lnTo>
                    <a:lnTo>
                      <a:pt x="1074" y="866"/>
                    </a:lnTo>
                    <a:cubicBezTo>
                      <a:pt x="1071" y="866"/>
                      <a:pt x="1068" y="864"/>
                      <a:pt x="1067" y="861"/>
                    </a:cubicBezTo>
                    <a:cubicBezTo>
                      <a:pt x="1065" y="858"/>
                      <a:pt x="1066" y="855"/>
                      <a:pt x="1068" y="852"/>
                    </a:cubicBezTo>
                    <a:lnTo>
                      <a:pt x="1099" y="814"/>
                    </a:lnTo>
                    <a:lnTo>
                      <a:pt x="1100" y="825"/>
                    </a:lnTo>
                    <a:lnTo>
                      <a:pt x="1059" y="790"/>
                    </a:lnTo>
                    <a:cubicBezTo>
                      <a:pt x="1057" y="788"/>
                      <a:pt x="1056" y="785"/>
                      <a:pt x="1056" y="782"/>
                    </a:cubicBezTo>
                    <a:cubicBezTo>
                      <a:pt x="1057" y="779"/>
                      <a:pt x="1059" y="777"/>
                      <a:pt x="1062" y="776"/>
                    </a:cubicBezTo>
                    <a:lnTo>
                      <a:pt x="1120" y="761"/>
                    </a:lnTo>
                    <a:cubicBezTo>
                      <a:pt x="1123" y="760"/>
                      <a:pt x="1126" y="761"/>
                      <a:pt x="1128" y="763"/>
                    </a:cubicBezTo>
                    <a:lnTo>
                      <a:pt x="1285" y="917"/>
                    </a:lnTo>
                    <a:lnTo>
                      <a:pt x="1272" y="922"/>
                    </a:lnTo>
                    <a:lnTo>
                      <a:pt x="1278" y="838"/>
                    </a:lnTo>
                    <a:cubicBezTo>
                      <a:pt x="1279" y="836"/>
                      <a:pt x="1280" y="834"/>
                      <a:pt x="1282" y="832"/>
                    </a:cubicBezTo>
                    <a:cubicBezTo>
                      <a:pt x="1285" y="831"/>
                      <a:pt x="1287" y="831"/>
                      <a:pt x="1290" y="832"/>
                    </a:cubicBezTo>
                    <a:lnTo>
                      <a:pt x="1330" y="850"/>
                    </a:lnTo>
                    <a:lnTo>
                      <a:pt x="1319" y="854"/>
                    </a:lnTo>
                    <a:lnTo>
                      <a:pt x="1342" y="813"/>
                    </a:lnTo>
                    <a:lnTo>
                      <a:pt x="1342" y="822"/>
                    </a:lnTo>
                    <a:lnTo>
                      <a:pt x="1324" y="793"/>
                    </a:lnTo>
                    <a:cubicBezTo>
                      <a:pt x="1322" y="790"/>
                      <a:pt x="1322" y="787"/>
                      <a:pt x="1324" y="784"/>
                    </a:cubicBezTo>
                    <a:cubicBezTo>
                      <a:pt x="1326" y="782"/>
                      <a:pt x="1329" y="780"/>
                      <a:pt x="1332" y="781"/>
                    </a:cubicBezTo>
                    <a:lnTo>
                      <a:pt x="1374" y="789"/>
                    </a:lnTo>
                    <a:lnTo>
                      <a:pt x="1364" y="795"/>
                    </a:lnTo>
                    <a:lnTo>
                      <a:pt x="1377" y="750"/>
                    </a:lnTo>
                    <a:lnTo>
                      <a:pt x="1383" y="760"/>
                    </a:lnTo>
                    <a:lnTo>
                      <a:pt x="1294" y="740"/>
                    </a:lnTo>
                    <a:cubicBezTo>
                      <a:pt x="1292" y="739"/>
                      <a:pt x="1290" y="738"/>
                      <a:pt x="1289" y="736"/>
                    </a:cubicBezTo>
                    <a:cubicBezTo>
                      <a:pt x="1288" y="734"/>
                      <a:pt x="1288" y="732"/>
                      <a:pt x="1288" y="730"/>
                    </a:cubicBezTo>
                    <a:lnTo>
                      <a:pt x="1298" y="695"/>
                    </a:lnTo>
                    <a:lnTo>
                      <a:pt x="1306" y="705"/>
                    </a:lnTo>
                    <a:lnTo>
                      <a:pt x="1249" y="710"/>
                    </a:lnTo>
                    <a:cubicBezTo>
                      <a:pt x="1245" y="710"/>
                      <a:pt x="1241" y="708"/>
                      <a:pt x="1240" y="704"/>
                    </a:cubicBezTo>
                    <a:lnTo>
                      <a:pt x="1213" y="621"/>
                    </a:lnTo>
                    <a:lnTo>
                      <a:pt x="1222" y="626"/>
                    </a:lnTo>
                    <a:lnTo>
                      <a:pt x="1167" y="639"/>
                    </a:lnTo>
                    <a:cubicBezTo>
                      <a:pt x="1165" y="640"/>
                      <a:pt x="1163" y="639"/>
                      <a:pt x="1161" y="638"/>
                    </a:cubicBezTo>
                    <a:lnTo>
                      <a:pt x="1046" y="568"/>
                    </a:lnTo>
                    <a:cubicBezTo>
                      <a:pt x="1044" y="567"/>
                      <a:pt x="1043" y="565"/>
                      <a:pt x="1043" y="562"/>
                    </a:cubicBezTo>
                    <a:cubicBezTo>
                      <a:pt x="1042" y="560"/>
                      <a:pt x="1043" y="558"/>
                      <a:pt x="1044" y="556"/>
                    </a:cubicBezTo>
                    <a:lnTo>
                      <a:pt x="1075" y="519"/>
                    </a:lnTo>
                    <a:lnTo>
                      <a:pt x="1077" y="531"/>
                    </a:lnTo>
                    <a:lnTo>
                      <a:pt x="1038" y="511"/>
                    </a:lnTo>
                    <a:cubicBezTo>
                      <a:pt x="1035" y="510"/>
                      <a:pt x="1034" y="506"/>
                      <a:pt x="1034" y="503"/>
                    </a:cubicBezTo>
                    <a:cubicBezTo>
                      <a:pt x="1035" y="499"/>
                      <a:pt x="1038" y="496"/>
                      <a:pt x="1042" y="496"/>
                    </a:cubicBezTo>
                    <a:lnTo>
                      <a:pt x="1141" y="488"/>
                    </a:lnTo>
                    <a:lnTo>
                      <a:pt x="1140" y="504"/>
                    </a:lnTo>
                    <a:lnTo>
                      <a:pt x="1025" y="475"/>
                    </a:lnTo>
                    <a:cubicBezTo>
                      <a:pt x="1022" y="474"/>
                      <a:pt x="1019" y="471"/>
                      <a:pt x="1019" y="468"/>
                    </a:cubicBezTo>
                    <a:cubicBezTo>
                      <a:pt x="1019" y="465"/>
                      <a:pt x="1021" y="461"/>
                      <a:pt x="1024" y="460"/>
                    </a:cubicBezTo>
                    <a:lnTo>
                      <a:pt x="1102" y="425"/>
                    </a:lnTo>
                    <a:lnTo>
                      <a:pt x="1100" y="438"/>
                    </a:lnTo>
                    <a:lnTo>
                      <a:pt x="1056" y="398"/>
                    </a:lnTo>
                    <a:lnTo>
                      <a:pt x="1067" y="398"/>
                    </a:lnTo>
                    <a:lnTo>
                      <a:pt x="1024" y="436"/>
                    </a:lnTo>
                    <a:cubicBezTo>
                      <a:pt x="1021" y="439"/>
                      <a:pt x="1017" y="439"/>
                      <a:pt x="1014" y="437"/>
                    </a:cubicBezTo>
                    <a:cubicBezTo>
                      <a:pt x="1011" y="434"/>
                      <a:pt x="1010" y="430"/>
                      <a:pt x="1012" y="426"/>
                    </a:cubicBezTo>
                    <a:lnTo>
                      <a:pt x="1030" y="398"/>
                    </a:lnTo>
                    <a:lnTo>
                      <a:pt x="1037" y="410"/>
                    </a:lnTo>
                    <a:lnTo>
                      <a:pt x="991" y="410"/>
                    </a:lnTo>
                    <a:cubicBezTo>
                      <a:pt x="988" y="410"/>
                      <a:pt x="985" y="408"/>
                      <a:pt x="984" y="405"/>
                    </a:cubicBezTo>
                    <a:cubicBezTo>
                      <a:pt x="982" y="401"/>
                      <a:pt x="984" y="398"/>
                      <a:pt x="986" y="396"/>
                    </a:cubicBezTo>
                    <a:lnTo>
                      <a:pt x="1040" y="355"/>
                    </a:lnTo>
                    <a:lnTo>
                      <a:pt x="1046" y="370"/>
                    </a:lnTo>
                    <a:lnTo>
                      <a:pt x="948" y="380"/>
                    </a:lnTo>
                    <a:cubicBezTo>
                      <a:pt x="945" y="380"/>
                      <a:pt x="941" y="379"/>
                      <a:pt x="940" y="376"/>
                    </a:cubicBezTo>
                    <a:cubicBezTo>
                      <a:pt x="938" y="373"/>
                      <a:pt x="939" y="369"/>
                      <a:pt x="941" y="367"/>
                    </a:cubicBezTo>
                    <a:lnTo>
                      <a:pt x="971" y="328"/>
                    </a:lnTo>
                    <a:lnTo>
                      <a:pt x="981" y="340"/>
                    </a:lnTo>
                    <a:lnTo>
                      <a:pt x="934" y="366"/>
                    </a:lnTo>
                    <a:cubicBezTo>
                      <a:pt x="931" y="367"/>
                      <a:pt x="928" y="367"/>
                      <a:pt x="926" y="365"/>
                    </a:cubicBezTo>
                    <a:cubicBezTo>
                      <a:pt x="923" y="363"/>
                      <a:pt x="922" y="360"/>
                      <a:pt x="923" y="357"/>
                    </a:cubicBezTo>
                    <a:lnTo>
                      <a:pt x="932" y="312"/>
                    </a:lnTo>
                    <a:lnTo>
                      <a:pt x="940" y="321"/>
                    </a:lnTo>
                    <a:lnTo>
                      <a:pt x="872" y="321"/>
                    </a:lnTo>
                    <a:cubicBezTo>
                      <a:pt x="868" y="321"/>
                      <a:pt x="865" y="318"/>
                      <a:pt x="864" y="314"/>
                    </a:cubicBezTo>
                    <a:cubicBezTo>
                      <a:pt x="864" y="310"/>
                      <a:pt x="867" y="306"/>
                      <a:pt x="871" y="305"/>
                    </a:cubicBezTo>
                    <a:lnTo>
                      <a:pt x="915" y="295"/>
                    </a:lnTo>
                    <a:lnTo>
                      <a:pt x="909" y="306"/>
                    </a:lnTo>
                    <a:lnTo>
                      <a:pt x="895" y="271"/>
                    </a:lnTo>
                    <a:lnTo>
                      <a:pt x="900" y="275"/>
                    </a:lnTo>
                    <a:lnTo>
                      <a:pt x="849" y="254"/>
                    </a:lnTo>
                    <a:lnTo>
                      <a:pt x="858" y="251"/>
                    </a:lnTo>
                    <a:lnTo>
                      <a:pt x="825" y="293"/>
                    </a:lnTo>
                    <a:cubicBezTo>
                      <a:pt x="823" y="296"/>
                      <a:pt x="819" y="297"/>
                      <a:pt x="815" y="295"/>
                    </a:cubicBezTo>
                    <a:lnTo>
                      <a:pt x="775" y="277"/>
                    </a:lnTo>
                    <a:cubicBezTo>
                      <a:pt x="773" y="276"/>
                      <a:pt x="772" y="274"/>
                      <a:pt x="771" y="272"/>
                    </a:cubicBezTo>
                    <a:cubicBezTo>
                      <a:pt x="770" y="270"/>
                      <a:pt x="771" y="267"/>
                      <a:pt x="772" y="265"/>
                    </a:cubicBezTo>
                    <a:lnTo>
                      <a:pt x="794" y="232"/>
                    </a:lnTo>
                    <a:lnTo>
                      <a:pt x="802" y="244"/>
                    </a:lnTo>
                    <a:lnTo>
                      <a:pt x="735" y="257"/>
                    </a:lnTo>
                    <a:cubicBezTo>
                      <a:pt x="731" y="258"/>
                      <a:pt x="728" y="256"/>
                      <a:pt x="726" y="253"/>
                    </a:cubicBezTo>
                    <a:cubicBezTo>
                      <a:pt x="724" y="250"/>
                      <a:pt x="725" y="246"/>
                      <a:pt x="727" y="244"/>
                    </a:cubicBezTo>
                    <a:lnTo>
                      <a:pt x="761" y="212"/>
                    </a:lnTo>
                    <a:lnTo>
                      <a:pt x="760" y="223"/>
                    </a:lnTo>
                    <a:lnTo>
                      <a:pt x="713" y="168"/>
                    </a:lnTo>
                    <a:lnTo>
                      <a:pt x="717" y="170"/>
                    </a:lnTo>
                    <a:lnTo>
                      <a:pt x="603" y="138"/>
                    </a:lnTo>
                    <a:lnTo>
                      <a:pt x="609" y="137"/>
                    </a:lnTo>
                    <a:lnTo>
                      <a:pt x="535" y="192"/>
                    </a:lnTo>
                    <a:cubicBezTo>
                      <a:pt x="532" y="195"/>
                      <a:pt x="528" y="195"/>
                      <a:pt x="525" y="192"/>
                    </a:cubicBezTo>
                    <a:lnTo>
                      <a:pt x="494" y="169"/>
                    </a:lnTo>
                    <a:lnTo>
                      <a:pt x="504" y="168"/>
                    </a:lnTo>
                    <a:lnTo>
                      <a:pt x="450" y="223"/>
                    </a:lnTo>
                    <a:cubicBezTo>
                      <a:pt x="448" y="226"/>
                      <a:pt x="444" y="227"/>
                      <a:pt x="441" y="225"/>
                    </a:cubicBezTo>
                    <a:cubicBezTo>
                      <a:pt x="438" y="224"/>
                      <a:pt x="436" y="220"/>
                      <a:pt x="437" y="217"/>
                    </a:cubicBezTo>
                    <a:lnTo>
                      <a:pt x="452" y="100"/>
                    </a:lnTo>
                    <a:lnTo>
                      <a:pt x="456" y="108"/>
                    </a:lnTo>
                    <a:lnTo>
                      <a:pt x="414" y="84"/>
                    </a:lnTo>
                    <a:cubicBezTo>
                      <a:pt x="412" y="83"/>
                      <a:pt x="411" y="80"/>
                      <a:pt x="410" y="78"/>
                    </a:cubicBezTo>
                    <a:lnTo>
                      <a:pt x="408" y="22"/>
                    </a:lnTo>
                    <a:lnTo>
                      <a:pt x="416" y="30"/>
                    </a:lnTo>
                    <a:lnTo>
                      <a:pt x="361" y="33"/>
                    </a:lnTo>
                    <a:lnTo>
                      <a:pt x="366" y="31"/>
                    </a:lnTo>
                    <a:lnTo>
                      <a:pt x="323" y="76"/>
                    </a:lnTo>
                    <a:cubicBezTo>
                      <a:pt x="322" y="78"/>
                      <a:pt x="319" y="79"/>
                      <a:pt x="317" y="78"/>
                    </a:cubicBezTo>
                    <a:lnTo>
                      <a:pt x="249" y="73"/>
                    </a:lnTo>
                    <a:lnTo>
                      <a:pt x="255" y="59"/>
                    </a:lnTo>
                    <a:lnTo>
                      <a:pt x="313" y="101"/>
                    </a:lnTo>
                    <a:cubicBezTo>
                      <a:pt x="316" y="103"/>
                      <a:pt x="317" y="107"/>
                      <a:pt x="315" y="110"/>
                    </a:cubicBezTo>
                    <a:cubicBezTo>
                      <a:pt x="314" y="113"/>
                      <a:pt x="311" y="116"/>
                      <a:pt x="307" y="115"/>
                    </a:cubicBezTo>
                    <a:lnTo>
                      <a:pt x="225" y="109"/>
                    </a:lnTo>
                    <a:lnTo>
                      <a:pt x="228" y="93"/>
                    </a:lnTo>
                    <a:lnTo>
                      <a:pt x="300" y="122"/>
                    </a:lnTo>
                    <a:cubicBezTo>
                      <a:pt x="304" y="123"/>
                      <a:pt x="306" y="127"/>
                      <a:pt x="305" y="131"/>
                    </a:cubicBezTo>
                    <a:cubicBezTo>
                      <a:pt x="303" y="135"/>
                      <a:pt x="299" y="138"/>
                      <a:pt x="295" y="137"/>
                    </a:cubicBezTo>
                    <a:lnTo>
                      <a:pt x="215" y="122"/>
                    </a:lnTo>
                    <a:lnTo>
                      <a:pt x="224" y="110"/>
                    </a:lnTo>
                    <a:lnTo>
                      <a:pt x="262" y="168"/>
                    </a:lnTo>
                    <a:cubicBezTo>
                      <a:pt x="264" y="172"/>
                      <a:pt x="264" y="176"/>
                      <a:pt x="260" y="179"/>
                    </a:cubicBezTo>
                    <a:lnTo>
                      <a:pt x="209" y="219"/>
                    </a:lnTo>
                    <a:lnTo>
                      <a:pt x="209" y="206"/>
                    </a:lnTo>
                    <a:lnTo>
                      <a:pt x="269" y="243"/>
                    </a:lnTo>
                    <a:cubicBezTo>
                      <a:pt x="272" y="244"/>
                      <a:pt x="274" y="248"/>
                      <a:pt x="273" y="251"/>
                    </a:cubicBezTo>
                    <a:lnTo>
                      <a:pt x="263" y="314"/>
                    </a:lnTo>
                    <a:cubicBezTo>
                      <a:pt x="263" y="318"/>
                      <a:pt x="260" y="321"/>
                      <a:pt x="256" y="321"/>
                    </a:cubicBezTo>
                    <a:lnTo>
                      <a:pt x="173" y="323"/>
                    </a:lnTo>
                    <a:cubicBezTo>
                      <a:pt x="169" y="323"/>
                      <a:pt x="166" y="320"/>
                      <a:pt x="165" y="316"/>
                    </a:cubicBezTo>
                    <a:cubicBezTo>
                      <a:pt x="164" y="312"/>
                      <a:pt x="166" y="309"/>
                      <a:pt x="170" y="307"/>
                    </a:cubicBezTo>
                    <a:lnTo>
                      <a:pt x="249" y="281"/>
                    </a:lnTo>
                    <a:lnTo>
                      <a:pt x="245" y="293"/>
                    </a:lnTo>
                    <a:lnTo>
                      <a:pt x="183" y="223"/>
                    </a:lnTo>
                    <a:cubicBezTo>
                      <a:pt x="183" y="222"/>
                      <a:pt x="182" y="221"/>
                      <a:pt x="182" y="220"/>
                    </a:cubicBezTo>
                    <a:lnTo>
                      <a:pt x="160" y="148"/>
                    </a:lnTo>
                    <a:cubicBezTo>
                      <a:pt x="159" y="146"/>
                      <a:pt x="159" y="143"/>
                      <a:pt x="161" y="141"/>
                    </a:cubicBezTo>
                    <a:lnTo>
                      <a:pt x="245" y="21"/>
                    </a:lnTo>
                    <a:lnTo>
                      <a:pt x="250" y="33"/>
                    </a:lnTo>
                    <a:lnTo>
                      <a:pt x="171" y="16"/>
                    </a:lnTo>
                    <a:lnTo>
                      <a:pt x="176" y="16"/>
                    </a:lnTo>
                    <a:lnTo>
                      <a:pt x="79" y="58"/>
                    </a:lnTo>
                    <a:lnTo>
                      <a:pt x="83" y="54"/>
                    </a:lnTo>
                    <a:lnTo>
                      <a:pt x="26" y="150"/>
                    </a:lnTo>
                    <a:lnTo>
                      <a:pt x="27" y="146"/>
                    </a:lnTo>
                    <a:lnTo>
                      <a:pt x="16" y="274"/>
                    </a:lnTo>
                    <a:lnTo>
                      <a:pt x="11" y="265"/>
                    </a:lnTo>
                    <a:lnTo>
                      <a:pt x="150" y="309"/>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28" name="Freeform 84"/>
              <p:cNvSpPr>
                <a:spLocks/>
              </p:cNvSpPr>
              <p:nvPr/>
            </p:nvSpPr>
            <p:spPr bwMode="auto">
              <a:xfrm>
                <a:off x="1521" y="1100"/>
                <a:ext cx="92" cy="58"/>
              </a:xfrm>
              <a:custGeom>
                <a:avLst/>
                <a:gdLst/>
                <a:ahLst/>
                <a:cxnLst>
                  <a:cxn ang="0">
                    <a:pos x="0" y="48"/>
                  </a:cxn>
                  <a:cxn ang="0">
                    <a:pos x="14" y="36"/>
                  </a:cxn>
                  <a:cxn ang="0">
                    <a:pos x="22" y="0"/>
                  </a:cxn>
                  <a:cxn ang="0">
                    <a:pos x="30" y="13"/>
                  </a:cxn>
                  <a:cxn ang="0">
                    <a:pos x="51" y="16"/>
                  </a:cxn>
                  <a:cxn ang="0">
                    <a:pos x="92" y="43"/>
                  </a:cxn>
                  <a:cxn ang="0">
                    <a:pos x="87" y="52"/>
                  </a:cxn>
                  <a:cxn ang="0">
                    <a:pos x="50" y="39"/>
                  </a:cxn>
                  <a:cxn ang="0">
                    <a:pos x="27" y="58"/>
                  </a:cxn>
                  <a:cxn ang="0">
                    <a:pos x="21" y="43"/>
                  </a:cxn>
                  <a:cxn ang="0">
                    <a:pos x="0" y="48"/>
                  </a:cxn>
                </a:cxnLst>
                <a:rect l="0" t="0" r="r" b="b"/>
                <a:pathLst>
                  <a:path w="92" h="58">
                    <a:moveTo>
                      <a:pt x="0" y="48"/>
                    </a:moveTo>
                    <a:lnTo>
                      <a:pt x="14" y="36"/>
                    </a:lnTo>
                    <a:lnTo>
                      <a:pt x="22" y="0"/>
                    </a:lnTo>
                    <a:lnTo>
                      <a:pt x="30" y="13"/>
                    </a:lnTo>
                    <a:lnTo>
                      <a:pt x="51" y="16"/>
                    </a:lnTo>
                    <a:lnTo>
                      <a:pt x="92" y="43"/>
                    </a:lnTo>
                    <a:lnTo>
                      <a:pt x="87" y="52"/>
                    </a:lnTo>
                    <a:lnTo>
                      <a:pt x="50" y="39"/>
                    </a:lnTo>
                    <a:lnTo>
                      <a:pt x="27" y="58"/>
                    </a:lnTo>
                    <a:lnTo>
                      <a:pt x="21" y="43"/>
                    </a:lnTo>
                    <a:lnTo>
                      <a:pt x="0" y="48"/>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29" name="Freeform 85"/>
              <p:cNvSpPr>
                <a:spLocks noEditPoints="1"/>
              </p:cNvSpPr>
              <p:nvPr/>
            </p:nvSpPr>
            <p:spPr bwMode="auto">
              <a:xfrm>
                <a:off x="1518" y="1098"/>
                <a:ext cx="98" cy="62"/>
              </a:xfrm>
              <a:custGeom>
                <a:avLst/>
                <a:gdLst/>
                <a:ahLst/>
                <a:cxnLst>
                  <a:cxn ang="0">
                    <a:pos x="11" y="226"/>
                  </a:cxn>
                  <a:cxn ang="0">
                    <a:pos x="2" y="222"/>
                  </a:cxn>
                  <a:cxn ang="0">
                    <a:pos x="3" y="213"/>
                  </a:cxn>
                  <a:cxn ang="0">
                    <a:pos x="50" y="161"/>
                  </a:cxn>
                  <a:cxn ang="0">
                    <a:pos x="48" y="165"/>
                  </a:cxn>
                  <a:cxn ang="0">
                    <a:pos x="78" y="7"/>
                  </a:cxn>
                  <a:cxn ang="0">
                    <a:pos x="85" y="1"/>
                  </a:cxn>
                  <a:cxn ang="0">
                    <a:pos x="93" y="5"/>
                  </a:cxn>
                  <a:cxn ang="0">
                    <a:pos x="120" y="62"/>
                  </a:cxn>
                  <a:cxn ang="0">
                    <a:pos x="114" y="57"/>
                  </a:cxn>
                  <a:cxn ang="0">
                    <a:pos x="187" y="72"/>
                  </a:cxn>
                  <a:cxn ang="0">
                    <a:pos x="191" y="74"/>
                  </a:cxn>
                  <a:cxn ang="0">
                    <a:pos x="333" y="188"/>
                  </a:cxn>
                  <a:cxn ang="0">
                    <a:pos x="336" y="198"/>
                  </a:cxn>
                  <a:cxn ang="0">
                    <a:pos x="316" y="240"/>
                  </a:cxn>
                  <a:cxn ang="0">
                    <a:pos x="306" y="244"/>
                  </a:cxn>
                  <a:cxn ang="0">
                    <a:pos x="177" y="189"/>
                  </a:cxn>
                  <a:cxn ang="0">
                    <a:pos x="186" y="187"/>
                  </a:cxn>
                  <a:cxn ang="0">
                    <a:pos x="107" y="270"/>
                  </a:cxn>
                  <a:cxn ang="0">
                    <a:pos x="99" y="272"/>
                  </a:cxn>
                  <a:cxn ang="0">
                    <a:pos x="94" y="267"/>
                  </a:cxn>
                  <a:cxn ang="0">
                    <a:pos x="73" y="197"/>
                  </a:cxn>
                  <a:cxn ang="0">
                    <a:pos x="83" y="202"/>
                  </a:cxn>
                  <a:cxn ang="0">
                    <a:pos x="11" y="226"/>
                  </a:cxn>
                  <a:cxn ang="0">
                    <a:pos x="78" y="187"/>
                  </a:cxn>
                  <a:cxn ang="0">
                    <a:pos x="84" y="188"/>
                  </a:cxn>
                  <a:cxn ang="0">
                    <a:pos x="88" y="192"/>
                  </a:cxn>
                  <a:cxn ang="0">
                    <a:pos x="109" y="262"/>
                  </a:cxn>
                  <a:cxn ang="0">
                    <a:pos x="95" y="259"/>
                  </a:cxn>
                  <a:cxn ang="0">
                    <a:pos x="174" y="176"/>
                  </a:cxn>
                  <a:cxn ang="0">
                    <a:pos x="183" y="174"/>
                  </a:cxn>
                  <a:cxn ang="0">
                    <a:pos x="312" y="229"/>
                  </a:cxn>
                  <a:cxn ang="0">
                    <a:pos x="302" y="233"/>
                  </a:cxn>
                  <a:cxn ang="0">
                    <a:pos x="321" y="191"/>
                  </a:cxn>
                  <a:cxn ang="0">
                    <a:pos x="323" y="201"/>
                  </a:cxn>
                  <a:cxn ang="0">
                    <a:pos x="181" y="86"/>
                  </a:cxn>
                  <a:cxn ang="0">
                    <a:pos x="184" y="88"/>
                  </a:cxn>
                  <a:cxn ang="0">
                    <a:pos x="111" y="73"/>
                  </a:cxn>
                  <a:cxn ang="0">
                    <a:pos x="105" y="68"/>
                  </a:cxn>
                  <a:cxn ang="0">
                    <a:pos x="79" y="12"/>
                  </a:cxn>
                  <a:cxn ang="0">
                    <a:pos x="94" y="10"/>
                  </a:cxn>
                  <a:cxn ang="0">
                    <a:pos x="63" y="168"/>
                  </a:cxn>
                  <a:cxn ang="0">
                    <a:pos x="61" y="172"/>
                  </a:cxn>
                  <a:cxn ang="0">
                    <a:pos x="14" y="223"/>
                  </a:cxn>
                  <a:cxn ang="0">
                    <a:pos x="6" y="210"/>
                  </a:cxn>
                  <a:cxn ang="0">
                    <a:pos x="78" y="187"/>
                  </a:cxn>
                </a:cxnLst>
                <a:rect l="0" t="0" r="r" b="b"/>
                <a:pathLst>
                  <a:path w="337" h="273">
                    <a:moveTo>
                      <a:pt x="11" y="226"/>
                    </a:moveTo>
                    <a:cubicBezTo>
                      <a:pt x="7" y="227"/>
                      <a:pt x="4" y="225"/>
                      <a:pt x="2" y="222"/>
                    </a:cubicBezTo>
                    <a:cubicBezTo>
                      <a:pt x="0" y="219"/>
                      <a:pt x="0" y="215"/>
                      <a:pt x="3" y="213"/>
                    </a:cubicBezTo>
                    <a:lnTo>
                      <a:pt x="50" y="161"/>
                    </a:lnTo>
                    <a:lnTo>
                      <a:pt x="48" y="165"/>
                    </a:lnTo>
                    <a:lnTo>
                      <a:pt x="78" y="7"/>
                    </a:lnTo>
                    <a:cubicBezTo>
                      <a:pt x="79" y="4"/>
                      <a:pt x="82" y="1"/>
                      <a:pt x="85" y="1"/>
                    </a:cubicBezTo>
                    <a:cubicBezTo>
                      <a:pt x="89" y="0"/>
                      <a:pt x="92" y="2"/>
                      <a:pt x="93" y="5"/>
                    </a:cubicBezTo>
                    <a:lnTo>
                      <a:pt x="120" y="62"/>
                    </a:lnTo>
                    <a:lnTo>
                      <a:pt x="114" y="57"/>
                    </a:lnTo>
                    <a:lnTo>
                      <a:pt x="187" y="72"/>
                    </a:lnTo>
                    <a:cubicBezTo>
                      <a:pt x="189" y="72"/>
                      <a:pt x="190" y="73"/>
                      <a:pt x="191" y="74"/>
                    </a:cubicBezTo>
                    <a:lnTo>
                      <a:pt x="333" y="188"/>
                    </a:lnTo>
                    <a:cubicBezTo>
                      <a:pt x="336" y="191"/>
                      <a:pt x="337" y="195"/>
                      <a:pt x="336" y="198"/>
                    </a:cubicBezTo>
                    <a:lnTo>
                      <a:pt x="316" y="240"/>
                    </a:lnTo>
                    <a:cubicBezTo>
                      <a:pt x="315" y="244"/>
                      <a:pt x="310" y="245"/>
                      <a:pt x="306" y="244"/>
                    </a:cubicBezTo>
                    <a:lnTo>
                      <a:pt x="177" y="189"/>
                    </a:lnTo>
                    <a:lnTo>
                      <a:pt x="186" y="187"/>
                    </a:lnTo>
                    <a:lnTo>
                      <a:pt x="107" y="270"/>
                    </a:lnTo>
                    <a:cubicBezTo>
                      <a:pt x="105" y="272"/>
                      <a:pt x="102" y="273"/>
                      <a:pt x="99" y="272"/>
                    </a:cubicBezTo>
                    <a:cubicBezTo>
                      <a:pt x="97" y="272"/>
                      <a:pt x="94" y="269"/>
                      <a:pt x="94" y="267"/>
                    </a:cubicBezTo>
                    <a:lnTo>
                      <a:pt x="73" y="197"/>
                    </a:lnTo>
                    <a:lnTo>
                      <a:pt x="83" y="202"/>
                    </a:lnTo>
                    <a:lnTo>
                      <a:pt x="11" y="226"/>
                    </a:lnTo>
                    <a:close/>
                    <a:moveTo>
                      <a:pt x="78" y="187"/>
                    </a:moveTo>
                    <a:cubicBezTo>
                      <a:pt x="80" y="186"/>
                      <a:pt x="82" y="187"/>
                      <a:pt x="84" y="188"/>
                    </a:cubicBezTo>
                    <a:cubicBezTo>
                      <a:pt x="86" y="189"/>
                      <a:pt x="88" y="190"/>
                      <a:pt x="88" y="192"/>
                    </a:cubicBezTo>
                    <a:lnTo>
                      <a:pt x="109" y="262"/>
                    </a:lnTo>
                    <a:lnTo>
                      <a:pt x="95" y="259"/>
                    </a:lnTo>
                    <a:lnTo>
                      <a:pt x="174" y="176"/>
                    </a:lnTo>
                    <a:cubicBezTo>
                      <a:pt x="177" y="173"/>
                      <a:pt x="180" y="173"/>
                      <a:pt x="183" y="174"/>
                    </a:cubicBezTo>
                    <a:lnTo>
                      <a:pt x="312" y="229"/>
                    </a:lnTo>
                    <a:lnTo>
                      <a:pt x="302" y="233"/>
                    </a:lnTo>
                    <a:lnTo>
                      <a:pt x="321" y="191"/>
                    </a:lnTo>
                    <a:lnTo>
                      <a:pt x="323" y="201"/>
                    </a:lnTo>
                    <a:lnTo>
                      <a:pt x="181" y="86"/>
                    </a:lnTo>
                    <a:lnTo>
                      <a:pt x="184" y="88"/>
                    </a:lnTo>
                    <a:lnTo>
                      <a:pt x="111" y="73"/>
                    </a:lnTo>
                    <a:cubicBezTo>
                      <a:pt x="108" y="72"/>
                      <a:pt x="106" y="71"/>
                      <a:pt x="105" y="68"/>
                    </a:cubicBezTo>
                    <a:lnTo>
                      <a:pt x="79" y="12"/>
                    </a:lnTo>
                    <a:lnTo>
                      <a:pt x="94" y="10"/>
                    </a:lnTo>
                    <a:lnTo>
                      <a:pt x="63" y="168"/>
                    </a:lnTo>
                    <a:cubicBezTo>
                      <a:pt x="63" y="169"/>
                      <a:pt x="62" y="171"/>
                      <a:pt x="61" y="172"/>
                    </a:cubicBezTo>
                    <a:lnTo>
                      <a:pt x="14" y="223"/>
                    </a:lnTo>
                    <a:lnTo>
                      <a:pt x="6" y="210"/>
                    </a:lnTo>
                    <a:lnTo>
                      <a:pt x="78" y="187"/>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30" name="Freeform 86"/>
              <p:cNvSpPr>
                <a:spLocks/>
              </p:cNvSpPr>
              <p:nvPr/>
            </p:nvSpPr>
            <p:spPr bwMode="auto">
              <a:xfrm>
                <a:off x="1915" y="1378"/>
                <a:ext cx="93" cy="84"/>
              </a:xfrm>
              <a:custGeom>
                <a:avLst/>
                <a:gdLst/>
                <a:ahLst/>
                <a:cxnLst>
                  <a:cxn ang="0">
                    <a:pos x="0" y="66"/>
                  </a:cxn>
                  <a:cxn ang="0">
                    <a:pos x="38" y="4"/>
                  </a:cxn>
                  <a:cxn ang="0">
                    <a:pos x="53" y="0"/>
                  </a:cxn>
                  <a:cxn ang="0">
                    <a:pos x="35" y="33"/>
                  </a:cxn>
                  <a:cxn ang="0">
                    <a:pos x="47" y="26"/>
                  </a:cxn>
                  <a:cxn ang="0">
                    <a:pos x="55" y="39"/>
                  </a:cxn>
                  <a:cxn ang="0">
                    <a:pos x="80" y="39"/>
                  </a:cxn>
                  <a:cxn ang="0">
                    <a:pos x="74" y="52"/>
                  </a:cxn>
                  <a:cxn ang="0">
                    <a:pos x="87" y="51"/>
                  </a:cxn>
                  <a:cxn ang="0">
                    <a:pos x="78" y="65"/>
                  </a:cxn>
                  <a:cxn ang="0">
                    <a:pos x="90" y="57"/>
                  </a:cxn>
                  <a:cxn ang="0">
                    <a:pos x="93" y="70"/>
                  </a:cxn>
                  <a:cxn ang="0">
                    <a:pos x="81" y="84"/>
                  </a:cxn>
                  <a:cxn ang="0">
                    <a:pos x="80" y="74"/>
                  </a:cxn>
                  <a:cxn ang="0">
                    <a:pos x="74" y="79"/>
                  </a:cxn>
                  <a:cxn ang="0">
                    <a:pos x="74" y="63"/>
                  </a:cxn>
                  <a:cxn ang="0">
                    <a:pos x="51" y="79"/>
                  </a:cxn>
                  <a:cxn ang="0">
                    <a:pos x="64" y="68"/>
                  </a:cxn>
                  <a:cxn ang="0">
                    <a:pos x="46" y="70"/>
                  </a:cxn>
                  <a:cxn ang="0">
                    <a:pos x="50" y="63"/>
                  </a:cxn>
                  <a:cxn ang="0">
                    <a:pos x="0" y="66"/>
                  </a:cxn>
                </a:cxnLst>
                <a:rect l="0" t="0" r="r" b="b"/>
                <a:pathLst>
                  <a:path w="93" h="84">
                    <a:moveTo>
                      <a:pt x="0" y="66"/>
                    </a:moveTo>
                    <a:lnTo>
                      <a:pt x="38" y="4"/>
                    </a:lnTo>
                    <a:lnTo>
                      <a:pt x="53" y="0"/>
                    </a:lnTo>
                    <a:lnTo>
                      <a:pt x="35" y="33"/>
                    </a:lnTo>
                    <a:lnTo>
                      <a:pt x="47" y="26"/>
                    </a:lnTo>
                    <a:lnTo>
                      <a:pt x="55" y="39"/>
                    </a:lnTo>
                    <a:lnTo>
                      <a:pt x="80" y="39"/>
                    </a:lnTo>
                    <a:lnTo>
                      <a:pt x="74" y="52"/>
                    </a:lnTo>
                    <a:lnTo>
                      <a:pt x="87" y="51"/>
                    </a:lnTo>
                    <a:lnTo>
                      <a:pt x="78" y="65"/>
                    </a:lnTo>
                    <a:lnTo>
                      <a:pt x="90" y="57"/>
                    </a:lnTo>
                    <a:lnTo>
                      <a:pt x="93" y="70"/>
                    </a:lnTo>
                    <a:lnTo>
                      <a:pt x="81" y="84"/>
                    </a:lnTo>
                    <a:lnTo>
                      <a:pt x="80" y="74"/>
                    </a:lnTo>
                    <a:lnTo>
                      <a:pt x="74" y="79"/>
                    </a:lnTo>
                    <a:lnTo>
                      <a:pt x="74" y="63"/>
                    </a:lnTo>
                    <a:lnTo>
                      <a:pt x="51" y="79"/>
                    </a:lnTo>
                    <a:lnTo>
                      <a:pt x="64" y="68"/>
                    </a:lnTo>
                    <a:lnTo>
                      <a:pt x="46" y="70"/>
                    </a:lnTo>
                    <a:lnTo>
                      <a:pt x="50" y="63"/>
                    </a:lnTo>
                    <a:lnTo>
                      <a:pt x="0" y="66"/>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31" name="Freeform 87"/>
              <p:cNvSpPr>
                <a:spLocks noEditPoints="1"/>
              </p:cNvSpPr>
              <p:nvPr/>
            </p:nvSpPr>
            <p:spPr bwMode="auto">
              <a:xfrm>
                <a:off x="1913" y="1376"/>
                <a:ext cx="98" cy="88"/>
              </a:xfrm>
              <a:custGeom>
                <a:avLst/>
                <a:gdLst/>
                <a:ahLst/>
                <a:cxnLst>
                  <a:cxn ang="0">
                    <a:pos x="2" y="300"/>
                  </a:cxn>
                  <a:cxn ang="0">
                    <a:pos x="131" y="23"/>
                  </a:cxn>
                  <a:cxn ang="0">
                    <a:pos x="188" y="1"/>
                  </a:cxn>
                  <a:cxn ang="0">
                    <a:pos x="198" y="12"/>
                  </a:cxn>
                  <a:cxn ang="0">
                    <a:pos x="125" y="146"/>
                  </a:cxn>
                  <a:cxn ang="0">
                    <a:pos x="173" y="113"/>
                  </a:cxn>
                  <a:cxn ang="0">
                    <a:pos x="205" y="177"/>
                  </a:cxn>
                  <a:cxn ang="0">
                    <a:pos x="283" y="172"/>
                  </a:cxn>
                  <a:cxn ang="0">
                    <a:pos x="291" y="183"/>
                  </a:cxn>
                  <a:cxn ang="0">
                    <a:pos x="263" y="230"/>
                  </a:cxn>
                  <a:cxn ang="0">
                    <a:pos x="315" y="228"/>
                  </a:cxn>
                  <a:cxn ang="0">
                    <a:pos x="285" y="296"/>
                  </a:cxn>
                  <a:cxn ang="0">
                    <a:pos x="312" y="252"/>
                  </a:cxn>
                  <a:cxn ang="0">
                    <a:pos x="325" y="256"/>
                  </a:cxn>
                  <a:cxn ang="0">
                    <a:pos x="335" y="318"/>
                  </a:cxn>
                  <a:cxn ang="0">
                    <a:pos x="284" y="384"/>
                  </a:cxn>
                  <a:cxn ang="0">
                    <a:pos x="275" y="332"/>
                  </a:cxn>
                  <a:cxn ang="0">
                    <a:pos x="269" y="360"/>
                  </a:cxn>
                  <a:cxn ang="0">
                    <a:pos x="255" y="355"/>
                  </a:cxn>
                  <a:cxn ang="0">
                    <a:pos x="268" y="290"/>
                  </a:cxn>
                  <a:cxn ang="0">
                    <a:pos x="178" y="361"/>
                  </a:cxn>
                  <a:cxn ang="0">
                    <a:pos x="223" y="302"/>
                  </a:cxn>
                  <a:cxn ang="0">
                    <a:pos x="167" y="322"/>
                  </a:cxn>
                  <a:cxn ang="0">
                    <a:pos x="159" y="310"/>
                  </a:cxn>
                  <a:cxn ang="0">
                    <a:pos x="181" y="294"/>
                  </a:cxn>
                  <a:cxn ang="0">
                    <a:pos x="180" y="278"/>
                  </a:cxn>
                  <a:cxn ang="0">
                    <a:pos x="188" y="289"/>
                  </a:cxn>
                  <a:cxn ang="0">
                    <a:pos x="165" y="306"/>
                  </a:cxn>
                  <a:cxn ang="0">
                    <a:pos x="236" y="304"/>
                  </a:cxn>
                  <a:cxn ang="0">
                    <a:pos x="189" y="361"/>
                  </a:cxn>
                  <a:cxn ang="0">
                    <a:pos x="257" y="278"/>
                  </a:cxn>
                  <a:cxn ang="0">
                    <a:pos x="271" y="284"/>
                  </a:cxn>
                  <a:cxn ang="0">
                    <a:pos x="257" y="350"/>
                  </a:cxn>
                  <a:cxn ang="0">
                    <a:pos x="286" y="324"/>
                  </a:cxn>
                  <a:cxn ang="0">
                    <a:pos x="294" y="376"/>
                  </a:cxn>
                  <a:cxn ang="0">
                    <a:pos x="322" y="309"/>
                  </a:cxn>
                  <a:cxn ang="0">
                    <a:pos x="310" y="259"/>
                  </a:cxn>
                  <a:cxn ang="0">
                    <a:pos x="283" y="298"/>
                  </a:cxn>
                  <a:cxn ang="0">
                    <a:pos x="271" y="289"/>
                  </a:cxn>
                  <a:cxn ang="0">
                    <a:pos x="309" y="241"/>
                  </a:cxn>
                  <a:cxn ang="0">
                    <a:pos x="258" y="243"/>
                  </a:cxn>
                  <a:cxn ang="0">
                    <a:pos x="276" y="178"/>
                  </a:cxn>
                  <a:cxn ang="0">
                    <a:pos x="197" y="188"/>
                  </a:cxn>
                  <a:cxn ang="0">
                    <a:pos x="164" y="124"/>
                  </a:cxn>
                  <a:cxn ang="0">
                    <a:pos x="135" y="158"/>
                  </a:cxn>
                  <a:cxn ang="0">
                    <a:pos x="123" y="149"/>
                  </a:cxn>
                  <a:cxn ang="0">
                    <a:pos x="193" y="16"/>
                  </a:cxn>
                  <a:cxn ang="0">
                    <a:pos x="146" y="30"/>
                  </a:cxn>
                  <a:cxn ang="0">
                    <a:pos x="8" y="288"/>
                  </a:cxn>
                </a:cxnLst>
                <a:rect l="0" t="0" r="r" b="b"/>
                <a:pathLst>
                  <a:path w="337" h="385">
                    <a:moveTo>
                      <a:pt x="9" y="304"/>
                    </a:moveTo>
                    <a:cubicBezTo>
                      <a:pt x="6" y="304"/>
                      <a:pt x="3" y="302"/>
                      <a:pt x="2" y="300"/>
                    </a:cubicBezTo>
                    <a:cubicBezTo>
                      <a:pt x="0" y="298"/>
                      <a:pt x="0" y="295"/>
                      <a:pt x="1" y="292"/>
                    </a:cubicBezTo>
                    <a:lnTo>
                      <a:pt x="131" y="23"/>
                    </a:lnTo>
                    <a:cubicBezTo>
                      <a:pt x="132" y="21"/>
                      <a:pt x="134" y="20"/>
                      <a:pt x="136" y="19"/>
                    </a:cubicBezTo>
                    <a:lnTo>
                      <a:pt x="188" y="1"/>
                    </a:lnTo>
                    <a:cubicBezTo>
                      <a:pt x="191" y="0"/>
                      <a:pt x="194" y="1"/>
                      <a:pt x="196" y="3"/>
                    </a:cubicBezTo>
                    <a:cubicBezTo>
                      <a:pt x="198" y="5"/>
                      <a:pt x="199" y="9"/>
                      <a:pt x="198" y="12"/>
                    </a:cubicBezTo>
                    <a:lnTo>
                      <a:pt x="138" y="155"/>
                    </a:lnTo>
                    <a:lnTo>
                      <a:pt x="125" y="146"/>
                    </a:lnTo>
                    <a:lnTo>
                      <a:pt x="166" y="114"/>
                    </a:lnTo>
                    <a:cubicBezTo>
                      <a:pt x="168" y="113"/>
                      <a:pt x="171" y="112"/>
                      <a:pt x="173" y="113"/>
                    </a:cubicBezTo>
                    <a:cubicBezTo>
                      <a:pt x="176" y="114"/>
                      <a:pt x="178" y="115"/>
                      <a:pt x="179" y="117"/>
                    </a:cubicBezTo>
                    <a:lnTo>
                      <a:pt x="205" y="177"/>
                    </a:lnTo>
                    <a:lnTo>
                      <a:pt x="197" y="172"/>
                    </a:lnTo>
                    <a:lnTo>
                      <a:pt x="283" y="172"/>
                    </a:lnTo>
                    <a:cubicBezTo>
                      <a:pt x="286" y="172"/>
                      <a:pt x="288" y="173"/>
                      <a:pt x="290" y="175"/>
                    </a:cubicBezTo>
                    <a:cubicBezTo>
                      <a:pt x="291" y="177"/>
                      <a:pt x="292" y="180"/>
                      <a:pt x="291" y="183"/>
                    </a:cubicBezTo>
                    <a:lnTo>
                      <a:pt x="272" y="240"/>
                    </a:lnTo>
                    <a:lnTo>
                      <a:pt x="263" y="230"/>
                    </a:lnTo>
                    <a:lnTo>
                      <a:pt x="307" y="225"/>
                    </a:lnTo>
                    <a:cubicBezTo>
                      <a:pt x="310" y="225"/>
                      <a:pt x="313" y="226"/>
                      <a:pt x="315" y="228"/>
                    </a:cubicBezTo>
                    <a:cubicBezTo>
                      <a:pt x="316" y="231"/>
                      <a:pt x="316" y="234"/>
                      <a:pt x="315" y="237"/>
                    </a:cubicBezTo>
                    <a:lnTo>
                      <a:pt x="285" y="296"/>
                    </a:lnTo>
                    <a:lnTo>
                      <a:pt x="273" y="286"/>
                    </a:lnTo>
                    <a:lnTo>
                      <a:pt x="312" y="252"/>
                    </a:lnTo>
                    <a:cubicBezTo>
                      <a:pt x="314" y="250"/>
                      <a:pt x="317" y="249"/>
                      <a:pt x="320" y="250"/>
                    </a:cubicBezTo>
                    <a:cubicBezTo>
                      <a:pt x="323" y="251"/>
                      <a:pt x="325" y="253"/>
                      <a:pt x="325" y="256"/>
                    </a:cubicBezTo>
                    <a:lnTo>
                      <a:pt x="336" y="312"/>
                    </a:lnTo>
                    <a:cubicBezTo>
                      <a:pt x="337" y="314"/>
                      <a:pt x="336" y="316"/>
                      <a:pt x="335" y="318"/>
                    </a:cubicBezTo>
                    <a:lnTo>
                      <a:pt x="293" y="381"/>
                    </a:lnTo>
                    <a:cubicBezTo>
                      <a:pt x="291" y="384"/>
                      <a:pt x="287" y="385"/>
                      <a:pt x="284" y="384"/>
                    </a:cubicBezTo>
                    <a:cubicBezTo>
                      <a:pt x="281" y="383"/>
                      <a:pt x="278" y="380"/>
                      <a:pt x="278" y="377"/>
                    </a:cubicBezTo>
                    <a:lnTo>
                      <a:pt x="275" y="332"/>
                    </a:lnTo>
                    <a:lnTo>
                      <a:pt x="289" y="337"/>
                    </a:lnTo>
                    <a:lnTo>
                      <a:pt x="269" y="360"/>
                    </a:lnTo>
                    <a:cubicBezTo>
                      <a:pt x="267" y="363"/>
                      <a:pt x="263" y="364"/>
                      <a:pt x="260" y="362"/>
                    </a:cubicBezTo>
                    <a:cubicBezTo>
                      <a:pt x="257" y="361"/>
                      <a:pt x="255" y="358"/>
                      <a:pt x="255" y="355"/>
                    </a:cubicBezTo>
                    <a:lnTo>
                      <a:pt x="255" y="284"/>
                    </a:lnTo>
                    <a:lnTo>
                      <a:pt x="268" y="290"/>
                    </a:lnTo>
                    <a:lnTo>
                      <a:pt x="189" y="361"/>
                    </a:lnTo>
                    <a:cubicBezTo>
                      <a:pt x="186" y="364"/>
                      <a:pt x="181" y="364"/>
                      <a:pt x="178" y="361"/>
                    </a:cubicBezTo>
                    <a:cubicBezTo>
                      <a:pt x="175" y="358"/>
                      <a:pt x="175" y="353"/>
                      <a:pt x="178" y="350"/>
                    </a:cubicBezTo>
                    <a:lnTo>
                      <a:pt x="223" y="302"/>
                    </a:lnTo>
                    <a:lnTo>
                      <a:pt x="229" y="315"/>
                    </a:lnTo>
                    <a:lnTo>
                      <a:pt x="167" y="322"/>
                    </a:lnTo>
                    <a:cubicBezTo>
                      <a:pt x="164" y="322"/>
                      <a:pt x="161" y="321"/>
                      <a:pt x="159" y="318"/>
                    </a:cubicBezTo>
                    <a:cubicBezTo>
                      <a:pt x="157" y="316"/>
                      <a:pt x="157" y="313"/>
                      <a:pt x="159" y="310"/>
                    </a:cubicBezTo>
                    <a:lnTo>
                      <a:pt x="174" y="282"/>
                    </a:lnTo>
                    <a:lnTo>
                      <a:pt x="181" y="294"/>
                    </a:lnTo>
                    <a:lnTo>
                      <a:pt x="9" y="304"/>
                    </a:lnTo>
                    <a:close/>
                    <a:moveTo>
                      <a:pt x="180" y="278"/>
                    </a:moveTo>
                    <a:cubicBezTo>
                      <a:pt x="183" y="278"/>
                      <a:pt x="186" y="279"/>
                      <a:pt x="188" y="281"/>
                    </a:cubicBezTo>
                    <a:cubicBezTo>
                      <a:pt x="189" y="284"/>
                      <a:pt x="189" y="287"/>
                      <a:pt x="188" y="289"/>
                    </a:cubicBezTo>
                    <a:lnTo>
                      <a:pt x="173" y="318"/>
                    </a:lnTo>
                    <a:lnTo>
                      <a:pt x="165" y="306"/>
                    </a:lnTo>
                    <a:lnTo>
                      <a:pt x="228" y="299"/>
                    </a:lnTo>
                    <a:cubicBezTo>
                      <a:pt x="231" y="299"/>
                      <a:pt x="234" y="301"/>
                      <a:pt x="236" y="304"/>
                    </a:cubicBezTo>
                    <a:cubicBezTo>
                      <a:pt x="237" y="307"/>
                      <a:pt x="237" y="310"/>
                      <a:pt x="234" y="313"/>
                    </a:cubicBezTo>
                    <a:lnTo>
                      <a:pt x="189" y="361"/>
                    </a:lnTo>
                    <a:lnTo>
                      <a:pt x="178" y="349"/>
                    </a:lnTo>
                    <a:lnTo>
                      <a:pt x="257" y="278"/>
                    </a:lnTo>
                    <a:cubicBezTo>
                      <a:pt x="260" y="276"/>
                      <a:pt x="263" y="275"/>
                      <a:pt x="266" y="277"/>
                    </a:cubicBezTo>
                    <a:cubicBezTo>
                      <a:pt x="269" y="278"/>
                      <a:pt x="271" y="281"/>
                      <a:pt x="271" y="284"/>
                    </a:cubicBezTo>
                    <a:lnTo>
                      <a:pt x="271" y="355"/>
                    </a:lnTo>
                    <a:lnTo>
                      <a:pt x="257" y="350"/>
                    </a:lnTo>
                    <a:lnTo>
                      <a:pt x="277" y="327"/>
                    </a:lnTo>
                    <a:cubicBezTo>
                      <a:pt x="279" y="324"/>
                      <a:pt x="283" y="323"/>
                      <a:pt x="286" y="324"/>
                    </a:cubicBezTo>
                    <a:cubicBezTo>
                      <a:pt x="289" y="325"/>
                      <a:pt x="291" y="328"/>
                      <a:pt x="291" y="331"/>
                    </a:cubicBezTo>
                    <a:lnTo>
                      <a:pt x="294" y="376"/>
                    </a:lnTo>
                    <a:lnTo>
                      <a:pt x="279" y="372"/>
                    </a:lnTo>
                    <a:lnTo>
                      <a:pt x="322" y="309"/>
                    </a:lnTo>
                    <a:lnTo>
                      <a:pt x="321" y="315"/>
                    </a:lnTo>
                    <a:lnTo>
                      <a:pt x="310" y="259"/>
                    </a:lnTo>
                    <a:lnTo>
                      <a:pt x="323" y="264"/>
                    </a:lnTo>
                    <a:lnTo>
                      <a:pt x="283" y="298"/>
                    </a:lnTo>
                    <a:cubicBezTo>
                      <a:pt x="280" y="301"/>
                      <a:pt x="276" y="301"/>
                      <a:pt x="273" y="299"/>
                    </a:cubicBezTo>
                    <a:cubicBezTo>
                      <a:pt x="270" y="296"/>
                      <a:pt x="269" y="292"/>
                      <a:pt x="271" y="289"/>
                    </a:cubicBezTo>
                    <a:lnTo>
                      <a:pt x="301" y="229"/>
                    </a:lnTo>
                    <a:lnTo>
                      <a:pt x="309" y="241"/>
                    </a:lnTo>
                    <a:lnTo>
                      <a:pt x="265" y="246"/>
                    </a:lnTo>
                    <a:cubicBezTo>
                      <a:pt x="262" y="246"/>
                      <a:pt x="260" y="245"/>
                      <a:pt x="258" y="243"/>
                    </a:cubicBezTo>
                    <a:cubicBezTo>
                      <a:pt x="256" y="241"/>
                      <a:pt x="256" y="238"/>
                      <a:pt x="257" y="235"/>
                    </a:cubicBezTo>
                    <a:lnTo>
                      <a:pt x="276" y="178"/>
                    </a:lnTo>
                    <a:lnTo>
                      <a:pt x="283" y="188"/>
                    </a:lnTo>
                    <a:lnTo>
                      <a:pt x="197" y="188"/>
                    </a:lnTo>
                    <a:cubicBezTo>
                      <a:pt x="194" y="188"/>
                      <a:pt x="191" y="186"/>
                      <a:pt x="190" y="183"/>
                    </a:cubicBezTo>
                    <a:lnTo>
                      <a:pt x="164" y="124"/>
                    </a:lnTo>
                    <a:lnTo>
                      <a:pt x="176" y="127"/>
                    </a:lnTo>
                    <a:lnTo>
                      <a:pt x="135" y="158"/>
                    </a:lnTo>
                    <a:cubicBezTo>
                      <a:pt x="132" y="161"/>
                      <a:pt x="128" y="161"/>
                      <a:pt x="125" y="158"/>
                    </a:cubicBezTo>
                    <a:cubicBezTo>
                      <a:pt x="122" y="156"/>
                      <a:pt x="121" y="152"/>
                      <a:pt x="123" y="149"/>
                    </a:cubicBezTo>
                    <a:lnTo>
                      <a:pt x="183" y="5"/>
                    </a:lnTo>
                    <a:lnTo>
                      <a:pt x="193" y="16"/>
                    </a:lnTo>
                    <a:lnTo>
                      <a:pt x="141" y="34"/>
                    </a:lnTo>
                    <a:lnTo>
                      <a:pt x="146" y="30"/>
                    </a:lnTo>
                    <a:lnTo>
                      <a:pt x="16" y="299"/>
                    </a:lnTo>
                    <a:lnTo>
                      <a:pt x="8" y="288"/>
                    </a:lnTo>
                    <a:lnTo>
                      <a:pt x="180" y="278"/>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32" name="Freeform 88"/>
              <p:cNvSpPr>
                <a:spLocks/>
              </p:cNvSpPr>
              <p:nvPr/>
            </p:nvSpPr>
            <p:spPr bwMode="auto">
              <a:xfrm>
                <a:off x="3860" y="1992"/>
                <a:ext cx="23" cy="52"/>
              </a:xfrm>
              <a:custGeom>
                <a:avLst/>
                <a:gdLst/>
                <a:ahLst/>
                <a:cxnLst>
                  <a:cxn ang="0">
                    <a:pos x="0" y="0"/>
                  </a:cxn>
                  <a:cxn ang="0">
                    <a:pos x="4" y="52"/>
                  </a:cxn>
                  <a:cxn ang="0">
                    <a:pos x="23" y="43"/>
                  </a:cxn>
                  <a:cxn ang="0">
                    <a:pos x="13" y="13"/>
                  </a:cxn>
                  <a:cxn ang="0">
                    <a:pos x="0" y="0"/>
                  </a:cxn>
                </a:cxnLst>
                <a:rect l="0" t="0" r="r" b="b"/>
                <a:pathLst>
                  <a:path w="23" h="52">
                    <a:moveTo>
                      <a:pt x="0" y="0"/>
                    </a:moveTo>
                    <a:lnTo>
                      <a:pt x="4" y="52"/>
                    </a:lnTo>
                    <a:lnTo>
                      <a:pt x="23" y="43"/>
                    </a:lnTo>
                    <a:lnTo>
                      <a:pt x="13" y="13"/>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33" name="Freeform 89"/>
              <p:cNvSpPr>
                <a:spLocks noEditPoints="1"/>
              </p:cNvSpPr>
              <p:nvPr/>
            </p:nvSpPr>
            <p:spPr bwMode="auto">
              <a:xfrm>
                <a:off x="3857" y="1991"/>
                <a:ext cx="28" cy="55"/>
              </a:xfrm>
              <a:custGeom>
                <a:avLst/>
                <a:gdLst/>
                <a:ahLst/>
                <a:cxnLst>
                  <a:cxn ang="0">
                    <a:pos x="3" y="14"/>
                  </a:cxn>
                  <a:cxn ang="0">
                    <a:pos x="16" y="8"/>
                  </a:cxn>
                  <a:cxn ang="0">
                    <a:pos x="30" y="232"/>
                  </a:cxn>
                  <a:cxn ang="0">
                    <a:pos x="18" y="226"/>
                  </a:cxn>
                  <a:cxn ang="0">
                    <a:pos x="84" y="186"/>
                  </a:cxn>
                  <a:cxn ang="0">
                    <a:pos x="81" y="195"/>
                  </a:cxn>
                  <a:cxn ang="0">
                    <a:pos x="49" y="64"/>
                  </a:cxn>
                  <a:cxn ang="0">
                    <a:pos x="51" y="67"/>
                  </a:cxn>
                  <a:cxn ang="0">
                    <a:pos x="3" y="14"/>
                  </a:cxn>
                  <a:cxn ang="0">
                    <a:pos x="62" y="57"/>
                  </a:cxn>
                  <a:cxn ang="0">
                    <a:pos x="64" y="60"/>
                  </a:cxn>
                  <a:cxn ang="0">
                    <a:pos x="96" y="191"/>
                  </a:cxn>
                  <a:cxn ang="0">
                    <a:pos x="93" y="200"/>
                  </a:cxn>
                  <a:cxn ang="0">
                    <a:pos x="26" y="239"/>
                  </a:cxn>
                  <a:cxn ang="0">
                    <a:pos x="18" y="240"/>
                  </a:cxn>
                  <a:cxn ang="0">
                    <a:pos x="14" y="233"/>
                  </a:cxn>
                  <a:cxn ang="0">
                    <a:pos x="0" y="9"/>
                  </a:cxn>
                  <a:cxn ang="0">
                    <a:pos x="5" y="1"/>
                  </a:cxn>
                  <a:cxn ang="0">
                    <a:pos x="14" y="3"/>
                  </a:cxn>
                  <a:cxn ang="0">
                    <a:pos x="62" y="57"/>
                  </a:cxn>
                </a:cxnLst>
                <a:rect l="0" t="0" r="r" b="b"/>
                <a:pathLst>
                  <a:path w="97" h="241">
                    <a:moveTo>
                      <a:pt x="3" y="14"/>
                    </a:moveTo>
                    <a:lnTo>
                      <a:pt x="16" y="8"/>
                    </a:lnTo>
                    <a:lnTo>
                      <a:pt x="30" y="232"/>
                    </a:lnTo>
                    <a:lnTo>
                      <a:pt x="18" y="226"/>
                    </a:lnTo>
                    <a:lnTo>
                      <a:pt x="84" y="186"/>
                    </a:lnTo>
                    <a:lnTo>
                      <a:pt x="81" y="195"/>
                    </a:lnTo>
                    <a:lnTo>
                      <a:pt x="49" y="64"/>
                    </a:lnTo>
                    <a:lnTo>
                      <a:pt x="51" y="67"/>
                    </a:lnTo>
                    <a:lnTo>
                      <a:pt x="3" y="14"/>
                    </a:lnTo>
                    <a:close/>
                    <a:moveTo>
                      <a:pt x="62" y="57"/>
                    </a:moveTo>
                    <a:cubicBezTo>
                      <a:pt x="63" y="58"/>
                      <a:pt x="64" y="59"/>
                      <a:pt x="64" y="60"/>
                    </a:cubicBezTo>
                    <a:lnTo>
                      <a:pt x="96" y="191"/>
                    </a:lnTo>
                    <a:cubicBezTo>
                      <a:pt x="97" y="194"/>
                      <a:pt x="96" y="198"/>
                      <a:pt x="93" y="200"/>
                    </a:cubicBezTo>
                    <a:lnTo>
                      <a:pt x="26" y="239"/>
                    </a:lnTo>
                    <a:cubicBezTo>
                      <a:pt x="24" y="241"/>
                      <a:pt x="21" y="241"/>
                      <a:pt x="18" y="240"/>
                    </a:cubicBezTo>
                    <a:cubicBezTo>
                      <a:pt x="16" y="238"/>
                      <a:pt x="14" y="236"/>
                      <a:pt x="14" y="233"/>
                    </a:cubicBezTo>
                    <a:lnTo>
                      <a:pt x="0" y="9"/>
                    </a:lnTo>
                    <a:cubicBezTo>
                      <a:pt x="0" y="6"/>
                      <a:pt x="2" y="2"/>
                      <a:pt x="5" y="1"/>
                    </a:cubicBezTo>
                    <a:cubicBezTo>
                      <a:pt x="9" y="0"/>
                      <a:pt x="12" y="1"/>
                      <a:pt x="14" y="3"/>
                    </a:cubicBezTo>
                    <a:lnTo>
                      <a:pt x="62" y="57"/>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34" name="Freeform 90"/>
              <p:cNvSpPr>
                <a:spLocks/>
              </p:cNvSpPr>
              <p:nvPr/>
            </p:nvSpPr>
            <p:spPr bwMode="auto">
              <a:xfrm>
                <a:off x="1688" y="2355"/>
                <a:ext cx="111" cy="552"/>
              </a:xfrm>
              <a:custGeom>
                <a:avLst/>
                <a:gdLst/>
                <a:ahLst/>
                <a:cxnLst>
                  <a:cxn ang="0">
                    <a:pos x="0" y="431"/>
                  </a:cxn>
                  <a:cxn ang="0">
                    <a:pos x="8" y="416"/>
                  </a:cxn>
                  <a:cxn ang="0">
                    <a:pos x="24" y="427"/>
                  </a:cxn>
                  <a:cxn ang="0">
                    <a:pos x="38" y="399"/>
                  </a:cxn>
                  <a:cxn ang="0">
                    <a:pos x="32" y="388"/>
                  </a:cxn>
                  <a:cxn ang="0">
                    <a:pos x="44" y="349"/>
                  </a:cxn>
                  <a:cxn ang="0">
                    <a:pos x="23" y="345"/>
                  </a:cxn>
                  <a:cxn ang="0">
                    <a:pos x="26" y="282"/>
                  </a:cxn>
                  <a:cxn ang="0">
                    <a:pos x="54" y="217"/>
                  </a:cxn>
                  <a:cxn ang="0">
                    <a:pos x="53" y="161"/>
                  </a:cxn>
                  <a:cxn ang="0">
                    <a:pos x="73" y="56"/>
                  </a:cxn>
                  <a:cxn ang="0">
                    <a:pos x="66" y="9"/>
                  </a:cxn>
                  <a:cxn ang="0">
                    <a:pos x="80" y="0"/>
                  </a:cxn>
                  <a:cxn ang="0">
                    <a:pos x="93" y="24"/>
                  </a:cxn>
                  <a:cxn ang="0">
                    <a:pos x="102" y="72"/>
                  </a:cxn>
                  <a:cxn ang="0">
                    <a:pos x="111" y="74"/>
                  </a:cxn>
                  <a:cxn ang="0">
                    <a:pos x="110" y="90"/>
                  </a:cxn>
                  <a:cxn ang="0">
                    <a:pos x="95" y="97"/>
                  </a:cxn>
                  <a:cxn ang="0">
                    <a:pos x="96" y="129"/>
                  </a:cxn>
                  <a:cxn ang="0">
                    <a:pos x="80" y="147"/>
                  </a:cxn>
                  <a:cxn ang="0">
                    <a:pos x="67" y="193"/>
                  </a:cxn>
                  <a:cxn ang="0">
                    <a:pos x="77" y="235"/>
                  </a:cxn>
                  <a:cxn ang="0">
                    <a:pos x="59" y="272"/>
                  </a:cxn>
                  <a:cxn ang="0">
                    <a:pos x="47" y="363"/>
                  </a:cxn>
                  <a:cxn ang="0">
                    <a:pos x="57" y="396"/>
                  </a:cxn>
                  <a:cxn ang="0">
                    <a:pos x="48" y="399"/>
                  </a:cxn>
                  <a:cxn ang="0">
                    <a:pos x="52" y="428"/>
                  </a:cxn>
                  <a:cxn ang="0">
                    <a:pos x="30" y="490"/>
                  </a:cxn>
                  <a:cxn ang="0">
                    <a:pos x="31" y="500"/>
                  </a:cxn>
                  <a:cxn ang="0">
                    <a:pos x="43" y="496"/>
                  </a:cxn>
                  <a:cxn ang="0">
                    <a:pos x="47" y="520"/>
                  </a:cxn>
                  <a:cxn ang="0">
                    <a:pos x="96" y="525"/>
                  </a:cxn>
                  <a:cxn ang="0">
                    <a:pos x="63" y="534"/>
                  </a:cxn>
                  <a:cxn ang="0">
                    <a:pos x="59" y="552"/>
                  </a:cxn>
                  <a:cxn ang="0">
                    <a:pos x="45" y="547"/>
                  </a:cxn>
                  <a:cxn ang="0">
                    <a:pos x="61" y="536"/>
                  </a:cxn>
                  <a:cxn ang="0">
                    <a:pos x="37" y="530"/>
                  </a:cxn>
                  <a:cxn ang="0">
                    <a:pos x="34" y="511"/>
                  </a:cxn>
                  <a:cxn ang="0">
                    <a:pos x="28" y="520"/>
                  </a:cxn>
                  <a:cxn ang="0">
                    <a:pos x="20" y="502"/>
                  </a:cxn>
                  <a:cxn ang="0">
                    <a:pos x="24" y="497"/>
                  </a:cxn>
                  <a:cxn ang="0">
                    <a:pos x="14" y="488"/>
                  </a:cxn>
                  <a:cxn ang="0">
                    <a:pos x="23" y="478"/>
                  </a:cxn>
                  <a:cxn ang="0">
                    <a:pos x="14" y="452"/>
                  </a:cxn>
                  <a:cxn ang="0">
                    <a:pos x="31" y="455"/>
                  </a:cxn>
                  <a:cxn ang="0">
                    <a:pos x="14" y="440"/>
                  </a:cxn>
                  <a:cxn ang="0">
                    <a:pos x="18" y="430"/>
                  </a:cxn>
                  <a:cxn ang="0">
                    <a:pos x="0" y="431"/>
                  </a:cxn>
                </a:cxnLst>
                <a:rect l="0" t="0" r="r" b="b"/>
                <a:pathLst>
                  <a:path w="111" h="552">
                    <a:moveTo>
                      <a:pt x="0" y="431"/>
                    </a:moveTo>
                    <a:lnTo>
                      <a:pt x="8" y="416"/>
                    </a:lnTo>
                    <a:lnTo>
                      <a:pt x="24" y="427"/>
                    </a:lnTo>
                    <a:lnTo>
                      <a:pt x="38" y="399"/>
                    </a:lnTo>
                    <a:lnTo>
                      <a:pt x="32" y="388"/>
                    </a:lnTo>
                    <a:lnTo>
                      <a:pt x="44" y="349"/>
                    </a:lnTo>
                    <a:lnTo>
                      <a:pt x="23" y="345"/>
                    </a:lnTo>
                    <a:lnTo>
                      <a:pt x="26" y="282"/>
                    </a:lnTo>
                    <a:lnTo>
                      <a:pt x="54" y="217"/>
                    </a:lnTo>
                    <a:lnTo>
                      <a:pt x="53" y="161"/>
                    </a:lnTo>
                    <a:lnTo>
                      <a:pt x="73" y="56"/>
                    </a:lnTo>
                    <a:lnTo>
                      <a:pt x="66" y="9"/>
                    </a:lnTo>
                    <a:lnTo>
                      <a:pt x="80" y="0"/>
                    </a:lnTo>
                    <a:lnTo>
                      <a:pt x="93" y="24"/>
                    </a:lnTo>
                    <a:lnTo>
                      <a:pt x="102" y="72"/>
                    </a:lnTo>
                    <a:lnTo>
                      <a:pt x="111" y="74"/>
                    </a:lnTo>
                    <a:lnTo>
                      <a:pt x="110" y="90"/>
                    </a:lnTo>
                    <a:lnTo>
                      <a:pt x="95" y="97"/>
                    </a:lnTo>
                    <a:lnTo>
                      <a:pt x="96" y="129"/>
                    </a:lnTo>
                    <a:lnTo>
                      <a:pt x="80" y="147"/>
                    </a:lnTo>
                    <a:lnTo>
                      <a:pt x="67" y="193"/>
                    </a:lnTo>
                    <a:lnTo>
                      <a:pt x="77" y="235"/>
                    </a:lnTo>
                    <a:lnTo>
                      <a:pt x="59" y="272"/>
                    </a:lnTo>
                    <a:lnTo>
                      <a:pt x="47" y="363"/>
                    </a:lnTo>
                    <a:lnTo>
                      <a:pt x="57" y="396"/>
                    </a:lnTo>
                    <a:lnTo>
                      <a:pt x="48" y="399"/>
                    </a:lnTo>
                    <a:lnTo>
                      <a:pt x="52" y="428"/>
                    </a:lnTo>
                    <a:lnTo>
                      <a:pt x="30" y="490"/>
                    </a:lnTo>
                    <a:lnTo>
                      <a:pt x="31" y="500"/>
                    </a:lnTo>
                    <a:lnTo>
                      <a:pt x="43" y="496"/>
                    </a:lnTo>
                    <a:lnTo>
                      <a:pt x="47" y="520"/>
                    </a:lnTo>
                    <a:lnTo>
                      <a:pt x="96" y="525"/>
                    </a:lnTo>
                    <a:lnTo>
                      <a:pt x="63" y="534"/>
                    </a:lnTo>
                    <a:lnTo>
                      <a:pt x="59" y="552"/>
                    </a:lnTo>
                    <a:lnTo>
                      <a:pt x="45" y="547"/>
                    </a:lnTo>
                    <a:lnTo>
                      <a:pt x="61" y="536"/>
                    </a:lnTo>
                    <a:lnTo>
                      <a:pt x="37" y="530"/>
                    </a:lnTo>
                    <a:lnTo>
                      <a:pt x="34" y="511"/>
                    </a:lnTo>
                    <a:lnTo>
                      <a:pt x="28" y="520"/>
                    </a:lnTo>
                    <a:lnTo>
                      <a:pt x="20" y="502"/>
                    </a:lnTo>
                    <a:lnTo>
                      <a:pt x="24" y="497"/>
                    </a:lnTo>
                    <a:lnTo>
                      <a:pt x="14" y="488"/>
                    </a:lnTo>
                    <a:lnTo>
                      <a:pt x="23" y="478"/>
                    </a:lnTo>
                    <a:lnTo>
                      <a:pt x="14" y="452"/>
                    </a:lnTo>
                    <a:lnTo>
                      <a:pt x="31" y="455"/>
                    </a:lnTo>
                    <a:lnTo>
                      <a:pt x="14" y="440"/>
                    </a:lnTo>
                    <a:lnTo>
                      <a:pt x="18" y="430"/>
                    </a:lnTo>
                    <a:lnTo>
                      <a:pt x="0" y="43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35" name="Freeform 91"/>
              <p:cNvSpPr>
                <a:spLocks noEditPoints="1"/>
              </p:cNvSpPr>
              <p:nvPr/>
            </p:nvSpPr>
            <p:spPr bwMode="auto">
              <a:xfrm>
                <a:off x="1685" y="2353"/>
                <a:ext cx="117" cy="556"/>
              </a:xfrm>
              <a:custGeom>
                <a:avLst/>
                <a:gdLst/>
                <a:ahLst/>
                <a:cxnLst>
                  <a:cxn ang="0">
                    <a:pos x="30" y="1828"/>
                  </a:cxn>
                  <a:cxn ang="0">
                    <a:pos x="83" y="1875"/>
                  </a:cxn>
                  <a:cxn ang="0">
                    <a:pos x="114" y="1705"/>
                  </a:cxn>
                  <a:cxn ang="0">
                    <a:pos x="80" y="1521"/>
                  </a:cxn>
                  <a:cxn ang="0">
                    <a:pos x="186" y="957"/>
                  </a:cxn>
                  <a:cxn ang="0">
                    <a:pos x="252" y="254"/>
                  </a:cxn>
                  <a:cxn ang="0">
                    <a:pos x="285" y="1"/>
                  </a:cxn>
                  <a:cxn ang="0">
                    <a:pos x="369" y="326"/>
                  </a:cxn>
                  <a:cxn ang="0">
                    <a:pos x="395" y="406"/>
                  </a:cxn>
                  <a:cxn ang="0">
                    <a:pos x="347" y="575"/>
                  </a:cxn>
                  <a:cxn ang="0">
                    <a:pos x="247" y="853"/>
                  </a:cxn>
                  <a:cxn ang="0">
                    <a:pos x="221" y="1203"/>
                  </a:cxn>
                  <a:cxn ang="0">
                    <a:pos x="212" y="1740"/>
                  </a:cxn>
                  <a:cxn ang="0">
                    <a:pos x="197" y="1880"/>
                  </a:cxn>
                  <a:cxn ang="0">
                    <a:pos x="125" y="2195"/>
                  </a:cxn>
                  <a:cxn ang="0">
                    <a:pos x="165" y="2178"/>
                  </a:cxn>
                  <a:cxn ang="0">
                    <a:pos x="347" y="2304"/>
                  </a:cxn>
                  <a:cxn ang="0">
                    <a:pos x="221" y="2426"/>
                  </a:cxn>
                  <a:cxn ang="0">
                    <a:pos x="157" y="2402"/>
                  </a:cxn>
                  <a:cxn ang="0">
                    <a:pos x="135" y="2337"/>
                  </a:cxn>
                  <a:cxn ang="0">
                    <a:pos x="114" y="2290"/>
                  </a:cxn>
                  <a:cxn ang="0">
                    <a:pos x="71" y="2202"/>
                  </a:cxn>
                  <a:cxn ang="0">
                    <a:pos x="50" y="2142"/>
                  </a:cxn>
                  <a:cxn ang="0">
                    <a:pos x="52" y="1981"/>
                  </a:cxn>
                  <a:cxn ang="0">
                    <a:pos x="52" y="1942"/>
                  </a:cxn>
                  <a:cxn ang="0">
                    <a:pos x="9" y="1904"/>
                  </a:cxn>
                  <a:cxn ang="0">
                    <a:pos x="65" y="1939"/>
                  </a:cxn>
                  <a:cxn ang="0">
                    <a:pos x="115" y="2006"/>
                  </a:cxn>
                  <a:cxn ang="0">
                    <a:pos x="95" y="2106"/>
                  </a:cxn>
                  <a:cxn ang="0">
                    <a:pos x="99" y="2187"/>
                  </a:cxn>
                  <a:cxn ang="0">
                    <a:pos x="100" y="2283"/>
                  </a:cxn>
                  <a:cxn ang="0">
                    <a:pos x="145" y="2329"/>
                  </a:cxn>
                  <a:cxn ang="0">
                    <a:pos x="224" y="2359"/>
                  </a:cxn>
                  <a:cxn ang="0">
                    <a:pos x="205" y="2423"/>
                  </a:cxn>
                  <a:cxn ang="0">
                    <a:pos x="338" y="2312"/>
                  </a:cxn>
                  <a:cxn ang="0">
                    <a:pos x="160" y="2187"/>
                  </a:cxn>
                  <a:cxn ang="0">
                    <a:pos x="103" y="2152"/>
                  </a:cxn>
                  <a:cxn ang="0">
                    <a:pos x="165" y="1754"/>
                  </a:cxn>
                  <a:cxn ang="0">
                    <a:pos x="164" y="1598"/>
                  </a:cxn>
                  <a:cxn ang="0">
                    <a:pos x="265" y="1037"/>
                  </a:cxn>
                  <a:cxn ang="0">
                    <a:pos x="276" y="652"/>
                  </a:cxn>
                  <a:cxn ang="0">
                    <a:pos x="329" y="435"/>
                  </a:cxn>
                  <a:cxn ang="0">
                    <a:pos x="384" y="333"/>
                  </a:cxn>
                  <a:cxn ang="0">
                    <a:pos x="323" y="115"/>
                  </a:cxn>
                  <a:cxn ang="0">
                    <a:pos x="244" y="56"/>
                  </a:cxn>
                  <a:cxn ang="0">
                    <a:pos x="201" y="716"/>
                  </a:cxn>
                  <a:cxn ang="0">
                    <a:pos x="108" y="1247"/>
                  </a:cxn>
                  <a:cxn ang="0">
                    <a:pos x="161" y="1527"/>
                  </a:cxn>
                  <a:cxn ang="0">
                    <a:pos x="129" y="1704"/>
                  </a:cxn>
                  <a:cxn ang="0">
                    <a:pos x="93" y="1886"/>
                  </a:cxn>
                  <a:cxn ang="0">
                    <a:pos x="16" y="1900"/>
                  </a:cxn>
                </a:cxnLst>
                <a:rect l="0" t="0" r="r" b="b"/>
                <a:pathLst>
                  <a:path w="401" h="2433">
                    <a:moveTo>
                      <a:pt x="9" y="1904"/>
                    </a:moveTo>
                    <a:cubicBezTo>
                      <a:pt x="6" y="1904"/>
                      <a:pt x="4" y="1903"/>
                      <a:pt x="2" y="1901"/>
                    </a:cubicBezTo>
                    <a:cubicBezTo>
                      <a:pt x="0" y="1899"/>
                      <a:pt x="0" y="1896"/>
                      <a:pt x="1" y="1893"/>
                    </a:cubicBezTo>
                    <a:lnTo>
                      <a:pt x="30" y="1828"/>
                    </a:lnTo>
                    <a:cubicBezTo>
                      <a:pt x="31" y="1826"/>
                      <a:pt x="34" y="1824"/>
                      <a:pt x="36" y="1823"/>
                    </a:cubicBezTo>
                    <a:cubicBezTo>
                      <a:pt x="38" y="1823"/>
                      <a:pt x="41" y="1824"/>
                      <a:pt x="43" y="1825"/>
                    </a:cubicBezTo>
                    <a:lnTo>
                      <a:pt x="96" y="1872"/>
                    </a:lnTo>
                    <a:lnTo>
                      <a:pt x="83" y="1875"/>
                    </a:lnTo>
                    <a:lnTo>
                      <a:pt x="131" y="1750"/>
                    </a:lnTo>
                    <a:lnTo>
                      <a:pt x="131" y="1756"/>
                    </a:lnTo>
                    <a:lnTo>
                      <a:pt x="114" y="1709"/>
                    </a:lnTo>
                    <a:cubicBezTo>
                      <a:pt x="113" y="1708"/>
                      <a:pt x="113" y="1706"/>
                      <a:pt x="114" y="1705"/>
                    </a:cubicBezTo>
                    <a:lnTo>
                      <a:pt x="152" y="1533"/>
                    </a:lnTo>
                    <a:lnTo>
                      <a:pt x="158" y="1543"/>
                    </a:lnTo>
                    <a:lnTo>
                      <a:pt x="87" y="1529"/>
                    </a:lnTo>
                    <a:cubicBezTo>
                      <a:pt x="83" y="1529"/>
                      <a:pt x="80" y="1525"/>
                      <a:pt x="80" y="1521"/>
                    </a:cubicBezTo>
                    <a:lnTo>
                      <a:pt x="92" y="1244"/>
                    </a:lnTo>
                    <a:cubicBezTo>
                      <a:pt x="92" y="1244"/>
                      <a:pt x="92" y="1243"/>
                      <a:pt x="93" y="1242"/>
                    </a:cubicBezTo>
                    <a:lnTo>
                      <a:pt x="187" y="954"/>
                    </a:lnTo>
                    <a:lnTo>
                      <a:pt x="186" y="957"/>
                    </a:lnTo>
                    <a:lnTo>
                      <a:pt x="185" y="715"/>
                    </a:lnTo>
                    <a:cubicBezTo>
                      <a:pt x="185" y="715"/>
                      <a:pt x="185" y="714"/>
                      <a:pt x="185" y="714"/>
                    </a:cubicBezTo>
                    <a:lnTo>
                      <a:pt x="252" y="252"/>
                    </a:lnTo>
                    <a:lnTo>
                      <a:pt x="252" y="254"/>
                    </a:lnTo>
                    <a:lnTo>
                      <a:pt x="230" y="51"/>
                    </a:lnTo>
                    <a:cubicBezTo>
                      <a:pt x="230" y="48"/>
                      <a:pt x="231" y="46"/>
                      <a:pt x="233" y="44"/>
                    </a:cubicBezTo>
                    <a:lnTo>
                      <a:pt x="278" y="3"/>
                    </a:lnTo>
                    <a:cubicBezTo>
                      <a:pt x="280" y="1"/>
                      <a:pt x="283" y="0"/>
                      <a:pt x="285" y="1"/>
                    </a:cubicBezTo>
                    <a:cubicBezTo>
                      <a:pt x="288" y="1"/>
                      <a:pt x="290" y="3"/>
                      <a:pt x="291" y="5"/>
                    </a:cubicBezTo>
                    <a:lnTo>
                      <a:pt x="339" y="110"/>
                    </a:lnTo>
                    <a:cubicBezTo>
                      <a:pt x="339" y="111"/>
                      <a:pt x="339" y="112"/>
                      <a:pt x="339" y="112"/>
                    </a:cubicBezTo>
                    <a:lnTo>
                      <a:pt x="369" y="326"/>
                    </a:lnTo>
                    <a:lnTo>
                      <a:pt x="362" y="319"/>
                    </a:lnTo>
                    <a:lnTo>
                      <a:pt x="394" y="326"/>
                    </a:lnTo>
                    <a:cubicBezTo>
                      <a:pt x="398" y="326"/>
                      <a:pt x="401" y="330"/>
                      <a:pt x="400" y="334"/>
                    </a:cubicBezTo>
                    <a:lnTo>
                      <a:pt x="395" y="406"/>
                    </a:lnTo>
                    <a:cubicBezTo>
                      <a:pt x="395" y="408"/>
                      <a:pt x="393" y="411"/>
                      <a:pt x="391" y="412"/>
                    </a:cubicBezTo>
                    <a:lnTo>
                      <a:pt x="341" y="442"/>
                    </a:lnTo>
                    <a:lnTo>
                      <a:pt x="345" y="435"/>
                    </a:lnTo>
                    <a:lnTo>
                      <a:pt x="347" y="575"/>
                    </a:lnTo>
                    <a:cubicBezTo>
                      <a:pt x="347" y="577"/>
                      <a:pt x="347" y="578"/>
                      <a:pt x="346" y="580"/>
                    </a:cubicBezTo>
                    <a:lnTo>
                      <a:pt x="290" y="658"/>
                    </a:lnTo>
                    <a:lnTo>
                      <a:pt x="291" y="655"/>
                    </a:lnTo>
                    <a:lnTo>
                      <a:pt x="247" y="853"/>
                    </a:lnTo>
                    <a:lnTo>
                      <a:pt x="248" y="850"/>
                    </a:lnTo>
                    <a:lnTo>
                      <a:pt x="281" y="1038"/>
                    </a:lnTo>
                    <a:cubicBezTo>
                      <a:pt x="281" y="1040"/>
                      <a:pt x="281" y="1041"/>
                      <a:pt x="280" y="1043"/>
                    </a:cubicBezTo>
                    <a:lnTo>
                      <a:pt x="221" y="1203"/>
                    </a:lnTo>
                    <a:lnTo>
                      <a:pt x="221" y="1201"/>
                    </a:lnTo>
                    <a:lnTo>
                      <a:pt x="180" y="1597"/>
                    </a:lnTo>
                    <a:lnTo>
                      <a:pt x="180" y="1595"/>
                    </a:lnTo>
                    <a:lnTo>
                      <a:pt x="212" y="1740"/>
                    </a:lnTo>
                    <a:cubicBezTo>
                      <a:pt x="212" y="1743"/>
                      <a:pt x="210" y="1747"/>
                      <a:pt x="207" y="1749"/>
                    </a:cubicBezTo>
                    <a:lnTo>
                      <a:pt x="176" y="1760"/>
                    </a:lnTo>
                    <a:lnTo>
                      <a:pt x="181" y="1752"/>
                    </a:lnTo>
                    <a:lnTo>
                      <a:pt x="197" y="1880"/>
                    </a:lnTo>
                    <a:cubicBezTo>
                      <a:pt x="197" y="1881"/>
                      <a:pt x="197" y="1882"/>
                      <a:pt x="197" y="1884"/>
                    </a:cubicBezTo>
                    <a:lnTo>
                      <a:pt x="118" y="2153"/>
                    </a:lnTo>
                    <a:lnTo>
                      <a:pt x="119" y="2150"/>
                    </a:lnTo>
                    <a:lnTo>
                      <a:pt x="125" y="2195"/>
                    </a:lnTo>
                    <a:lnTo>
                      <a:pt x="114" y="2189"/>
                    </a:lnTo>
                    <a:lnTo>
                      <a:pt x="154" y="2172"/>
                    </a:lnTo>
                    <a:cubicBezTo>
                      <a:pt x="156" y="2171"/>
                      <a:pt x="159" y="2171"/>
                      <a:pt x="161" y="2173"/>
                    </a:cubicBezTo>
                    <a:cubicBezTo>
                      <a:pt x="163" y="2174"/>
                      <a:pt x="165" y="2176"/>
                      <a:pt x="165" y="2178"/>
                    </a:cubicBezTo>
                    <a:lnTo>
                      <a:pt x="180" y="2282"/>
                    </a:lnTo>
                    <a:lnTo>
                      <a:pt x="173" y="2275"/>
                    </a:lnTo>
                    <a:lnTo>
                      <a:pt x="340" y="2297"/>
                    </a:lnTo>
                    <a:cubicBezTo>
                      <a:pt x="344" y="2297"/>
                      <a:pt x="347" y="2300"/>
                      <a:pt x="347" y="2304"/>
                    </a:cubicBezTo>
                    <a:cubicBezTo>
                      <a:pt x="348" y="2307"/>
                      <a:pt x="345" y="2311"/>
                      <a:pt x="342" y="2312"/>
                    </a:cubicBezTo>
                    <a:lnTo>
                      <a:pt x="229" y="2352"/>
                    </a:lnTo>
                    <a:lnTo>
                      <a:pt x="234" y="2346"/>
                    </a:lnTo>
                    <a:lnTo>
                      <a:pt x="221" y="2426"/>
                    </a:lnTo>
                    <a:cubicBezTo>
                      <a:pt x="221" y="2428"/>
                      <a:pt x="219" y="2430"/>
                      <a:pt x="217" y="2432"/>
                    </a:cubicBezTo>
                    <a:cubicBezTo>
                      <a:pt x="215" y="2433"/>
                      <a:pt x="212" y="2433"/>
                      <a:pt x="210" y="2432"/>
                    </a:cubicBezTo>
                    <a:lnTo>
                      <a:pt x="162" y="2408"/>
                    </a:lnTo>
                    <a:cubicBezTo>
                      <a:pt x="159" y="2407"/>
                      <a:pt x="158" y="2405"/>
                      <a:pt x="157" y="2402"/>
                    </a:cubicBezTo>
                    <a:cubicBezTo>
                      <a:pt x="157" y="2400"/>
                      <a:pt x="158" y="2397"/>
                      <a:pt x="160" y="2395"/>
                    </a:cubicBezTo>
                    <a:lnTo>
                      <a:pt x="213" y="2347"/>
                    </a:lnTo>
                    <a:lnTo>
                      <a:pt x="216" y="2361"/>
                    </a:lnTo>
                    <a:lnTo>
                      <a:pt x="135" y="2337"/>
                    </a:lnTo>
                    <a:cubicBezTo>
                      <a:pt x="132" y="2336"/>
                      <a:pt x="130" y="2334"/>
                      <a:pt x="129" y="2330"/>
                    </a:cubicBezTo>
                    <a:lnTo>
                      <a:pt x="120" y="2245"/>
                    </a:lnTo>
                    <a:lnTo>
                      <a:pt x="135" y="2248"/>
                    </a:lnTo>
                    <a:lnTo>
                      <a:pt x="114" y="2290"/>
                    </a:lnTo>
                    <a:cubicBezTo>
                      <a:pt x="112" y="2293"/>
                      <a:pt x="109" y="2294"/>
                      <a:pt x="106" y="2294"/>
                    </a:cubicBezTo>
                    <a:cubicBezTo>
                      <a:pt x="103" y="2294"/>
                      <a:pt x="100" y="2292"/>
                      <a:pt x="99" y="2289"/>
                    </a:cubicBezTo>
                    <a:lnTo>
                      <a:pt x="70" y="2209"/>
                    </a:lnTo>
                    <a:cubicBezTo>
                      <a:pt x="69" y="2207"/>
                      <a:pt x="69" y="2204"/>
                      <a:pt x="71" y="2202"/>
                    </a:cubicBezTo>
                    <a:lnTo>
                      <a:pt x="85" y="2179"/>
                    </a:lnTo>
                    <a:lnTo>
                      <a:pt x="86" y="2188"/>
                    </a:lnTo>
                    <a:lnTo>
                      <a:pt x="51" y="2152"/>
                    </a:lnTo>
                    <a:cubicBezTo>
                      <a:pt x="48" y="2149"/>
                      <a:pt x="48" y="2145"/>
                      <a:pt x="50" y="2142"/>
                    </a:cubicBezTo>
                    <a:lnTo>
                      <a:pt x="82" y="2097"/>
                    </a:lnTo>
                    <a:lnTo>
                      <a:pt x="80" y="2103"/>
                    </a:lnTo>
                    <a:lnTo>
                      <a:pt x="50" y="1988"/>
                    </a:lnTo>
                    <a:cubicBezTo>
                      <a:pt x="49" y="1986"/>
                      <a:pt x="50" y="1983"/>
                      <a:pt x="52" y="1981"/>
                    </a:cubicBezTo>
                    <a:cubicBezTo>
                      <a:pt x="54" y="1979"/>
                      <a:pt x="56" y="1978"/>
                      <a:pt x="59" y="1978"/>
                    </a:cubicBezTo>
                    <a:lnTo>
                      <a:pt x="118" y="1990"/>
                    </a:lnTo>
                    <a:lnTo>
                      <a:pt x="110" y="2003"/>
                    </a:lnTo>
                    <a:lnTo>
                      <a:pt x="52" y="1942"/>
                    </a:lnTo>
                    <a:cubicBezTo>
                      <a:pt x="50" y="1940"/>
                      <a:pt x="49" y="1937"/>
                      <a:pt x="50" y="1934"/>
                    </a:cubicBezTo>
                    <a:lnTo>
                      <a:pt x="63" y="1889"/>
                    </a:lnTo>
                    <a:lnTo>
                      <a:pt x="72" y="1899"/>
                    </a:lnTo>
                    <a:lnTo>
                      <a:pt x="9" y="1904"/>
                    </a:lnTo>
                    <a:close/>
                    <a:moveTo>
                      <a:pt x="70" y="1883"/>
                    </a:moveTo>
                    <a:cubicBezTo>
                      <a:pt x="73" y="1883"/>
                      <a:pt x="75" y="1884"/>
                      <a:pt x="77" y="1886"/>
                    </a:cubicBezTo>
                    <a:cubicBezTo>
                      <a:pt x="79" y="1888"/>
                      <a:pt x="79" y="1891"/>
                      <a:pt x="79" y="1894"/>
                    </a:cubicBezTo>
                    <a:lnTo>
                      <a:pt x="65" y="1939"/>
                    </a:lnTo>
                    <a:lnTo>
                      <a:pt x="63" y="1931"/>
                    </a:lnTo>
                    <a:lnTo>
                      <a:pt x="122" y="1992"/>
                    </a:lnTo>
                    <a:cubicBezTo>
                      <a:pt x="124" y="1995"/>
                      <a:pt x="125" y="1999"/>
                      <a:pt x="123" y="2002"/>
                    </a:cubicBezTo>
                    <a:cubicBezTo>
                      <a:pt x="121" y="2005"/>
                      <a:pt x="118" y="2006"/>
                      <a:pt x="115" y="2006"/>
                    </a:cubicBezTo>
                    <a:lnTo>
                      <a:pt x="56" y="1994"/>
                    </a:lnTo>
                    <a:lnTo>
                      <a:pt x="65" y="1984"/>
                    </a:lnTo>
                    <a:lnTo>
                      <a:pt x="96" y="2099"/>
                    </a:lnTo>
                    <a:cubicBezTo>
                      <a:pt x="97" y="2101"/>
                      <a:pt x="96" y="2104"/>
                      <a:pt x="95" y="2106"/>
                    </a:cubicBezTo>
                    <a:lnTo>
                      <a:pt x="63" y="2151"/>
                    </a:lnTo>
                    <a:lnTo>
                      <a:pt x="62" y="2141"/>
                    </a:lnTo>
                    <a:lnTo>
                      <a:pt x="98" y="2177"/>
                    </a:lnTo>
                    <a:cubicBezTo>
                      <a:pt x="100" y="2180"/>
                      <a:pt x="101" y="2184"/>
                      <a:pt x="99" y="2187"/>
                    </a:cubicBezTo>
                    <a:lnTo>
                      <a:pt x="84" y="2210"/>
                    </a:lnTo>
                    <a:lnTo>
                      <a:pt x="85" y="2203"/>
                    </a:lnTo>
                    <a:lnTo>
                      <a:pt x="114" y="2283"/>
                    </a:lnTo>
                    <a:lnTo>
                      <a:pt x="100" y="2283"/>
                    </a:lnTo>
                    <a:lnTo>
                      <a:pt x="121" y="2241"/>
                    </a:lnTo>
                    <a:cubicBezTo>
                      <a:pt x="123" y="2238"/>
                      <a:pt x="126" y="2236"/>
                      <a:pt x="129" y="2237"/>
                    </a:cubicBezTo>
                    <a:cubicBezTo>
                      <a:pt x="133" y="2237"/>
                      <a:pt x="136" y="2240"/>
                      <a:pt x="136" y="2244"/>
                    </a:cubicBezTo>
                    <a:lnTo>
                      <a:pt x="145" y="2329"/>
                    </a:lnTo>
                    <a:lnTo>
                      <a:pt x="140" y="2322"/>
                    </a:lnTo>
                    <a:lnTo>
                      <a:pt x="221" y="2345"/>
                    </a:lnTo>
                    <a:cubicBezTo>
                      <a:pt x="223" y="2346"/>
                      <a:pt x="226" y="2348"/>
                      <a:pt x="226" y="2351"/>
                    </a:cubicBezTo>
                    <a:cubicBezTo>
                      <a:pt x="227" y="2354"/>
                      <a:pt x="226" y="2357"/>
                      <a:pt x="224" y="2359"/>
                    </a:cubicBezTo>
                    <a:lnTo>
                      <a:pt x="171" y="2407"/>
                    </a:lnTo>
                    <a:lnTo>
                      <a:pt x="169" y="2394"/>
                    </a:lnTo>
                    <a:lnTo>
                      <a:pt x="217" y="2417"/>
                    </a:lnTo>
                    <a:lnTo>
                      <a:pt x="205" y="2423"/>
                    </a:lnTo>
                    <a:lnTo>
                      <a:pt x="218" y="2343"/>
                    </a:lnTo>
                    <a:cubicBezTo>
                      <a:pt x="219" y="2340"/>
                      <a:pt x="221" y="2338"/>
                      <a:pt x="224" y="2337"/>
                    </a:cubicBezTo>
                    <a:lnTo>
                      <a:pt x="337" y="2297"/>
                    </a:lnTo>
                    <a:lnTo>
                      <a:pt x="338" y="2312"/>
                    </a:lnTo>
                    <a:lnTo>
                      <a:pt x="171" y="2291"/>
                    </a:lnTo>
                    <a:cubicBezTo>
                      <a:pt x="167" y="2290"/>
                      <a:pt x="164" y="2288"/>
                      <a:pt x="164" y="2284"/>
                    </a:cubicBezTo>
                    <a:lnTo>
                      <a:pt x="149" y="2181"/>
                    </a:lnTo>
                    <a:lnTo>
                      <a:pt x="160" y="2187"/>
                    </a:lnTo>
                    <a:lnTo>
                      <a:pt x="121" y="2204"/>
                    </a:lnTo>
                    <a:cubicBezTo>
                      <a:pt x="118" y="2205"/>
                      <a:pt x="116" y="2204"/>
                      <a:pt x="113" y="2203"/>
                    </a:cubicBezTo>
                    <a:cubicBezTo>
                      <a:pt x="111" y="2202"/>
                      <a:pt x="110" y="2200"/>
                      <a:pt x="109" y="2197"/>
                    </a:cubicBezTo>
                    <a:lnTo>
                      <a:pt x="103" y="2152"/>
                    </a:lnTo>
                    <a:cubicBezTo>
                      <a:pt x="103" y="2151"/>
                      <a:pt x="103" y="2150"/>
                      <a:pt x="103" y="2149"/>
                    </a:cubicBezTo>
                    <a:lnTo>
                      <a:pt x="181" y="1879"/>
                    </a:lnTo>
                    <a:lnTo>
                      <a:pt x="181" y="1882"/>
                    </a:lnTo>
                    <a:lnTo>
                      <a:pt x="165" y="1754"/>
                    </a:lnTo>
                    <a:cubicBezTo>
                      <a:pt x="165" y="1750"/>
                      <a:pt x="167" y="1747"/>
                      <a:pt x="170" y="1746"/>
                    </a:cubicBezTo>
                    <a:lnTo>
                      <a:pt x="201" y="1734"/>
                    </a:lnTo>
                    <a:lnTo>
                      <a:pt x="196" y="1743"/>
                    </a:lnTo>
                    <a:lnTo>
                      <a:pt x="164" y="1598"/>
                    </a:lnTo>
                    <a:cubicBezTo>
                      <a:pt x="164" y="1597"/>
                      <a:pt x="164" y="1596"/>
                      <a:pt x="164" y="1596"/>
                    </a:cubicBezTo>
                    <a:lnTo>
                      <a:pt x="205" y="1199"/>
                    </a:lnTo>
                    <a:cubicBezTo>
                      <a:pt x="205" y="1198"/>
                      <a:pt x="205" y="1198"/>
                      <a:pt x="206" y="1197"/>
                    </a:cubicBezTo>
                    <a:lnTo>
                      <a:pt x="265" y="1037"/>
                    </a:lnTo>
                    <a:lnTo>
                      <a:pt x="265" y="1041"/>
                    </a:lnTo>
                    <a:lnTo>
                      <a:pt x="232" y="853"/>
                    </a:lnTo>
                    <a:cubicBezTo>
                      <a:pt x="232" y="852"/>
                      <a:pt x="232" y="851"/>
                      <a:pt x="232" y="850"/>
                    </a:cubicBezTo>
                    <a:lnTo>
                      <a:pt x="276" y="652"/>
                    </a:lnTo>
                    <a:cubicBezTo>
                      <a:pt x="276" y="651"/>
                      <a:pt x="276" y="650"/>
                      <a:pt x="277" y="649"/>
                    </a:cubicBezTo>
                    <a:lnTo>
                      <a:pt x="333" y="570"/>
                    </a:lnTo>
                    <a:lnTo>
                      <a:pt x="331" y="575"/>
                    </a:lnTo>
                    <a:lnTo>
                      <a:pt x="329" y="435"/>
                    </a:lnTo>
                    <a:cubicBezTo>
                      <a:pt x="329" y="432"/>
                      <a:pt x="330" y="430"/>
                      <a:pt x="333" y="428"/>
                    </a:cubicBezTo>
                    <a:lnTo>
                      <a:pt x="383" y="398"/>
                    </a:lnTo>
                    <a:lnTo>
                      <a:pt x="379" y="404"/>
                    </a:lnTo>
                    <a:lnTo>
                      <a:pt x="384" y="333"/>
                    </a:lnTo>
                    <a:lnTo>
                      <a:pt x="391" y="341"/>
                    </a:lnTo>
                    <a:lnTo>
                      <a:pt x="359" y="335"/>
                    </a:lnTo>
                    <a:cubicBezTo>
                      <a:pt x="356" y="334"/>
                      <a:pt x="353" y="331"/>
                      <a:pt x="353" y="328"/>
                    </a:cubicBezTo>
                    <a:lnTo>
                      <a:pt x="323" y="115"/>
                    </a:lnTo>
                    <a:lnTo>
                      <a:pt x="324" y="117"/>
                    </a:lnTo>
                    <a:lnTo>
                      <a:pt x="276" y="12"/>
                    </a:lnTo>
                    <a:lnTo>
                      <a:pt x="289" y="14"/>
                    </a:lnTo>
                    <a:lnTo>
                      <a:pt x="244" y="56"/>
                    </a:lnTo>
                    <a:lnTo>
                      <a:pt x="246" y="49"/>
                    </a:lnTo>
                    <a:lnTo>
                      <a:pt x="268" y="253"/>
                    </a:lnTo>
                    <a:cubicBezTo>
                      <a:pt x="268" y="253"/>
                      <a:pt x="268" y="254"/>
                      <a:pt x="268" y="255"/>
                    </a:cubicBezTo>
                    <a:lnTo>
                      <a:pt x="201" y="716"/>
                    </a:lnTo>
                    <a:lnTo>
                      <a:pt x="201" y="715"/>
                    </a:lnTo>
                    <a:lnTo>
                      <a:pt x="202" y="956"/>
                    </a:lnTo>
                    <a:cubicBezTo>
                      <a:pt x="203" y="957"/>
                      <a:pt x="202" y="958"/>
                      <a:pt x="202" y="959"/>
                    </a:cubicBezTo>
                    <a:lnTo>
                      <a:pt x="108" y="1247"/>
                    </a:lnTo>
                    <a:lnTo>
                      <a:pt x="108" y="1245"/>
                    </a:lnTo>
                    <a:lnTo>
                      <a:pt x="96" y="1522"/>
                    </a:lnTo>
                    <a:lnTo>
                      <a:pt x="90" y="1514"/>
                    </a:lnTo>
                    <a:lnTo>
                      <a:pt x="161" y="1527"/>
                    </a:lnTo>
                    <a:cubicBezTo>
                      <a:pt x="164" y="1527"/>
                      <a:pt x="165" y="1528"/>
                      <a:pt x="167" y="1530"/>
                    </a:cubicBezTo>
                    <a:cubicBezTo>
                      <a:pt x="168" y="1532"/>
                      <a:pt x="168" y="1534"/>
                      <a:pt x="168" y="1536"/>
                    </a:cubicBezTo>
                    <a:lnTo>
                      <a:pt x="129" y="1708"/>
                    </a:lnTo>
                    <a:lnTo>
                      <a:pt x="129" y="1704"/>
                    </a:lnTo>
                    <a:lnTo>
                      <a:pt x="146" y="1750"/>
                    </a:lnTo>
                    <a:cubicBezTo>
                      <a:pt x="147" y="1752"/>
                      <a:pt x="147" y="1754"/>
                      <a:pt x="146" y="1756"/>
                    </a:cubicBezTo>
                    <a:lnTo>
                      <a:pt x="98" y="1881"/>
                    </a:lnTo>
                    <a:cubicBezTo>
                      <a:pt x="97" y="1883"/>
                      <a:pt x="95" y="1885"/>
                      <a:pt x="93" y="1886"/>
                    </a:cubicBezTo>
                    <a:cubicBezTo>
                      <a:pt x="90" y="1886"/>
                      <a:pt x="88" y="1886"/>
                      <a:pt x="86" y="1884"/>
                    </a:cubicBezTo>
                    <a:lnTo>
                      <a:pt x="32" y="1837"/>
                    </a:lnTo>
                    <a:lnTo>
                      <a:pt x="45" y="1835"/>
                    </a:lnTo>
                    <a:lnTo>
                      <a:pt x="16" y="1900"/>
                    </a:lnTo>
                    <a:lnTo>
                      <a:pt x="8" y="1888"/>
                    </a:lnTo>
                    <a:lnTo>
                      <a:pt x="70" y="1883"/>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36" name="Freeform 92"/>
              <p:cNvSpPr>
                <a:spLocks/>
              </p:cNvSpPr>
              <p:nvPr/>
            </p:nvSpPr>
            <p:spPr bwMode="auto">
              <a:xfrm>
                <a:off x="1692" y="2819"/>
                <a:ext cx="10" cy="22"/>
              </a:xfrm>
              <a:custGeom>
                <a:avLst/>
                <a:gdLst/>
                <a:ahLst/>
                <a:cxnLst>
                  <a:cxn ang="0">
                    <a:pos x="0" y="11"/>
                  </a:cxn>
                  <a:cxn ang="0">
                    <a:pos x="4" y="0"/>
                  </a:cxn>
                  <a:cxn ang="0">
                    <a:pos x="10" y="22"/>
                  </a:cxn>
                  <a:cxn ang="0">
                    <a:pos x="0" y="11"/>
                  </a:cxn>
                </a:cxnLst>
                <a:rect l="0" t="0" r="r" b="b"/>
                <a:pathLst>
                  <a:path w="10" h="22">
                    <a:moveTo>
                      <a:pt x="0" y="11"/>
                    </a:moveTo>
                    <a:lnTo>
                      <a:pt x="4" y="0"/>
                    </a:lnTo>
                    <a:lnTo>
                      <a:pt x="10" y="22"/>
                    </a:lnTo>
                    <a:lnTo>
                      <a:pt x="0" y="1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37" name="Freeform 93"/>
              <p:cNvSpPr>
                <a:spLocks noEditPoints="1"/>
              </p:cNvSpPr>
              <p:nvPr/>
            </p:nvSpPr>
            <p:spPr bwMode="auto">
              <a:xfrm>
                <a:off x="1690" y="2817"/>
                <a:ext cx="14" cy="26"/>
              </a:xfrm>
              <a:custGeom>
                <a:avLst/>
                <a:gdLst/>
                <a:ahLst/>
                <a:cxnLst>
                  <a:cxn ang="0">
                    <a:pos x="2" y="58"/>
                  </a:cxn>
                  <a:cxn ang="0">
                    <a:pos x="1" y="52"/>
                  </a:cxn>
                  <a:cxn ang="0">
                    <a:pos x="14" y="6"/>
                  </a:cxn>
                  <a:cxn ang="0">
                    <a:pos x="22" y="0"/>
                  </a:cxn>
                  <a:cxn ang="0">
                    <a:pos x="29" y="7"/>
                  </a:cxn>
                  <a:cxn ang="0">
                    <a:pos x="48" y="103"/>
                  </a:cxn>
                  <a:cxn ang="0">
                    <a:pos x="43" y="112"/>
                  </a:cxn>
                  <a:cxn ang="0">
                    <a:pos x="34" y="109"/>
                  </a:cxn>
                  <a:cxn ang="0">
                    <a:pos x="2" y="58"/>
                  </a:cxn>
                  <a:cxn ang="0">
                    <a:pos x="47" y="100"/>
                  </a:cxn>
                  <a:cxn ang="0">
                    <a:pos x="33" y="106"/>
                  </a:cxn>
                  <a:cxn ang="0">
                    <a:pos x="14" y="10"/>
                  </a:cxn>
                  <a:cxn ang="0">
                    <a:pos x="29" y="11"/>
                  </a:cxn>
                  <a:cxn ang="0">
                    <a:pos x="16" y="56"/>
                  </a:cxn>
                  <a:cxn ang="0">
                    <a:pos x="15" y="49"/>
                  </a:cxn>
                  <a:cxn ang="0">
                    <a:pos x="47" y="100"/>
                  </a:cxn>
                </a:cxnLst>
                <a:rect l="0" t="0" r="r" b="b"/>
                <a:pathLst>
                  <a:path w="49" h="113">
                    <a:moveTo>
                      <a:pt x="2" y="58"/>
                    </a:moveTo>
                    <a:cubicBezTo>
                      <a:pt x="0" y="56"/>
                      <a:pt x="0" y="54"/>
                      <a:pt x="1" y="52"/>
                    </a:cubicBezTo>
                    <a:lnTo>
                      <a:pt x="14" y="6"/>
                    </a:lnTo>
                    <a:cubicBezTo>
                      <a:pt x="15" y="3"/>
                      <a:pt x="18" y="0"/>
                      <a:pt x="22" y="0"/>
                    </a:cubicBezTo>
                    <a:cubicBezTo>
                      <a:pt x="26" y="1"/>
                      <a:pt x="29" y="3"/>
                      <a:pt x="29" y="7"/>
                    </a:cubicBezTo>
                    <a:lnTo>
                      <a:pt x="48" y="103"/>
                    </a:lnTo>
                    <a:cubicBezTo>
                      <a:pt x="49" y="107"/>
                      <a:pt x="47" y="110"/>
                      <a:pt x="43" y="112"/>
                    </a:cubicBezTo>
                    <a:cubicBezTo>
                      <a:pt x="40" y="113"/>
                      <a:pt x="36" y="112"/>
                      <a:pt x="34" y="109"/>
                    </a:cubicBezTo>
                    <a:lnTo>
                      <a:pt x="2" y="58"/>
                    </a:lnTo>
                    <a:close/>
                    <a:moveTo>
                      <a:pt x="47" y="100"/>
                    </a:moveTo>
                    <a:lnTo>
                      <a:pt x="33" y="106"/>
                    </a:lnTo>
                    <a:lnTo>
                      <a:pt x="14" y="10"/>
                    </a:lnTo>
                    <a:lnTo>
                      <a:pt x="29" y="11"/>
                    </a:lnTo>
                    <a:lnTo>
                      <a:pt x="16" y="56"/>
                    </a:lnTo>
                    <a:lnTo>
                      <a:pt x="15" y="49"/>
                    </a:lnTo>
                    <a:lnTo>
                      <a:pt x="47" y="100"/>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38" name="Freeform 94"/>
              <p:cNvSpPr>
                <a:spLocks/>
              </p:cNvSpPr>
              <p:nvPr/>
            </p:nvSpPr>
            <p:spPr bwMode="auto">
              <a:xfrm>
                <a:off x="1702" y="2706"/>
                <a:ext cx="9" cy="25"/>
              </a:xfrm>
              <a:custGeom>
                <a:avLst/>
                <a:gdLst/>
                <a:ahLst/>
                <a:cxnLst>
                  <a:cxn ang="0">
                    <a:pos x="0" y="21"/>
                  </a:cxn>
                  <a:cxn ang="0">
                    <a:pos x="9" y="0"/>
                  </a:cxn>
                  <a:cxn ang="0">
                    <a:pos x="9" y="25"/>
                  </a:cxn>
                  <a:cxn ang="0">
                    <a:pos x="0" y="21"/>
                  </a:cxn>
                </a:cxnLst>
                <a:rect l="0" t="0" r="r" b="b"/>
                <a:pathLst>
                  <a:path w="9" h="25">
                    <a:moveTo>
                      <a:pt x="0" y="21"/>
                    </a:moveTo>
                    <a:lnTo>
                      <a:pt x="9" y="0"/>
                    </a:lnTo>
                    <a:lnTo>
                      <a:pt x="9" y="25"/>
                    </a:lnTo>
                    <a:lnTo>
                      <a:pt x="0" y="2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39" name="Freeform 95"/>
              <p:cNvSpPr>
                <a:spLocks noEditPoints="1"/>
              </p:cNvSpPr>
              <p:nvPr/>
            </p:nvSpPr>
            <p:spPr bwMode="auto">
              <a:xfrm>
                <a:off x="1699" y="2704"/>
                <a:ext cx="14" cy="29"/>
              </a:xfrm>
              <a:custGeom>
                <a:avLst/>
                <a:gdLst/>
                <a:ahLst/>
                <a:cxnLst>
                  <a:cxn ang="0">
                    <a:pos x="5" y="110"/>
                  </a:cxn>
                  <a:cxn ang="0">
                    <a:pos x="1" y="100"/>
                  </a:cxn>
                  <a:cxn ang="0">
                    <a:pos x="33" y="6"/>
                  </a:cxn>
                  <a:cxn ang="0">
                    <a:pos x="42" y="1"/>
                  </a:cxn>
                  <a:cxn ang="0">
                    <a:pos x="48" y="8"/>
                  </a:cxn>
                  <a:cxn ang="0">
                    <a:pos x="48" y="120"/>
                  </a:cxn>
                  <a:cxn ang="0">
                    <a:pos x="45" y="127"/>
                  </a:cxn>
                  <a:cxn ang="0">
                    <a:pos x="37" y="127"/>
                  </a:cxn>
                  <a:cxn ang="0">
                    <a:pos x="5" y="110"/>
                  </a:cxn>
                  <a:cxn ang="0">
                    <a:pos x="44" y="113"/>
                  </a:cxn>
                  <a:cxn ang="0">
                    <a:pos x="32" y="120"/>
                  </a:cxn>
                  <a:cxn ang="0">
                    <a:pos x="32" y="8"/>
                  </a:cxn>
                  <a:cxn ang="0">
                    <a:pos x="48" y="11"/>
                  </a:cxn>
                  <a:cxn ang="0">
                    <a:pos x="16" y="105"/>
                  </a:cxn>
                  <a:cxn ang="0">
                    <a:pos x="12" y="96"/>
                  </a:cxn>
                  <a:cxn ang="0">
                    <a:pos x="44" y="113"/>
                  </a:cxn>
                </a:cxnLst>
                <a:rect l="0" t="0" r="r" b="b"/>
                <a:pathLst>
                  <a:path w="48" h="129">
                    <a:moveTo>
                      <a:pt x="5" y="110"/>
                    </a:moveTo>
                    <a:cubicBezTo>
                      <a:pt x="1" y="108"/>
                      <a:pt x="0" y="104"/>
                      <a:pt x="1" y="100"/>
                    </a:cubicBezTo>
                    <a:lnTo>
                      <a:pt x="33" y="6"/>
                    </a:lnTo>
                    <a:cubicBezTo>
                      <a:pt x="34" y="2"/>
                      <a:pt x="38" y="0"/>
                      <a:pt x="42" y="1"/>
                    </a:cubicBezTo>
                    <a:cubicBezTo>
                      <a:pt x="46" y="1"/>
                      <a:pt x="48" y="5"/>
                      <a:pt x="48" y="8"/>
                    </a:cubicBezTo>
                    <a:lnTo>
                      <a:pt x="48" y="120"/>
                    </a:lnTo>
                    <a:cubicBezTo>
                      <a:pt x="48" y="123"/>
                      <a:pt x="47" y="126"/>
                      <a:pt x="45" y="127"/>
                    </a:cubicBezTo>
                    <a:cubicBezTo>
                      <a:pt x="42" y="129"/>
                      <a:pt x="39" y="129"/>
                      <a:pt x="37" y="127"/>
                    </a:cubicBezTo>
                    <a:lnTo>
                      <a:pt x="5" y="110"/>
                    </a:lnTo>
                    <a:close/>
                    <a:moveTo>
                      <a:pt x="44" y="113"/>
                    </a:moveTo>
                    <a:lnTo>
                      <a:pt x="32" y="120"/>
                    </a:lnTo>
                    <a:lnTo>
                      <a:pt x="32" y="8"/>
                    </a:lnTo>
                    <a:lnTo>
                      <a:pt x="48" y="11"/>
                    </a:lnTo>
                    <a:lnTo>
                      <a:pt x="16" y="105"/>
                    </a:lnTo>
                    <a:lnTo>
                      <a:pt x="12" y="96"/>
                    </a:lnTo>
                    <a:lnTo>
                      <a:pt x="44" y="113"/>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40" name="Freeform 96"/>
              <p:cNvSpPr>
                <a:spLocks/>
              </p:cNvSpPr>
              <p:nvPr/>
            </p:nvSpPr>
            <p:spPr bwMode="auto">
              <a:xfrm>
                <a:off x="1711" y="2903"/>
                <a:ext cx="18" cy="8"/>
              </a:xfrm>
              <a:custGeom>
                <a:avLst/>
                <a:gdLst/>
                <a:ahLst/>
                <a:cxnLst>
                  <a:cxn ang="0">
                    <a:pos x="0" y="0"/>
                  </a:cxn>
                  <a:cxn ang="0">
                    <a:pos x="18" y="2"/>
                  </a:cxn>
                  <a:cxn ang="0">
                    <a:pos x="18" y="8"/>
                  </a:cxn>
                  <a:cxn ang="0">
                    <a:pos x="0" y="0"/>
                  </a:cxn>
                </a:cxnLst>
                <a:rect l="0" t="0" r="r" b="b"/>
                <a:pathLst>
                  <a:path w="18" h="8">
                    <a:moveTo>
                      <a:pt x="0" y="0"/>
                    </a:moveTo>
                    <a:lnTo>
                      <a:pt x="18" y="2"/>
                    </a:lnTo>
                    <a:lnTo>
                      <a:pt x="18" y="8"/>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41" name="Freeform 97"/>
              <p:cNvSpPr>
                <a:spLocks noEditPoints="1"/>
              </p:cNvSpPr>
              <p:nvPr/>
            </p:nvSpPr>
            <p:spPr bwMode="auto">
              <a:xfrm>
                <a:off x="1709" y="2901"/>
                <a:ext cx="23" cy="12"/>
              </a:xfrm>
              <a:custGeom>
                <a:avLst/>
                <a:gdLst/>
                <a:ahLst/>
                <a:cxnLst>
                  <a:cxn ang="0">
                    <a:pos x="5" y="16"/>
                  </a:cxn>
                  <a:cxn ang="0">
                    <a:pos x="1" y="6"/>
                  </a:cxn>
                  <a:cxn ang="0">
                    <a:pos x="9" y="1"/>
                  </a:cxn>
                  <a:cxn ang="0">
                    <a:pos x="71" y="8"/>
                  </a:cxn>
                  <a:cxn ang="0">
                    <a:pos x="78" y="15"/>
                  </a:cxn>
                  <a:cxn ang="0">
                    <a:pos x="80" y="40"/>
                  </a:cxn>
                  <a:cxn ang="0">
                    <a:pos x="77" y="47"/>
                  </a:cxn>
                  <a:cxn ang="0">
                    <a:pos x="69" y="48"/>
                  </a:cxn>
                  <a:cxn ang="0">
                    <a:pos x="5" y="16"/>
                  </a:cxn>
                  <a:cxn ang="0">
                    <a:pos x="76" y="33"/>
                  </a:cxn>
                  <a:cxn ang="0">
                    <a:pos x="65" y="41"/>
                  </a:cxn>
                  <a:cxn ang="0">
                    <a:pos x="62" y="17"/>
                  </a:cxn>
                  <a:cxn ang="0">
                    <a:pos x="69" y="24"/>
                  </a:cxn>
                  <a:cxn ang="0">
                    <a:pos x="7" y="16"/>
                  </a:cxn>
                  <a:cxn ang="0">
                    <a:pos x="12" y="1"/>
                  </a:cxn>
                  <a:cxn ang="0">
                    <a:pos x="76" y="33"/>
                  </a:cxn>
                </a:cxnLst>
                <a:rect l="0" t="0" r="r" b="b"/>
                <a:pathLst>
                  <a:path w="81" h="49">
                    <a:moveTo>
                      <a:pt x="5" y="16"/>
                    </a:moveTo>
                    <a:cubicBezTo>
                      <a:pt x="1" y="14"/>
                      <a:pt x="0" y="10"/>
                      <a:pt x="1" y="6"/>
                    </a:cubicBezTo>
                    <a:cubicBezTo>
                      <a:pt x="2" y="2"/>
                      <a:pt x="6" y="0"/>
                      <a:pt x="9" y="1"/>
                    </a:cubicBezTo>
                    <a:lnTo>
                      <a:pt x="71" y="8"/>
                    </a:lnTo>
                    <a:cubicBezTo>
                      <a:pt x="74" y="9"/>
                      <a:pt x="77" y="12"/>
                      <a:pt x="78" y="15"/>
                    </a:cubicBezTo>
                    <a:lnTo>
                      <a:pt x="80" y="40"/>
                    </a:lnTo>
                    <a:cubicBezTo>
                      <a:pt x="81" y="42"/>
                      <a:pt x="79" y="45"/>
                      <a:pt x="77" y="47"/>
                    </a:cubicBezTo>
                    <a:cubicBezTo>
                      <a:pt x="75" y="49"/>
                      <a:pt x="72" y="49"/>
                      <a:pt x="69" y="48"/>
                    </a:cubicBezTo>
                    <a:lnTo>
                      <a:pt x="5" y="16"/>
                    </a:lnTo>
                    <a:close/>
                    <a:moveTo>
                      <a:pt x="76" y="33"/>
                    </a:moveTo>
                    <a:lnTo>
                      <a:pt x="65" y="41"/>
                    </a:lnTo>
                    <a:lnTo>
                      <a:pt x="62" y="17"/>
                    </a:lnTo>
                    <a:lnTo>
                      <a:pt x="69" y="24"/>
                    </a:lnTo>
                    <a:lnTo>
                      <a:pt x="7" y="16"/>
                    </a:lnTo>
                    <a:lnTo>
                      <a:pt x="12" y="1"/>
                    </a:lnTo>
                    <a:lnTo>
                      <a:pt x="76" y="33"/>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42" name="Freeform 98"/>
              <p:cNvSpPr>
                <a:spLocks/>
              </p:cNvSpPr>
              <p:nvPr/>
            </p:nvSpPr>
            <p:spPr bwMode="auto">
              <a:xfrm>
                <a:off x="1716" y="2874"/>
                <a:ext cx="27" cy="29"/>
              </a:xfrm>
              <a:custGeom>
                <a:avLst/>
                <a:gdLst/>
                <a:ahLst/>
                <a:cxnLst>
                  <a:cxn ang="0">
                    <a:pos x="0" y="5"/>
                  </a:cxn>
                  <a:cxn ang="0">
                    <a:pos x="7" y="0"/>
                  </a:cxn>
                  <a:cxn ang="0">
                    <a:pos x="6" y="13"/>
                  </a:cxn>
                  <a:cxn ang="0">
                    <a:pos x="27" y="18"/>
                  </a:cxn>
                  <a:cxn ang="0">
                    <a:pos x="14" y="29"/>
                  </a:cxn>
                  <a:cxn ang="0">
                    <a:pos x="0" y="5"/>
                  </a:cxn>
                </a:cxnLst>
                <a:rect l="0" t="0" r="r" b="b"/>
                <a:pathLst>
                  <a:path w="27" h="29">
                    <a:moveTo>
                      <a:pt x="0" y="5"/>
                    </a:moveTo>
                    <a:lnTo>
                      <a:pt x="7" y="0"/>
                    </a:lnTo>
                    <a:lnTo>
                      <a:pt x="6" y="13"/>
                    </a:lnTo>
                    <a:lnTo>
                      <a:pt x="27" y="18"/>
                    </a:lnTo>
                    <a:lnTo>
                      <a:pt x="14" y="29"/>
                    </a:lnTo>
                    <a:lnTo>
                      <a:pt x="0" y="5"/>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43" name="Freeform 99"/>
              <p:cNvSpPr>
                <a:spLocks noEditPoints="1"/>
              </p:cNvSpPr>
              <p:nvPr/>
            </p:nvSpPr>
            <p:spPr bwMode="auto">
              <a:xfrm>
                <a:off x="1713" y="2872"/>
                <a:ext cx="33" cy="33"/>
              </a:xfrm>
              <a:custGeom>
                <a:avLst/>
                <a:gdLst/>
                <a:ahLst/>
                <a:cxnLst>
                  <a:cxn ang="0">
                    <a:pos x="1" y="32"/>
                  </a:cxn>
                  <a:cxn ang="0">
                    <a:pos x="3" y="23"/>
                  </a:cxn>
                  <a:cxn ang="0">
                    <a:pos x="29" y="2"/>
                  </a:cxn>
                  <a:cxn ang="0">
                    <a:pos x="37" y="1"/>
                  </a:cxn>
                  <a:cxn ang="0">
                    <a:pos x="42" y="9"/>
                  </a:cxn>
                  <a:cxn ang="0">
                    <a:pos x="40" y="66"/>
                  </a:cxn>
                  <a:cxn ang="0">
                    <a:pos x="35" y="58"/>
                  </a:cxn>
                  <a:cxn ang="0">
                    <a:pos x="107" y="81"/>
                  </a:cxn>
                  <a:cxn ang="0">
                    <a:pos x="112" y="86"/>
                  </a:cxn>
                  <a:cxn ang="0">
                    <a:pos x="110" y="94"/>
                  </a:cxn>
                  <a:cxn ang="0">
                    <a:pos x="64" y="142"/>
                  </a:cxn>
                  <a:cxn ang="0">
                    <a:pos x="57" y="144"/>
                  </a:cxn>
                  <a:cxn ang="0">
                    <a:pos x="51" y="140"/>
                  </a:cxn>
                  <a:cxn ang="0">
                    <a:pos x="1" y="32"/>
                  </a:cxn>
                  <a:cxn ang="0">
                    <a:pos x="65" y="133"/>
                  </a:cxn>
                  <a:cxn ang="0">
                    <a:pos x="52" y="131"/>
                  </a:cxn>
                  <a:cxn ang="0">
                    <a:pos x="99" y="83"/>
                  </a:cxn>
                  <a:cxn ang="0">
                    <a:pos x="102" y="96"/>
                  </a:cxn>
                  <a:cxn ang="0">
                    <a:pos x="30" y="74"/>
                  </a:cxn>
                  <a:cxn ang="0">
                    <a:pos x="24" y="66"/>
                  </a:cxn>
                  <a:cxn ang="0">
                    <a:pos x="26" y="8"/>
                  </a:cxn>
                  <a:cxn ang="0">
                    <a:pos x="39" y="15"/>
                  </a:cxn>
                  <a:cxn ang="0">
                    <a:pos x="13" y="35"/>
                  </a:cxn>
                  <a:cxn ang="0">
                    <a:pos x="16" y="26"/>
                  </a:cxn>
                  <a:cxn ang="0">
                    <a:pos x="65" y="133"/>
                  </a:cxn>
                </a:cxnLst>
                <a:rect l="0" t="0" r="r" b="b"/>
                <a:pathLst>
                  <a:path w="113" h="145">
                    <a:moveTo>
                      <a:pt x="1" y="32"/>
                    </a:moveTo>
                    <a:cubicBezTo>
                      <a:pt x="0" y="29"/>
                      <a:pt x="1" y="25"/>
                      <a:pt x="3" y="23"/>
                    </a:cubicBezTo>
                    <a:lnTo>
                      <a:pt x="29" y="2"/>
                    </a:lnTo>
                    <a:cubicBezTo>
                      <a:pt x="31" y="0"/>
                      <a:pt x="35" y="0"/>
                      <a:pt x="37" y="1"/>
                    </a:cubicBezTo>
                    <a:cubicBezTo>
                      <a:pt x="40" y="3"/>
                      <a:pt x="42" y="6"/>
                      <a:pt x="42" y="9"/>
                    </a:cubicBezTo>
                    <a:lnTo>
                      <a:pt x="40" y="66"/>
                    </a:lnTo>
                    <a:lnTo>
                      <a:pt x="35" y="58"/>
                    </a:lnTo>
                    <a:lnTo>
                      <a:pt x="107" y="81"/>
                    </a:lnTo>
                    <a:cubicBezTo>
                      <a:pt x="109" y="81"/>
                      <a:pt x="112" y="84"/>
                      <a:pt x="112" y="86"/>
                    </a:cubicBezTo>
                    <a:cubicBezTo>
                      <a:pt x="113" y="89"/>
                      <a:pt x="112" y="92"/>
                      <a:pt x="110" y="94"/>
                    </a:cubicBezTo>
                    <a:lnTo>
                      <a:pt x="64" y="142"/>
                    </a:lnTo>
                    <a:cubicBezTo>
                      <a:pt x="62" y="144"/>
                      <a:pt x="59" y="145"/>
                      <a:pt x="57" y="144"/>
                    </a:cubicBezTo>
                    <a:cubicBezTo>
                      <a:pt x="54" y="144"/>
                      <a:pt x="52" y="142"/>
                      <a:pt x="51" y="140"/>
                    </a:cubicBezTo>
                    <a:lnTo>
                      <a:pt x="1" y="32"/>
                    </a:lnTo>
                    <a:close/>
                    <a:moveTo>
                      <a:pt x="65" y="133"/>
                    </a:moveTo>
                    <a:lnTo>
                      <a:pt x="52" y="131"/>
                    </a:lnTo>
                    <a:lnTo>
                      <a:pt x="99" y="83"/>
                    </a:lnTo>
                    <a:lnTo>
                      <a:pt x="102" y="96"/>
                    </a:lnTo>
                    <a:lnTo>
                      <a:pt x="30" y="74"/>
                    </a:lnTo>
                    <a:cubicBezTo>
                      <a:pt x="27" y="73"/>
                      <a:pt x="24" y="69"/>
                      <a:pt x="24" y="66"/>
                    </a:cubicBezTo>
                    <a:lnTo>
                      <a:pt x="26" y="8"/>
                    </a:lnTo>
                    <a:lnTo>
                      <a:pt x="39" y="15"/>
                    </a:lnTo>
                    <a:lnTo>
                      <a:pt x="13" y="35"/>
                    </a:lnTo>
                    <a:lnTo>
                      <a:pt x="16" y="26"/>
                    </a:lnTo>
                    <a:lnTo>
                      <a:pt x="65" y="133"/>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44" name="Freeform 100"/>
              <p:cNvSpPr>
                <a:spLocks/>
              </p:cNvSpPr>
              <p:nvPr/>
            </p:nvSpPr>
            <p:spPr bwMode="auto">
              <a:xfrm>
                <a:off x="1734" y="2911"/>
                <a:ext cx="19" cy="7"/>
              </a:xfrm>
              <a:custGeom>
                <a:avLst/>
                <a:gdLst/>
                <a:ahLst/>
                <a:cxnLst>
                  <a:cxn ang="0">
                    <a:pos x="0" y="5"/>
                  </a:cxn>
                  <a:cxn ang="0">
                    <a:pos x="5" y="0"/>
                  </a:cxn>
                  <a:cxn ang="0">
                    <a:pos x="19" y="7"/>
                  </a:cxn>
                  <a:cxn ang="0">
                    <a:pos x="0" y="5"/>
                  </a:cxn>
                </a:cxnLst>
                <a:rect l="0" t="0" r="r" b="b"/>
                <a:pathLst>
                  <a:path w="19" h="7">
                    <a:moveTo>
                      <a:pt x="0" y="5"/>
                    </a:moveTo>
                    <a:lnTo>
                      <a:pt x="5" y="0"/>
                    </a:lnTo>
                    <a:lnTo>
                      <a:pt x="19" y="7"/>
                    </a:lnTo>
                    <a:lnTo>
                      <a:pt x="0" y="5"/>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45" name="Freeform 101"/>
              <p:cNvSpPr>
                <a:spLocks noEditPoints="1"/>
              </p:cNvSpPr>
              <p:nvPr/>
            </p:nvSpPr>
            <p:spPr bwMode="auto">
              <a:xfrm>
                <a:off x="1732" y="2909"/>
                <a:ext cx="23" cy="11"/>
              </a:xfrm>
              <a:custGeom>
                <a:avLst/>
                <a:gdLst/>
                <a:ahLst/>
                <a:cxnLst>
                  <a:cxn ang="0">
                    <a:pos x="8" y="41"/>
                  </a:cxn>
                  <a:cxn ang="0">
                    <a:pos x="1" y="36"/>
                  </a:cxn>
                  <a:cxn ang="0">
                    <a:pos x="2" y="29"/>
                  </a:cxn>
                  <a:cxn ang="0">
                    <a:pos x="17" y="4"/>
                  </a:cxn>
                  <a:cxn ang="0">
                    <a:pos x="22" y="1"/>
                  </a:cxn>
                  <a:cxn ang="0">
                    <a:pos x="28" y="2"/>
                  </a:cxn>
                  <a:cxn ang="0">
                    <a:pos x="77" y="34"/>
                  </a:cxn>
                  <a:cxn ang="0">
                    <a:pos x="80" y="43"/>
                  </a:cxn>
                  <a:cxn ang="0">
                    <a:pos x="72" y="48"/>
                  </a:cxn>
                  <a:cxn ang="0">
                    <a:pos x="8" y="41"/>
                  </a:cxn>
                  <a:cxn ang="0">
                    <a:pos x="73" y="33"/>
                  </a:cxn>
                  <a:cxn ang="0">
                    <a:pos x="68" y="47"/>
                  </a:cxn>
                  <a:cxn ang="0">
                    <a:pos x="19" y="15"/>
                  </a:cxn>
                  <a:cxn ang="0">
                    <a:pos x="30" y="13"/>
                  </a:cxn>
                  <a:cxn ang="0">
                    <a:pos x="15" y="37"/>
                  </a:cxn>
                  <a:cxn ang="0">
                    <a:pos x="9" y="25"/>
                  </a:cxn>
                  <a:cxn ang="0">
                    <a:pos x="73" y="33"/>
                  </a:cxn>
                </a:cxnLst>
                <a:rect l="0" t="0" r="r" b="b"/>
                <a:pathLst>
                  <a:path w="81" h="49">
                    <a:moveTo>
                      <a:pt x="8" y="41"/>
                    </a:moveTo>
                    <a:cubicBezTo>
                      <a:pt x="5" y="41"/>
                      <a:pt x="2" y="39"/>
                      <a:pt x="1" y="36"/>
                    </a:cubicBezTo>
                    <a:cubicBezTo>
                      <a:pt x="0" y="34"/>
                      <a:pt x="0" y="31"/>
                      <a:pt x="2" y="29"/>
                    </a:cubicBezTo>
                    <a:lnTo>
                      <a:pt x="17" y="4"/>
                    </a:lnTo>
                    <a:cubicBezTo>
                      <a:pt x="18" y="2"/>
                      <a:pt x="20" y="1"/>
                      <a:pt x="22" y="1"/>
                    </a:cubicBezTo>
                    <a:cubicBezTo>
                      <a:pt x="24" y="0"/>
                      <a:pt x="26" y="1"/>
                      <a:pt x="28" y="2"/>
                    </a:cubicBezTo>
                    <a:lnTo>
                      <a:pt x="77" y="34"/>
                    </a:lnTo>
                    <a:cubicBezTo>
                      <a:pt x="80" y="36"/>
                      <a:pt x="81" y="40"/>
                      <a:pt x="80" y="43"/>
                    </a:cubicBezTo>
                    <a:cubicBezTo>
                      <a:pt x="79" y="47"/>
                      <a:pt x="75" y="49"/>
                      <a:pt x="72" y="48"/>
                    </a:cubicBezTo>
                    <a:lnTo>
                      <a:pt x="8" y="41"/>
                    </a:lnTo>
                    <a:close/>
                    <a:moveTo>
                      <a:pt x="73" y="33"/>
                    </a:moveTo>
                    <a:lnTo>
                      <a:pt x="68" y="47"/>
                    </a:lnTo>
                    <a:lnTo>
                      <a:pt x="19" y="15"/>
                    </a:lnTo>
                    <a:lnTo>
                      <a:pt x="30" y="13"/>
                    </a:lnTo>
                    <a:lnTo>
                      <a:pt x="15" y="37"/>
                    </a:lnTo>
                    <a:lnTo>
                      <a:pt x="9" y="25"/>
                    </a:lnTo>
                    <a:lnTo>
                      <a:pt x="73" y="33"/>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46" name="Freeform 102"/>
              <p:cNvSpPr>
                <a:spLocks/>
              </p:cNvSpPr>
              <p:nvPr/>
            </p:nvSpPr>
            <p:spPr bwMode="auto">
              <a:xfrm>
                <a:off x="1748" y="2889"/>
                <a:ext cx="33" cy="40"/>
              </a:xfrm>
              <a:custGeom>
                <a:avLst/>
                <a:gdLst/>
                <a:ahLst/>
                <a:cxnLst>
                  <a:cxn ang="0">
                    <a:pos x="0" y="33"/>
                  </a:cxn>
                  <a:cxn ang="0">
                    <a:pos x="6" y="27"/>
                  </a:cxn>
                  <a:cxn ang="0">
                    <a:pos x="23" y="30"/>
                  </a:cxn>
                  <a:cxn ang="0">
                    <a:pos x="15" y="20"/>
                  </a:cxn>
                  <a:cxn ang="0">
                    <a:pos x="24" y="14"/>
                  </a:cxn>
                  <a:cxn ang="0">
                    <a:pos x="11" y="12"/>
                  </a:cxn>
                  <a:cxn ang="0">
                    <a:pos x="11" y="2"/>
                  </a:cxn>
                  <a:cxn ang="0">
                    <a:pos x="32" y="0"/>
                  </a:cxn>
                  <a:cxn ang="0">
                    <a:pos x="33" y="40"/>
                  </a:cxn>
                  <a:cxn ang="0">
                    <a:pos x="0" y="33"/>
                  </a:cxn>
                </a:cxnLst>
                <a:rect l="0" t="0" r="r" b="b"/>
                <a:pathLst>
                  <a:path w="33" h="40">
                    <a:moveTo>
                      <a:pt x="0" y="33"/>
                    </a:moveTo>
                    <a:lnTo>
                      <a:pt x="6" y="27"/>
                    </a:lnTo>
                    <a:lnTo>
                      <a:pt x="23" y="30"/>
                    </a:lnTo>
                    <a:lnTo>
                      <a:pt x="15" y="20"/>
                    </a:lnTo>
                    <a:lnTo>
                      <a:pt x="24" y="14"/>
                    </a:lnTo>
                    <a:lnTo>
                      <a:pt x="11" y="12"/>
                    </a:lnTo>
                    <a:lnTo>
                      <a:pt x="11" y="2"/>
                    </a:lnTo>
                    <a:lnTo>
                      <a:pt x="32" y="0"/>
                    </a:lnTo>
                    <a:lnTo>
                      <a:pt x="33" y="40"/>
                    </a:lnTo>
                    <a:lnTo>
                      <a:pt x="0" y="33"/>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47" name="Freeform 103"/>
              <p:cNvSpPr>
                <a:spLocks noEditPoints="1"/>
              </p:cNvSpPr>
              <p:nvPr/>
            </p:nvSpPr>
            <p:spPr bwMode="auto">
              <a:xfrm>
                <a:off x="1746" y="2887"/>
                <a:ext cx="37" cy="44"/>
              </a:xfrm>
              <a:custGeom>
                <a:avLst/>
                <a:gdLst/>
                <a:ahLst/>
                <a:cxnLst>
                  <a:cxn ang="0">
                    <a:pos x="6" y="161"/>
                  </a:cxn>
                  <a:cxn ang="0">
                    <a:pos x="1" y="156"/>
                  </a:cxn>
                  <a:cxn ang="0">
                    <a:pos x="2" y="148"/>
                  </a:cxn>
                  <a:cxn ang="0">
                    <a:pos x="21" y="122"/>
                  </a:cxn>
                  <a:cxn ang="0">
                    <a:pos x="29" y="119"/>
                  </a:cxn>
                  <a:cxn ang="0">
                    <a:pos x="89" y="135"/>
                  </a:cxn>
                  <a:cxn ang="0">
                    <a:pos x="80" y="147"/>
                  </a:cxn>
                  <a:cxn ang="0">
                    <a:pos x="53" y="102"/>
                  </a:cxn>
                  <a:cxn ang="0">
                    <a:pos x="54" y="92"/>
                  </a:cxn>
                  <a:cxn ang="0">
                    <a:pos x="83" y="64"/>
                  </a:cxn>
                  <a:cxn ang="0">
                    <a:pos x="87" y="78"/>
                  </a:cxn>
                  <a:cxn ang="0">
                    <a:pos x="44" y="69"/>
                  </a:cxn>
                  <a:cxn ang="0">
                    <a:pos x="38" y="62"/>
                  </a:cxn>
                  <a:cxn ang="0">
                    <a:pos x="38" y="18"/>
                  </a:cxn>
                  <a:cxn ang="0">
                    <a:pos x="45" y="10"/>
                  </a:cxn>
                  <a:cxn ang="0">
                    <a:pos x="116" y="1"/>
                  </a:cxn>
                  <a:cxn ang="0">
                    <a:pos x="122" y="2"/>
                  </a:cxn>
                  <a:cxn ang="0">
                    <a:pos x="125" y="8"/>
                  </a:cxn>
                  <a:cxn ang="0">
                    <a:pos x="128" y="184"/>
                  </a:cxn>
                  <a:cxn ang="0">
                    <a:pos x="125" y="191"/>
                  </a:cxn>
                  <a:cxn ang="0">
                    <a:pos x="118" y="192"/>
                  </a:cxn>
                  <a:cxn ang="0">
                    <a:pos x="6" y="161"/>
                  </a:cxn>
                  <a:cxn ang="0">
                    <a:pos x="123" y="177"/>
                  </a:cxn>
                  <a:cxn ang="0">
                    <a:pos x="112" y="185"/>
                  </a:cxn>
                  <a:cxn ang="0">
                    <a:pos x="109" y="9"/>
                  </a:cxn>
                  <a:cxn ang="0">
                    <a:pos x="118" y="16"/>
                  </a:cxn>
                  <a:cxn ang="0">
                    <a:pos x="47" y="26"/>
                  </a:cxn>
                  <a:cxn ang="0">
                    <a:pos x="54" y="18"/>
                  </a:cxn>
                  <a:cxn ang="0">
                    <a:pos x="54" y="62"/>
                  </a:cxn>
                  <a:cxn ang="0">
                    <a:pos x="47" y="54"/>
                  </a:cxn>
                  <a:cxn ang="0">
                    <a:pos x="90" y="62"/>
                  </a:cxn>
                  <a:cxn ang="0">
                    <a:pos x="97" y="68"/>
                  </a:cxn>
                  <a:cxn ang="0">
                    <a:pos x="95" y="76"/>
                  </a:cxn>
                  <a:cxn ang="0">
                    <a:pos x="65" y="104"/>
                  </a:cxn>
                  <a:cxn ang="0">
                    <a:pos x="67" y="94"/>
                  </a:cxn>
                  <a:cxn ang="0">
                    <a:pos x="94" y="139"/>
                  </a:cxn>
                  <a:cxn ang="0">
                    <a:pos x="93" y="148"/>
                  </a:cxn>
                  <a:cxn ang="0">
                    <a:pos x="84" y="151"/>
                  </a:cxn>
                  <a:cxn ang="0">
                    <a:pos x="25" y="134"/>
                  </a:cxn>
                  <a:cxn ang="0">
                    <a:pos x="34" y="131"/>
                  </a:cxn>
                  <a:cxn ang="0">
                    <a:pos x="15" y="158"/>
                  </a:cxn>
                  <a:cxn ang="0">
                    <a:pos x="11" y="145"/>
                  </a:cxn>
                  <a:cxn ang="0">
                    <a:pos x="123" y="177"/>
                  </a:cxn>
                </a:cxnLst>
                <a:rect l="0" t="0" r="r" b="b"/>
                <a:pathLst>
                  <a:path w="129" h="193">
                    <a:moveTo>
                      <a:pt x="6" y="161"/>
                    </a:moveTo>
                    <a:cubicBezTo>
                      <a:pt x="4" y="160"/>
                      <a:pt x="2" y="158"/>
                      <a:pt x="1" y="156"/>
                    </a:cubicBezTo>
                    <a:cubicBezTo>
                      <a:pt x="0" y="153"/>
                      <a:pt x="0" y="150"/>
                      <a:pt x="2" y="148"/>
                    </a:cubicBezTo>
                    <a:lnTo>
                      <a:pt x="21" y="122"/>
                    </a:lnTo>
                    <a:cubicBezTo>
                      <a:pt x="23" y="119"/>
                      <a:pt x="26" y="118"/>
                      <a:pt x="29" y="119"/>
                    </a:cubicBezTo>
                    <a:lnTo>
                      <a:pt x="89" y="135"/>
                    </a:lnTo>
                    <a:lnTo>
                      <a:pt x="80" y="147"/>
                    </a:lnTo>
                    <a:lnTo>
                      <a:pt x="53" y="102"/>
                    </a:lnTo>
                    <a:cubicBezTo>
                      <a:pt x="51" y="99"/>
                      <a:pt x="52" y="95"/>
                      <a:pt x="54" y="92"/>
                    </a:cubicBezTo>
                    <a:lnTo>
                      <a:pt x="83" y="64"/>
                    </a:lnTo>
                    <a:lnTo>
                      <a:pt x="87" y="78"/>
                    </a:lnTo>
                    <a:lnTo>
                      <a:pt x="44" y="69"/>
                    </a:lnTo>
                    <a:cubicBezTo>
                      <a:pt x="41" y="69"/>
                      <a:pt x="38" y="65"/>
                      <a:pt x="38" y="62"/>
                    </a:cubicBezTo>
                    <a:lnTo>
                      <a:pt x="38" y="18"/>
                    </a:lnTo>
                    <a:cubicBezTo>
                      <a:pt x="38" y="14"/>
                      <a:pt x="41" y="11"/>
                      <a:pt x="45" y="10"/>
                    </a:cubicBezTo>
                    <a:lnTo>
                      <a:pt x="116" y="1"/>
                    </a:lnTo>
                    <a:cubicBezTo>
                      <a:pt x="118" y="0"/>
                      <a:pt x="120" y="1"/>
                      <a:pt x="122" y="2"/>
                    </a:cubicBezTo>
                    <a:cubicBezTo>
                      <a:pt x="124" y="4"/>
                      <a:pt x="125" y="6"/>
                      <a:pt x="125" y="8"/>
                    </a:cubicBezTo>
                    <a:lnTo>
                      <a:pt x="128" y="184"/>
                    </a:lnTo>
                    <a:cubicBezTo>
                      <a:pt x="129" y="187"/>
                      <a:pt x="127" y="189"/>
                      <a:pt x="125" y="191"/>
                    </a:cubicBezTo>
                    <a:cubicBezTo>
                      <a:pt x="123" y="192"/>
                      <a:pt x="121" y="193"/>
                      <a:pt x="118" y="192"/>
                    </a:cubicBezTo>
                    <a:lnTo>
                      <a:pt x="6" y="161"/>
                    </a:lnTo>
                    <a:close/>
                    <a:moveTo>
                      <a:pt x="123" y="177"/>
                    </a:moveTo>
                    <a:lnTo>
                      <a:pt x="112" y="185"/>
                    </a:lnTo>
                    <a:lnTo>
                      <a:pt x="109" y="9"/>
                    </a:lnTo>
                    <a:lnTo>
                      <a:pt x="118" y="16"/>
                    </a:lnTo>
                    <a:lnTo>
                      <a:pt x="47" y="26"/>
                    </a:lnTo>
                    <a:lnTo>
                      <a:pt x="54" y="18"/>
                    </a:lnTo>
                    <a:lnTo>
                      <a:pt x="54" y="62"/>
                    </a:lnTo>
                    <a:lnTo>
                      <a:pt x="47" y="54"/>
                    </a:lnTo>
                    <a:lnTo>
                      <a:pt x="90" y="62"/>
                    </a:lnTo>
                    <a:cubicBezTo>
                      <a:pt x="93" y="63"/>
                      <a:pt x="96" y="65"/>
                      <a:pt x="97" y="68"/>
                    </a:cubicBezTo>
                    <a:cubicBezTo>
                      <a:pt x="97" y="70"/>
                      <a:pt x="97" y="74"/>
                      <a:pt x="95" y="76"/>
                    </a:cubicBezTo>
                    <a:lnTo>
                      <a:pt x="65" y="104"/>
                    </a:lnTo>
                    <a:lnTo>
                      <a:pt x="67" y="94"/>
                    </a:lnTo>
                    <a:lnTo>
                      <a:pt x="94" y="139"/>
                    </a:lnTo>
                    <a:cubicBezTo>
                      <a:pt x="95" y="142"/>
                      <a:pt x="95" y="145"/>
                      <a:pt x="93" y="148"/>
                    </a:cubicBezTo>
                    <a:cubicBezTo>
                      <a:pt x="91" y="150"/>
                      <a:pt x="88" y="152"/>
                      <a:pt x="84" y="151"/>
                    </a:cubicBezTo>
                    <a:lnTo>
                      <a:pt x="25" y="134"/>
                    </a:lnTo>
                    <a:lnTo>
                      <a:pt x="34" y="131"/>
                    </a:lnTo>
                    <a:lnTo>
                      <a:pt x="15" y="158"/>
                    </a:lnTo>
                    <a:lnTo>
                      <a:pt x="11" y="145"/>
                    </a:lnTo>
                    <a:lnTo>
                      <a:pt x="123" y="177"/>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48" name="Freeform 104"/>
              <p:cNvSpPr>
                <a:spLocks/>
              </p:cNvSpPr>
              <p:nvPr/>
            </p:nvSpPr>
            <p:spPr bwMode="auto">
              <a:xfrm>
                <a:off x="1762" y="2933"/>
                <a:ext cx="32" cy="11"/>
              </a:xfrm>
              <a:custGeom>
                <a:avLst/>
                <a:gdLst/>
                <a:ahLst/>
                <a:cxnLst>
                  <a:cxn ang="0">
                    <a:pos x="0" y="0"/>
                  </a:cxn>
                  <a:cxn ang="0">
                    <a:pos x="29" y="2"/>
                  </a:cxn>
                  <a:cxn ang="0">
                    <a:pos x="32" y="11"/>
                  </a:cxn>
                  <a:cxn ang="0">
                    <a:pos x="0" y="0"/>
                  </a:cxn>
                </a:cxnLst>
                <a:rect l="0" t="0" r="r" b="b"/>
                <a:pathLst>
                  <a:path w="32" h="11">
                    <a:moveTo>
                      <a:pt x="0" y="0"/>
                    </a:moveTo>
                    <a:lnTo>
                      <a:pt x="29" y="2"/>
                    </a:lnTo>
                    <a:lnTo>
                      <a:pt x="32" y="11"/>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49" name="Freeform 105"/>
              <p:cNvSpPr>
                <a:spLocks noEditPoints="1"/>
              </p:cNvSpPr>
              <p:nvPr/>
            </p:nvSpPr>
            <p:spPr bwMode="auto">
              <a:xfrm>
                <a:off x="1760" y="2931"/>
                <a:ext cx="37" cy="15"/>
              </a:xfrm>
              <a:custGeom>
                <a:avLst/>
                <a:gdLst/>
                <a:ahLst/>
                <a:cxnLst>
                  <a:cxn ang="0">
                    <a:pos x="5" y="16"/>
                  </a:cxn>
                  <a:cxn ang="0">
                    <a:pos x="1" y="6"/>
                  </a:cxn>
                  <a:cxn ang="0">
                    <a:pos x="9" y="1"/>
                  </a:cxn>
                  <a:cxn ang="0">
                    <a:pos x="110" y="12"/>
                  </a:cxn>
                  <a:cxn ang="0">
                    <a:pos x="117" y="18"/>
                  </a:cxn>
                  <a:cxn ang="0">
                    <a:pos x="128" y="54"/>
                  </a:cxn>
                  <a:cxn ang="0">
                    <a:pos x="126" y="62"/>
                  </a:cxn>
                  <a:cxn ang="0">
                    <a:pos x="117" y="64"/>
                  </a:cxn>
                  <a:cxn ang="0">
                    <a:pos x="5" y="16"/>
                  </a:cxn>
                  <a:cxn ang="0">
                    <a:pos x="124" y="49"/>
                  </a:cxn>
                  <a:cxn ang="0">
                    <a:pos x="113" y="59"/>
                  </a:cxn>
                  <a:cxn ang="0">
                    <a:pos x="102" y="22"/>
                  </a:cxn>
                  <a:cxn ang="0">
                    <a:pos x="109" y="28"/>
                  </a:cxn>
                  <a:cxn ang="0">
                    <a:pos x="8" y="16"/>
                  </a:cxn>
                  <a:cxn ang="0">
                    <a:pos x="12" y="1"/>
                  </a:cxn>
                  <a:cxn ang="0">
                    <a:pos x="124" y="49"/>
                  </a:cxn>
                </a:cxnLst>
                <a:rect l="0" t="0" r="r" b="b"/>
                <a:pathLst>
                  <a:path w="129" h="65">
                    <a:moveTo>
                      <a:pt x="5" y="16"/>
                    </a:moveTo>
                    <a:cubicBezTo>
                      <a:pt x="2" y="14"/>
                      <a:pt x="0" y="10"/>
                      <a:pt x="1" y="6"/>
                    </a:cubicBezTo>
                    <a:cubicBezTo>
                      <a:pt x="2" y="3"/>
                      <a:pt x="5" y="0"/>
                      <a:pt x="9" y="1"/>
                    </a:cubicBezTo>
                    <a:lnTo>
                      <a:pt x="110" y="12"/>
                    </a:lnTo>
                    <a:cubicBezTo>
                      <a:pt x="114" y="12"/>
                      <a:pt x="116" y="15"/>
                      <a:pt x="117" y="18"/>
                    </a:cubicBezTo>
                    <a:lnTo>
                      <a:pt x="128" y="54"/>
                    </a:lnTo>
                    <a:cubicBezTo>
                      <a:pt x="129" y="57"/>
                      <a:pt x="128" y="60"/>
                      <a:pt x="126" y="62"/>
                    </a:cubicBezTo>
                    <a:cubicBezTo>
                      <a:pt x="123" y="65"/>
                      <a:pt x="120" y="65"/>
                      <a:pt x="117" y="64"/>
                    </a:cubicBezTo>
                    <a:lnTo>
                      <a:pt x="5" y="16"/>
                    </a:lnTo>
                    <a:close/>
                    <a:moveTo>
                      <a:pt x="124" y="49"/>
                    </a:moveTo>
                    <a:lnTo>
                      <a:pt x="113" y="59"/>
                    </a:lnTo>
                    <a:lnTo>
                      <a:pt x="102" y="22"/>
                    </a:lnTo>
                    <a:lnTo>
                      <a:pt x="109" y="28"/>
                    </a:lnTo>
                    <a:lnTo>
                      <a:pt x="8" y="16"/>
                    </a:lnTo>
                    <a:lnTo>
                      <a:pt x="12" y="1"/>
                    </a:lnTo>
                    <a:lnTo>
                      <a:pt x="124" y="49"/>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50" name="Freeform 106"/>
              <p:cNvSpPr>
                <a:spLocks/>
              </p:cNvSpPr>
              <p:nvPr/>
            </p:nvSpPr>
            <p:spPr bwMode="auto">
              <a:xfrm>
                <a:off x="1790" y="2929"/>
                <a:ext cx="14" cy="4"/>
              </a:xfrm>
              <a:custGeom>
                <a:avLst/>
                <a:gdLst/>
                <a:ahLst/>
                <a:cxnLst>
                  <a:cxn ang="0">
                    <a:pos x="0" y="4"/>
                  </a:cxn>
                  <a:cxn ang="0">
                    <a:pos x="3" y="0"/>
                  </a:cxn>
                  <a:cxn ang="0">
                    <a:pos x="14" y="4"/>
                  </a:cxn>
                  <a:cxn ang="0">
                    <a:pos x="0" y="4"/>
                  </a:cxn>
                </a:cxnLst>
                <a:rect l="0" t="0" r="r" b="b"/>
                <a:pathLst>
                  <a:path w="14" h="4">
                    <a:moveTo>
                      <a:pt x="0" y="4"/>
                    </a:moveTo>
                    <a:lnTo>
                      <a:pt x="3" y="0"/>
                    </a:lnTo>
                    <a:lnTo>
                      <a:pt x="14" y="4"/>
                    </a:lnTo>
                    <a:lnTo>
                      <a:pt x="0" y="4"/>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51" name="Freeform 107"/>
              <p:cNvSpPr>
                <a:spLocks noEditPoints="1"/>
              </p:cNvSpPr>
              <p:nvPr/>
            </p:nvSpPr>
            <p:spPr bwMode="auto">
              <a:xfrm>
                <a:off x="1787" y="2927"/>
                <a:ext cx="19" cy="7"/>
              </a:xfrm>
              <a:custGeom>
                <a:avLst/>
                <a:gdLst/>
                <a:ahLst/>
                <a:cxnLst>
                  <a:cxn ang="0">
                    <a:pos x="8" y="32"/>
                  </a:cxn>
                  <a:cxn ang="0">
                    <a:pos x="1" y="28"/>
                  </a:cxn>
                  <a:cxn ang="0">
                    <a:pos x="2" y="20"/>
                  </a:cxn>
                  <a:cxn ang="0">
                    <a:pos x="12" y="4"/>
                  </a:cxn>
                  <a:cxn ang="0">
                    <a:pos x="22" y="1"/>
                  </a:cxn>
                  <a:cxn ang="0">
                    <a:pos x="60" y="17"/>
                  </a:cxn>
                  <a:cxn ang="0">
                    <a:pos x="64" y="26"/>
                  </a:cxn>
                  <a:cxn ang="0">
                    <a:pos x="56" y="32"/>
                  </a:cxn>
                  <a:cxn ang="0">
                    <a:pos x="8" y="32"/>
                  </a:cxn>
                  <a:cxn ang="0">
                    <a:pos x="56" y="16"/>
                  </a:cxn>
                  <a:cxn ang="0">
                    <a:pos x="53" y="32"/>
                  </a:cxn>
                  <a:cxn ang="0">
                    <a:pos x="16" y="16"/>
                  </a:cxn>
                  <a:cxn ang="0">
                    <a:pos x="25" y="13"/>
                  </a:cxn>
                  <a:cxn ang="0">
                    <a:pos x="15" y="29"/>
                  </a:cxn>
                  <a:cxn ang="0">
                    <a:pos x="8" y="16"/>
                  </a:cxn>
                  <a:cxn ang="0">
                    <a:pos x="56" y="16"/>
                  </a:cxn>
                </a:cxnLst>
                <a:rect l="0" t="0" r="r" b="b"/>
                <a:pathLst>
                  <a:path w="65" h="32">
                    <a:moveTo>
                      <a:pt x="8" y="32"/>
                    </a:moveTo>
                    <a:cubicBezTo>
                      <a:pt x="6" y="32"/>
                      <a:pt x="3" y="31"/>
                      <a:pt x="1" y="28"/>
                    </a:cubicBezTo>
                    <a:cubicBezTo>
                      <a:pt x="0" y="26"/>
                      <a:pt x="0" y="23"/>
                      <a:pt x="2" y="20"/>
                    </a:cubicBezTo>
                    <a:lnTo>
                      <a:pt x="12" y="4"/>
                    </a:lnTo>
                    <a:cubicBezTo>
                      <a:pt x="14" y="1"/>
                      <a:pt x="18" y="0"/>
                      <a:pt x="22" y="1"/>
                    </a:cubicBezTo>
                    <a:lnTo>
                      <a:pt x="60" y="17"/>
                    </a:lnTo>
                    <a:cubicBezTo>
                      <a:pt x="63" y="19"/>
                      <a:pt x="65" y="22"/>
                      <a:pt x="64" y="26"/>
                    </a:cubicBezTo>
                    <a:cubicBezTo>
                      <a:pt x="64" y="30"/>
                      <a:pt x="60" y="32"/>
                      <a:pt x="56" y="32"/>
                    </a:cubicBezTo>
                    <a:lnTo>
                      <a:pt x="8" y="32"/>
                    </a:lnTo>
                    <a:close/>
                    <a:moveTo>
                      <a:pt x="56" y="16"/>
                    </a:moveTo>
                    <a:lnTo>
                      <a:pt x="53" y="32"/>
                    </a:lnTo>
                    <a:lnTo>
                      <a:pt x="16" y="16"/>
                    </a:lnTo>
                    <a:lnTo>
                      <a:pt x="25" y="13"/>
                    </a:lnTo>
                    <a:lnTo>
                      <a:pt x="15" y="29"/>
                    </a:lnTo>
                    <a:lnTo>
                      <a:pt x="8" y="16"/>
                    </a:lnTo>
                    <a:lnTo>
                      <a:pt x="56" y="16"/>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52" name="Freeform 108"/>
              <p:cNvSpPr>
                <a:spLocks/>
              </p:cNvSpPr>
              <p:nvPr/>
            </p:nvSpPr>
            <p:spPr bwMode="auto">
              <a:xfrm>
                <a:off x="3771" y="1341"/>
                <a:ext cx="859" cy="512"/>
              </a:xfrm>
              <a:custGeom>
                <a:avLst/>
                <a:gdLst/>
                <a:ahLst/>
                <a:cxnLst>
                  <a:cxn ang="0">
                    <a:pos x="5" y="225"/>
                  </a:cxn>
                  <a:cxn ang="0">
                    <a:pos x="91" y="193"/>
                  </a:cxn>
                  <a:cxn ang="0">
                    <a:pos x="88" y="149"/>
                  </a:cxn>
                  <a:cxn ang="0">
                    <a:pos x="131" y="110"/>
                  </a:cxn>
                  <a:cxn ang="0">
                    <a:pos x="171" y="90"/>
                  </a:cxn>
                  <a:cxn ang="0">
                    <a:pos x="213" y="97"/>
                  </a:cxn>
                  <a:cxn ang="0">
                    <a:pos x="241" y="142"/>
                  </a:cxn>
                  <a:cxn ang="0">
                    <a:pos x="328" y="182"/>
                  </a:cxn>
                  <a:cxn ang="0">
                    <a:pos x="437" y="201"/>
                  </a:cxn>
                  <a:cxn ang="0">
                    <a:pos x="537" y="168"/>
                  </a:cxn>
                  <a:cxn ang="0">
                    <a:pos x="558" y="149"/>
                  </a:cxn>
                  <a:cxn ang="0">
                    <a:pos x="643" y="118"/>
                  </a:cxn>
                  <a:cxn ang="0">
                    <a:pos x="589" y="102"/>
                  </a:cxn>
                  <a:cxn ang="0">
                    <a:pos x="598" y="63"/>
                  </a:cxn>
                  <a:cxn ang="0">
                    <a:pos x="640" y="62"/>
                  </a:cxn>
                  <a:cxn ang="0">
                    <a:pos x="650" y="16"/>
                  </a:cxn>
                  <a:cxn ang="0">
                    <a:pos x="730" y="11"/>
                  </a:cxn>
                  <a:cxn ang="0">
                    <a:pos x="798" y="80"/>
                  </a:cxn>
                  <a:cxn ang="0">
                    <a:pos x="859" y="88"/>
                  </a:cxn>
                  <a:cxn ang="0">
                    <a:pos x="804" y="152"/>
                  </a:cxn>
                  <a:cxn ang="0">
                    <a:pos x="798" y="185"/>
                  </a:cxn>
                  <a:cxn ang="0">
                    <a:pos x="766" y="196"/>
                  </a:cxn>
                  <a:cxn ang="0">
                    <a:pos x="747" y="202"/>
                  </a:cxn>
                  <a:cxn ang="0">
                    <a:pos x="670" y="246"/>
                  </a:cxn>
                  <a:cxn ang="0">
                    <a:pos x="676" y="211"/>
                  </a:cxn>
                  <a:cxn ang="0">
                    <a:pos x="618" y="249"/>
                  </a:cxn>
                  <a:cxn ang="0">
                    <a:pos x="661" y="260"/>
                  </a:cxn>
                  <a:cxn ang="0">
                    <a:pos x="653" y="283"/>
                  </a:cxn>
                  <a:cxn ang="0">
                    <a:pos x="677" y="351"/>
                  </a:cxn>
                  <a:cxn ang="0">
                    <a:pos x="677" y="362"/>
                  </a:cxn>
                  <a:cxn ang="0">
                    <a:pos x="678" y="377"/>
                  </a:cxn>
                  <a:cxn ang="0">
                    <a:pos x="599" y="473"/>
                  </a:cxn>
                  <a:cxn ang="0">
                    <a:pos x="567" y="481"/>
                  </a:cxn>
                  <a:cxn ang="0">
                    <a:pos x="551" y="490"/>
                  </a:cxn>
                  <a:cxn ang="0">
                    <a:pos x="511" y="512"/>
                  </a:cxn>
                  <a:cxn ang="0">
                    <a:pos x="480" y="495"/>
                  </a:cxn>
                  <a:cxn ang="0">
                    <a:pos x="400" y="481"/>
                  </a:cxn>
                  <a:cxn ang="0">
                    <a:pos x="393" y="497"/>
                  </a:cxn>
                  <a:cxn ang="0">
                    <a:pos x="360" y="486"/>
                  </a:cxn>
                  <a:cxn ang="0">
                    <a:pos x="336" y="462"/>
                  </a:cxn>
                  <a:cxn ang="0">
                    <a:pos x="350" y="410"/>
                  </a:cxn>
                  <a:cxn ang="0">
                    <a:pos x="318" y="397"/>
                  </a:cxn>
                  <a:cxn ang="0">
                    <a:pos x="254" y="406"/>
                  </a:cxn>
                  <a:cxn ang="0">
                    <a:pos x="214" y="414"/>
                  </a:cxn>
                  <a:cxn ang="0">
                    <a:pos x="202" y="406"/>
                  </a:cxn>
                  <a:cxn ang="0">
                    <a:pos x="148" y="385"/>
                  </a:cxn>
                  <a:cxn ang="0">
                    <a:pos x="74" y="361"/>
                  </a:cxn>
                  <a:cxn ang="0">
                    <a:pos x="83" y="336"/>
                  </a:cxn>
                  <a:cxn ang="0">
                    <a:pos x="93" y="295"/>
                  </a:cxn>
                  <a:cxn ang="0">
                    <a:pos x="56" y="296"/>
                  </a:cxn>
                  <a:cxn ang="0">
                    <a:pos x="15" y="267"/>
                  </a:cxn>
                  <a:cxn ang="0">
                    <a:pos x="0" y="244"/>
                  </a:cxn>
                </a:cxnLst>
                <a:rect l="0" t="0" r="r" b="b"/>
                <a:pathLst>
                  <a:path w="859" h="512">
                    <a:moveTo>
                      <a:pt x="0" y="244"/>
                    </a:moveTo>
                    <a:lnTo>
                      <a:pt x="5" y="225"/>
                    </a:lnTo>
                    <a:lnTo>
                      <a:pt x="36" y="220"/>
                    </a:lnTo>
                    <a:lnTo>
                      <a:pt x="91" y="193"/>
                    </a:lnTo>
                    <a:lnTo>
                      <a:pt x="99" y="172"/>
                    </a:lnTo>
                    <a:lnTo>
                      <a:pt x="88" y="149"/>
                    </a:lnTo>
                    <a:lnTo>
                      <a:pt x="122" y="142"/>
                    </a:lnTo>
                    <a:lnTo>
                      <a:pt x="131" y="110"/>
                    </a:lnTo>
                    <a:lnTo>
                      <a:pt x="167" y="111"/>
                    </a:lnTo>
                    <a:lnTo>
                      <a:pt x="171" y="90"/>
                    </a:lnTo>
                    <a:lnTo>
                      <a:pt x="198" y="79"/>
                    </a:lnTo>
                    <a:lnTo>
                      <a:pt x="213" y="97"/>
                    </a:lnTo>
                    <a:lnTo>
                      <a:pt x="232" y="104"/>
                    </a:lnTo>
                    <a:lnTo>
                      <a:pt x="241" y="142"/>
                    </a:lnTo>
                    <a:lnTo>
                      <a:pt x="302" y="156"/>
                    </a:lnTo>
                    <a:lnTo>
                      <a:pt x="328" y="182"/>
                    </a:lnTo>
                    <a:lnTo>
                      <a:pt x="379" y="181"/>
                    </a:lnTo>
                    <a:lnTo>
                      <a:pt x="437" y="201"/>
                    </a:lnTo>
                    <a:lnTo>
                      <a:pt x="513" y="182"/>
                    </a:lnTo>
                    <a:lnTo>
                      <a:pt x="537" y="168"/>
                    </a:lnTo>
                    <a:lnTo>
                      <a:pt x="537" y="147"/>
                    </a:lnTo>
                    <a:lnTo>
                      <a:pt x="558" y="149"/>
                    </a:lnTo>
                    <a:lnTo>
                      <a:pt x="606" y="120"/>
                    </a:lnTo>
                    <a:lnTo>
                      <a:pt x="643" y="118"/>
                    </a:lnTo>
                    <a:lnTo>
                      <a:pt x="625" y="95"/>
                    </a:lnTo>
                    <a:lnTo>
                      <a:pt x="589" y="102"/>
                    </a:lnTo>
                    <a:lnTo>
                      <a:pt x="589" y="77"/>
                    </a:lnTo>
                    <a:lnTo>
                      <a:pt x="598" y="63"/>
                    </a:lnTo>
                    <a:lnTo>
                      <a:pt x="619" y="71"/>
                    </a:lnTo>
                    <a:lnTo>
                      <a:pt x="640" y="62"/>
                    </a:lnTo>
                    <a:lnTo>
                      <a:pt x="660" y="28"/>
                    </a:lnTo>
                    <a:lnTo>
                      <a:pt x="650" y="16"/>
                    </a:lnTo>
                    <a:lnTo>
                      <a:pt x="701" y="0"/>
                    </a:lnTo>
                    <a:lnTo>
                      <a:pt x="730" y="11"/>
                    </a:lnTo>
                    <a:lnTo>
                      <a:pt x="756" y="68"/>
                    </a:lnTo>
                    <a:lnTo>
                      <a:pt x="798" y="80"/>
                    </a:lnTo>
                    <a:lnTo>
                      <a:pt x="806" y="101"/>
                    </a:lnTo>
                    <a:lnTo>
                      <a:pt x="859" y="88"/>
                    </a:lnTo>
                    <a:lnTo>
                      <a:pt x="835" y="143"/>
                    </a:lnTo>
                    <a:lnTo>
                      <a:pt x="804" y="152"/>
                    </a:lnTo>
                    <a:lnTo>
                      <a:pt x="808" y="172"/>
                    </a:lnTo>
                    <a:lnTo>
                      <a:pt x="798" y="185"/>
                    </a:lnTo>
                    <a:lnTo>
                      <a:pt x="793" y="181"/>
                    </a:lnTo>
                    <a:lnTo>
                      <a:pt x="766" y="196"/>
                    </a:lnTo>
                    <a:lnTo>
                      <a:pt x="766" y="204"/>
                    </a:lnTo>
                    <a:lnTo>
                      <a:pt x="747" y="202"/>
                    </a:lnTo>
                    <a:lnTo>
                      <a:pt x="711" y="227"/>
                    </a:lnTo>
                    <a:lnTo>
                      <a:pt x="670" y="246"/>
                    </a:lnTo>
                    <a:lnTo>
                      <a:pt x="682" y="220"/>
                    </a:lnTo>
                    <a:lnTo>
                      <a:pt x="676" y="211"/>
                    </a:lnTo>
                    <a:lnTo>
                      <a:pt x="619" y="241"/>
                    </a:lnTo>
                    <a:lnTo>
                      <a:pt x="618" y="249"/>
                    </a:lnTo>
                    <a:lnTo>
                      <a:pt x="637" y="269"/>
                    </a:lnTo>
                    <a:lnTo>
                      <a:pt x="661" y="260"/>
                    </a:lnTo>
                    <a:lnTo>
                      <a:pt x="688" y="267"/>
                    </a:lnTo>
                    <a:lnTo>
                      <a:pt x="653" y="283"/>
                    </a:lnTo>
                    <a:lnTo>
                      <a:pt x="640" y="305"/>
                    </a:lnTo>
                    <a:lnTo>
                      <a:pt x="677" y="351"/>
                    </a:lnTo>
                    <a:lnTo>
                      <a:pt x="652" y="347"/>
                    </a:lnTo>
                    <a:lnTo>
                      <a:pt x="677" y="362"/>
                    </a:lnTo>
                    <a:lnTo>
                      <a:pt x="652" y="373"/>
                    </a:lnTo>
                    <a:lnTo>
                      <a:pt x="678" y="377"/>
                    </a:lnTo>
                    <a:lnTo>
                      <a:pt x="631" y="452"/>
                    </a:lnTo>
                    <a:lnTo>
                      <a:pt x="599" y="473"/>
                    </a:lnTo>
                    <a:lnTo>
                      <a:pt x="568" y="481"/>
                    </a:lnTo>
                    <a:lnTo>
                      <a:pt x="567" y="481"/>
                    </a:lnTo>
                    <a:lnTo>
                      <a:pt x="558" y="477"/>
                    </a:lnTo>
                    <a:lnTo>
                      <a:pt x="551" y="490"/>
                    </a:lnTo>
                    <a:lnTo>
                      <a:pt x="514" y="497"/>
                    </a:lnTo>
                    <a:lnTo>
                      <a:pt x="511" y="512"/>
                    </a:lnTo>
                    <a:lnTo>
                      <a:pt x="505" y="494"/>
                    </a:lnTo>
                    <a:lnTo>
                      <a:pt x="480" y="495"/>
                    </a:lnTo>
                    <a:lnTo>
                      <a:pt x="442" y="471"/>
                    </a:lnTo>
                    <a:lnTo>
                      <a:pt x="400" y="481"/>
                    </a:lnTo>
                    <a:lnTo>
                      <a:pt x="392" y="482"/>
                    </a:lnTo>
                    <a:lnTo>
                      <a:pt x="393" y="497"/>
                    </a:lnTo>
                    <a:lnTo>
                      <a:pt x="386" y="493"/>
                    </a:lnTo>
                    <a:lnTo>
                      <a:pt x="360" y="486"/>
                    </a:lnTo>
                    <a:lnTo>
                      <a:pt x="352" y="459"/>
                    </a:lnTo>
                    <a:lnTo>
                      <a:pt x="336" y="462"/>
                    </a:lnTo>
                    <a:lnTo>
                      <a:pt x="351" y="423"/>
                    </a:lnTo>
                    <a:lnTo>
                      <a:pt x="350" y="410"/>
                    </a:lnTo>
                    <a:lnTo>
                      <a:pt x="333" y="402"/>
                    </a:lnTo>
                    <a:lnTo>
                      <a:pt x="318" y="397"/>
                    </a:lnTo>
                    <a:lnTo>
                      <a:pt x="314" y="383"/>
                    </a:lnTo>
                    <a:lnTo>
                      <a:pt x="254" y="406"/>
                    </a:lnTo>
                    <a:lnTo>
                      <a:pt x="227" y="400"/>
                    </a:lnTo>
                    <a:lnTo>
                      <a:pt x="214" y="414"/>
                    </a:lnTo>
                    <a:lnTo>
                      <a:pt x="212" y="404"/>
                    </a:lnTo>
                    <a:lnTo>
                      <a:pt x="202" y="406"/>
                    </a:lnTo>
                    <a:lnTo>
                      <a:pt x="172" y="406"/>
                    </a:lnTo>
                    <a:lnTo>
                      <a:pt x="148" y="385"/>
                    </a:lnTo>
                    <a:lnTo>
                      <a:pt x="104" y="372"/>
                    </a:lnTo>
                    <a:lnTo>
                      <a:pt x="74" y="361"/>
                    </a:lnTo>
                    <a:lnTo>
                      <a:pt x="68" y="339"/>
                    </a:lnTo>
                    <a:lnTo>
                      <a:pt x="83" y="336"/>
                    </a:lnTo>
                    <a:lnTo>
                      <a:pt x="74" y="318"/>
                    </a:lnTo>
                    <a:lnTo>
                      <a:pt x="93" y="295"/>
                    </a:lnTo>
                    <a:lnTo>
                      <a:pt x="78" y="287"/>
                    </a:lnTo>
                    <a:lnTo>
                      <a:pt x="56" y="296"/>
                    </a:lnTo>
                    <a:lnTo>
                      <a:pt x="13" y="271"/>
                    </a:lnTo>
                    <a:lnTo>
                      <a:pt x="15" y="267"/>
                    </a:lnTo>
                    <a:lnTo>
                      <a:pt x="15" y="250"/>
                    </a:lnTo>
                    <a:lnTo>
                      <a:pt x="0" y="244"/>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53" name="Freeform 109"/>
              <p:cNvSpPr>
                <a:spLocks noEditPoints="1"/>
              </p:cNvSpPr>
              <p:nvPr/>
            </p:nvSpPr>
            <p:spPr bwMode="auto">
              <a:xfrm>
                <a:off x="3769" y="1339"/>
                <a:ext cx="864" cy="516"/>
              </a:xfrm>
              <a:custGeom>
                <a:avLst/>
                <a:gdLst/>
                <a:ahLst/>
                <a:cxnLst>
                  <a:cxn ang="0">
                    <a:pos x="315" y="844"/>
                  </a:cxn>
                  <a:cxn ang="0">
                    <a:pos x="425" y="619"/>
                  </a:cxn>
                  <a:cxn ang="0">
                    <a:pos x="593" y="395"/>
                  </a:cxn>
                  <a:cxn ang="0">
                    <a:pos x="844" y="625"/>
                  </a:cxn>
                  <a:cxn ang="0">
                    <a:pos x="1316" y="790"/>
                  </a:cxn>
                  <a:cxn ang="0">
                    <a:pos x="1851" y="650"/>
                  </a:cxn>
                  <a:cxn ang="0">
                    <a:pos x="2224" y="515"/>
                  </a:cxn>
                  <a:cxn ang="0">
                    <a:pos x="2028" y="342"/>
                  </a:cxn>
                  <a:cxn ang="0">
                    <a:pos x="2205" y="273"/>
                  </a:cxn>
                  <a:cxn ang="0">
                    <a:pos x="2428" y="1"/>
                  </a:cxn>
                  <a:cxn ang="0">
                    <a:pos x="2795" y="447"/>
                  </a:cxn>
                  <a:cxn ang="0">
                    <a:pos x="2782" y="678"/>
                  </a:cxn>
                  <a:cxn ang="0">
                    <a:pos x="2734" y="803"/>
                  </a:cxn>
                  <a:cxn ang="0">
                    <a:pos x="2580" y="898"/>
                  </a:cxn>
                  <a:cxn ang="0">
                    <a:pos x="2351" y="967"/>
                  </a:cxn>
                  <a:cxn ang="0">
                    <a:pos x="2143" y="1093"/>
                  </a:cxn>
                  <a:cxn ang="0">
                    <a:pos x="2382" y="1183"/>
                  </a:cxn>
                  <a:cxn ang="0">
                    <a:pos x="2340" y="1549"/>
                  </a:cxn>
                  <a:cxn ang="0">
                    <a:pos x="2258" y="1629"/>
                  </a:cxn>
                  <a:cxn ang="0">
                    <a:pos x="2075" y="2085"/>
                  </a:cxn>
                  <a:cxn ang="0">
                    <a:pos x="1907" y="2156"/>
                  </a:cxn>
                  <a:cxn ang="0">
                    <a:pos x="1748" y="2174"/>
                  </a:cxn>
                  <a:cxn ang="0">
                    <a:pos x="1358" y="2122"/>
                  </a:cxn>
                  <a:cxn ang="0">
                    <a:pos x="1245" y="2140"/>
                  </a:cxn>
                  <a:cxn ang="0">
                    <a:pos x="1209" y="1854"/>
                  </a:cxn>
                  <a:cxn ang="0">
                    <a:pos x="1081" y="1682"/>
                  </a:cxn>
                  <a:cxn ang="0">
                    <a:pos x="741" y="1824"/>
                  </a:cxn>
                  <a:cxn ang="0">
                    <a:pos x="593" y="1788"/>
                  </a:cxn>
                  <a:cxn ang="0">
                    <a:pos x="233" y="1484"/>
                  </a:cxn>
                  <a:cxn ang="0">
                    <a:pos x="325" y="1304"/>
                  </a:cxn>
                  <a:cxn ang="0">
                    <a:pos x="50" y="1173"/>
                  </a:cxn>
                  <a:cxn ang="0">
                    <a:pos x="65" y="1176"/>
                  </a:cxn>
                  <a:cxn ang="0">
                    <a:pos x="280" y="1257"/>
                  </a:cxn>
                  <a:cxn ang="0">
                    <a:pos x="300" y="1480"/>
                  </a:cxn>
                  <a:cxn ang="0">
                    <a:pos x="520" y="1685"/>
                  </a:cxn>
                  <a:cxn ang="0">
                    <a:pos x="740" y="1766"/>
                  </a:cxn>
                  <a:cxn ang="0">
                    <a:pos x="877" y="1777"/>
                  </a:cxn>
                  <a:cxn ang="0">
                    <a:pos x="1219" y="1794"/>
                  </a:cxn>
                  <a:cxn ang="0">
                    <a:pos x="1224" y="2007"/>
                  </a:cxn>
                  <a:cxn ang="0">
                    <a:pos x="1354" y="2180"/>
                  </a:cxn>
                  <a:cxn ang="0">
                    <a:pos x="1535" y="2063"/>
                  </a:cxn>
                  <a:cxn ang="0">
                    <a:pos x="1770" y="2179"/>
                  </a:cxn>
                  <a:cxn ang="0">
                    <a:pos x="1964" y="2104"/>
                  </a:cxn>
                  <a:cxn ang="0">
                    <a:pos x="2337" y="1652"/>
                  </a:cxn>
                  <a:cxn ang="0">
                    <a:pos x="2250" y="1529"/>
                  </a:cxn>
                  <a:cxn ang="0">
                    <a:pos x="2250" y="1241"/>
                  </a:cxn>
                  <a:cxn ang="0">
                    <a:pos x="2196" y="1188"/>
                  </a:cxn>
                  <a:cxn ang="0">
                    <a:pos x="2346" y="925"/>
                  </a:cxn>
                  <a:cxn ang="0">
                    <a:pos x="2576" y="884"/>
                  </a:cxn>
                  <a:cxn ang="0">
                    <a:pos x="2745" y="792"/>
                  </a:cxn>
                  <a:cxn ang="0">
                    <a:pos x="2882" y="626"/>
                  </a:cxn>
                  <a:cxn ang="0">
                    <a:pos x="2752" y="361"/>
                  </a:cxn>
                  <a:cxn ang="0">
                    <a:pos x="2428" y="16"/>
                  </a:cxn>
                  <a:cxn ang="0">
                    <a:pos x="2146" y="324"/>
                  </a:cxn>
                  <a:cxn ang="0">
                    <a:pos x="2036" y="443"/>
                  </a:cxn>
                  <a:cxn ang="0">
                    <a:pos x="2100" y="537"/>
                  </a:cxn>
                  <a:cxn ang="0">
                    <a:pos x="1782" y="811"/>
                  </a:cxn>
                  <a:cxn ang="0">
                    <a:pos x="1131" y="809"/>
                  </a:cxn>
                  <a:cxn ang="0">
                    <a:pos x="737" y="440"/>
                  </a:cxn>
                  <a:cxn ang="0">
                    <a:pos x="582" y="501"/>
                  </a:cxn>
                  <a:cxn ang="0">
                    <a:pos x="355" y="758"/>
                  </a:cxn>
                  <a:cxn ang="0">
                    <a:pos x="33" y="990"/>
                  </a:cxn>
                </a:cxnLst>
                <a:rect l="0" t="0" r="r" b="b"/>
                <a:pathLst>
                  <a:path w="2977" h="2257">
                    <a:moveTo>
                      <a:pt x="5" y="1081"/>
                    </a:moveTo>
                    <a:cubicBezTo>
                      <a:pt x="2" y="1080"/>
                      <a:pt x="0" y="1076"/>
                      <a:pt x="1" y="1072"/>
                    </a:cubicBezTo>
                    <a:lnTo>
                      <a:pt x="17" y="987"/>
                    </a:lnTo>
                    <a:cubicBezTo>
                      <a:pt x="18" y="984"/>
                      <a:pt x="21" y="981"/>
                      <a:pt x="24" y="981"/>
                    </a:cubicBezTo>
                    <a:lnTo>
                      <a:pt x="131" y="962"/>
                    </a:lnTo>
                    <a:lnTo>
                      <a:pt x="128" y="963"/>
                    </a:lnTo>
                    <a:lnTo>
                      <a:pt x="315" y="844"/>
                    </a:lnTo>
                    <a:lnTo>
                      <a:pt x="312" y="849"/>
                    </a:lnTo>
                    <a:lnTo>
                      <a:pt x="339" y="758"/>
                    </a:lnTo>
                    <a:lnTo>
                      <a:pt x="340" y="763"/>
                    </a:lnTo>
                    <a:lnTo>
                      <a:pt x="302" y="660"/>
                    </a:lnTo>
                    <a:cubicBezTo>
                      <a:pt x="301" y="657"/>
                      <a:pt x="301" y="655"/>
                      <a:pt x="302" y="653"/>
                    </a:cubicBezTo>
                    <a:cubicBezTo>
                      <a:pt x="303" y="651"/>
                      <a:pt x="305" y="650"/>
                      <a:pt x="307" y="649"/>
                    </a:cubicBezTo>
                    <a:lnTo>
                      <a:pt x="425" y="619"/>
                    </a:lnTo>
                    <a:lnTo>
                      <a:pt x="419" y="625"/>
                    </a:lnTo>
                    <a:lnTo>
                      <a:pt x="452" y="484"/>
                    </a:lnTo>
                    <a:cubicBezTo>
                      <a:pt x="453" y="480"/>
                      <a:pt x="457" y="478"/>
                      <a:pt x="460" y="478"/>
                    </a:cubicBezTo>
                    <a:lnTo>
                      <a:pt x="583" y="485"/>
                    </a:lnTo>
                    <a:lnTo>
                      <a:pt x="575" y="491"/>
                    </a:lnTo>
                    <a:lnTo>
                      <a:pt x="589" y="401"/>
                    </a:lnTo>
                    <a:cubicBezTo>
                      <a:pt x="589" y="398"/>
                      <a:pt x="591" y="396"/>
                      <a:pt x="593" y="395"/>
                    </a:cubicBezTo>
                    <a:lnTo>
                      <a:pt x="686" y="346"/>
                    </a:lnTo>
                    <a:cubicBezTo>
                      <a:pt x="690" y="345"/>
                      <a:pt x="694" y="346"/>
                      <a:pt x="697" y="349"/>
                    </a:cubicBezTo>
                    <a:lnTo>
                      <a:pt x="747" y="428"/>
                    </a:lnTo>
                    <a:lnTo>
                      <a:pt x="743" y="425"/>
                    </a:lnTo>
                    <a:lnTo>
                      <a:pt x="810" y="453"/>
                    </a:lnTo>
                    <a:cubicBezTo>
                      <a:pt x="813" y="455"/>
                      <a:pt x="814" y="457"/>
                      <a:pt x="815" y="459"/>
                    </a:cubicBezTo>
                    <a:lnTo>
                      <a:pt x="844" y="625"/>
                    </a:lnTo>
                    <a:lnTo>
                      <a:pt x="839" y="619"/>
                    </a:lnTo>
                    <a:lnTo>
                      <a:pt x="1052" y="683"/>
                    </a:lnTo>
                    <a:cubicBezTo>
                      <a:pt x="1053" y="683"/>
                      <a:pt x="1055" y="684"/>
                      <a:pt x="1056" y="685"/>
                    </a:cubicBezTo>
                    <a:lnTo>
                      <a:pt x="1144" y="799"/>
                    </a:lnTo>
                    <a:lnTo>
                      <a:pt x="1137" y="796"/>
                    </a:lnTo>
                    <a:lnTo>
                      <a:pt x="1313" y="790"/>
                    </a:lnTo>
                    <a:cubicBezTo>
                      <a:pt x="1314" y="790"/>
                      <a:pt x="1315" y="790"/>
                      <a:pt x="1316" y="790"/>
                    </a:cubicBezTo>
                    <a:lnTo>
                      <a:pt x="1517" y="879"/>
                    </a:lnTo>
                    <a:lnTo>
                      <a:pt x="1511" y="879"/>
                    </a:lnTo>
                    <a:lnTo>
                      <a:pt x="1775" y="797"/>
                    </a:lnTo>
                    <a:lnTo>
                      <a:pt x="1772" y="798"/>
                    </a:lnTo>
                    <a:lnTo>
                      <a:pt x="1854" y="734"/>
                    </a:lnTo>
                    <a:lnTo>
                      <a:pt x="1851" y="741"/>
                    </a:lnTo>
                    <a:lnTo>
                      <a:pt x="1851" y="650"/>
                    </a:lnTo>
                    <a:cubicBezTo>
                      <a:pt x="1851" y="648"/>
                      <a:pt x="1852" y="646"/>
                      <a:pt x="1854" y="644"/>
                    </a:cubicBezTo>
                    <a:cubicBezTo>
                      <a:pt x="1856" y="643"/>
                      <a:pt x="1858" y="642"/>
                      <a:pt x="1860" y="642"/>
                    </a:cubicBezTo>
                    <a:lnTo>
                      <a:pt x="1933" y="652"/>
                    </a:lnTo>
                    <a:lnTo>
                      <a:pt x="1927" y="654"/>
                    </a:lnTo>
                    <a:lnTo>
                      <a:pt x="2090" y="525"/>
                    </a:lnTo>
                    <a:cubicBezTo>
                      <a:pt x="2091" y="524"/>
                      <a:pt x="2093" y="523"/>
                      <a:pt x="2094" y="523"/>
                    </a:cubicBezTo>
                    <a:lnTo>
                      <a:pt x="2224" y="515"/>
                    </a:lnTo>
                    <a:lnTo>
                      <a:pt x="2217" y="527"/>
                    </a:lnTo>
                    <a:lnTo>
                      <a:pt x="2156" y="428"/>
                    </a:lnTo>
                    <a:lnTo>
                      <a:pt x="2165" y="432"/>
                    </a:lnTo>
                    <a:lnTo>
                      <a:pt x="2039" y="459"/>
                    </a:lnTo>
                    <a:cubicBezTo>
                      <a:pt x="2037" y="459"/>
                      <a:pt x="2034" y="459"/>
                      <a:pt x="2033" y="457"/>
                    </a:cubicBezTo>
                    <a:cubicBezTo>
                      <a:pt x="2031" y="456"/>
                      <a:pt x="2030" y="453"/>
                      <a:pt x="2030" y="451"/>
                    </a:cubicBezTo>
                    <a:lnTo>
                      <a:pt x="2028" y="342"/>
                    </a:lnTo>
                    <a:cubicBezTo>
                      <a:pt x="2028" y="341"/>
                      <a:pt x="2028" y="339"/>
                      <a:pt x="2029" y="338"/>
                    </a:cubicBezTo>
                    <a:lnTo>
                      <a:pt x="2061" y="278"/>
                    </a:lnTo>
                    <a:cubicBezTo>
                      <a:pt x="2063" y="274"/>
                      <a:pt x="2068" y="272"/>
                      <a:pt x="2072" y="274"/>
                    </a:cubicBezTo>
                    <a:lnTo>
                      <a:pt x="2146" y="310"/>
                    </a:lnTo>
                    <a:lnTo>
                      <a:pt x="2138" y="310"/>
                    </a:lnTo>
                    <a:lnTo>
                      <a:pt x="2208" y="270"/>
                    </a:lnTo>
                    <a:lnTo>
                      <a:pt x="2205" y="273"/>
                    </a:lnTo>
                    <a:lnTo>
                      <a:pt x="2276" y="126"/>
                    </a:lnTo>
                    <a:lnTo>
                      <a:pt x="2276" y="133"/>
                    </a:lnTo>
                    <a:lnTo>
                      <a:pt x="2243" y="81"/>
                    </a:lnTo>
                    <a:cubicBezTo>
                      <a:pt x="2241" y="79"/>
                      <a:pt x="2241" y="77"/>
                      <a:pt x="2242" y="75"/>
                    </a:cubicBezTo>
                    <a:cubicBezTo>
                      <a:pt x="2242" y="72"/>
                      <a:pt x="2244" y="71"/>
                      <a:pt x="2246" y="70"/>
                    </a:cubicBezTo>
                    <a:lnTo>
                      <a:pt x="2422" y="1"/>
                    </a:lnTo>
                    <a:cubicBezTo>
                      <a:pt x="2424" y="0"/>
                      <a:pt x="2426" y="0"/>
                      <a:pt x="2428" y="1"/>
                    </a:cubicBezTo>
                    <a:lnTo>
                      <a:pt x="2526" y="46"/>
                    </a:lnTo>
                    <a:cubicBezTo>
                      <a:pt x="2528" y="47"/>
                      <a:pt x="2529" y="49"/>
                      <a:pt x="2530" y="51"/>
                    </a:cubicBezTo>
                    <a:lnTo>
                      <a:pt x="2619" y="301"/>
                    </a:lnTo>
                    <a:lnTo>
                      <a:pt x="2615" y="296"/>
                    </a:lnTo>
                    <a:lnTo>
                      <a:pt x="2762" y="351"/>
                    </a:lnTo>
                    <a:cubicBezTo>
                      <a:pt x="2765" y="352"/>
                      <a:pt x="2766" y="354"/>
                      <a:pt x="2767" y="356"/>
                    </a:cubicBezTo>
                    <a:lnTo>
                      <a:pt x="2795" y="447"/>
                    </a:lnTo>
                    <a:lnTo>
                      <a:pt x="2785" y="441"/>
                    </a:lnTo>
                    <a:lnTo>
                      <a:pt x="2966" y="384"/>
                    </a:lnTo>
                    <a:cubicBezTo>
                      <a:pt x="2969" y="384"/>
                      <a:pt x="2972" y="384"/>
                      <a:pt x="2974" y="387"/>
                    </a:cubicBezTo>
                    <a:cubicBezTo>
                      <a:pt x="2976" y="389"/>
                      <a:pt x="2977" y="392"/>
                      <a:pt x="2976" y="395"/>
                    </a:cubicBezTo>
                    <a:lnTo>
                      <a:pt x="2892" y="636"/>
                    </a:lnTo>
                    <a:cubicBezTo>
                      <a:pt x="2892" y="638"/>
                      <a:pt x="2890" y="640"/>
                      <a:pt x="2887" y="641"/>
                    </a:cubicBezTo>
                    <a:lnTo>
                      <a:pt x="2782" y="678"/>
                    </a:lnTo>
                    <a:lnTo>
                      <a:pt x="2787" y="669"/>
                    </a:lnTo>
                    <a:lnTo>
                      <a:pt x="2801" y="759"/>
                    </a:lnTo>
                    <a:cubicBezTo>
                      <a:pt x="2801" y="761"/>
                      <a:pt x="2801" y="763"/>
                      <a:pt x="2800" y="765"/>
                    </a:cubicBezTo>
                    <a:lnTo>
                      <a:pt x="2766" y="820"/>
                    </a:lnTo>
                    <a:cubicBezTo>
                      <a:pt x="2765" y="822"/>
                      <a:pt x="2763" y="824"/>
                      <a:pt x="2761" y="824"/>
                    </a:cubicBezTo>
                    <a:cubicBezTo>
                      <a:pt x="2758" y="824"/>
                      <a:pt x="2756" y="823"/>
                      <a:pt x="2754" y="822"/>
                    </a:cubicBezTo>
                    <a:lnTo>
                      <a:pt x="2734" y="803"/>
                    </a:lnTo>
                    <a:lnTo>
                      <a:pt x="2745" y="804"/>
                    </a:lnTo>
                    <a:lnTo>
                      <a:pt x="2653" y="869"/>
                    </a:lnTo>
                    <a:lnTo>
                      <a:pt x="2656" y="863"/>
                    </a:lnTo>
                    <a:lnTo>
                      <a:pt x="2656" y="901"/>
                    </a:lnTo>
                    <a:cubicBezTo>
                      <a:pt x="2656" y="904"/>
                      <a:pt x="2655" y="906"/>
                      <a:pt x="2653" y="908"/>
                    </a:cubicBezTo>
                    <a:cubicBezTo>
                      <a:pt x="2651" y="909"/>
                      <a:pt x="2649" y="910"/>
                      <a:pt x="2647" y="909"/>
                    </a:cubicBezTo>
                    <a:lnTo>
                      <a:pt x="2580" y="898"/>
                    </a:lnTo>
                    <a:lnTo>
                      <a:pt x="2586" y="896"/>
                    </a:lnTo>
                    <a:lnTo>
                      <a:pt x="2464" y="1005"/>
                    </a:lnTo>
                    <a:cubicBezTo>
                      <a:pt x="2463" y="1005"/>
                      <a:pt x="2463" y="1005"/>
                      <a:pt x="2463" y="1005"/>
                    </a:cubicBezTo>
                    <a:lnTo>
                      <a:pt x="2320" y="1091"/>
                    </a:lnTo>
                    <a:cubicBezTo>
                      <a:pt x="2317" y="1093"/>
                      <a:pt x="2314" y="1092"/>
                      <a:pt x="2311" y="1090"/>
                    </a:cubicBezTo>
                    <a:cubicBezTo>
                      <a:pt x="2309" y="1088"/>
                      <a:pt x="2308" y="1084"/>
                      <a:pt x="2309" y="1081"/>
                    </a:cubicBezTo>
                    <a:lnTo>
                      <a:pt x="2351" y="967"/>
                    </a:lnTo>
                    <a:lnTo>
                      <a:pt x="2351" y="974"/>
                    </a:lnTo>
                    <a:lnTo>
                      <a:pt x="2331" y="932"/>
                    </a:lnTo>
                    <a:lnTo>
                      <a:pt x="2343" y="935"/>
                    </a:lnTo>
                    <a:lnTo>
                      <a:pt x="2147" y="1067"/>
                    </a:lnTo>
                    <a:lnTo>
                      <a:pt x="2150" y="1062"/>
                    </a:lnTo>
                    <a:lnTo>
                      <a:pt x="2144" y="1099"/>
                    </a:lnTo>
                    <a:lnTo>
                      <a:pt x="2143" y="1093"/>
                    </a:lnTo>
                    <a:lnTo>
                      <a:pt x="2208" y="1178"/>
                    </a:lnTo>
                    <a:lnTo>
                      <a:pt x="2199" y="1176"/>
                    </a:lnTo>
                    <a:lnTo>
                      <a:pt x="2284" y="1139"/>
                    </a:lnTo>
                    <a:cubicBezTo>
                      <a:pt x="2286" y="1138"/>
                      <a:pt x="2288" y="1138"/>
                      <a:pt x="2290" y="1138"/>
                    </a:cubicBezTo>
                    <a:lnTo>
                      <a:pt x="2380" y="1169"/>
                    </a:lnTo>
                    <a:cubicBezTo>
                      <a:pt x="2383" y="1170"/>
                      <a:pt x="2385" y="1172"/>
                      <a:pt x="2386" y="1175"/>
                    </a:cubicBezTo>
                    <a:cubicBezTo>
                      <a:pt x="2386" y="1179"/>
                      <a:pt x="2384" y="1182"/>
                      <a:pt x="2382" y="1183"/>
                    </a:cubicBezTo>
                    <a:lnTo>
                      <a:pt x="2262" y="1252"/>
                    </a:lnTo>
                    <a:lnTo>
                      <a:pt x="2265" y="1248"/>
                    </a:lnTo>
                    <a:lnTo>
                      <a:pt x="2220" y="1342"/>
                    </a:lnTo>
                    <a:lnTo>
                      <a:pt x="2220" y="1334"/>
                    </a:lnTo>
                    <a:lnTo>
                      <a:pt x="2348" y="1537"/>
                    </a:lnTo>
                    <a:cubicBezTo>
                      <a:pt x="2350" y="1540"/>
                      <a:pt x="2350" y="1543"/>
                      <a:pt x="2348" y="1546"/>
                    </a:cubicBezTo>
                    <a:cubicBezTo>
                      <a:pt x="2346" y="1549"/>
                      <a:pt x="2343" y="1550"/>
                      <a:pt x="2340" y="1549"/>
                    </a:cubicBezTo>
                    <a:lnTo>
                      <a:pt x="2253" y="1531"/>
                    </a:lnTo>
                    <a:lnTo>
                      <a:pt x="2260" y="1517"/>
                    </a:lnTo>
                    <a:lnTo>
                      <a:pt x="2346" y="1585"/>
                    </a:lnTo>
                    <a:cubicBezTo>
                      <a:pt x="2348" y="1587"/>
                      <a:pt x="2350" y="1590"/>
                      <a:pt x="2349" y="1592"/>
                    </a:cubicBezTo>
                    <a:cubicBezTo>
                      <a:pt x="2349" y="1595"/>
                      <a:pt x="2347" y="1598"/>
                      <a:pt x="2345" y="1599"/>
                    </a:cubicBezTo>
                    <a:lnTo>
                      <a:pt x="2260" y="1644"/>
                    </a:lnTo>
                    <a:lnTo>
                      <a:pt x="2258" y="1629"/>
                    </a:lnTo>
                    <a:lnTo>
                      <a:pt x="2346" y="1648"/>
                    </a:lnTo>
                    <a:cubicBezTo>
                      <a:pt x="2348" y="1648"/>
                      <a:pt x="2350" y="1650"/>
                      <a:pt x="2351" y="1652"/>
                    </a:cubicBezTo>
                    <a:cubicBezTo>
                      <a:pt x="2352" y="1654"/>
                      <a:pt x="2352" y="1657"/>
                      <a:pt x="2351" y="1659"/>
                    </a:cubicBezTo>
                    <a:lnTo>
                      <a:pt x="2188" y="1986"/>
                    </a:lnTo>
                    <a:cubicBezTo>
                      <a:pt x="2188" y="1987"/>
                      <a:pt x="2187" y="1987"/>
                      <a:pt x="2186" y="1988"/>
                    </a:cubicBezTo>
                    <a:lnTo>
                      <a:pt x="2078" y="2084"/>
                    </a:lnTo>
                    <a:cubicBezTo>
                      <a:pt x="2077" y="2084"/>
                      <a:pt x="2076" y="2085"/>
                      <a:pt x="2075" y="2085"/>
                    </a:cubicBezTo>
                    <a:lnTo>
                      <a:pt x="1969" y="2117"/>
                    </a:lnTo>
                    <a:lnTo>
                      <a:pt x="1961" y="2119"/>
                    </a:lnTo>
                    <a:cubicBezTo>
                      <a:pt x="1959" y="2119"/>
                      <a:pt x="1957" y="2119"/>
                      <a:pt x="1955" y="2118"/>
                    </a:cubicBezTo>
                    <a:lnTo>
                      <a:pt x="1927" y="2099"/>
                    </a:lnTo>
                    <a:lnTo>
                      <a:pt x="1939" y="2096"/>
                    </a:lnTo>
                    <a:lnTo>
                      <a:pt x="1912" y="2151"/>
                    </a:lnTo>
                    <a:cubicBezTo>
                      <a:pt x="1911" y="2154"/>
                      <a:pt x="1909" y="2155"/>
                      <a:pt x="1907" y="2156"/>
                    </a:cubicBezTo>
                    <a:lnTo>
                      <a:pt x="1780" y="2188"/>
                    </a:lnTo>
                    <a:lnTo>
                      <a:pt x="1786" y="2181"/>
                    </a:lnTo>
                    <a:lnTo>
                      <a:pt x="1778" y="2249"/>
                    </a:lnTo>
                    <a:cubicBezTo>
                      <a:pt x="1777" y="2253"/>
                      <a:pt x="1774" y="2256"/>
                      <a:pt x="1771" y="2256"/>
                    </a:cubicBezTo>
                    <a:cubicBezTo>
                      <a:pt x="1767" y="2257"/>
                      <a:pt x="1763" y="2254"/>
                      <a:pt x="1762" y="2251"/>
                    </a:cubicBezTo>
                    <a:lnTo>
                      <a:pt x="1740" y="2168"/>
                    </a:lnTo>
                    <a:lnTo>
                      <a:pt x="1748" y="2174"/>
                    </a:lnTo>
                    <a:lnTo>
                      <a:pt x="1663" y="2178"/>
                    </a:lnTo>
                    <a:cubicBezTo>
                      <a:pt x="1661" y="2178"/>
                      <a:pt x="1659" y="2177"/>
                      <a:pt x="1658" y="2176"/>
                    </a:cubicBezTo>
                    <a:lnTo>
                      <a:pt x="1525" y="2076"/>
                    </a:lnTo>
                    <a:lnTo>
                      <a:pt x="1533" y="2077"/>
                    </a:lnTo>
                    <a:lnTo>
                      <a:pt x="1389" y="2120"/>
                    </a:lnTo>
                    <a:cubicBezTo>
                      <a:pt x="1388" y="2121"/>
                      <a:pt x="1388" y="2121"/>
                      <a:pt x="1387" y="2121"/>
                    </a:cubicBezTo>
                    <a:lnTo>
                      <a:pt x="1358" y="2122"/>
                    </a:lnTo>
                    <a:lnTo>
                      <a:pt x="1365" y="2114"/>
                    </a:lnTo>
                    <a:lnTo>
                      <a:pt x="1370" y="2179"/>
                    </a:lnTo>
                    <a:cubicBezTo>
                      <a:pt x="1370" y="2182"/>
                      <a:pt x="1368" y="2185"/>
                      <a:pt x="1366" y="2187"/>
                    </a:cubicBezTo>
                    <a:cubicBezTo>
                      <a:pt x="1363" y="2188"/>
                      <a:pt x="1360" y="2188"/>
                      <a:pt x="1357" y="2186"/>
                    </a:cubicBezTo>
                    <a:lnTo>
                      <a:pt x="1335" y="2171"/>
                    </a:lnTo>
                    <a:lnTo>
                      <a:pt x="1337" y="2172"/>
                    </a:lnTo>
                    <a:lnTo>
                      <a:pt x="1245" y="2140"/>
                    </a:lnTo>
                    <a:cubicBezTo>
                      <a:pt x="1242" y="2140"/>
                      <a:pt x="1240" y="2137"/>
                      <a:pt x="1240" y="2135"/>
                    </a:cubicBezTo>
                    <a:lnTo>
                      <a:pt x="1212" y="2016"/>
                    </a:lnTo>
                    <a:lnTo>
                      <a:pt x="1222" y="2022"/>
                    </a:lnTo>
                    <a:lnTo>
                      <a:pt x="1166" y="2037"/>
                    </a:lnTo>
                    <a:cubicBezTo>
                      <a:pt x="1163" y="2037"/>
                      <a:pt x="1160" y="2037"/>
                      <a:pt x="1158" y="2035"/>
                    </a:cubicBezTo>
                    <a:cubicBezTo>
                      <a:pt x="1156" y="2032"/>
                      <a:pt x="1155" y="2029"/>
                      <a:pt x="1156" y="2027"/>
                    </a:cubicBezTo>
                    <a:lnTo>
                      <a:pt x="1209" y="1854"/>
                    </a:lnTo>
                    <a:lnTo>
                      <a:pt x="1209" y="1857"/>
                    </a:lnTo>
                    <a:lnTo>
                      <a:pt x="1207" y="1801"/>
                    </a:lnTo>
                    <a:lnTo>
                      <a:pt x="1211" y="1808"/>
                    </a:lnTo>
                    <a:lnTo>
                      <a:pt x="1151" y="1773"/>
                    </a:lnTo>
                    <a:lnTo>
                      <a:pt x="1101" y="1750"/>
                    </a:lnTo>
                    <a:cubicBezTo>
                      <a:pt x="1098" y="1749"/>
                      <a:pt x="1097" y="1747"/>
                      <a:pt x="1096" y="1744"/>
                    </a:cubicBezTo>
                    <a:lnTo>
                      <a:pt x="1081" y="1682"/>
                    </a:lnTo>
                    <a:lnTo>
                      <a:pt x="1092" y="1688"/>
                    </a:lnTo>
                    <a:lnTo>
                      <a:pt x="884" y="1792"/>
                    </a:lnTo>
                    <a:cubicBezTo>
                      <a:pt x="883" y="1792"/>
                      <a:pt x="880" y="1793"/>
                      <a:pt x="878" y="1792"/>
                    </a:cubicBezTo>
                    <a:lnTo>
                      <a:pt x="788" y="1764"/>
                    </a:lnTo>
                    <a:lnTo>
                      <a:pt x="797" y="1761"/>
                    </a:lnTo>
                    <a:lnTo>
                      <a:pt x="749" y="1821"/>
                    </a:lnTo>
                    <a:cubicBezTo>
                      <a:pt x="747" y="1824"/>
                      <a:pt x="744" y="1825"/>
                      <a:pt x="741" y="1824"/>
                    </a:cubicBezTo>
                    <a:cubicBezTo>
                      <a:pt x="738" y="1823"/>
                      <a:pt x="735" y="1821"/>
                      <a:pt x="735" y="1817"/>
                    </a:cubicBezTo>
                    <a:lnTo>
                      <a:pt x="728" y="1774"/>
                    </a:lnTo>
                    <a:lnTo>
                      <a:pt x="738" y="1780"/>
                    </a:lnTo>
                    <a:lnTo>
                      <a:pt x="706" y="1790"/>
                    </a:lnTo>
                    <a:cubicBezTo>
                      <a:pt x="705" y="1791"/>
                      <a:pt x="705" y="1791"/>
                      <a:pt x="704" y="1791"/>
                    </a:cubicBezTo>
                    <a:lnTo>
                      <a:pt x="599" y="1791"/>
                    </a:lnTo>
                    <a:cubicBezTo>
                      <a:pt x="597" y="1791"/>
                      <a:pt x="595" y="1790"/>
                      <a:pt x="593" y="1788"/>
                    </a:cubicBezTo>
                    <a:lnTo>
                      <a:pt x="511" y="1698"/>
                    </a:lnTo>
                    <a:lnTo>
                      <a:pt x="514" y="1700"/>
                    </a:lnTo>
                    <a:lnTo>
                      <a:pt x="361" y="1639"/>
                    </a:lnTo>
                    <a:lnTo>
                      <a:pt x="260" y="1596"/>
                    </a:lnTo>
                    <a:cubicBezTo>
                      <a:pt x="258" y="1595"/>
                      <a:pt x="256" y="1593"/>
                      <a:pt x="256" y="1590"/>
                    </a:cubicBezTo>
                    <a:lnTo>
                      <a:pt x="232" y="1490"/>
                    </a:lnTo>
                    <a:cubicBezTo>
                      <a:pt x="232" y="1488"/>
                      <a:pt x="232" y="1485"/>
                      <a:pt x="233" y="1484"/>
                    </a:cubicBezTo>
                    <a:cubicBezTo>
                      <a:pt x="234" y="1482"/>
                      <a:pt x="236" y="1480"/>
                      <a:pt x="238" y="1480"/>
                    </a:cubicBezTo>
                    <a:lnTo>
                      <a:pt x="291" y="1468"/>
                    </a:lnTo>
                    <a:lnTo>
                      <a:pt x="285" y="1479"/>
                    </a:lnTo>
                    <a:lnTo>
                      <a:pt x="253" y="1399"/>
                    </a:lnTo>
                    <a:cubicBezTo>
                      <a:pt x="252" y="1396"/>
                      <a:pt x="253" y="1393"/>
                      <a:pt x="254" y="1391"/>
                    </a:cubicBezTo>
                    <a:lnTo>
                      <a:pt x="322" y="1292"/>
                    </a:lnTo>
                    <a:lnTo>
                      <a:pt x="325" y="1304"/>
                    </a:lnTo>
                    <a:lnTo>
                      <a:pt x="272" y="1270"/>
                    </a:lnTo>
                    <a:lnTo>
                      <a:pt x="280" y="1271"/>
                    </a:lnTo>
                    <a:lnTo>
                      <a:pt x="204" y="1307"/>
                    </a:lnTo>
                    <a:cubicBezTo>
                      <a:pt x="202" y="1309"/>
                      <a:pt x="198" y="1308"/>
                      <a:pt x="196" y="1307"/>
                    </a:cubicBezTo>
                    <a:lnTo>
                      <a:pt x="47" y="1198"/>
                    </a:lnTo>
                    <a:cubicBezTo>
                      <a:pt x="44" y="1196"/>
                      <a:pt x="43" y="1192"/>
                      <a:pt x="44" y="1189"/>
                    </a:cubicBezTo>
                    <a:lnTo>
                      <a:pt x="50" y="1173"/>
                    </a:lnTo>
                    <a:lnTo>
                      <a:pt x="49" y="1176"/>
                    </a:lnTo>
                    <a:lnTo>
                      <a:pt x="51" y="1099"/>
                    </a:lnTo>
                    <a:lnTo>
                      <a:pt x="55" y="1106"/>
                    </a:lnTo>
                    <a:lnTo>
                      <a:pt x="5" y="1081"/>
                    </a:lnTo>
                    <a:close/>
                    <a:moveTo>
                      <a:pt x="62" y="1092"/>
                    </a:moveTo>
                    <a:cubicBezTo>
                      <a:pt x="65" y="1093"/>
                      <a:pt x="67" y="1096"/>
                      <a:pt x="67" y="1099"/>
                    </a:cubicBezTo>
                    <a:lnTo>
                      <a:pt x="65" y="1176"/>
                    </a:lnTo>
                    <a:cubicBezTo>
                      <a:pt x="65" y="1177"/>
                      <a:pt x="65" y="1178"/>
                      <a:pt x="65" y="1179"/>
                    </a:cubicBezTo>
                    <a:lnTo>
                      <a:pt x="59" y="1194"/>
                    </a:lnTo>
                    <a:lnTo>
                      <a:pt x="56" y="1185"/>
                    </a:lnTo>
                    <a:lnTo>
                      <a:pt x="206" y="1294"/>
                    </a:lnTo>
                    <a:lnTo>
                      <a:pt x="197" y="1293"/>
                    </a:lnTo>
                    <a:lnTo>
                      <a:pt x="273" y="1256"/>
                    </a:lnTo>
                    <a:cubicBezTo>
                      <a:pt x="275" y="1255"/>
                      <a:pt x="278" y="1255"/>
                      <a:pt x="280" y="1257"/>
                    </a:cubicBezTo>
                    <a:lnTo>
                      <a:pt x="333" y="1290"/>
                    </a:lnTo>
                    <a:cubicBezTo>
                      <a:pt x="335" y="1291"/>
                      <a:pt x="336" y="1293"/>
                      <a:pt x="337" y="1295"/>
                    </a:cubicBezTo>
                    <a:cubicBezTo>
                      <a:pt x="337" y="1297"/>
                      <a:pt x="337" y="1300"/>
                      <a:pt x="336" y="1301"/>
                    </a:cubicBezTo>
                    <a:lnTo>
                      <a:pt x="267" y="1400"/>
                    </a:lnTo>
                    <a:lnTo>
                      <a:pt x="268" y="1393"/>
                    </a:lnTo>
                    <a:lnTo>
                      <a:pt x="300" y="1473"/>
                    </a:lnTo>
                    <a:cubicBezTo>
                      <a:pt x="301" y="1475"/>
                      <a:pt x="301" y="1478"/>
                      <a:pt x="300" y="1480"/>
                    </a:cubicBezTo>
                    <a:cubicBezTo>
                      <a:pt x="299" y="1482"/>
                      <a:pt x="297" y="1483"/>
                      <a:pt x="294" y="1484"/>
                    </a:cubicBezTo>
                    <a:lnTo>
                      <a:pt x="242" y="1496"/>
                    </a:lnTo>
                    <a:lnTo>
                      <a:pt x="248" y="1486"/>
                    </a:lnTo>
                    <a:lnTo>
                      <a:pt x="271" y="1587"/>
                    </a:lnTo>
                    <a:lnTo>
                      <a:pt x="267" y="1581"/>
                    </a:lnTo>
                    <a:lnTo>
                      <a:pt x="367" y="1624"/>
                    </a:lnTo>
                    <a:lnTo>
                      <a:pt x="520" y="1685"/>
                    </a:lnTo>
                    <a:cubicBezTo>
                      <a:pt x="521" y="1685"/>
                      <a:pt x="522" y="1686"/>
                      <a:pt x="523" y="1687"/>
                    </a:cubicBezTo>
                    <a:lnTo>
                      <a:pt x="605" y="1777"/>
                    </a:lnTo>
                    <a:lnTo>
                      <a:pt x="599" y="1775"/>
                    </a:lnTo>
                    <a:lnTo>
                      <a:pt x="704" y="1775"/>
                    </a:lnTo>
                    <a:lnTo>
                      <a:pt x="701" y="1775"/>
                    </a:lnTo>
                    <a:lnTo>
                      <a:pt x="734" y="1765"/>
                    </a:lnTo>
                    <a:cubicBezTo>
                      <a:pt x="736" y="1764"/>
                      <a:pt x="738" y="1765"/>
                      <a:pt x="740" y="1766"/>
                    </a:cubicBezTo>
                    <a:cubicBezTo>
                      <a:pt x="742" y="1767"/>
                      <a:pt x="743" y="1769"/>
                      <a:pt x="744" y="1771"/>
                    </a:cubicBezTo>
                    <a:lnTo>
                      <a:pt x="751" y="1815"/>
                    </a:lnTo>
                    <a:lnTo>
                      <a:pt x="737" y="1811"/>
                    </a:lnTo>
                    <a:lnTo>
                      <a:pt x="784" y="1751"/>
                    </a:lnTo>
                    <a:cubicBezTo>
                      <a:pt x="786" y="1748"/>
                      <a:pt x="789" y="1747"/>
                      <a:pt x="793" y="1748"/>
                    </a:cubicBezTo>
                    <a:lnTo>
                      <a:pt x="883" y="1777"/>
                    </a:lnTo>
                    <a:lnTo>
                      <a:pt x="877" y="1777"/>
                    </a:lnTo>
                    <a:lnTo>
                      <a:pt x="1085" y="1673"/>
                    </a:lnTo>
                    <a:cubicBezTo>
                      <a:pt x="1087" y="1672"/>
                      <a:pt x="1090" y="1672"/>
                      <a:pt x="1092" y="1673"/>
                    </a:cubicBezTo>
                    <a:cubicBezTo>
                      <a:pt x="1094" y="1674"/>
                      <a:pt x="1096" y="1676"/>
                      <a:pt x="1096" y="1679"/>
                    </a:cubicBezTo>
                    <a:lnTo>
                      <a:pt x="1112" y="1741"/>
                    </a:lnTo>
                    <a:lnTo>
                      <a:pt x="1107" y="1735"/>
                    </a:lnTo>
                    <a:lnTo>
                      <a:pt x="1159" y="1759"/>
                    </a:lnTo>
                    <a:lnTo>
                      <a:pt x="1219" y="1794"/>
                    </a:lnTo>
                    <a:cubicBezTo>
                      <a:pt x="1222" y="1796"/>
                      <a:pt x="1223" y="1798"/>
                      <a:pt x="1223" y="1801"/>
                    </a:cubicBezTo>
                    <a:lnTo>
                      <a:pt x="1225" y="1856"/>
                    </a:lnTo>
                    <a:cubicBezTo>
                      <a:pt x="1225" y="1857"/>
                      <a:pt x="1225" y="1858"/>
                      <a:pt x="1224" y="1859"/>
                    </a:cubicBezTo>
                    <a:lnTo>
                      <a:pt x="1171" y="2031"/>
                    </a:lnTo>
                    <a:lnTo>
                      <a:pt x="1162" y="2021"/>
                    </a:lnTo>
                    <a:lnTo>
                      <a:pt x="1217" y="2006"/>
                    </a:lnTo>
                    <a:cubicBezTo>
                      <a:pt x="1220" y="2006"/>
                      <a:pt x="1222" y="2006"/>
                      <a:pt x="1224" y="2007"/>
                    </a:cubicBezTo>
                    <a:cubicBezTo>
                      <a:pt x="1225" y="2008"/>
                      <a:pt x="1227" y="2010"/>
                      <a:pt x="1227" y="2012"/>
                    </a:cubicBezTo>
                    <a:lnTo>
                      <a:pt x="1255" y="2131"/>
                    </a:lnTo>
                    <a:lnTo>
                      <a:pt x="1250" y="2125"/>
                    </a:lnTo>
                    <a:lnTo>
                      <a:pt x="1342" y="2157"/>
                    </a:lnTo>
                    <a:cubicBezTo>
                      <a:pt x="1343" y="2157"/>
                      <a:pt x="1343" y="2158"/>
                      <a:pt x="1344" y="2158"/>
                    </a:cubicBezTo>
                    <a:lnTo>
                      <a:pt x="1366" y="2173"/>
                    </a:lnTo>
                    <a:lnTo>
                      <a:pt x="1354" y="2180"/>
                    </a:lnTo>
                    <a:lnTo>
                      <a:pt x="1349" y="2115"/>
                    </a:lnTo>
                    <a:cubicBezTo>
                      <a:pt x="1349" y="2113"/>
                      <a:pt x="1350" y="2111"/>
                      <a:pt x="1351" y="2109"/>
                    </a:cubicBezTo>
                    <a:cubicBezTo>
                      <a:pt x="1353" y="2108"/>
                      <a:pt x="1355" y="2107"/>
                      <a:pt x="1357" y="2106"/>
                    </a:cubicBezTo>
                    <a:lnTo>
                      <a:pt x="1386" y="2105"/>
                    </a:lnTo>
                    <a:lnTo>
                      <a:pt x="1384" y="2105"/>
                    </a:lnTo>
                    <a:lnTo>
                      <a:pt x="1528" y="2062"/>
                    </a:lnTo>
                    <a:cubicBezTo>
                      <a:pt x="1530" y="2061"/>
                      <a:pt x="1533" y="2061"/>
                      <a:pt x="1535" y="2063"/>
                    </a:cubicBezTo>
                    <a:lnTo>
                      <a:pt x="1668" y="2163"/>
                    </a:lnTo>
                    <a:lnTo>
                      <a:pt x="1662" y="2162"/>
                    </a:lnTo>
                    <a:lnTo>
                      <a:pt x="1747" y="2158"/>
                    </a:lnTo>
                    <a:cubicBezTo>
                      <a:pt x="1751" y="2158"/>
                      <a:pt x="1754" y="2161"/>
                      <a:pt x="1755" y="2164"/>
                    </a:cubicBezTo>
                    <a:lnTo>
                      <a:pt x="1778" y="2246"/>
                    </a:lnTo>
                    <a:lnTo>
                      <a:pt x="1762" y="2247"/>
                    </a:lnTo>
                    <a:lnTo>
                      <a:pt x="1770" y="2179"/>
                    </a:lnTo>
                    <a:cubicBezTo>
                      <a:pt x="1771" y="2176"/>
                      <a:pt x="1773" y="2173"/>
                      <a:pt x="1776" y="2172"/>
                    </a:cubicBezTo>
                    <a:lnTo>
                      <a:pt x="1903" y="2140"/>
                    </a:lnTo>
                    <a:lnTo>
                      <a:pt x="1898" y="2144"/>
                    </a:lnTo>
                    <a:lnTo>
                      <a:pt x="1924" y="2089"/>
                    </a:lnTo>
                    <a:cubicBezTo>
                      <a:pt x="1925" y="2087"/>
                      <a:pt x="1927" y="2086"/>
                      <a:pt x="1929" y="2085"/>
                    </a:cubicBezTo>
                    <a:cubicBezTo>
                      <a:pt x="1932" y="2084"/>
                      <a:pt x="1934" y="2085"/>
                      <a:pt x="1936" y="2086"/>
                    </a:cubicBezTo>
                    <a:lnTo>
                      <a:pt x="1964" y="2104"/>
                    </a:lnTo>
                    <a:lnTo>
                      <a:pt x="1958" y="2103"/>
                    </a:lnTo>
                    <a:lnTo>
                      <a:pt x="1964" y="2102"/>
                    </a:lnTo>
                    <a:lnTo>
                      <a:pt x="2070" y="2070"/>
                    </a:lnTo>
                    <a:lnTo>
                      <a:pt x="2067" y="2072"/>
                    </a:lnTo>
                    <a:lnTo>
                      <a:pt x="2176" y="1976"/>
                    </a:lnTo>
                    <a:lnTo>
                      <a:pt x="2174" y="1979"/>
                    </a:lnTo>
                    <a:lnTo>
                      <a:pt x="2337" y="1652"/>
                    </a:lnTo>
                    <a:lnTo>
                      <a:pt x="2342" y="1663"/>
                    </a:lnTo>
                    <a:lnTo>
                      <a:pt x="2255" y="1645"/>
                    </a:lnTo>
                    <a:cubicBezTo>
                      <a:pt x="2251" y="1644"/>
                      <a:pt x="2249" y="1641"/>
                      <a:pt x="2248" y="1638"/>
                    </a:cubicBezTo>
                    <a:cubicBezTo>
                      <a:pt x="2248" y="1635"/>
                      <a:pt x="2250" y="1631"/>
                      <a:pt x="2253" y="1630"/>
                    </a:cubicBezTo>
                    <a:lnTo>
                      <a:pt x="2338" y="1585"/>
                    </a:lnTo>
                    <a:lnTo>
                      <a:pt x="2336" y="1598"/>
                    </a:lnTo>
                    <a:lnTo>
                      <a:pt x="2250" y="1529"/>
                    </a:lnTo>
                    <a:cubicBezTo>
                      <a:pt x="2247" y="1527"/>
                      <a:pt x="2246" y="1523"/>
                      <a:pt x="2248" y="1520"/>
                    </a:cubicBezTo>
                    <a:cubicBezTo>
                      <a:pt x="2249" y="1516"/>
                      <a:pt x="2253" y="1514"/>
                      <a:pt x="2257" y="1515"/>
                    </a:cubicBezTo>
                    <a:lnTo>
                      <a:pt x="2343" y="1534"/>
                    </a:lnTo>
                    <a:lnTo>
                      <a:pt x="2335" y="1546"/>
                    </a:lnTo>
                    <a:lnTo>
                      <a:pt x="2206" y="1343"/>
                    </a:lnTo>
                    <a:cubicBezTo>
                      <a:pt x="2205" y="1341"/>
                      <a:pt x="2205" y="1338"/>
                      <a:pt x="2206" y="1335"/>
                    </a:cubicBezTo>
                    <a:lnTo>
                      <a:pt x="2250" y="1241"/>
                    </a:lnTo>
                    <a:cubicBezTo>
                      <a:pt x="2251" y="1240"/>
                      <a:pt x="2252" y="1239"/>
                      <a:pt x="2254" y="1238"/>
                    </a:cubicBezTo>
                    <a:lnTo>
                      <a:pt x="2374" y="1169"/>
                    </a:lnTo>
                    <a:lnTo>
                      <a:pt x="2375" y="1184"/>
                    </a:lnTo>
                    <a:lnTo>
                      <a:pt x="2284" y="1154"/>
                    </a:lnTo>
                    <a:lnTo>
                      <a:pt x="2290" y="1153"/>
                    </a:lnTo>
                    <a:lnTo>
                      <a:pt x="2205" y="1190"/>
                    </a:lnTo>
                    <a:cubicBezTo>
                      <a:pt x="2202" y="1192"/>
                      <a:pt x="2198" y="1191"/>
                      <a:pt x="2196" y="1188"/>
                    </a:cubicBezTo>
                    <a:lnTo>
                      <a:pt x="2130" y="1102"/>
                    </a:lnTo>
                    <a:cubicBezTo>
                      <a:pt x="2129" y="1101"/>
                      <a:pt x="2128" y="1098"/>
                      <a:pt x="2129" y="1096"/>
                    </a:cubicBezTo>
                    <a:lnTo>
                      <a:pt x="2134" y="1059"/>
                    </a:lnTo>
                    <a:cubicBezTo>
                      <a:pt x="2134" y="1057"/>
                      <a:pt x="2136" y="1055"/>
                      <a:pt x="2138" y="1054"/>
                    </a:cubicBezTo>
                    <a:lnTo>
                      <a:pt x="2334" y="922"/>
                    </a:lnTo>
                    <a:cubicBezTo>
                      <a:pt x="2336" y="920"/>
                      <a:pt x="2338" y="920"/>
                      <a:pt x="2341" y="921"/>
                    </a:cubicBezTo>
                    <a:cubicBezTo>
                      <a:pt x="2343" y="921"/>
                      <a:pt x="2345" y="923"/>
                      <a:pt x="2346" y="925"/>
                    </a:cubicBezTo>
                    <a:lnTo>
                      <a:pt x="2365" y="967"/>
                    </a:lnTo>
                    <a:cubicBezTo>
                      <a:pt x="2366" y="969"/>
                      <a:pt x="2366" y="971"/>
                      <a:pt x="2366" y="973"/>
                    </a:cubicBezTo>
                    <a:lnTo>
                      <a:pt x="2324" y="1087"/>
                    </a:lnTo>
                    <a:lnTo>
                      <a:pt x="2312" y="1077"/>
                    </a:lnTo>
                    <a:lnTo>
                      <a:pt x="2454" y="992"/>
                    </a:lnTo>
                    <a:lnTo>
                      <a:pt x="2453" y="993"/>
                    </a:lnTo>
                    <a:lnTo>
                      <a:pt x="2576" y="884"/>
                    </a:lnTo>
                    <a:cubicBezTo>
                      <a:pt x="2578" y="882"/>
                      <a:pt x="2580" y="881"/>
                      <a:pt x="2582" y="882"/>
                    </a:cubicBezTo>
                    <a:lnTo>
                      <a:pt x="2649" y="894"/>
                    </a:lnTo>
                    <a:lnTo>
                      <a:pt x="2640" y="901"/>
                    </a:lnTo>
                    <a:lnTo>
                      <a:pt x="2640" y="863"/>
                    </a:lnTo>
                    <a:cubicBezTo>
                      <a:pt x="2640" y="860"/>
                      <a:pt x="2641" y="858"/>
                      <a:pt x="2643" y="856"/>
                    </a:cubicBezTo>
                    <a:lnTo>
                      <a:pt x="2735" y="791"/>
                    </a:lnTo>
                    <a:cubicBezTo>
                      <a:pt x="2738" y="789"/>
                      <a:pt x="2743" y="789"/>
                      <a:pt x="2745" y="792"/>
                    </a:cubicBezTo>
                    <a:lnTo>
                      <a:pt x="2765" y="810"/>
                    </a:lnTo>
                    <a:lnTo>
                      <a:pt x="2753" y="812"/>
                    </a:lnTo>
                    <a:lnTo>
                      <a:pt x="2786" y="757"/>
                    </a:lnTo>
                    <a:lnTo>
                      <a:pt x="2785" y="762"/>
                    </a:lnTo>
                    <a:lnTo>
                      <a:pt x="2771" y="671"/>
                    </a:lnTo>
                    <a:cubicBezTo>
                      <a:pt x="2770" y="668"/>
                      <a:pt x="2773" y="664"/>
                      <a:pt x="2776" y="663"/>
                    </a:cubicBezTo>
                    <a:lnTo>
                      <a:pt x="2882" y="626"/>
                    </a:lnTo>
                    <a:lnTo>
                      <a:pt x="2877" y="631"/>
                    </a:lnTo>
                    <a:lnTo>
                      <a:pt x="2961" y="390"/>
                    </a:lnTo>
                    <a:lnTo>
                      <a:pt x="2971" y="400"/>
                    </a:lnTo>
                    <a:lnTo>
                      <a:pt x="2790" y="457"/>
                    </a:lnTo>
                    <a:cubicBezTo>
                      <a:pt x="2788" y="457"/>
                      <a:pt x="2785" y="457"/>
                      <a:pt x="2784" y="456"/>
                    </a:cubicBezTo>
                    <a:cubicBezTo>
                      <a:pt x="2782" y="455"/>
                      <a:pt x="2780" y="453"/>
                      <a:pt x="2780" y="451"/>
                    </a:cubicBezTo>
                    <a:lnTo>
                      <a:pt x="2752" y="361"/>
                    </a:lnTo>
                    <a:lnTo>
                      <a:pt x="2757" y="366"/>
                    </a:lnTo>
                    <a:lnTo>
                      <a:pt x="2609" y="311"/>
                    </a:lnTo>
                    <a:cubicBezTo>
                      <a:pt x="2607" y="310"/>
                      <a:pt x="2605" y="308"/>
                      <a:pt x="2604" y="306"/>
                    </a:cubicBezTo>
                    <a:lnTo>
                      <a:pt x="2515" y="56"/>
                    </a:lnTo>
                    <a:lnTo>
                      <a:pt x="2519" y="61"/>
                    </a:lnTo>
                    <a:lnTo>
                      <a:pt x="2422" y="16"/>
                    </a:lnTo>
                    <a:lnTo>
                      <a:pt x="2428" y="16"/>
                    </a:lnTo>
                    <a:lnTo>
                      <a:pt x="2252" y="85"/>
                    </a:lnTo>
                    <a:lnTo>
                      <a:pt x="2256" y="73"/>
                    </a:lnTo>
                    <a:lnTo>
                      <a:pt x="2290" y="125"/>
                    </a:lnTo>
                    <a:cubicBezTo>
                      <a:pt x="2291" y="127"/>
                      <a:pt x="2291" y="130"/>
                      <a:pt x="2290" y="133"/>
                    </a:cubicBezTo>
                    <a:lnTo>
                      <a:pt x="2219" y="280"/>
                    </a:lnTo>
                    <a:cubicBezTo>
                      <a:pt x="2218" y="281"/>
                      <a:pt x="2217" y="283"/>
                      <a:pt x="2216" y="283"/>
                    </a:cubicBezTo>
                    <a:lnTo>
                      <a:pt x="2146" y="324"/>
                    </a:lnTo>
                    <a:cubicBezTo>
                      <a:pt x="2144" y="325"/>
                      <a:pt x="2141" y="325"/>
                      <a:pt x="2139" y="324"/>
                    </a:cubicBezTo>
                    <a:lnTo>
                      <a:pt x="2065" y="289"/>
                    </a:lnTo>
                    <a:lnTo>
                      <a:pt x="2075" y="285"/>
                    </a:lnTo>
                    <a:lnTo>
                      <a:pt x="2043" y="346"/>
                    </a:lnTo>
                    <a:lnTo>
                      <a:pt x="2044" y="342"/>
                    </a:lnTo>
                    <a:lnTo>
                      <a:pt x="2046" y="451"/>
                    </a:lnTo>
                    <a:lnTo>
                      <a:pt x="2036" y="443"/>
                    </a:lnTo>
                    <a:lnTo>
                      <a:pt x="2161" y="416"/>
                    </a:lnTo>
                    <a:cubicBezTo>
                      <a:pt x="2165" y="415"/>
                      <a:pt x="2168" y="417"/>
                      <a:pt x="2170" y="420"/>
                    </a:cubicBezTo>
                    <a:lnTo>
                      <a:pt x="2231" y="519"/>
                    </a:lnTo>
                    <a:cubicBezTo>
                      <a:pt x="2233" y="521"/>
                      <a:pt x="2233" y="524"/>
                      <a:pt x="2231" y="526"/>
                    </a:cubicBezTo>
                    <a:cubicBezTo>
                      <a:pt x="2230" y="529"/>
                      <a:pt x="2228" y="531"/>
                      <a:pt x="2225" y="531"/>
                    </a:cubicBezTo>
                    <a:lnTo>
                      <a:pt x="2095" y="539"/>
                    </a:lnTo>
                    <a:lnTo>
                      <a:pt x="2100" y="537"/>
                    </a:lnTo>
                    <a:lnTo>
                      <a:pt x="1937" y="666"/>
                    </a:lnTo>
                    <a:cubicBezTo>
                      <a:pt x="1935" y="668"/>
                      <a:pt x="1933" y="668"/>
                      <a:pt x="1931" y="668"/>
                    </a:cubicBezTo>
                    <a:lnTo>
                      <a:pt x="1858" y="658"/>
                    </a:lnTo>
                    <a:lnTo>
                      <a:pt x="1867" y="650"/>
                    </a:lnTo>
                    <a:lnTo>
                      <a:pt x="1867" y="741"/>
                    </a:lnTo>
                    <a:cubicBezTo>
                      <a:pt x="1867" y="743"/>
                      <a:pt x="1866" y="745"/>
                      <a:pt x="1864" y="747"/>
                    </a:cubicBezTo>
                    <a:lnTo>
                      <a:pt x="1782" y="811"/>
                    </a:lnTo>
                    <a:cubicBezTo>
                      <a:pt x="1781" y="811"/>
                      <a:pt x="1780" y="812"/>
                      <a:pt x="1779" y="812"/>
                    </a:cubicBezTo>
                    <a:lnTo>
                      <a:pt x="1516" y="894"/>
                    </a:lnTo>
                    <a:cubicBezTo>
                      <a:pt x="1514" y="895"/>
                      <a:pt x="1512" y="894"/>
                      <a:pt x="1510" y="894"/>
                    </a:cubicBezTo>
                    <a:lnTo>
                      <a:pt x="1310" y="805"/>
                    </a:lnTo>
                    <a:lnTo>
                      <a:pt x="1313" y="806"/>
                    </a:lnTo>
                    <a:lnTo>
                      <a:pt x="1138" y="812"/>
                    </a:lnTo>
                    <a:cubicBezTo>
                      <a:pt x="1135" y="812"/>
                      <a:pt x="1133" y="811"/>
                      <a:pt x="1131" y="809"/>
                    </a:cubicBezTo>
                    <a:lnTo>
                      <a:pt x="1043" y="695"/>
                    </a:lnTo>
                    <a:lnTo>
                      <a:pt x="1047" y="698"/>
                    </a:lnTo>
                    <a:lnTo>
                      <a:pt x="834" y="634"/>
                    </a:lnTo>
                    <a:cubicBezTo>
                      <a:pt x="831" y="633"/>
                      <a:pt x="829" y="631"/>
                      <a:pt x="828" y="628"/>
                    </a:cubicBezTo>
                    <a:lnTo>
                      <a:pt x="799" y="462"/>
                    </a:lnTo>
                    <a:lnTo>
                      <a:pt x="804" y="468"/>
                    </a:lnTo>
                    <a:lnTo>
                      <a:pt x="737" y="440"/>
                    </a:lnTo>
                    <a:cubicBezTo>
                      <a:pt x="735" y="439"/>
                      <a:pt x="734" y="438"/>
                      <a:pt x="733" y="437"/>
                    </a:cubicBezTo>
                    <a:lnTo>
                      <a:pt x="683" y="358"/>
                    </a:lnTo>
                    <a:lnTo>
                      <a:pt x="694" y="361"/>
                    </a:lnTo>
                    <a:lnTo>
                      <a:pt x="600" y="409"/>
                    </a:lnTo>
                    <a:lnTo>
                      <a:pt x="604" y="403"/>
                    </a:lnTo>
                    <a:lnTo>
                      <a:pt x="591" y="494"/>
                    </a:lnTo>
                    <a:cubicBezTo>
                      <a:pt x="590" y="498"/>
                      <a:pt x="586" y="501"/>
                      <a:pt x="582" y="501"/>
                    </a:cubicBezTo>
                    <a:lnTo>
                      <a:pt x="460" y="494"/>
                    </a:lnTo>
                    <a:lnTo>
                      <a:pt x="468" y="488"/>
                    </a:lnTo>
                    <a:lnTo>
                      <a:pt x="434" y="629"/>
                    </a:lnTo>
                    <a:cubicBezTo>
                      <a:pt x="434" y="631"/>
                      <a:pt x="431" y="634"/>
                      <a:pt x="429" y="634"/>
                    </a:cubicBezTo>
                    <a:lnTo>
                      <a:pt x="311" y="665"/>
                    </a:lnTo>
                    <a:lnTo>
                      <a:pt x="317" y="654"/>
                    </a:lnTo>
                    <a:lnTo>
                      <a:pt x="355" y="758"/>
                    </a:lnTo>
                    <a:cubicBezTo>
                      <a:pt x="355" y="760"/>
                      <a:pt x="355" y="761"/>
                      <a:pt x="355" y="763"/>
                    </a:cubicBezTo>
                    <a:lnTo>
                      <a:pt x="327" y="854"/>
                    </a:lnTo>
                    <a:cubicBezTo>
                      <a:pt x="326" y="855"/>
                      <a:pt x="325" y="857"/>
                      <a:pt x="324" y="858"/>
                    </a:cubicBezTo>
                    <a:lnTo>
                      <a:pt x="137" y="977"/>
                    </a:lnTo>
                    <a:cubicBezTo>
                      <a:pt x="136" y="977"/>
                      <a:pt x="135" y="978"/>
                      <a:pt x="134" y="978"/>
                    </a:cubicBezTo>
                    <a:lnTo>
                      <a:pt x="27" y="996"/>
                    </a:lnTo>
                    <a:lnTo>
                      <a:pt x="33" y="990"/>
                    </a:lnTo>
                    <a:lnTo>
                      <a:pt x="16" y="1076"/>
                    </a:lnTo>
                    <a:lnTo>
                      <a:pt x="12" y="1067"/>
                    </a:lnTo>
                    <a:lnTo>
                      <a:pt x="62" y="1092"/>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54" name="Freeform 110"/>
              <p:cNvSpPr>
                <a:spLocks/>
              </p:cNvSpPr>
              <p:nvPr/>
            </p:nvSpPr>
            <p:spPr bwMode="auto">
              <a:xfrm>
                <a:off x="4263" y="1857"/>
                <a:ext cx="28" cy="22"/>
              </a:xfrm>
              <a:custGeom>
                <a:avLst/>
                <a:gdLst/>
                <a:ahLst/>
                <a:cxnLst>
                  <a:cxn ang="0">
                    <a:pos x="0" y="18"/>
                  </a:cxn>
                  <a:cxn ang="0">
                    <a:pos x="9" y="0"/>
                  </a:cxn>
                  <a:cxn ang="0">
                    <a:pos x="28" y="4"/>
                  </a:cxn>
                  <a:cxn ang="0">
                    <a:pos x="13" y="22"/>
                  </a:cxn>
                  <a:cxn ang="0">
                    <a:pos x="0" y="18"/>
                  </a:cxn>
                </a:cxnLst>
                <a:rect l="0" t="0" r="r" b="b"/>
                <a:pathLst>
                  <a:path w="28" h="22">
                    <a:moveTo>
                      <a:pt x="0" y="18"/>
                    </a:moveTo>
                    <a:lnTo>
                      <a:pt x="9" y="0"/>
                    </a:lnTo>
                    <a:lnTo>
                      <a:pt x="28" y="4"/>
                    </a:lnTo>
                    <a:lnTo>
                      <a:pt x="13" y="22"/>
                    </a:lnTo>
                    <a:lnTo>
                      <a:pt x="0" y="18"/>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55" name="Freeform 111"/>
              <p:cNvSpPr>
                <a:spLocks noEditPoints="1"/>
              </p:cNvSpPr>
              <p:nvPr/>
            </p:nvSpPr>
            <p:spPr bwMode="auto">
              <a:xfrm>
                <a:off x="4261" y="1855"/>
                <a:ext cx="33" cy="26"/>
              </a:xfrm>
              <a:custGeom>
                <a:avLst/>
                <a:gdLst/>
                <a:ahLst/>
                <a:cxnLst>
                  <a:cxn ang="0">
                    <a:pos x="6" y="92"/>
                  </a:cxn>
                  <a:cxn ang="0">
                    <a:pos x="2" y="82"/>
                  </a:cxn>
                  <a:cxn ang="0">
                    <a:pos x="33" y="5"/>
                  </a:cxn>
                  <a:cxn ang="0">
                    <a:pos x="42" y="1"/>
                  </a:cxn>
                  <a:cxn ang="0">
                    <a:pos x="107" y="17"/>
                  </a:cxn>
                  <a:cxn ang="0">
                    <a:pos x="113" y="22"/>
                  </a:cxn>
                  <a:cxn ang="0">
                    <a:pos x="112" y="29"/>
                  </a:cxn>
                  <a:cxn ang="0">
                    <a:pos x="60" y="109"/>
                  </a:cxn>
                  <a:cxn ang="0">
                    <a:pos x="50" y="112"/>
                  </a:cxn>
                  <a:cxn ang="0">
                    <a:pos x="6" y="92"/>
                  </a:cxn>
                  <a:cxn ang="0">
                    <a:pos x="56" y="97"/>
                  </a:cxn>
                  <a:cxn ang="0">
                    <a:pos x="46" y="100"/>
                  </a:cxn>
                  <a:cxn ang="0">
                    <a:pos x="99" y="21"/>
                  </a:cxn>
                  <a:cxn ang="0">
                    <a:pos x="104" y="33"/>
                  </a:cxn>
                  <a:cxn ang="0">
                    <a:pos x="38" y="16"/>
                  </a:cxn>
                  <a:cxn ang="0">
                    <a:pos x="48" y="11"/>
                  </a:cxn>
                  <a:cxn ang="0">
                    <a:pos x="17" y="88"/>
                  </a:cxn>
                  <a:cxn ang="0">
                    <a:pos x="13" y="78"/>
                  </a:cxn>
                  <a:cxn ang="0">
                    <a:pos x="56" y="97"/>
                  </a:cxn>
                </a:cxnLst>
                <a:rect l="0" t="0" r="r" b="b"/>
                <a:pathLst>
                  <a:path w="114" h="113">
                    <a:moveTo>
                      <a:pt x="6" y="92"/>
                    </a:moveTo>
                    <a:cubicBezTo>
                      <a:pt x="2" y="91"/>
                      <a:pt x="0" y="86"/>
                      <a:pt x="2" y="82"/>
                    </a:cubicBezTo>
                    <a:lnTo>
                      <a:pt x="33" y="5"/>
                    </a:lnTo>
                    <a:cubicBezTo>
                      <a:pt x="34" y="2"/>
                      <a:pt x="38" y="0"/>
                      <a:pt x="42" y="1"/>
                    </a:cubicBezTo>
                    <a:lnTo>
                      <a:pt x="107" y="17"/>
                    </a:lnTo>
                    <a:cubicBezTo>
                      <a:pt x="110" y="18"/>
                      <a:pt x="112" y="20"/>
                      <a:pt x="113" y="22"/>
                    </a:cubicBezTo>
                    <a:cubicBezTo>
                      <a:pt x="114" y="24"/>
                      <a:pt x="114" y="27"/>
                      <a:pt x="112" y="29"/>
                    </a:cubicBezTo>
                    <a:lnTo>
                      <a:pt x="60" y="109"/>
                    </a:lnTo>
                    <a:cubicBezTo>
                      <a:pt x="58" y="112"/>
                      <a:pt x="53" y="113"/>
                      <a:pt x="50" y="112"/>
                    </a:cubicBezTo>
                    <a:lnTo>
                      <a:pt x="6" y="92"/>
                    </a:lnTo>
                    <a:close/>
                    <a:moveTo>
                      <a:pt x="56" y="97"/>
                    </a:moveTo>
                    <a:lnTo>
                      <a:pt x="46" y="100"/>
                    </a:lnTo>
                    <a:lnTo>
                      <a:pt x="99" y="21"/>
                    </a:lnTo>
                    <a:lnTo>
                      <a:pt x="104" y="33"/>
                    </a:lnTo>
                    <a:lnTo>
                      <a:pt x="38" y="16"/>
                    </a:lnTo>
                    <a:lnTo>
                      <a:pt x="48" y="11"/>
                    </a:lnTo>
                    <a:lnTo>
                      <a:pt x="17" y="88"/>
                    </a:lnTo>
                    <a:lnTo>
                      <a:pt x="13" y="78"/>
                    </a:lnTo>
                    <a:lnTo>
                      <a:pt x="56" y="97"/>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56" name="Freeform 112"/>
              <p:cNvSpPr>
                <a:spLocks/>
              </p:cNvSpPr>
              <p:nvPr/>
            </p:nvSpPr>
            <p:spPr bwMode="auto">
              <a:xfrm>
                <a:off x="4421" y="1788"/>
                <a:ext cx="23" cy="43"/>
              </a:xfrm>
              <a:custGeom>
                <a:avLst/>
                <a:gdLst/>
                <a:ahLst/>
                <a:cxnLst>
                  <a:cxn ang="0">
                    <a:pos x="0" y="18"/>
                  </a:cxn>
                  <a:cxn ang="0">
                    <a:pos x="9" y="43"/>
                  </a:cxn>
                  <a:cxn ang="0">
                    <a:pos x="23" y="0"/>
                  </a:cxn>
                  <a:cxn ang="0">
                    <a:pos x="11" y="0"/>
                  </a:cxn>
                  <a:cxn ang="0">
                    <a:pos x="0" y="18"/>
                  </a:cxn>
                </a:cxnLst>
                <a:rect l="0" t="0" r="r" b="b"/>
                <a:pathLst>
                  <a:path w="23" h="43">
                    <a:moveTo>
                      <a:pt x="0" y="18"/>
                    </a:moveTo>
                    <a:lnTo>
                      <a:pt x="9" y="43"/>
                    </a:lnTo>
                    <a:lnTo>
                      <a:pt x="23" y="0"/>
                    </a:lnTo>
                    <a:lnTo>
                      <a:pt x="11" y="0"/>
                    </a:lnTo>
                    <a:lnTo>
                      <a:pt x="0" y="18"/>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57" name="Freeform 113"/>
              <p:cNvSpPr>
                <a:spLocks noEditPoints="1"/>
              </p:cNvSpPr>
              <p:nvPr/>
            </p:nvSpPr>
            <p:spPr bwMode="auto">
              <a:xfrm>
                <a:off x="4419" y="1786"/>
                <a:ext cx="28" cy="47"/>
              </a:xfrm>
              <a:custGeom>
                <a:avLst/>
                <a:gdLst/>
                <a:ahLst/>
                <a:cxnLst>
                  <a:cxn ang="0">
                    <a:pos x="16" y="91"/>
                  </a:cxn>
                  <a:cxn ang="0">
                    <a:pos x="16" y="85"/>
                  </a:cxn>
                  <a:cxn ang="0">
                    <a:pos x="48" y="198"/>
                  </a:cxn>
                  <a:cxn ang="0">
                    <a:pos x="32" y="199"/>
                  </a:cxn>
                  <a:cxn ang="0">
                    <a:pos x="81" y="7"/>
                  </a:cxn>
                  <a:cxn ang="0">
                    <a:pos x="89" y="16"/>
                  </a:cxn>
                  <a:cxn ang="0">
                    <a:pos x="47" y="18"/>
                  </a:cxn>
                  <a:cxn ang="0">
                    <a:pos x="54" y="14"/>
                  </a:cxn>
                  <a:cxn ang="0">
                    <a:pos x="16" y="91"/>
                  </a:cxn>
                  <a:cxn ang="0">
                    <a:pos x="39" y="7"/>
                  </a:cxn>
                  <a:cxn ang="0">
                    <a:pos x="46" y="2"/>
                  </a:cxn>
                  <a:cxn ang="0">
                    <a:pos x="88" y="0"/>
                  </a:cxn>
                  <a:cxn ang="0">
                    <a:pos x="95" y="3"/>
                  </a:cxn>
                  <a:cxn ang="0">
                    <a:pos x="96" y="10"/>
                  </a:cxn>
                  <a:cxn ang="0">
                    <a:pos x="48" y="202"/>
                  </a:cxn>
                  <a:cxn ang="0">
                    <a:pos x="40" y="208"/>
                  </a:cxn>
                  <a:cxn ang="0">
                    <a:pos x="33" y="203"/>
                  </a:cxn>
                  <a:cxn ang="0">
                    <a:pos x="1" y="90"/>
                  </a:cxn>
                  <a:cxn ang="0">
                    <a:pos x="1" y="84"/>
                  </a:cxn>
                  <a:cxn ang="0">
                    <a:pos x="39" y="7"/>
                  </a:cxn>
                </a:cxnLst>
                <a:rect l="0" t="0" r="r" b="b"/>
                <a:pathLst>
                  <a:path w="97" h="209">
                    <a:moveTo>
                      <a:pt x="16" y="91"/>
                    </a:moveTo>
                    <a:lnTo>
                      <a:pt x="16" y="85"/>
                    </a:lnTo>
                    <a:lnTo>
                      <a:pt x="48" y="198"/>
                    </a:lnTo>
                    <a:lnTo>
                      <a:pt x="32" y="199"/>
                    </a:lnTo>
                    <a:lnTo>
                      <a:pt x="81" y="7"/>
                    </a:lnTo>
                    <a:lnTo>
                      <a:pt x="89" y="16"/>
                    </a:lnTo>
                    <a:lnTo>
                      <a:pt x="47" y="18"/>
                    </a:lnTo>
                    <a:lnTo>
                      <a:pt x="54" y="14"/>
                    </a:lnTo>
                    <a:lnTo>
                      <a:pt x="16" y="91"/>
                    </a:lnTo>
                    <a:close/>
                    <a:moveTo>
                      <a:pt x="39" y="7"/>
                    </a:moveTo>
                    <a:cubicBezTo>
                      <a:pt x="41" y="4"/>
                      <a:pt x="43" y="2"/>
                      <a:pt x="46" y="2"/>
                    </a:cubicBezTo>
                    <a:lnTo>
                      <a:pt x="88" y="0"/>
                    </a:lnTo>
                    <a:cubicBezTo>
                      <a:pt x="91" y="0"/>
                      <a:pt x="93" y="1"/>
                      <a:pt x="95" y="3"/>
                    </a:cubicBezTo>
                    <a:cubicBezTo>
                      <a:pt x="96" y="5"/>
                      <a:pt x="97" y="8"/>
                      <a:pt x="96" y="10"/>
                    </a:cubicBezTo>
                    <a:lnTo>
                      <a:pt x="48" y="202"/>
                    </a:lnTo>
                    <a:cubicBezTo>
                      <a:pt x="47" y="206"/>
                      <a:pt x="44" y="208"/>
                      <a:pt x="40" y="208"/>
                    </a:cubicBezTo>
                    <a:cubicBezTo>
                      <a:pt x="37" y="209"/>
                      <a:pt x="33" y="206"/>
                      <a:pt x="33" y="203"/>
                    </a:cubicBezTo>
                    <a:lnTo>
                      <a:pt x="1" y="90"/>
                    </a:lnTo>
                    <a:cubicBezTo>
                      <a:pt x="0" y="88"/>
                      <a:pt x="0" y="86"/>
                      <a:pt x="1" y="84"/>
                    </a:cubicBezTo>
                    <a:lnTo>
                      <a:pt x="39" y="7"/>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58" name="Freeform 114"/>
              <p:cNvSpPr>
                <a:spLocks/>
              </p:cNvSpPr>
              <p:nvPr/>
            </p:nvSpPr>
            <p:spPr bwMode="auto">
              <a:xfrm>
                <a:off x="1637" y="1959"/>
                <a:ext cx="171" cy="220"/>
              </a:xfrm>
              <a:custGeom>
                <a:avLst/>
                <a:gdLst/>
                <a:ahLst/>
                <a:cxnLst>
                  <a:cxn ang="0">
                    <a:pos x="0" y="147"/>
                  </a:cxn>
                  <a:cxn ang="0">
                    <a:pos x="21" y="163"/>
                  </a:cxn>
                  <a:cxn ang="0">
                    <a:pos x="51" y="167"/>
                  </a:cxn>
                  <a:cxn ang="0">
                    <a:pos x="83" y="196"/>
                  </a:cxn>
                  <a:cxn ang="0">
                    <a:pos x="123" y="199"/>
                  </a:cxn>
                  <a:cxn ang="0">
                    <a:pos x="118" y="214"/>
                  </a:cxn>
                  <a:cxn ang="0">
                    <a:pos x="128" y="220"/>
                  </a:cxn>
                  <a:cxn ang="0">
                    <a:pos x="134" y="182"/>
                  </a:cxn>
                  <a:cxn ang="0">
                    <a:pos x="126" y="158"/>
                  </a:cxn>
                  <a:cxn ang="0">
                    <a:pos x="140" y="157"/>
                  </a:cxn>
                  <a:cxn ang="0">
                    <a:pos x="129" y="144"/>
                  </a:cxn>
                  <a:cxn ang="0">
                    <a:pos x="164" y="138"/>
                  </a:cxn>
                  <a:cxn ang="0">
                    <a:pos x="171" y="148"/>
                  </a:cxn>
                  <a:cxn ang="0">
                    <a:pos x="159" y="129"/>
                  </a:cxn>
                  <a:cxn ang="0">
                    <a:pos x="163" y="83"/>
                  </a:cxn>
                  <a:cxn ang="0">
                    <a:pos x="135" y="84"/>
                  </a:cxn>
                  <a:cxn ang="0">
                    <a:pos x="126" y="73"/>
                  </a:cxn>
                  <a:cxn ang="0">
                    <a:pos x="98" y="70"/>
                  </a:cxn>
                  <a:cxn ang="0">
                    <a:pos x="80" y="43"/>
                  </a:cxn>
                  <a:cxn ang="0">
                    <a:pos x="107" y="8"/>
                  </a:cxn>
                  <a:cxn ang="0">
                    <a:pos x="104" y="0"/>
                  </a:cxn>
                  <a:cxn ang="0">
                    <a:pos x="55" y="19"/>
                  </a:cxn>
                  <a:cxn ang="0">
                    <a:pos x="29" y="59"/>
                  </a:cxn>
                  <a:cxn ang="0">
                    <a:pos x="21" y="50"/>
                  </a:cxn>
                  <a:cxn ang="0">
                    <a:pos x="14" y="69"/>
                  </a:cxn>
                  <a:cxn ang="0">
                    <a:pos x="21" y="113"/>
                  </a:cxn>
                  <a:cxn ang="0">
                    <a:pos x="26" y="113"/>
                  </a:cxn>
                  <a:cxn ang="0">
                    <a:pos x="0" y="147"/>
                  </a:cxn>
                </a:cxnLst>
                <a:rect l="0" t="0" r="r" b="b"/>
                <a:pathLst>
                  <a:path w="171" h="220">
                    <a:moveTo>
                      <a:pt x="0" y="147"/>
                    </a:moveTo>
                    <a:lnTo>
                      <a:pt x="21" y="163"/>
                    </a:lnTo>
                    <a:lnTo>
                      <a:pt x="51" y="167"/>
                    </a:lnTo>
                    <a:lnTo>
                      <a:pt x="83" y="196"/>
                    </a:lnTo>
                    <a:lnTo>
                      <a:pt x="123" y="199"/>
                    </a:lnTo>
                    <a:lnTo>
                      <a:pt x="118" y="214"/>
                    </a:lnTo>
                    <a:lnTo>
                      <a:pt x="128" y="220"/>
                    </a:lnTo>
                    <a:lnTo>
                      <a:pt x="134" y="182"/>
                    </a:lnTo>
                    <a:lnTo>
                      <a:pt x="126" y="158"/>
                    </a:lnTo>
                    <a:lnTo>
                      <a:pt x="140" y="157"/>
                    </a:lnTo>
                    <a:lnTo>
                      <a:pt x="129" y="144"/>
                    </a:lnTo>
                    <a:lnTo>
                      <a:pt x="164" y="138"/>
                    </a:lnTo>
                    <a:lnTo>
                      <a:pt x="171" y="148"/>
                    </a:lnTo>
                    <a:lnTo>
                      <a:pt x="159" y="129"/>
                    </a:lnTo>
                    <a:lnTo>
                      <a:pt x="163" y="83"/>
                    </a:lnTo>
                    <a:lnTo>
                      <a:pt x="135" y="84"/>
                    </a:lnTo>
                    <a:lnTo>
                      <a:pt x="126" y="73"/>
                    </a:lnTo>
                    <a:lnTo>
                      <a:pt x="98" y="70"/>
                    </a:lnTo>
                    <a:lnTo>
                      <a:pt x="80" y="43"/>
                    </a:lnTo>
                    <a:lnTo>
                      <a:pt x="107" y="8"/>
                    </a:lnTo>
                    <a:lnTo>
                      <a:pt x="104" y="0"/>
                    </a:lnTo>
                    <a:lnTo>
                      <a:pt x="55" y="19"/>
                    </a:lnTo>
                    <a:lnTo>
                      <a:pt x="29" y="59"/>
                    </a:lnTo>
                    <a:lnTo>
                      <a:pt x="21" y="50"/>
                    </a:lnTo>
                    <a:lnTo>
                      <a:pt x="14" y="69"/>
                    </a:lnTo>
                    <a:lnTo>
                      <a:pt x="21" y="113"/>
                    </a:lnTo>
                    <a:lnTo>
                      <a:pt x="26" y="113"/>
                    </a:lnTo>
                    <a:lnTo>
                      <a:pt x="0" y="147"/>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59" name="Freeform 115"/>
              <p:cNvSpPr>
                <a:spLocks noEditPoints="1"/>
              </p:cNvSpPr>
              <p:nvPr/>
            </p:nvSpPr>
            <p:spPr bwMode="auto">
              <a:xfrm>
                <a:off x="1634" y="1958"/>
                <a:ext cx="177" cy="223"/>
              </a:xfrm>
              <a:custGeom>
                <a:avLst/>
                <a:gdLst/>
                <a:ahLst/>
                <a:cxnLst>
                  <a:cxn ang="0">
                    <a:pos x="14" y="642"/>
                  </a:cxn>
                  <a:cxn ang="0">
                    <a:pos x="83" y="709"/>
                  </a:cxn>
                  <a:cxn ang="0">
                    <a:pos x="191" y="730"/>
                  </a:cxn>
                  <a:cxn ang="0">
                    <a:pos x="294" y="856"/>
                  </a:cxn>
                  <a:cxn ang="0">
                    <a:pos x="442" y="872"/>
                  </a:cxn>
                  <a:cxn ang="0">
                    <a:pos x="423" y="946"/>
                  </a:cxn>
                  <a:cxn ang="0">
                    <a:pos x="454" y="962"/>
                  </a:cxn>
                  <a:cxn ang="0">
                    <a:pos x="464" y="800"/>
                  </a:cxn>
                  <a:cxn ang="0">
                    <a:pos x="436" y="700"/>
                  </a:cxn>
                  <a:cxn ang="0">
                    <a:pos x="443" y="690"/>
                  </a:cxn>
                  <a:cxn ang="0">
                    <a:pos x="484" y="697"/>
                  </a:cxn>
                  <a:cxn ang="0">
                    <a:pos x="448" y="631"/>
                  </a:cxn>
                  <a:cxn ang="0">
                    <a:pos x="572" y="603"/>
                  </a:cxn>
                  <a:cxn ang="0">
                    <a:pos x="607" y="649"/>
                  </a:cxn>
                  <a:cxn ang="0">
                    <a:pos x="551" y="573"/>
                  </a:cxn>
                  <a:cxn ang="0">
                    <a:pos x="564" y="367"/>
                  </a:cxn>
                  <a:cxn ang="0">
                    <a:pos x="475" y="381"/>
                  </a:cxn>
                  <a:cxn ang="0">
                    <a:pos x="437" y="330"/>
                  </a:cxn>
                  <a:cxn ang="0">
                    <a:pos x="345" y="320"/>
                  </a:cxn>
                  <a:cxn ang="0">
                    <a:pos x="278" y="200"/>
                  </a:cxn>
                  <a:cxn ang="0">
                    <a:pos x="373" y="38"/>
                  </a:cxn>
                  <a:cxn ang="0">
                    <a:pos x="360" y="11"/>
                  </a:cxn>
                  <a:cxn ang="0">
                    <a:pos x="203" y="98"/>
                  </a:cxn>
                  <a:cxn ang="0">
                    <a:pos x="117" y="269"/>
                  </a:cxn>
                  <a:cxn ang="0">
                    <a:pos x="103" y="270"/>
                  </a:cxn>
                  <a:cxn ang="0">
                    <a:pos x="87" y="226"/>
                  </a:cxn>
                  <a:cxn ang="0">
                    <a:pos x="63" y="306"/>
                  </a:cxn>
                  <a:cxn ang="0">
                    <a:pos x="80" y="491"/>
                  </a:cxn>
                  <a:cxn ang="0">
                    <a:pos x="107" y="495"/>
                  </a:cxn>
                  <a:cxn ang="0">
                    <a:pos x="15" y="652"/>
                  </a:cxn>
                  <a:cxn ang="0">
                    <a:pos x="100" y="507"/>
                  </a:cxn>
                  <a:cxn ang="0">
                    <a:pos x="72" y="500"/>
                  </a:cxn>
                  <a:cxn ang="0">
                    <a:pos x="48" y="305"/>
                  </a:cxn>
                  <a:cxn ang="0">
                    <a:pos x="78" y="215"/>
                  </a:cxn>
                  <a:cxn ang="0">
                    <a:pos x="116" y="261"/>
                  </a:cxn>
                  <a:cxn ang="0">
                    <a:pos x="192" y="87"/>
                  </a:cxn>
                  <a:cxn ang="0">
                    <a:pos x="364" y="1"/>
                  </a:cxn>
                  <a:cxn ang="0">
                    <a:pos x="376" y="6"/>
                  </a:cxn>
                  <a:cxn ang="0">
                    <a:pos x="386" y="46"/>
                  </a:cxn>
                  <a:cxn ang="0">
                    <a:pos x="292" y="193"/>
                  </a:cxn>
                  <a:cxn ang="0">
                    <a:pos x="348" y="304"/>
                  </a:cxn>
                  <a:cxn ang="0">
                    <a:pos x="450" y="321"/>
                  </a:cxn>
                  <a:cxn ang="0">
                    <a:pos x="475" y="365"/>
                  </a:cxn>
                  <a:cxn ang="0">
                    <a:pos x="578" y="362"/>
                  </a:cxn>
                  <a:cxn ang="0">
                    <a:pos x="566" y="570"/>
                  </a:cxn>
                  <a:cxn ang="0">
                    <a:pos x="608" y="649"/>
                  </a:cxn>
                  <a:cxn ang="0">
                    <a:pos x="594" y="657"/>
                  </a:cxn>
                  <a:cxn ang="0">
                    <a:pos x="575" y="619"/>
                  </a:cxn>
                  <a:cxn ang="0">
                    <a:pos x="462" y="630"/>
                  </a:cxn>
                  <a:cxn ang="0">
                    <a:pos x="498" y="697"/>
                  </a:cxn>
                  <a:cxn ang="0">
                    <a:pos x="444" y="706"/>
                  </a:cxn>
                  <a:cxn ang="0">
                    <a:pos x="480" y="798"/>
                  </a:cxn>
                  <a:cxn ang="0">
                    <a:pos x="457" y="970"/>
                  </a:cxn>
                  <a:cxn ang="0">
                    <a:pos x="445" y="975"/>
                  </a:cxn>
                  <a:cxn ang="0">
                    <a:pos x="407" y="941"/>
                  </a:cxn>
                  <a:cxn ang="0">
                    <a:pos x="434" y="884"/>
                  </a:cxn>
                  <a:cxn ang="0">
                    <a:pos x="288" y="870"/>
                  </a:cxn>
                  <a:cxn ang="0">
                    <a:pos x="184" y="743"/>
                  </a:cxn>
                  <a:cxn ang="0">
                    <a:pos x="76" y="723"/>
                  </a:cxn>
                  <a:cxn ang="0">
                    <a:pos x="2" y="644"/>
                  </a:cxn>
                </a:cxnLst>
                <a:rect l="0" t="0" r="r" b="b"/>
                <a:pathLst>
                  <a:path w="610" h="977">
                    <a:moveTo>
                      <a:pt x="15" y="652"/>
                    </a:moveTo>
                    <a:lnTo>
                      <a:pt x="14" y="642"/>
                    </a:lnTo>
                    <a:lnTo>
                      <a:pt x="87" y="711"/>
                    </a:lnTo>
                    <a:lnTo>
                      <a:pt x="83" y="709"/>
                    </a:lnTo>
                    <a:lnTo>
                      <a:pt x="187" y="727"/>
                    </a:lnTo>
                    <a:cubicBezTo>
                      <a:pt x="189" y="728"/>
                      <a:pt x="190" y="729"/>
                      <a:pt x="191" y="730"/>
                    </a:cubicBezTo>
                    <a:lnTo>
                      <a:pt x="300" y="859"/>
                    </a:lnTo>
                    <a:lnTo>
                      <a:pt x="294" y="856"/>
                    </a:lnTo>
                    <a:lnTo>
                      <a:pt x="436" y="868"/>
                    </a:lnTo>
                    <a:cubicBezTo>
                      <a:pt x="438" y="868"/>
                      <a:pt x="440" y="870"/>
                      <a:pt x="442" y="872"/>
                    </a:cubicBezTo>
                    <a:cubicBezTo>
                      <a:pt x="443" y="874"/>
                      <a:pt x="443" y="876"/>
                      <a:pt x="443" y="878"/>
                    </a:cubicBezTo>
                    <a:lnTo>
                      <a:pt x="423" y="946"/>
                    </a:lnTo>
                    <a:lnTo>
                      <a:pt x="420" y="937"/>
                    </a:lnTo>
                    <a:lnTo>
                      <a:pt x="454" y="962"/>
                    </a:lnTo>
                    <a:lnTo>
                      <a:pt x="441" y="967"/>
                    </a:lnTo>
                    <a:lnTo>
                      <a:pt x="464" y="800"/>
                    </a:lnTo>
                    <a:lnTo>
                      <a:pt x="464" y="803"/>
                    </a:lnTo>
                    <a:lnTo>
                      <a:pt x="436" y="700"/>
                    </a:lnTo>
                    <a:cubicBezTo>
                      <a:pt x="435" y="698"/>
                      <a:pt x="436" y="696"/>
                      <a:pt x="437" y="694"/>
                    </a:cubicBezTo>
                    <a:cubicBezTo>
                      <a:pt x="438" y="692"/>
                      <a:pt x="440" y="691"/>
                      <a:pt x="443" y="690"/>
                    </a:cubicBezTo>
                    <a:lnTo>
                      <a:pt x="490" y="685"/>
                    </a:lnTo>
                    <a:lnTo>
                      <a:pt x="484" y="697"/>
                    </a:lnTo>
                    <a:lnTo>
                      <a:pt x="448" y="639"/>
                    </a:lnTo>
                    <a:cubicBezTo>
                      <a:pt x="447" y="636"/>
                      <a:pt x="447" y="634"/>
                      <a:pt x="448" y="631"/>
                    </a:cubicBezTo>
                    <a:cubicBezTo>
                      <a:pt x="449" y="629"/>
                      <a:pt x="451" y="627"/>
                      <a:pt x="453" y="627"/>
                    </a:cubicBezTo>
                    <a:lnTo>
                      <a:pt x="572" y="603"/>
                    </a:lnTo>
                    <a:cubicBezTo>
                      <a:pt x="575" y="602"/>
                      <a:pt x="578" y="604"/>
                      <a:pt x="580" y="607"/>
                    </a:cubicBezTo>
                    <a:lnTo>
                      <a:pt x="607" y="649"/>
                    </a:lnTo>
                    <a:lnTo>
                      <a:pt x="593" y="657"/>
                    </a:lnTo>
                    <a:lnTo>
                      <a:pt x="551" y="573"/>
                    </a:lnTo>
                    <a:cubicBezTo>
                      <a:pt x="550" y="571"/>
                      <a:pt x="550" y="570"/>
                      <a:pt x="550" y="568"/>
                    </a:cubicBezTo>
                    <a:lnTo>
                      <a:pt x="564" y="367"/>
                    </a:lnTo>
                    <a:lnTo>
                      <a:pt x="572" y="376"/>
                    </a:lnTo>
                    <a:lnTo>
                      <a:pt x="475" y="381"/>
                    </a:lnTo>
                    <a:cubicBezTo>
                      <a:pt x="473" y="381"/>
                      <a:pt x="470" y="379"/>
                      <a:pt x="468" y="377"/>
                    </a:cubicBezTo>
                    <a:lnTo>
                      <a:pt x="437" y="330"/>
                    </a:lnTo>
                    <a:lnTo>
                      <a:pt x="442" y="334"/>
                    </a:lnTo>
                    <a:lnTo>
                      <a:pt x="345" y="320"/>
                    </a:lnTo>
                    <a:cubicBezTo>
                      <a:pt x="343" y="320"/>
                      <a:pt x="341" y="318"/>
                      <a:pt x="339" y="316"/>
                    </a:cubicBezTo>
                    <a:lnTo>
                      <a:pt x="278" y="200"/>
                    </a:lnTo>
                    <a:cubicBezTo>
                      <a:pt x="277" y="198"/>
                      <a:pt x="277" y="195"/>
                      <a:pt x="278" y="192"/>
                    </a:cubicBezTo>
                    <a:lnTo>
                      <a:pt x="373" y="38"/>
                    </a:lnTo>
                    <a:lnTo>
                      <a:pt x="372" y="45"/>
                    </a:lnTo>
                    <a:lnTo>
                      <a:pt x="360" y="11"/>
                    </a:lnTo>
                    <a:lnTo>
                      <a:pt x="371" y="16"/>
                    </a:lnTo>
                    <a:lnTo>
                      <a:pt x="203" y="98"/>
                    </a:lnTo>
                    <a:lnTo>
                      <a:pt x="207" y="94"/>
                    </a:lnTo>
                    <a:lnTo>
                      <a:pt x="117" y="269"/>
                    </a:lnTo>
                    <a:cubicBezTo>
                      <a:pt x="116" y="271"/>
                      <a:pt x="113" y="273"/>
                      <a:pt x="110" y="273"/>
                    </a:cubicBezTo>
                    <a:cubicBezTo>
                      <a:pt x="108" y="273"/>
                      <a:pt x="105" y="272"/>
                      <a:pt x="103" y="270"/>
                    </a:cubicBezTo>
                    <a:lnTo>
                      <a:pt x="73" y="228"/>
                    </a:lnTo>
                    <a:lnTo>
                      <a:pt x="87" y="226"/>
                    </a:lnTo>
                    <a:lnTo>
                      <a:pt x="63" y="309"/>
                    </a:lnTo>
                    <a:lnTo>
                      <a:pt x="63" y="306"/>
                    </a:lnTo>
                    <a:lnTo>
                      <a:pt x="88" y="498"/>
                    </a:lnTo>
                    <a:lnTo>
                      <a:pt x="80" y="491"/>
                    </a:lnTo>
                    <a:lnTo>
                      <a:pt x="100" y="491"/>
                    </a:lnTo>
                    <a:cubicBezTo>
                      <a:pt x="103" y="491"/>
                      <a:pt x="105" y="492"/>
                      <a:pt x="107" y="495"/>
                    </a:cubicBezTo>
                    <a:cubicBezTo>
                      <a:pt x="108" y="497"/>
                      <a:pt x="108" y="500"/>
                      <a:pt x="107" y="503"/>
                    </a:cubicBezTo>
                    <a:lnTo>
                      <a:pt x="15" y="652"/>
                    </a:lnTo>
                    <a:close/>
                    <a:moveTo>
                      <a:pt x="93" y="494"/>
                    </a:moveTo>
                    <a:lnTo>
                      <a:pt x="100" y="507"/>
                    </a:lnTo>
                    <a:lnTo>
                      <a:pt x="80" y="507"/>
                    </a:lnTo>
                    <a:cubicBezTo>
                      <a:pt x="76" y="507"/>
                      <a:pt x="72" y="504"/>
                      <a:pt x="72" y="500"/>
                    </a:cubicBezTo>
                    <a:lnTo>
                      <a:pt x="48" y="308"/>
                    </a:lnTo>
                    <a:cubicBezTo>
                      <a:pt x="47" y="307"/>
                      <a:pt x="48" y="306"/>
                      <a:pt x="48" y="305"/>
                    </a:cubicBezTo>
                    <a:lnTo>
                      <a:pt x="72" y="221"/>
                    </a:lnTo>
                    <a:cubicBezTo>
                      <a:pt x="73" y="218"/>
                      <a:pt x="75" y="216"/>
                      <a:pt x="78" y="215"/>
                    </a:cubicBezTo>
                    <a:cubicBezTo>
                      <a:pt x="81" y="215"/>
                      <a:pt x="85" y="216"/>
                      <a:pt x="86" y="219"/>
                    </a:cubicBezTo>
                    <a:lnTo>
                      <a:pt x="116" y="261"/>
                    </a:lnTo>
                    <a:lnTo>
                      <a:pt x="103" y="262"/>
                    </a:lnTo>
                    <a:lnTo>
                      <a:pt x="192" y="87"/>
                    </a:lnTo>
                    <a:cubicBezTo>
                      <a:pt x="193" y="86"/>
                      <a:pt x="195" y="84"/>
                      <a:pt x="196" y="84"/>
                    </a:cubicBezTo>
                    <a:lnTo>
                      <a:pt x="364" y="1"/>
                    </a:lnTo>
                    <a:cubicBezTo>
                      <a:pt x="366" y="0"/>
                      <a:pt x="369" y="0"/>
                      <a:pt x="371" y="1"/>
                    </a:cubicBezTo>
                    <a:cubicBezTo>
                      <a:pt x="373" y="2"/>
                      <a:pt x="375" y="4"/>
                      <a:pt x="376" y="6"/>
                    </a:cubicBezTo>
                    <a:lnTo>
                      <a:pt x="387" y="39"/>
                    </a:lnTo>
                    <a:cubicBezTo>
                      <a:pt x="388" y="42"/>
                      <a:pt x="387" y="44"/>
                      <a:pt x="386" y="46"/>
                    </a:cubicBezTo>
                    <a:lnTo>
                      <a:pt x="292" y="201"/>
                    </a:lnTo>
                    <a:lnTo>
                      <a:pt x="292" y="193"/>
                    </a:lnTo>
                    <a:lnTo>
                      <a:pt x="354" y="308"/>
                    </a:lnTo>
                    <a:lnTo>
                      <a:pt x="348" y="304"/>
                    </a:lnTo>
                    <a:lnTo>
                      <a:pt x="445" y="318"/>
                    </a:lnTo>
                    <a:cubicBezTo>
                      <a:pt x="447" y="318"/>
                      <a:pt x="449" y="319"/>
                      <a:pt x="450" y="321"/>
                    </a:cubicBezTo>
                    <a:lnTo>
                      <a:pt x="482" y="368"/>
                    </a:lnTo>
                    <a:lnTo>
                      <a:pt x="475" y="365"/>
                    </a:lnTo>
                    <a:lnTo>
                      <a:pt x="572" y="360"/>
                    </a:lnTo>
                    <a:cubicBezTo>
                      <a:pt x="574" y="360"/>
                      <a:pt x="576" y="360"/>
                      <a:pt x="578" y="362"/>
                    </a:cubicBezTo>
                    <a:cubicBezTo>
                      <a:pt x="579" y="364"/>
                      <a:pt x="580" y="366"/>
                      <a:pt x="580" y="368"/>
                    </a:cubicBezTo>
                    <a:lnTo>
                      <a:pt x="566" y="570"/>
                    </a:lnTo>
                    <a:lnTo>
                      <a:pt x="565" y="565"/>
                    </a:lnTo>
                    <a:lnTo>
                      <a:pt x="608" y="649"/>
                    </a:lnTo>
                    <a:cubicBezTo>
                      <a:pt x="610" y="653"/>
                      <a:pt x="608" y="658"/>
                      <a:pt x="604" y="660"/>
                    </a:cubicBezTo>
                    <a:cubicBezTo>
                      <a:pt x="601" y="662"/>
                      <a:pt x="596" y="661"/>
                      <a:pt x="594" y="657"/>
                    </a:cubicBezTo>
                    <a:lnTo>
                      <a:pt x="567" y="615"/>
                    </a:lnTo>
                    <a:lnTo>
                      <a:pt x="575" y="619"/>
                    </a:lnTo>
                    <a:lnTo>
                      <a:pt x="457" y="642"/>
                    </a:lnTo>
                    <a:lnTo>
                      <a:pt x="462" y="630"/>
                    </a:lnTo>
                    <a:lnTo>
                      <a:pt x="497" y="689"/>
                    </a:lnTo>
                    <a:cubicBezTo>
                      <a:pt x="499" y="691"/>
                      <a:pt x="499" y="694"/>
                      <a:pt x="498" y="697"/>
                    </a:cubicBezTo>
                    <a:cubicBezTo>
                      <a:pt x="497" y="699"/>
                      <a:pt x="494" y="701"/>
                      <a:pt x="491" y="701"/>
                    </a:cubicBezTo>
                    <a:lnTo>
                      <a:pt x="444" y="706"/>
                    </a:lnTo>
                    <a:lnTo>
                      <a:pt x="451" y="696"/>
                    </a:lnTo>
                    <a:lnTo>
                      <a:pt x="480" y="798"/>
                    </a:lnTo>
                    <a:cubicBezTo>
                      <a:pt x="480" y="800"/>
                      <a:pt x="480" y="801"/>
                      <a:pt x="480" y="802"/>
                    </a:cubicBezTo>
                    <a:lnTo>
                      <a:pt x="457" y="970"/>
                    </a:lnTo>
                    <a:cubicBezTo>
                      <a:pt x="457" y="972"/>
                      <a:pt x="455" y="975"/>
                      <a:pt x="452" y="976"/>
                    </a:cubicBezTo>
                    <a:cubicBezTo>
                      <a:pt x="450" y="977"/>
                      <a:pt x="447" y="977"/>
                      <a:pt x="445" y="975"/>
                    </a:cubicBezTo>
                    <a:lnTo>
                      <a:pt x="410" y="950"/>
                    </a:lnTo>
                    <a:cubicBezTo>
                      <a:pt x="408" y="948"/>
                      <a:pt x="406" y="944"/>
                      <a:pt x="407" y="941"/>
                    </a:cubicBezTo>
                    <a:lnTo>
                      <a:pt x="427" y="874"/>
                    </a:lnTo>
                    <a:lnTo>
                      <a:pt x="434" y="884"/>
                    </a:lnTo>
                    <a:lnTo>
                      <a:pt x="293" y="872"/>
                    </a:lnTo>
                    <a:cubicBezTo>
                      <a:pt x="291" y="872"/>
                      <a:pt x="289" y="871"/>
                      <a:pt x="288" y="870"/>
                    </a:cubicBezTo>
                    <a:lnTo>
                      <a:pt x="179" y="740"/>
                    </a:lnTo>
                    <a:lnTo>
                      <a:pt x="184" y="743"/>
                    </a:lnTo>
                    <a:lnTo>
                      <a:pt x="80" y="725"/>
                    </a:lnTo>
                    <a:cubicBezTo>
                      <a:pt x="78" y="724"/>
                      <a:pt x="77" y="724"/>
                      <a:pt x="76" y="723"/>
                    </a:cubicBezTo>
                    <a:lnTo>
                      <a:pt x="3" y="654"/>
                    </a:lnTo>
                    <a:cubicBezTo>
                      <a:pt x="0" y="651"/>
                      <a:pt x="0" y="647"/>
                      <a:pt x="2" y="644"/>
                    </a:cubicBezTo>
                    <a:lnTo>
                      <a:pt x="93" y="494"/>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60" name="Freeform 116"/>
              <p:cNvSpPr>
                <a:spLocks/>
              </p:cNvSpPr>
              <p:nvPr/>
            </p:nvSpPr>
            <p:spPr bwMode="auto">
              <a:xfrm>
                <a:off x="1544" y="1978"/>
                <a:ext cx="42" cy="36"/>
              </a:xfrm>
              <a:custGeom>
                <a:avLst/>
                <a:gdLst/>
                <a:ahLst/>
                <a:cxnLst>
                  <a:cxn ang="0">
                    <a:pos x="0" y="0"/>
                  </a:cxn>
                  <a:cxn ang="0">
                    <a:pos x="0" y="14"/>
                  </a:cxn>
                  <a:cxn ang="0">
                    <a:pos x="9" y="12"/>
                  </a:cxn>
                  <a:cxn ang="0">
                    <a:pos x="36" y="36"/>
                  </a:cxn>
                  <a:cxn ang="0">
                    <a:pos x="42" y="18"/>
                  </a:cxn>
                  <a:cxn ang="0">
                    <a:pos x="28" y="1"/>
                  </a:cxn>
                  <a:cxn ang="0">
                    <a:pos x="0" y="0"/>
                  </a:cxn>
                </a:cxnLst>
                <a:rect l="0" t="0" r="r" b="b"/>
                <a:pathLst>
                  <a:path w="42" h="36">
                    <a:moveTo>
                      <a:pt x="0" y="0"/>
                    </a:moveTo>
                    <a:lnTo>
                      <a:pt x="0" y="14"/>
                    </a:lnTo>
                    <a:lnTo>
                      <a:pt x="9" y="12"/>
                    </a:lnTo>
                    <a:lnTo>
                      <a:pt x="36" y="36"/>
                    </a:lnTo>
                    <a:lnTo>
                      <a:pt x="42" y="18"/>
                    </a:lnTo>
                    <a:lnTo>
                      <a:pt x="28" y="1"/>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61" name="Freeform 117"/>
              <p:cNvSpPr>
                <a:spLocks noEditPoints="1"/>
              </p:cNvSpPr>
              <p:nvPr/>
            </p:nvSpPr>
            <p:spPr bwMode="auto">
              <a:xfrm>
                <a:off x="1542" y="1976"/>
                <a:ext cx="46" cy="40"/>
              </a:xfrm>
              <a:custGeom>
                <a:avLst/>
                <a:gdLst/>
                <a:ahLst/>
                <a:cxnLst>
                  <a:cxn ang="0">
                    <a:pos x="8" y="16"/>
                  </a:cxn>
                  <a:cxn ang="0">
                    <a:pos x="16" y="8"/>
                  </a:cxn>
                  <a:cxn ang="0">
                    <a:pos x="18" y="72"/>
                  </a:cxn>
                  <a:cxn ang="0">
                    <a:pos x="7" y="65"/>
                  </a:cxn>
                  <a:cxn ang="0">
                    <a:pos x="39" y="54"/>
                  </a:cxn>
                  <a:cxn ang="0">
                    <a:pos x="48" y="57"/>
                  </a:cxn>
                  <a:cxn ang="0">
                    <a:pos x="137" y="163"/>
                  </a:cxn>
                  <a:cxn ang="0">
                    <a:pos x="124" y="166"/>
                  </a:cxn>
                  <a:cxn ang="0">
                    <a:pos x="145" y="87"/>
                  </a:cxn>
                  <a:cxn ang="0">
                    <a:pos x="146" y="94"/>
                  </a:cxn>
                  <a:cxn ang="0">
                    <a:pos x="97" y="20"/>
                  </a:cxn>
                  <a:cxn ang="0">
                    <a:pos x="103" y="23"/>
                  </a:cxn>
                  <a:cxn ang="0">
                    <a:pos x="8" y="16"/>
                  </a:cxn>
                  <a:cxn ang="0">
                    <a:pos x="104" y="7"/>
                  </a:cxn>
                  <a:cxn ang="0">
                    <a:pos x="110" y="11"/>
                  </a:cxn>
                  <a:cxn ang="0">
                    <a:pos x="159" y="85"/>
                  </a:cxn>
                  <a:cxn ang="0">
                    <a:pos x="160" y="91"/>
                  </a:cxn>
                  <a:cxn ang="0">
                    <a:pos x="139" y="171"/>
                  </a:cxn>
                  <a:cxn ang="0">
                    <a:pos x="133" y="176"/>
                  </a:cxn>
                  <a:cxn ang="0">
                    <a:pos x="125" y="174"/>
                  </a:cxn>
                  <a:cxn ang="0">
                    <a:pos x="35" y="67"/>
                  </a:cxn>
                  <a:cxn ang="0">
                    <a:pos x="44" y="69"/>
                  </a:cxn>
                  <a:cxn ang="0">
                    <a:pos x="12" y="80"/>
                  </a:cxn>
                  <a:cxn ang="0">
                    <a:pos x="5" y="79"/>
                  </a:cxn>
                  <a:cxn ang="0">
                    <a:pos x="2" y="72"/>
                  </a:cxn>
                  <a:cxn ang="0">
                    <a:pos x="0" y="9"/>
                  </a:cxn>
                  <a:cxn ang="0">
                    <a:pos x="3" y="3"/>
                  </a:cxn>
                  <a:cxn ang="0">
                    <a:pos x="9" y="0"/>
                  </a:cxn>
                  <a:cxn ang="0">
                    <a:pos x="104" y="7"/>
                  </a:cxn>
                </a:cxnLst>
                <a:rect l="0" t="0" r="r" b="b"/>
                <a:pathLst>
                  <a:path w="161" h="177">
                    <a:moveTo>
                      <a:pt x="8" y="16"/>
                    </a:moveTo>
                    <a:lnTo>
                      <a:pt x="16" y="8"/>
                    </a:lnTo>
                    <a:lnTo>
                      <a:pt x="18" y="72"/>
                    </a:lnTo>
                    <a:lnTo>
                      <a:pt x="7" y="65"/>
                    </a:lnTo>
                    <a:lnTo>
                      <a:pt x="39" y="54"/>
                    </a:lnTo>
                    <a:cubicBezTo>
                      <a:pt x="42" y="53"/>
                      <a:pt x="46" y="54"/>
                      <a:pt x="48" y="57"/>
                    </a:cubicBezTo>
                    <a:lnTo>
                      <a:pt x="137" y="163"/>
                    </a:lnTo>
                    <a:lnTo>
                      <a:pt x="124" y="166"/>
                    </a:lnTo>
                    <a:lnTo>
                      <a:pt x="145" y="87"/>
                    </a:lnTo>
                    <a:lnTo>
                      <a:pt x="146" y="94"/>
                    </a:lnTo>
                    <a:lnTo>
                      <a:pt x="97" y="20"/>
                    </a:lnTo>
                    <a:lnTo>
                      <a:pt x="103" y="23"/>
                    </a:lnTo>
                    <a:lnTo>
                      <a:pt x="8" y="16"/>
                    </a:lnTo>
                    <a:close/>
                    <a:moveTo>
                      <a:pt x="104" y="7"/>
                    </a:moveTo>
                    <a:cubicBezTo>
                      <a:pt x="107" y="8"/>
                      <a:pt x="109" y="9"/>
                      <a:pt x="110" y="11"/>
                    </a:cubicBezTo>
                    <a:lnTo>
                      <a:pt x="159" y="85"/>
                    </a:lnTo>
                    <a:cubicBezTo>
                      <a:pt x="160" y="87"/>
                      <a:pt x="161" y="89"/>
                      <a:pt x="160" y="91"/>
                    </a:cubicBezTo>
                    <a:lnTo>
                      <a:pt x="139" y="171"/>
                    </a:lnTo>
                    <a:cubicBezTo>
                      <a:pt x="138" y="173"/>
                      <a:pt x="136" y="176"/>
                      <a:pt x="133" y="176"/>
                    </a:cubicBezTo>
                    <a:cubicBezTo>
                      <a:pt x="130" y="177"/>
                      <a:pt x="127" y="176"/>
                      <a:pt x="125" y="174"/>
                    </a:cubicBezTo>
                    <a:lnTo>
                      <a:pt x="35" y="67"/>
                    </a:lnTo>
                    <a:lnTo>
                      <a:pt x="44" y="69"/>
                    </a:lnTo>
                    <a:lnTo>
                      <a:pt x="12" y="80"/>
                    </a:lnTo>
                    <a:cubicBezTo>
                      <a:pt x="10" y="81"/>
                      <a:pt x="7" y="80"/>
                      <a:pt x="5" y="79"/>
                    </a:cubicBezTo>
                    <a:cubicBezTo>
                      <a:pt x="3" y="77"/>
                      <a:pt x="2" y="75"/>
                      <a:pt x="2" y="72"/>
                    </a:cubicBezTo>
                    <a:lnTo>
                      <a:pt x="0" y="9"/>
                    </a:lnTo>
                    <a:cubicBezTo>
                      <a:pt x="0" y="6"/>
                      <a:pt x="1" y="4"/>
                      <a:pt x="3" y="3"/>
                    </a:cubicBezTo>
                    <a:cubicBezTo>
                      <a:pt x="5" y="1"/>
                      <a:pt x="7" y="0"/>
                      <a:pt x="9" y="0"/>
                    </a:cubicBezTo>
                    <a:lnTo>
                      <a:pt x="104" y="7"/>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62" name="Freeform 118"/>
              <p:cNvSpPr>
                <a:spLocks/>
              </p:cNvSpPr>
              <p:nvPr/>
            </p:nvSpPr>
            <p:spPr bwMode="auto">
              <a:xfrm>
                <a:off x="1553" y="1817"/>
                <a:ext cx="153" cy="40"/>
              </a:xfrm>
              <a:custGeom>
                <a:avLst/>
                <a:gdLst/>
                <a:ahLst/>
                <a:cxnLst>
                  <a:cxn ang="0">
                    <a:pos x="0" y="16"/>
                  </a:cxn>
                  <a:cxn ang="0">
                    <a:pos x="21" y="2"/>
                  </a:cxn>
                  <a:cxn ang="0">
                    <a:pos x="60" y="0"/>
                  </a:cxn>
                  <a:cxn ang="0">
                    <a:pos x="153" y="34"/>
                  </a:cxn>
                  <a:cxn ang="0">
                    <a:pos x="104" y="40"/>
                  </a:cxn>
                  <a:cxn ang="0">
                    <a:pos x="112" y="32"/>
                  </a:cxn>
                  <a:cxn ang="0">
                    <a:pos x="89" y="19"/>
                  </a:cxn>
                  <a:cxn ang="0">
                    <a:pos x="42" y="12"/>
                  </a:cxn>
                  <a:cxn ang="0">
                    <a:pos x="44" y="6"/>
                  </a:cxn>
                  <a:cxn ang="0">
                    <a:pos x="0" y="16"/>
                  </a:cxn>
                </a:cxnLst>
                <a:rect l="0" t="0" r="r" b="b"/>
                <a:pathLst>
                  <a:path w="153" h="40">
                    <a:moveTo>
                      <a:pt x="0" y="16"/>
                    </a:moveTo>
                    <a:lnTo>
                      <a:pt x="21" y="2"/>
                    </a:lnTo>
                    <a:lnTo>
                      <a:pt x="60" y="0"/>
                    </a:lnTo>
                    <a:lnTo>
                      <a:pt x="153" y="34"/>
                    </a:lnTo>
                    <a:lnTo>
                      <a:pt x="104" y="40"/>
                    </a:lnTo>
                    <a:lnTo>
                      <a:pt x="112" y="32"/>
                    </a:lnTo>
                    <a:lnTo>
                      <a:pt x="89" y="19"/>
                    </a:lnTo>
                    <a:lnTo>
                      <a:pt x="42" y="12"/>
                    </a:lnTo>
                    <a:lnTo>
                      <a:pt x="44" y="6"/>
                    </a:lnTo>
                    <a:lnTo>
                      <a:pt x="0" y="16"/>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63" name="Freeform 119"/>
              <p:cNvSpPr>
                <a:spLocks noEditPoints="1"/>
              </p:cNvSpPr>
              <p:nvPr/>
            </p:nvSpPr>
            <p:spPr bwMode="auto">
              <a:xfrm>
                <a:off x="1551" y="1815"/>
                <a:ext cx="158" cy="44"/>
              </a:xfrm>
              <a:custGeom>
                <a:avLst/>
                <a:gdLst/>
                <a:ahLst/>
                <a:cxnLst>
                  <a:cxn ang="0">
                    <a:pos x="11" y="84"/>
                  </a:cxn>
                  <a:cxn ang="0">
                    <a:pos x="1" y="80"/>
                  </a:cxn>
                  <a:cxn ang="0">
                    <a:pos x="3" y="71"/>
                  </a:cxn>
                  <a:cxn ang="0">
                    <a:pos x="74" y="10"/>
                  </a:cxn>
                  <a:cxn ang="0">
                    <a:pos x="79" y="8"/>
                  </a:cxn>
                  <a:cxn ang="0">
                    <a:pos x="213" y="0"/>
                  </a:cxn>
                  <a:cxn ang="0">
                    <a:pos x="217" y="1"/>
                  </a:cxn>
                  <a:cxn ang="0">
                    <a:pos x="540" y="151"/>
                  </a:cxn>
                  <a:cxn ang="0">
                    <a:pos x="544" y="160"/>
                  </a:cxn>
                  <a:cxn ang="0">
                    <a:pos x="538" y="167"/>
                  </a:cxn>
                  <a:cxn ang="0">
                    <a:pos x="366" y="192"/>
                  </a:cxn>
                  <a:cxn ang="0">
                    <a:pos x="358" y="188"/>
                  </a:cxn>
                  <a:cxn ang="0">
                    <a:pos x="359" y="179"/>
                  </a:cxn>
                  <a:cxn ang="0">
                    <a:pos x="389" y="146"/>
                  </a:cxn>
                  <a:cxn ang="0">
                    <a:pos x="390" y="158"/>
                  </a:cxn>
                  <a:cxn ang="0">
                    <a:pos x="308" y="100"/>
                  </a:cxn>
                  <a:cxn ang="0">
                    <a:pos x="311" y="101"/>
                  </a:cxn>
                  <a:cxn ang="0">
                    <a:pos x="150" y="71"/>
                  </a:cxn>
                  <a:cxn ang="0">
                    <a:pos x="145" y="67"/>
                  </a:cxn>
                  <a:cxn ang="0">
                    <a:pos x="144" y="61"/>
                  </a:cxn>
                  <a:cxn ang="0">
                    <a:pos x="152" y="33"/>
                  </a:cxn>
                  <a:cxn ang="0">
                    <a:pos x="162" y="44"/>
                  </a:cxn>
                  <a:cxn ang="0">
                    <a:pos x="11" y="84"/>
                  </a:cxn>
                  <a:cxn ang="0">
                    <a:pos x="158" y="28"/>
                  </a:cxn>
                  <a:cxn ang="0">
                    <a:pos x="166" y="30"/>
                  </a:cxn>
                  <a:cxn ang="0">
                    <a:pos x="168" y="38"/>
                  </a:cxn>
                  <a:cxn ang="0">
                    <a:pos x="159" y="65"/>
                  </a:cxn>
                  <a:cxn ang="0">
                    <a:pos x="153" y="55"/>
                  </a:cxn>
                  <a:cxn ang="0">
                    <a:pos x="314" y="86"/>
                  </a:cxn>
                  <a:cxn ang="0">
                    <a:pos x="317" y="87"/>
                  </a:cxn>
                  <a:cxn ang="0">
                    <a:pos x="400" y="145"/>
                  </a:cxn>
                  <a:cxn ang="0">
                    <a:pos x="403" y="150"/>
                  </a:cxn>
                  <a:cxn ang="0">
                    <a:pos x="401" y="156"/>
                  </a:cxn>
                  <a:cxn ang="0">
                    <a:pos x="371" y="190"/>
                  </a:cxn>
                  <a:cxn ang="0">
                    <a:pos x="364" y="177"/>
                  </a:cxn>
                  <a:cxn ang="0">
                    <a:pos x="535" y="151"/>
                  </a:cxn>
                  <a:cxn ang="0">
                    <a:pos x="533" y="166"/>
                  </a:cxn>
                  <a:cxn ang="0">
                    <a:pos x="210" y="16"/>
                  </a:cxn>
                  <a:cxn ang="0">
                    <a:pos x="214" y="16"/>
                  </a:cxn>
                  <a:cxn ang="0">
                    <a:pos x="80" y="24"/>
                  </a:cxn>
                  <a:cxn ang="0">
                    <a:pos x="84" y="22"/>
                  </a:cxn>
                  <a:cxn ang="0">
                    <a:pos x="14" y="83"/>
                  </a:cxn>
                  <a:cxn ang="0">
                    <a:pos x="6" y="69"/>
                  </a:cxn>
                  <a:cxn ang="0">
                    <a:pos x="158" y="28"/>
                  </a:cxn>
                </a:cxnLst>
                <a:rect l="0" t="0" r="r" b="b"/>
                <a:pathLst>
                  <a:path w="545" h="193">
                    <a:moveTo>
                      <a:pt x="11" y="84"/>
                    </a:moveTo>
                    <a:cubicBezTo>
                      <a:pt x="7" y="85"/>
                      <a:pt x="3" y="84"/>
                      <a:pt x="1" y="80"/>
                    </a:cubicBezTo>
                    <a:cubicBezTo>
                      <a:pt x="0" y="77"/>
                      <a:pt x="0" y="73"/>
                      <a:pt x="3" y="71"/>
                    </a:cubicBezTo>
                    <a:lnTo>
                      <a:pt x="74" y="10"/>
                    </a:lnTo>
                    <a:cubicBezTo>
                      <a:pt x="75" y="9"/>
                      <a:pt x="77" y="8"/>
                      <a:pt x="79" y="8"/>
                    </a:cubicBezTo>
                    <a:lnTo>
                      <a:pt x="213" y="0"/>
                    </a:lnTo>
                    <a:cubicBezTo>
                      <a:pt x="215" y="0"/>
                      <a:pt x="216" y="1"/>
                      <a:pt x="217" y="1"/>
                    </a:cubicBezTo>
                    <a:lnTo>
                      <a:pt x="540" y="151"/>
                    </a:lnTo>
                    <a:cubicBezTo>
                      <a:pt x="543" y="153"/>
                      <a:pt x="545" y="156"/>
                      <a:pt x="544" y="160"/>
                    </a:cubicBezTo>
                    <a:cubicBezTo>
                      <a:pt x="544" y="163"/>
                      <a:pt x="541" y="166"/>
                      <a:pt x="538" y="167"/>
                    </a:cubicBezTo>
                    <a:lnTo>
                      <a:pt x="366" y="192"/>
                    </a:lnTo>
                    <a:cubicBezTo>
                      <a:pt x="363" y="193"/>
                      <a:pt x="360" y="191"/>
                      <a:pt x="358" y="188"/>
                    </a:cubicBezTo>
                    <a:cubicBezTo>
                      <a:pt x="357" y="185"/>
                      <a:pt x="357" y="182"/>
                      <a:pt x="359" y="179"/>
                    </a:cubicBezTo>
                    <a:lnTo>
                      <a:pt x="389" y="146"/>
                    </a:lnTo>
                    <a:lnTo>
                      <a:pt x="390" y="158"/>
                    </a:lnTo>
                    <a:lnTo>
                      <a:pt x="308" y="100"/>
                    </a:lnTo>
                    <a:lnTo>
                      <a:pt x="311" y="101"/>
                    </a:lnTo>
                    <a:lnTo>
                      <a:pt x="150" y="71"/>
                    </a:lnTo>
                    <a:cubicBezTo>
                      <a:pt x="148" y="71"/>
                      <a:pt x="146" y="69"/>
                      <a:pt x="145" y="67"/>
                    </a:cubicBezTo>
                    <a:cubicBezTo>
                      <a:pt x="143" y="65"/>
                      <a:pt x="143" y="63"/>
                      <a:pt x="144" y="61"/>
                    </a:cubicBezTo>
                    <a:lnTo>
                      <a:pt x="152" y="33"/>
                    </a:lnTo>
                    <a:lnTo>
                      <a:pt x="162" y="44"/>
                    </a:lnTo>
                    <a:lnTo>
                      <a:pt x="11" y="84"/>
                    </a:lnTo>
                    <a:close/>
                    <a:moveTo>
                      <a:pt x="158" y="28"/>
                    </a:moveTo>
                    <a:cubicBezTo>
                      <a:pt x="161" y="27"/>
                      <a:pt x="164" y="28"/>
                      <a:pt x="166" y="30"/>
                    </a:cubicBezTo>
                    <a:cubicBezTo>
                      <a:pt x="168" y="32"/>
                      <a:pt x="168" y="35"/>
                      <a:pt x="168" y="38"/>
                    </a:cubicBezTo>
                    <a:lnTo>
                      <a:pt x="159" y="65"/>
                    </a:lnTo>
                    <a:lnTo>
                      <a:pt x="153" y="55"/>
                    </a:lnTo>
                    <a:lnTo>
                      <a:pt x="314" y="86"/>
                    </a:lnTo>
                    <a:cubicBezTo>
                      <a:pt x="315" y="86"/>
                      <a:pt x="316" y="86"/>
                      <a:pt x="317" y="87"/>
                    </a:cubicBezTo>
                    <a:lnTo>
                      <a:pt x="400" y="145"/>
                    </a:lnTo>
                    <a:cubicBezTo>
                      <a:pt x="401" y="146"/>
                      <a:pt x="403" y="148"/>
                      <a:pt x="403" y="150"/>
                    </a:cubicBezTo>
                    <a:cubicBezTo>
                      <a:pt x="403" y="152"/>
                      <a:pt x="402" y="155"/>
                      <a:pt x="401" y="156"/>
                    </a:cubicBezTo>
                    <a:lnTo>
                      <a:pt x="371" y="190"/>
                    </a:lnTo>
                    <a:lnTo>
                      <a:pt x="364" y="177"/>
                    </a:lnTo>
                    <a:lnTo>
                      <a:pt x="535" y="151"/>
                    </a:lnTo>
                    <a:lnTo>
                      <a:pt x="533" y="166"/>
                    </a:lnTo>
                    <a:lnTo>
                      <a:pt x="210" y="16"/>
                    </a:lnTo>
                    <a:lnTo>
                      <a:pt x="214" y="16"/>
                    </a:lnTo>
                    <a:lnTo>
                      <a:pt x="80" y="24"/>
                    </a:lnTo>
                    <a:lnTo>
                      <a:pt x="84" y="22"/>
                    </a:lnTo>
                    <a:lnTo>
                      <a:pt x="14" y="83"/>
                    </a:lnTo>
                    <a:lnTo>
                      <a:pt x="6" y="69"/>
                    </a:lnTo>
                    <a:lnTo>
                      <a:pt x="158" y="28"/>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64" name="Freeform 120"/>
              <p:cNvSpPr>
                <a:spLocks/>
              </p:cNvSpPr>
              <p:nvPr/>
            </p:nvSpPr>
            <p:spPr bwMode="auto">
              <a:xfrm>
                <a:off x="2908" y="1385"/>
                <a:ext cx="149" cy="59"/>
              </a:xfrm>
              <a:custGeom>
                <a:avLst/>
                <a:gdLst/>
                <a:ahLst/>
                <a:cxnLst>
                  <a:cxn ang="0">
                    <a:pos x="0" y="15"/>
                  </a:cxn>
                  <a:cxn ang="0">
                    <a:pos x="26" y="42"/>
                  </a:cxn>
                  <a:cxn ang="0">
                    <a:pos x="67" y="41"/>
                  </a:cxn>
                  <a:cxn ang="0">
                    <a:pos x="74" y="53"/>
                  </a:cxn>
                  <a:cxn ang="0">
                    <a:pos x="93" y="59"/>
                  </a:cxn>
                  <a:cxn ang="0">
                    <a:pos x="125" y="45"/>
                  </a:cxn>
                  <a:cxn ang="0">
                    <a:pos x="144" y="48"/>
                  </a:cxn>
                  <a:cxn ang="0">
                    <a:pos x="149" y="36"/>
                  </a:cxn>
                  <a:cxn ang="0">
                    <a:pos x="113" y="32"/>
                  </a:cxn>
                  <a:cxn ang="0">
                    <a:pos x="39" y="6"/>
                  </a:cxn>
                  <a:cxn ang="0">
                    <a:pos x="32" y="0"/>
                  </a:cxn>
                  <a:cxn ang="0">
                    <a:pos x="0" y="15"/>
                  </a:cxn>
                </a:cxnLst>
                <a:rect l="0" t="0" r="r" b="b"/>
                <a:pathLst>
                  <a:path w="149" h="59">
                    <a:moveTo>
                      <a:pt x="0" y="15"/>
                    </a:moveTo>
                    <a:lnTo>
                      <a:pt x="26" y="42"/>
                    </a:lnTo>
                    <a:lnTo>
                      <a:pt x="67" y="41"/>
                    </a:lnTo>
                    <a:lnTo>
                      <a:pt x="74" y="53"/>
                    </a:lnTo>
                    <a:lnTo>
                      <a:pt x="93" y="59"/>
                    </a:lnTo>
                    <a:lnTo>
                      <a:pt x="125" y="45"/>
                    </a:lnTo>
                    <a:lnTo>
                      <a:pt x="144" y="48"/>
                    </a:lnTo>
                    <a:lnTo>
                      <a:pt x="149" y="36"/>
                    </a:lnTo>
                    <a:lnTo>
                      <a:pt x="113" y="32"/>
                    </a:lnTo>
                    <a:lnTo>
                      <a:pt x="39" y="6"/>
                    </a:lnTo>
                    <a:lnTo>
                      <a:pt x="32" y="0"/>
                    </a:lnTo>
                    <a:lnTo>
                      <a:pt x="0" y="15"/>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65" name="Freeform 121"/>
              <p:cNvSpPr>
                <a:spLocks noEditPoints="1"/>
              </p:cNvSpPr>
              <p:nvPr/>
            </p:nvSpPr>
            <p:spPr bwMode="auto">
              <a:xfrm>
                <a:off x="2906" y="1383"/>
                <a:ext cx="153" cy="63"/>
              </a:xfrm>
              <a:custGeom>
                <a:avLst/>
                <a:gdLst/>
                <a:ahLst/>
                <a:cxnLst>
                  <a:cxn ang="0">
                    <a:pos x="12" y="78"/>
                  </a:cxn>
                  <a:cxn ang="0">
                    <a:pos x="15" y="66"/>
                  </a:cxn>
                  <a:cxn ang="0">
                    <a:pos x="103" y="185"/>
                  </a:cxn>
                  <a:cxn ang="0">
                    <a:pos x="97" y="182"/>
                  </a:cxn>
                  <a:cxn ang="0">
                    <a:pos x="240" y="177"/>
                  </a:cxn>
                  <a:cxn ang="0">
                    <a:pos x="247" y="182"/>
                  </a:cxn>
                  <a:cxn ang="0">
                    <a:pos x="268" y="236"/>
                  </a:cxn>
                  <a:cxn ang="0">
                    <a:pos x="264" y="232"/>
                  </a:cxn>
                  <a:cxn ang="0">
                    <a:pos x="330" y="257"/>
                  </a:cxn>
                  <a:cxn ang="0">
                    <a:pos x="323" y="257"/>
                  </a:cxn>
                  <a:cxn ang="0">
                    <a:pos x="435" y="198"/>
                  </a:cxn>
                  <a:cxn ang="0">
                    <a:pos x="441" y="197"/>
                  </a:cxn>
                  <a:cxn ang="0">
                    <a:pos x="507" y="211"/>
                  </a:cxn>
                  <a:cxn ang="0">
                    <a:pos x="497" y="217"/>
                  </a:cxn>
                  <a:cxn ang="0">
                    <a:pos x="513" y="162"/>
                  </a:cxn>
                  <a:cxn ang="0">
                    <a:pos x="519" y="172"/>
                  </a:cxn>
                  <a:cxn ang="0">
                    <a:pos x="396" y="157"/>
                  </a:cxn>
                  <a:cxn ang="0">
                    <a:pos x="394" y="156"/>
                  </a:cxn>
                  <a:cxn ang="0">
                    <a:pos x="140" y="41"/>
                  </a:cxn>
                  <a:cxn ang="0">
                    <a:pos x="138" y="40"/>
                  </a:cxn>
                  <a:cxn ang="0">
                    <a:pos x="111" y="14"/>
                  </a:cxn>
                  <a:cxn ang="0">
                    <a:pos x="120" y="15"/>
                  </a:cxn>
                  <a:cxn ang="0">
                    <a:pos x="12" y="78"/>
                  </a:cxn>
                  <a:cxn ang="0">
                    <a:pos x="112" y="2"/>
                  </a:cxn>
                  <a:cxn ang="0">
                    <a:pos x="122" y="3"/>
                  </a:cxn>
                  <a:cxn ang="0">
                    <a:pos x="149" y="28"/>
                  </a:cxn>
                  <a:cxn ang="0">
                    <a:pos x="146" y="27"/>
                  </a:cxn>
                  <a:cxn ang="0">
                    <a:pos x="400" y="142"/>
                  </a:cxn>
                  <a:cxn ang="0">
                    <a:pos x="398" y="141"/>
                  </a:cxn>
                  <a:cxn ang="0">
                    <a:pos x="521" y="156"/>
                  </a:cxn>
                  <a:cxn ang="0">
                    <a:pos x="527" y="160"/>
                  </a:cxn>
                  <a:cxn ang="0">
                    <a:pos x="528" y="167"/>
                  </a:cxn>
                  <a:cxn ang="0">
                    <a:pos x="513" y="221"/>
                  </a:cxn>
                  <a:cxn ang="0">
                    <a:pos x="503" y="227"/>
                  </a:cxn>
                  <a:cxn ang="0">
                    <a:pos x="437" y="213"/>
                  </a:cxn>
                  <a:cxn ang="0">
                    <a:pos x="443" y="212"/>
                  </a:cxn>
                  <a:cxn ang="0">
                    <a:pos x="331" y="272"/>
                  </a:cxn>
                  <a:cxn ang="0">
                    <a:pos x="324" y="272"/>
                  </a:cxn>
                  <a:cxn ang="0">
                    <a:pos x="258" y="247"/>
                  </a:cxn>
                  <a:cxn ang="0">
                    <a:pos x="253" y="242"/>
                  </a:cxn>
                  <a:cxn ang="0">
                    <a:pos x="232" y="188"/>
                  </a:cxn>
                  <a:cxn ang="0">
                    <a:pos x="240" y="193"/>
                  </a:cxn>
                  <a:cxn ang="0">
                    <a:pos x="97" y="198"/>
                  </a:cxn>
                  <a:cxn ang="0">
                    <a:pos x="90" y="195"/>
                  </a:cxn>
                  <a:cxn ang="0">
                    <a:pos x="2" y="76"/>
                  </a:cxn>
                  <a:cxn ang="0">
                    <a:pos x="1" y="70"/>
                  </a:cxn>
                  <a:cxn ang="0">
                    <a:pos x="4" y="64"/>
                  </a:cxn>
                  <a:cxn ang="0">
                    <a:pos x="112" y="2"/>
                  </a:cxn>
                </a:cxnLst>
                <a:rect l="0" t="0" r="r" b="b"/>
                <a:pathLst>
                  <a:path w="529" h="273">
                    <a:moveTo>
                      <a:pt x="12" y="78"/>
                    </a:moveTo>
                    <a:lnTo>
                      <a:pt x="15" y="66"/>
                    </a:lnTo>
                    <a:lnTo>
                      <a:pt x="103" y="185"/>
                    </a:lnTo>
                    <a:lnTo>
                      <a:pt x="97" y="182"/>
                    </a:lnTo>
                    <a:lnTo>
                      <a:pt x="240" y="177"/>
                    </a:lnTo>
                    <a:cubicBezTo>
                      <a:pt x="243" y="177"/>
                      <a:pt x="246" y="179"/>
                      <a:pt x="247" y="182"/>
                    </a:cubicBezTo>
                    <a:lnTo>
                      <a:pt x="268" y="236"/>
                    </a:lnTo>
                    <a:lnTo>
                      <a:pt x="264" y="232"/>
                    </a:lnTo>
                    <a:lnTo>
                      <a:pt x="330" y="257"/>
                    </a:lnTo>
                    <a:lnTo>
                      <a:pt x="323" y="257"/>
                    </a:lnTo>
                    <a:lnTo>
                      <a:pt x="435" y="198"/>
                    </a:lnTo>
                    <a:cubicBezTo>
                      <a:pt x="437" y="197"/>
                      <a:pt x="439" y="197"/>
                      <a:pt x="441" y="197"/>
                    </a:cubicBezTo>
                    <a:lnTo>
                      <a:pt x="507" y="211"/>
                    </a:lnTo>
                    <a:lnTo>
                      <a:pt x="497" y="217"/>
                    </a:lnTo>
                    <a:lnTo>
                      <a:pt x="513" y="162"/>
                    </a:lnTo>
                    <a:lnTo>
                      <a:pt x="519" y="172"/>
                    </a:lnTo>
                    <a:lnTo>
                      <a:pt x="396" y="157"/>
                    </a:lnTo>
                    <a:cubicBezTo>
                      <a:pt x="395" y="157"/>
                      <a:pt x="394" y="157"/>
                      <a:pt x="394" y="156"/>
                    </a:cubicBezTo>
                    <a:lnTo>
                      <a:pt x="140" y="41"/>
                    </a:lnTo>
                    <a:cubicBezTo>
                      <a:pt x="139" y="41"/>
                      <a:pt x="138" y="40"/>
                      <a:pt x="138" y="40"/>
                    </a:cubicBezTo>
                    <a:lnTo>
                      <a:pt x="111" y="14"/>
                    </a:lnTo>
                    <a:lnTo>
                      <a:pt x="120" y="15"/>
                    </a:lnTo>
                    <a:lnTo>
                      <a:pt x="12" y="78"/>
                    </a:lnTo>
                    <a:close/>
                    <a:moveTo>
                      <a:pt x="112" y="2"/>
                    </a:moveTo>
                    <a:cubicBezTo>
                      <a:pt x="116" y="0"/>
                      <a:pt x="119" y="0"/>
                      <a:pt x="122" y="3"/>
                    </a:cubicBezTo>
                    <a:lnTo>
                      <a:pt x="149" y="28"/>
                    </a:lnTo>
                    <a:lnTo>
                      <a:pt x="146" y="27"/>
                    </a:lnTo>
                    <a:lnTo>
                      <a:pt x="400" y="142"/>
                    </a:lnTo>
                    <a:lnTo>
                      <a:pt x="398" y="141"/>
                    </a:lnTo>
                    <a:lnTo>
                      <a:pt x="521" y="156"/>
                    </a:lnTo>
                    <a:cubicBezTo>
                      <a:pt x="524" y="157"/>
                      <a:pt x="526" y="158"/>
                      <a:pt x="527" y="160"/>
                    </a:cubicBezTo>
                    <a:cubicBezTo>
                      <a:pt x="528" y="162"/>
                      <a:pt x="529" y="164"/>
                      <a:pt x="528" y="167"/>
                    </a:cubicBezTo>
                    <a:lnTo>
                      <a:pt x="513" y="221"/>
                    </a:lnTo>
                    <a:cubicBezTo>
                      <a:pt x="512" y="225"/>
                      <a:pt x="508" y="227"/>
                      <a:pt x="503" y="227"/>
                    </a:cubicBezTo>
                    <a:lnTo>
                      <a:pt x="437" y="213"/>
                    </a:lnTo>
                    <a:lnTo>
                      <a:pt x="443" y="212"/>
                    </a:lnTo>
                    <a:lnTo>
                      <a:pt x="331" y="272"/>
                    </a:lnTo>
                    <a:cubicBezTo>
                      <a:pt x="329" y="273"/>
                      <a:pt x="326" y="273"/>
                      <a:pt x="324" y="272"/>
                    </a:cubicBezTo>
                    <a:lnTo>
                      <a:pt x="258" y="247"/>
                    </a:lnTo>
                    <a:cubicBezTo>
                      <a:pt x="256" y="246"/>
                      <a:pt x="254" y="244"/>
                      <a:pt x="253" y="242"/>
                    </a:cubicBezTo>
                    <a:lnTo>
                      <a:pt x="232" y="188"/>
                    </a:lnTo>
                    <a:lnTo>
                      <a:pt x="240" y="193"/>
                    </a:lnTo>
                    <a:lnTo>
                      <a:pt x="97" y="198"/>
                    </a:lnTo>
                    <a:cubicBezTo>
                      <a:pt x="94" y="198"/>
                      <a:pt x="92" y="197"/>
                      <a:pt x="90" y="195"/>
                    </a:cubicBezTo>
                    <a:lnTo>
                      <a:pt x="2" y="76"/>
                    </a:lnTo>
                    <a:cubicBezTo>
                      <a:pt x="1" y="74"/>
                      <a:pt x="0" y="72"/>
                      <a:pt x="1" y="70"/>
                    </a:cubicBezTo>
                    <a:cubicBezTo>
                      <a:pt x="1" y="67"/>
                      <a:pt x="2" y="65"/>
                      <a:pt x="4" y="64"/>
                    </a:cubicBezTo>
                    <a:lnTo>
                      <a:pt x="112" y="2"/>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66" name="Freeform 122"/>
              <p:cNvSpPr>
                <a:spLocks/>
              </p:cNvSpPr>
              <p:nvPr/>
            </p:nvSpPr>
            <p:spPr bwMode="auto">
              <a:xfrm>
                <a:off x="2857" y="1268"/>
                <a:ext cx="37" cy="51"/>
              </a:xfrm>
              <a:custGeom>
                <a:avLst/>
                <a:gdLst/>
                <a:ahLst/>
                <a:cxnLst>
                  <a:cxn ang="0">
                    <a:pos x="0" y="39"/>
                  </a:cxn>
                  <a:cxn ang="0">
                    <a:pos x="3" y="14"/>
                  </a:cxn>
                  <a:cxn ang="0">
                    <a:pos x="33" y="0"/>
                  </a:cxn>
                  <a:cxn ang="0">
                    <a:pos x="27" y="20"/>
                  </a:cxn>
                  <a:cxn ang="0">
                    <a:pos x="37" y="26"/>
                  </a:cxn>
                  <a:cxn ang="0">
                    <a:pos x="19" y="37"/>
                  </a:cxn>
                  <a:cxn ang="0">
                    <a:pos x="19" y="51"/>
                  </a:cxn>
                  <a:cxn ang="0">
                    <a:pos x="8" y="51"/>
                  </a:cxn>
                  <a:cxn ang="0">
                    <a:pos x="0" y="39"/>
                  </a:cxn>
                </a:cxnLst>
                <a:rect l="0" t="0" r="r" b="b"/>
                <a:pathLst>
                  <a:path w="37" h="51">
                    <a:moveTo>
                      <a:pt x="0" y="39"/>
                    </a:moveTo>
                    <a:lnTo>
                      <a:pt x="3" y="14"/>
                    </a:lnTo>
                    <a:lnTo>
                      <a:pt x="33" y="0"/>
                    </a:lnTo>
                    <a:lnTo>
                      <a:pt x="27" y="20"/>
                    </a:lnTo>
                    <a:lnTo>
                      <a:pt x="37" y="26"/>
                    </a:lnTo>
                    <a:lnTo>
                      <a:pt x="19" y="37"/>
                    </a:lnTo>
                    <a:lnTo>
                      <a:pt x="19" y="51"/>
                    </a:lnTo>
                    <a:lnTo>
                      <a:pt x="8" y="51"/>
                    </a:lnTo>
                    <a:lnTo>
                      <a:pt x="0" y="39"/>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67" name="Freeform 123"/>
              <p:cNvSpPr>
                <a:spLocks noEditPoints="1"/>
              </p:cNvSpPr>
              <p:nvPr/>
            </p:nvSpPr>
            <p:spPr bwMode="auto">
              <a:xfrm>
                <a:off x="2855" y="1266"/>
                <a:ext cx="42" cy="55"/>
              </a:xfrm>
              <a:custGeom>
                <a:avLst/>
                <a:gdLst/>
                <a:ahLst/>
                <a:cxnLst>
                  <a:cxn ang="0">
                    <a:pos x="1" y="183"/>
                  </a:cxn>
                  <a:cxn ang="0">
                    <a:pos x="0" y="179"/>
                  </a:cxn>
                  <a:cxn ang="0">
                    <a:pos x="10" y="69"/>
                  </a:cxn>
                  <a:cxn ang="0">
                    <a:pos x="14" y="63"/>
                  </a:cxn>
                  <a:cxn ang="0">
                    <a:pos x="116" y="2"/>
                  </a:cxn>
                  <a:cxn ang="0">
                    <a:pos x="124" y="2"/>
                  </a:cxn>
                  <a:cxn ang="0">
                    <a:pos x="128" y="10"/>
                  </a:cxn>
                  <a:cxn ang="0">
                    <a:pos x="108" y="97"/>
                  </a:cxn>
                  <a:cxn ang="0">
                    <a:pos x="105" y="89"/>
                  </a:cxn>
                  <a:cxn ang="0">
                    <a:pos x="141" y="113"/>
                  </a:cxn>
                  <a:cxn ang="0">
                    <a:pos x="144" y="119"/>
                  </a:cxn>
                  <a:cxn ang="0">
                    <a:pos x="141" y="126"/>
                  </a:cxn>
                  <a:cxn ang="0">
                    <a:pos x="79" y="174"/>
                  </a:cxn>
                  <a:cxn ang="0">
                    <a:pos x="82" y="168"/>
                  </a:cxn>
                  <a:cxn ang="0">
                    <a:pos x="80" y="233"/>
                  </a:cxn>
                  <a:cxn ang="0">
                    <a:pos x="72" y="240"/>
                  </a:cxn>
                  <a:cxn ang="0">
                    <a:pos x="34" y="240"/>
                  </a:cxn>
                  <a:cxn ang="0">
                    <a:pos x="26" y="236"/>
                  </a:cxn>
                  <a:cxn ang="0">
                    <a:pos x="1" y="183"/>
                  </a:cxn>
                  <a:cxn ang="0">
                    <a:pos x="41" y="229"/>
                  </a:cxn>
                  <a:cxn ang="0">
                    <a:pos x="34" y="224"/>
                  </a:cxn>
                  <a:cxn ang="0">
                    <a:pos x="72" y="224"/>
                  </a:cxn>
                  <a:cxn ang="0">
                    <a:pos x="64" y="232"/>
                  </a:cxn>
                  <a:cxn ang="0">
                    <a:pos x="66" y="168"/>
                  </a:cxn>
                  <a:cxn ang="0">
                    <a:pos x="69" y="162"/>
                  </a:cxn>
                  <a:cxn ang="0">
                    <a:pos x="132" y="113"/>
                  </a:cxn>
                  <a:cxn ang="0">
                    <a:pos x="132" y="126"/>
                  </a:cxn>
                  <a:cxn ang="0">
                    <a:pos x="96" y="102"/>
                  </a:cxn>
                  <a:cxn ang="0">
                    <a:pos x="92" y="94"/>
                  </a:cxn>
                  <a:cxn ang="0">
                    <a:pos x="112" y="7"/>
                  </a:cxn>
                  <a:cxn ang="0">
                    <a:pos x="124" y="15"/>
                  </a:cxn>
                  <a:cxn ang="0">
                    <a:pos x="22" y="77"/>
                  </a:cxn>
                  <a:cxn ang="0">
                    <a:pos x="26" y="70"/>
                  </a:cxn>
                  <a:cxn ang="0">
                    <a:pos x="16" y="180"/>
                  </a:cxn>
                  <a:cxn ang="0">
                    <a:pos x="16" y="176"/>
                  </a:cxn>
                  <a:cxn ang="0">
                    <a:pos x="41" y="229"/>
                  </a:cxn>
                </a:cxnLst>
                <a:rect l="0" t="0" r="r" b="b"/>
                <a:pathLst>
                  <a:path w="145" h="240">
                    <a:moveTo>
                      <a:pt x="1" y="183"/>
                    </a:moveTo>
                    <a:cubicBezTo>
                      <a:pt x="1" y="181"/>
                      <a:pt x="0" y="180"/>
                      <a:pt x="0" y="179"/>
                    </a:cubicBezTo>
                    <a:lnTo>
                      <a:pt x="10" y="69"/>
                    </a:lnTo>
                    <a:cubicBezTo>
                      <a:pt x="10" y="66"/>
                      <a:pt x="12" y="64"/>
                      <a:pt x="14" y="63"/>
                    </a:cubicBezTo>
                    <a:lnTo>
                      <a:pt x="116" y="2"/>
                    </a:lnTo>
                    <a:cubicBezTo>
                      <a:pt x="118" y="0"/>
                      <a:pt x="122" y="0"/>
                      <a:pt x="124" y="2"/>
                    </a:cubicBezTo>
                    <a:cubicBezTo>
                      <a:pt x="127" y="4"/>
                      <a:pt x="128" y="7"/>
                      <a:pt x="128" y="10"/>
                    </a:cubicBezTo>
                    <a:lnTo>
                      <a:pt x="108" y="97"/>
                    </a:lnTo>
                    <a:lnTo>
                      <a:pt x="105" y="89"/>
                    </a:lnTo>
                    <a:lnTo>
                      <a:pt x="141" y="113"/>
                    </a:lnTo>
                    <a:cubicBezTo>
                      <a:pt x="143" y="114"/>
                      <a:pt x="144" y="117"/>
                      <a:pt x="144" y="119"/>
                    </a:cubicBezTo>
                    <a:cubicBezTo>
                      <a:pt x="145" y="122"/>
                      <a:pt x="143" y="124"/>
                      <a:pt x="141" y="126"/>
                    </a:cubicBezTo>
                    <a:lnTo>
                      <a:pt x="79" y="174"/>
                    </a:lnTo>
                    <a:lnTo>
                      <a:pt x="82" y="168"/>
                    </a:lnTo>
                    <a:lnTo>
                      <a:pt x="80" y="233"/>
                    </a:lnTo>
                    <a:cubicBezTo>
                      <a:pt x="80" y="237"/>
                      <a:pt x="77" y="240"/>
                      <a:pt x="72" y="240"/>
                    </a:cubicBezTo>
                    <a:lnTo>
                      <a:pt x="34" y="240"/>
                    </a:lnTo>
                    <a:cubicBezTo>
                      <a:pt x="30" y="240"/>
                      <a:pt x="28" y="239"/>
                      <a:pt x="26" y="236"/>
                    </a:cubicBezTo>
                    <a:lnTo>
                      <a:pt x="1" y="183"/>
                    </a:lnTo>
                    <a:close/>
                    <a:moveTo>
                      <a:pt x="41" y="229"/>
                    </a:moveTo>
                    <a:lnTo>
                      <a:pt x="34" y="224"/>
                    </a:lnTo>
                    <a:lnTo>
                      <a:pt x="72" y="224"/>
                    </a:lnTo>
                    <a:lnTo>
                      <a:pt x="64" y="232"/>
                    </a:lnTo>
                    <a:lnTo>
                      <a:pt x="66" y="168"/>
                    </a:lnTo>
                    <a:cubicBezTo>
                      <a:pt x="66" y="165"/>
                      <a:pt x="67" y="163"/>
                      <a:pt x="69" y="162"/>
                    </a:cubicBezTo>
                    <a:lnTo>
                      <a:pt x="132" y="113"/>
                    </a:lnTo>
                    <a:lnTo>
                      <a:pt x="132" y="126"/>
                    </a:lnTo>
                    <a:lnTo>
                      <a:pt x="96" y="102"/>
                    </a:lnTo>
                    <a:cubicBezTo>
                      <a:pt x="93" y="100"/>
                      <a:pt x="92" y="97"/>
                      <a:pt x="92" y="94"/>
                    </a:cubicBezTo>
                    <a:lnTo>
                      <a:pt x="112" y="7"/>
                    </a:lnTo>
                    <a:lnTo>
                      <a:pt x="124" y="15"/>
                    </a:lnTo>
                    <a:lnTo>
                      <a:pt x="22" y="77"/>
                    </a:lnTo>
                    <a:lnTo>
                      <a:pt x="26" y="70"/>
                    </a:lnTo>
                    <a:lnTo>
                      <a:pt x="16" y="180"/>
                    </a:lnTo>
                    <a:lnTo>
                      <a:pt x="16" y="176"/>
                    </a:lnTo>
                    <a:lnTo>
                      <a:pt x="41" y="229"/>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68" name="Freeform 124"/>
              <p:cNvSpPr>
                <a:spLocks/>
              </p:cNvSpPr>
              <p:nvPr/>
            </p:nvSpPr>
            <p:spPr bwMode="auto">
              <a:xfrm>
                <a:off x="2899" y="1294"/>
                <a:ext cx="18" cy="22"/>
              </a:xfrm>
              <a:custGeom>
                <a:avLst/>
                <a:gdLst/>
                <a:ahLst/>
                <a:cxnLst>
                  <a:cxn ang="0">
                    <a:pos x="0" y="11"/>
                  </a:cxn>
                  <a:cxn ang="0">
                    <a:pos x="14" y="22"/>
                  </a:cxn>
                  <a:cxn ang="0">
                    <a:pos x="18" y="10"/>
                  </a:cxn>
                  <a:cxn ang="0">
                    <a:pos x="15" y="0"/>
                  </a:cxn>
                  <a:cxn ang="0">
                    <a:pos x="0" y="11"/>
                  </a:cxn>
                </a:cxnLst>
                <a:rect l="0" t="0" r="r" b="b"/>
                <a:pathLst>
                  <a:path w="18" h="22">
                    <a:moveTo>
                      <a:pt x="0" y="11"/>
                    </a:moveTo>
                    <a:lnTo>
                      <a:pt x="14" y="22"/>
                    </a:lnTo>
                    <a:lnTo>
                      <a:pt x="18" y="10"/>
                    </a:lnTo>
                    <a:lnTo>
                      <a:pt x="15" y="0"/>
                    </a:lnTo>
                    <a:lnTo>
                      <a:pt x="0" y="1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69" name="Freeform 125"/>
              <p:cNvSpPr>
                <a:spLocks noEditPoints="1"/>
              </p:cNvSpPr>
              <p:nvPr/>
            </p:nvSpPr>
            <p:spPr bwMode="auto">
              <a:xfrm>
                <a:off x="2897" y="1292"/>
                <a:ext cx="23" cy="26"/>
              </a:xfrm>
              <a:custGeom>
                <a:avLst/>
                <a:gdLst/>
                <a:ahLst/>
                <a:cxnLst>
                  <a:cxn ang="0">
                    <a:pos x="14" y="62"/>
                  </a:cxn>
                  <a:cxn ang="0">
                    <a:pos x="14" y="51"/>
                  </a:cxn>
                  <a:cxn ang="0">
                    <a:pos x="62" y="99"/>
                  </a:cxn>
                  <a:cxn ang="0">
                    <a:pos x="49" y="102"/>
                  </a:cxn>
                  <a:cxn ang="0">
                    <a:pos x="65" y="52"/>
                  </a:cxn>
                  <a:cxn ang="0">
                    <a:pos x="65" y="57"/>
                  </a:cxn>
                  <a:cxn ang="0">
                    <a:pos x="53" y="10"/>
                  </a:cxn>
                  <a:cxn ang="0">
                    <a:pos x="66" y="14"/>
                  </a:cxn>
                  <a:cxn ang="0">
                    <a:pos x="14" y="62"/>
                  </a:cxn>
                  <a:cxn ang="0">
                    <a:pos x="55" y="3"/>
                  </a:cxn>
                  <a:cxn ang="0">
                    <a:pos x="63" y="1"/>
                  </a:cxn>
                  <a:cxn ang="0">
                    <a:pos x="69" y="7"/>
                  </a:cxn>
                  <a:cxn ang="0">
                    <a:pos x="80" y="53"/>
                  </a:cxn>
                  <a:cxn ang="0">
                    <a:pos x="80" y="57"/>
                  </a:cxn>
                  <a:cxn ang="0">
                    <a:pos x="64" y="107"/>
                  </a:cxn>
                  <a:cxn ang="0">
                    <a:pos x="58" y="112"/>
                  </a:cxn>
                  <a:cxn ang="0">
                    <a:pos x="50" y="110"/>
                  </a:cxn>
                  <a:cxn ang="0">
                    <a:pos x="3" y="62"/>
                  </a:cxn>
                  <a:cxn ang="0">
                    <a:pos x="0" y="56"/>
                  </a:cxn>
                  <a:cxn ang="0">
                    <a:pos x="3" y="51"/>
                  </a:cxn>
                  <a:cxn ang="0">
                    <a:pos x="55" y="3"/>
                  </a:cxn>
                </a:cxnLst>
                <a:rect l="0" t="0" r="r" b="b"/>
                <a:pathLst>
                  <a:path w="81" h="113">
                    <a:moveTo>
                      <a:pt x="14" y="62"/>
                    </a:moveTo>
                    <a:lnTo>
                      <a:pt x="14" y="51"/>
                    </a:lnTo>
                    <a:lnTo>
                      <a:pt x="62" y="99"/>
                    </a:lnTo>
                    <a:lnTo>
                      <a:pt x="49" y="102"/>
                    </a:lnTo>
                    <a:lnTo>
                      <a:pt x="65" y="52"/>
                    </a:lnTo>
                    <a:lnTo>
                      <a:pt x="65" y="57"/>
                    </a:lnTo>
                    <a:lnTo>
                      <a:pt x="53" y="10"/>
                    </a:lnTo>
                    <a:lnTo>
                      <a:pt x="66" y="14"/>
                    </a:lnTo>
                    <a:lnTo>
                      <a:pt x="14" y="62"/>
                    </a:lnTo>
                    <a:close/>
                    <a:moveTo>
                      <a:pt x="55" y="3"/>
                    </a:moveTo>
                    <a:cubicBezTo>
                      <a:pt x="57" y="1"/>
                      <a:pt x="60" y="0"/>
                      <a:pt x="63" y="1"/>
                    </a:cubicBezTo>
                    <a:cubicBezTo>
                      <a:pt x="66" y="2"/>
                      <a:pt x="68" y="4"/>
                      <a:pt x="69" y="7"/>
                    </a:cubicBezTo>
                    <a:lnTo>
                      <a:pt x="80" y="53"/>
                    </a:lnTo>
                    <a:cubicBezTo>
                      <a:pt x="81" y="54"/>
                      <a:pt x="81" y="56"/>
                      <a:pt x="80" y="57"/>
                    </a:cubicBezTo>
                    <a:lnTo>
                      <a:pt x="64" y="107"/>
                    </a:lnTo>
                    <a:cubicBezTo>
                      <a:pt x="63" y="110"/>
                      <a:pt x="61" y="112"/>
                      <a:pt x="58" y="112"/>
                    </a:cubicBezTo>
                    <a:cubicBezTo>
                      <a:pt x="55" y="113"/>
                      <a:pt x="52" y="112"/>
                      <a:pt x="50" y="110"/>
                    </a:cubicBezTo>
                    <a:lnTo>
                      <a:pt x="3" y="62"/>
                    </a:lnTo>
                    <a:cubicBezTo>
                      <a:pt x="1" y="61"/>
                      <a:pt x="0" y="58"/>
                      <a:pt x="0" y="56"/>
                    </a:cubicBezTo>
                    <a:cubicBezTo>
                      <a:pt x="1" y="54"/>
                      <a:pt x="1" y="52"/>
                      <a:pt x="3" y="51"/>
                    </a:cubicBezTo>
                    <a:lnTo>
                      <a:pt x="55" y="3"/>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70" name="Freeform 126"/>
              <p:cNvSpPr>
                <a:spLocks/>
              </p:cNvSpPr>
              <p:nvPr/>
            </p:nvSpPr>
            <p:spPr bwMode="auto">
              <a:xfrm>
                <a:off x="1739" y="1857"/>
                <a:ext cx="46" cy="26"/>
              </a:xfrm>
              <a:custGeom>
                <a:avLst/>
                <a:gdLst/>
                <a:ahLst/>
                <a:cxnLst>
                  <a:cxn ang="0">
                    <a:pos x="0" y="0"/>
                  </a:cxn>
                  <a:cxn ang="0">
                    <a:pos x="0" y="26"/>
                  </a:cxn>
                  <a:cxn ang="0">
                    <a:pos x="46" y="18"/>
                  </a:cxn>
                  <a:cxn ang="0">
                    <a:pos x="26" y="3"/>
                  </a:cxn>
                  <a:cxn ang="0">
                    <a:pos x="0" y="0"/>
                  </a:cxn>
                </a:cxnLst>
                <a:rect l="0" t="0" r="r" b="b"/>
                <a:pathLst>
                  <a:path w="46" h="26">
                    <a:moveTo>
                      <a:pt x="0" y="0"/>
                    </a:moveTo>
                    <a:lnTo>
                      <a:pt x="0" y="26"/>
                    </a:lnTo>
                    <a:lnTo>
                      <a:pt x="46" y="18"/>
                    </a:lnTo>
                    <a:lnTo>
                      <a:pt x="26" y="3"/>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71" name="Freeform 127"/>
              <p:cNvSpPr>
                <a:spLocks noEditPoints="1"/>
              </p:cNvSpPr>
              <p:nvPr/>
            </p:nvSpPr>
            <p:spPr bwMode="auto">
              <a:xfrm>
                <a:off x="1736" y="1855"/>
                <a:ext cx="52" cy="30"/>
              </a:xfrm>
              <a:custGeom>
                <a:avLst/>
                <a:gdLst/>
                <a:ahLst/>
                <a:cxnLst>
                  <a:cxn ang="0">
                    <a:pos x="7" y="16"/>
                  </a:cxn>
                  <a:cxn ang="0">
                    <a:pos x="16" y="8"/>
                  </a:cxn>
                  <a:cxn ang="0">
                    <a:pos x="16" y="120"/>
                  </a:cxn>
                  <a:cxn ang="0">
                    <a:pos x="7" y="113"/>
                  </a:cxn>
                  <a:cxn ang="0">
                    <a:pos x="167" y="79"/>
                  </a:cxn>
                  <a:cxn ang="0">
                    <a:pos x="163" y="92"/>
                  </a:cxn>
                  <a:cxn ang="0">
                    <a:pos x="93" y="28"/>
                  </a:cxn>
                  <a:cxn ang="0">
                    <a:pos x="98" y="30"/>
                  </a:cxn>
                  <a:cxn ang="0">
                    <a:pos x="7" y="16"/>
                  </a:cxn>
                  <a:cxn ang="0">
                    <a:pos x="100" y="14"/>
                  </a:cxn>
                  <a:cxn ang="0">
                    <a:pos x="104" y="16"/>
                  </a:cxn>
                  <a:cxn ang="0">
                    <a:pos x="174" y="81"/>
                  </a:cxn>
                  <a:cxn ang="0">
                    <a:pos x="176" y="89"/>
                  </a:cxn>
                  <a:cxn ang="0">
                    <a:pos x="170" y="94"/>
                  </a:cxn>
                  <a:cxn ang="0">
                    <a:pos x="10" y="128"/>
                  </a:cxn>
                  <a:cxn ang="0">
                    <a:pos x="3" y="127"/>
                  </a:cxn>
                  <a:cxn ang="0">
                    <a:pos x="0" y="120"/>
                  </a:cxn>
                  <a:cxn ang="0">
                    <a:pos x="0" y="8"/>
                  </a:cxn>
                  <a:cxn ang="0">
                    <a:pos x="3" y="2"/>
                  </a:cxn>
                  <a:cxn ang="0">
                    <a:pos x="10" y="1"/>
                  </a:cxn>
                  <a:cxn ang="0">
                    <a:pos x="100" y="14"/>
                  </a:cxn>
                </a:cxnLst>
                <a:rect l="0" t="0" r="r" b="b"/>
                <a:pathLst>
                  <a:path w="177" h="129">
                    <a:moveTo>
                      <a:pt x="7" y="16"/>
                    </a:moveTo>
                    <a:lnTo>
                      <a:pt x="16" y="8"/>
                    </a:lnTo>
                    <a:lnTo>
                      <a:pt x="16" y="120"/>
                    </a:lnTo>
                    <a:lnTo>
                      <a:pt x="7" y="113"/>
                    </a:lnTo>
                    <a:lnTo>
                      <a:pt x="167" y="79"/>
                    </a:lnTo>
                    <a:lnTo>
                      <a:pt x="163" y="92"/>
                    </a:lnTo>
                    <a:lnTo>
                      <a:pt x="93" y="28"/>
                    </a:lnTo>
                    <a:lnTo>
                      <a:pt x="98" y="30"/>
                    </a:lnTo>
                    <a:lnTo>
                      <a:pt x="7" y="16"/>
                    </a:lnTo>
                    <a:close/>
                    <a:moveTo>
                      <a:pt x="100" y="14"/>
                    </a:moveTo>
                    <a:cubicBezTo>
                      <a:pt x="102" y="14"/>
                      <a:pt x="103" y="15"/>
                      <a:pt x="104" y="16"/>
                    </a:cubicBezTo>
                    <a:lnTo>
                      <a:pt x="174" y="81"/>
                    </a:lnTo>
                    <a:cubicBezTo>
                      <a:pt x="176" y="83"/>
                      <a:pt x="177" y="86"/>
                      <a:pt x="176" y="89"/>
                    </a:cubicBezTo>
                    <a:cubicBezTo>
                      <a:pt x="175" y="92"/>
                      <a:pt x="173" y="94"/>
                      <a:pt x="170" y="94"/>
                    </a:cubicBezTo>
                    <a:lnTo>
                      <a:pt x="10" y="128"/>
                    </a:lnTo>
                    <a:cubicBezTo>
                      <a:pt x="8" y="129"/>
                      <a:pt x="5" y="128"/>
                      <a:pt x="3" y="127"/>
                    </a:cubicBezTo>
                    <a:cubicBezTo>
                      <a:pt x="2" y="125"/>
                      <a:pt x="0" y="123"/>
                      <a:pt x="0" y="120"/>
                    </a:cubicBezTo>
                    <a:lnTo>
                      <a:pt x="0" y="8"/>
                    </a:lnTo>
                    <a:cubicBezTo>
                      <a:pt x="0" y="6"/>
                      <a:pt x="1" y="4"/>
                      <a:pt x="3" y="2"/>
                    </a:cubicBezTo>
                    <a:cubicBezTo>
                      <a:pt x="5" y="1"/>
                      <a:pt x="7" y="0"/>
                      <a:pt x="10" y="1"/>
                    </a:cubicBezTo>
                    <a:lnTo>
                      <a:pt x="100" y="14"/>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72" name="Freeform 128"/>
              <p:cNvSpPr>
                <a:spLocks/>
              </p:cNvSpPr>
              <p:nvPr/>
            </p:nvSpPr>
            <p:spPr bwMode="auto">
              <a:xfrm>
                <a:off x="1613" y="2106"/>
                <a:ext cx="79" cy="80"/>
              </a:xfrm>
              <a:custGeom>
                <a:avLst/>
                <a:gdLst/>
                <a:ahLst/>
                <a:cxnLst>
                  <a:cxn ang="0">
                    <a:pos x="0" y="31"/>
                  </a:cxn>
                  <a:cxn ang="0">
                    <a:pos x="1" y="47"/>
                  </a:cxn>
                  <a:cxn ang="0">
                    <a:pos x="16" y="51"/>
                  </a:cxn>
                  <a:cxn ang="0">
                    <a:pos x="7" y="64"/>
                  </a:cxn>
                  <a:cxn ang="0">
                    <a:pos x="5" y="77"/>
                  </a:cxn>
                  <a:cxn ang="0">
                    <a:pos x="24" y="80"/>
                  </a:cxn>
                  <a:cxn ang="0">
                    <a:pos x="41" y="58"/>
                  </a:cxn>
                  <a:cxn ang="0">
                    <a:pos x="73" y="40"/>
                  </a:cxn>
                  <a:cxn ang="0">
                    <a:pos x="79" y="19"/>
                  </a:cxn>
                  <a:cxn ang="0">
                    <a:pos x="50" y="15"/>
                  </a:cxn>
                  <a:cxn ang="0">
                    <a:pos x="29" y="0"/>
                  </a:cxn>
                  <a:cxn ang="0">
                    <a:pos x="11" y="8"/>
                  </a:cxn>
                  <a:cxn ang="0">
                    <a:pos x="0" y="31"/>
                  </a:cxn>
                </a:cxnLst>
                <a:rect l="0" t="0" r="r" b="b"/>
                <a:pathLst>
                  <a:path w="79" h="80">
                    <a:moveTo>
                      <a:pt x="0" y="31"/>
                    </a:moveTo>
                    <a:lnTo>
                      <a:pt x="1" y="47"/>
                    </a:lnTo>
                    <a:lnTo>
                      <a:pt x="16" y="51"/>
                    </a:lnTo>
                    <a:lnTo>
                      <a:pt x="7" y="64"/>
                    </a:lnTo>
                    <a:lnTo>
                      <a:pt x="5" y="77"/>
                    </a:lnTo>
                    <a:lnTo>
                      <a:pt x="24" y="80"/>
                    </a:lnTo>
                    <a:lnTo>
                      <a:pt x="41" y="58"/>
                    </a:lnTo>
                    <a:lnTo>
                      <a:pt x="73" y="40"/>
                    </a:lnTo>
                    <a:lnTo>
                      <a:pt x="79" y="19"/>
                    </a:lnTo>
                    <a:lnTo>
                      <a:pt x="50" y="15"/>
                    </a:lnTo>
                    <a:lnTo>
                      <a:pt x="29" y="0"/>
                    </a:lnTo>
                    <a:lnTo>
                      <a:pt x="11" y="8"/>
                    </a:lnTo>
                    <a:lnTo>
                      <a:pt x="0" y="3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73" name="Freeform 129"/>
              <p:cNvSpPr>
                <a:spLocks noEditPoints="1"/>
              </p:cNvSpPr>
              <p:nvPr/>
            </p:nvSpPr>
            <p:spPr bwMode="auto">
              <a:xfrm>
                <a:off x="1611" y="2104"/>
                <a:ext cx="84" cy="84"/>
              </a:xfrm>
              <a:custGeom>
                <a:avLst/>
                <a:gdLst/>
                <a:ahLst/>
                <a:cxnLst>
                  <a:cxn ang="0">
                    <a:pos x="16" y="145"/>
                  </a:cxn>
                  <a:cxn ang="0">
                    <a:pos x="16" y="143"/>
                  </a:cxn>
                  <a:cxn ang="0">
                    <a:pos x="18" y="213"/>
                  </a:cxn>
                  <a:cxn ang="0">
                    <a:pos x="13" y="206"/>
                  </a:cxn>
                  <a:cxn ang="0">
                    <a:pos x="63" y="224"/>
                  </a:cxn>
                  <a:cxn ang="0">
                    <a:pos x="68" y="228"/>
                  </a:cxn>
                  <a:cxn ang="0">
                    <a:pos x="68" y="235"/>
                  </a:cxn>
                  <a:cxn ang="0">
                    <a:pos x="40" y="290"/>
                  </a:cxn>
                  <a:cxn ang="0">
                    <a:pos x="40" y="288"/>
                  </a:cxn>
                  <a:cxn ang="0">
                    <a:pos x="33" y="347"/>
                  </a:cxn>
                  <a:cxn ang="0">
                    <a:pos x="27" y="338"/>
                  </a:cxn>
                  <a:cxn ang="0">
                    <a:pos x="92" y="353"/>
                  </a:cxn>
                  <a:cxn ang="0">
                    <a:pos x="83" y="356"/>
                  </a:cxn>
                  <a:cxn ang="0">
                    <a:pos x="140" y="260"/>
                  </a:cxn>
                  <a:cxn ang="0">
                    <a:pos x="142" y="257"/>
                  </a:cxn>
                  <a:cxn ang="0">
                    <a:pos x="252" y="179"/>
                  </a:cxn>
                  <a:cxn ang="0">
                    <a:pos x="249" y="183"/>
                  </a:cxn>
                  <a:cxn ang="0">
                    <a:pos x="273" y="92"/>
                  </a:cxn>
                  <a:cxn ang="0">
                    <a:pos x="279" y="101"/>
                  </a:cxn>
                  <a:cxn ang="0">
                    <a:pos x="176" y="83"/>
                  </a:cxn>
                  <a:cxn ang="0">
                    <a:pos x="172" y="81"/>
                  </a:cxn>
                  <a:cxn ang="0">
                    <a:pos x="100" y="14"/>
                  </a:cxn>
                  <a:cxn ang="0">
                    <a:pos x="110" y="15"/>
                  </a:cxn>
                  <a:cxn ang="0">
                    <a:pos x="48" y="50"/>
                  </a:cxn>
                  <a:cxn ang="0">
                    <a:pos x="51" y="46"/>
                  </a:cxn>
                  <a:cxn ang="0">
                    <a:pos x="16" y="145"/>
                  </a:cxn>
                  <a:cxn ang="0">
                    <a:pos x="36" y="40"/>
                  </a:cxn>
                  <a:cxn ang="0">
                    <a:pos x="40" y="36"/>
                  </a:cxn>
                  <a:cxn ang="0">
                    <a:pos x="102" y="1"/>
                  </a:cxn>
                  <a:cxn ang="0">
                    <a:pos x="111" y="3"/>
                  </a:cxn>
                  <a:cxn ang="0">
                    <a:pos x="183" y="70"/>
                  </a:cxn>
                  <a:cxn ang="0">
                    <a:pos x="179" y="68"/>
                  </a:cxn>
                  <a:cxn ang="0">
                    <a:pos x="282" y="86"/>
                  </a:cxn>
                  <a:cxn ang="0">
                    <a:pos x="287" y="89"/>
                  </a:cxn>
                  <a:cxn ang="0">
                    <a:pos x="288" y="96"/>
                  </a:cxn>
                  <a:cxn ang="0">
                    <a:pos x="264" y="187"/>
                  </a:cxn>
                  <a:cxn ang="0">
                    <a:pos x="261" y="192"/>
                  </a:cxn>
                  <a:cxn ang="0">
                    <a:pos x="151" y="270"/>
                  </a:cxn>
                  <a:cxn ang="0">
                    <a:pos x="153" y="268"/>
                  </a:cxn>
                  <a:cxn ang="0">
                    <a:pos x="97" y="365"/>
                  </a:cxn>
                  <a:cxn ang="0">
                    <a:pos x="88" y="368"/>
                  </a:cxn>
                  <a:cxn ang="0">
                    <a:pos x="24" y="354"/>
                  </a:cxn>
                  <a:cxn ang="0">
                    <a:pos x="17" y="345"/>
                  </a:cxn>
                  <a:cxn ang="0">
                    <a:pos x="24" y="286"/>
                  </a:cxn>
                  <a:cxn ang="0">
                    <a:pos x="25" y="283"/>
                  </a:cxn>
                  <a:cxn ang="0">
                    <a:pos x="53" y="228"/>
                  </a:cxn>
                  <a:cxn ang="0">
                    <a:pos x="58" y="239"/>
                  </a:cxn>
                  <a:cxn ang="0">
                    <a:pos x="7" y="221"/>
                  </a:cxn>
                  <a:cxn ang="0">
                    <a:pos x="2" y="213"/>
                  </a:cxn>
                  <a:cxn ang="0">
                    <a:pos x="0" y="143"/>
                  </a:cxn>
                  <a:cxn ang="0">
                    <a:pos x="1" y="140"/>
                  </a:cxn>
                  <a:cxn ang="0">
                    <a:pos x="36" y="40"/>
                  </a:cxn>
                </a:cxnLst>
                <a:rect l="0" t="0" r="r" b="b"/>
                <a:pathLst>
                  <a:path w="289" h="369">
                    <a:moveTo>
                      <a:pt x="16" y="145"/>
                    </a:moveTo>
                    <a:lnTo>
                      <a:pt x="16" y="143"/>
                    </a:lnTo>
                    <a:lnTo>
                      <a:pt x="18" y="213"/>
                    </a:lnTo>
                    <a:lnTo>
                      <a:pt x="13" y="206"/>
                    </a:lnTo>
                    <a:lnTo>
                      <a:pt x="63" y="224"/>
                    </a:lnTo>
                    <a:cubicBezTo>
                      <a:pt x="65" y="224"/>
                      <a:pt x="67" y="226"/>
                      <a:pt x="68" y="228"/>
                    </a:cubicBezTo>
                    <a:cubicBezTo>
                      <a:pt x="69" y="230"/>
                      <a:pt x="69" y="233"/>
                      <a:pt x="68" y="235"/>
                    </a:cubicBezTo>
                    <a:lnTo>
                      <a:pt x="40" y="290"/>
                    </a:lnTo>
                    <a:lnTo>
                      <a:pt x="40" y="288"/>
                    </a:lnTo>
                    <a:lnTo>
                      <a:pt x="33" y="347"/>
                    </a:lnTo>
                    <a:lnTo>
                      <a:pt x="27" y="338"/>
                    </a:lnTo>
                    <a:lnTo>
                      <a:pt x="92" y="353"/>
                    </a:lnTo>
                    <a:lnTo>
                      <a:pt x="83" y="356"/>
                    </a:lnTo>
                    <a:lnTo>
                      <a:pt x="140" y="260"/>
                    </a:lnTo>
                    <a:cubicBezTo>
                      <a:pt x="140" y="259"/>
                      <a:pt x="141" y="258"/>
                      <a:pt x="142" y="257"/>
                    </a:cubicBezTo>
                    <a:lnTo>
                      <a:pt x="252" y="179"/>
                    </a:lnTo>
                    <a:lnTo>
                      <a:pt x="249" y="183"/>
                    </a:lnTo>
                    <a:lnTo>
                      <a:pt x="273" y="92"/>
                    </a:lnTo>
                    <a:lnTo>
                      <a:pt x="279" y="101"/>
                    </a:lnTo>
                    <a:lnTo>
                      <a:pt x="176" y="83"/>
                    </a:lnTo>
                    <a:cubicBezTo>
                      <a:pt x="175" y="83"/>
                      <a:pt x="173" y="83"/>
                      <a:pt x="172" y="81"/>
                    </a:cubicBezTo>
                    <a:lnTo>
                      <a:pt x="100" y="14"/>
                    </a:lnTo>
                    <a:lnTo>
                      <a:pt x="110" y="15"/>
                    </a:lnTo>
                    <a:lnTo>
                      <a:pt x="48" y="50"/>
                    </a:lnTo>
                    <a:lnTo>
                      <a:pt x="51" y="46"/>
                    </a:lnTo>
                    <a:lnTo>
                      <a:pt x="16" y="145"/>
                    </a:lnTo>
                    <a:close/>
                    <a:moveTo>
                      <a:pt x="36" y="40"/>
                    </a:moveTo>
                    <a:cubicBezTo>
                      <a:pt x="37" y="38"/>
                      <a:pt x="38" y="37"/>
                      <a:pt x="40" y="36"/>
                    </a:cubicBezTo>
                    <a:lnTo>
                      <a:pt x="102" y="1"/>
                    </a:lnTo>
                    <a:cubicBezTo>
                      <a:pt x="105" y="0"/>
                      <a:pt x="109" y="0"/>
                      <a:pt x="111" y="3"/>
                    </a:cubicBezTo>
                    <a:lnTo>
                      <a:pt x="183" y="70"/>
                    </a:lnTo>
                    <a:lnTo>
                      <a:pt x="179" y="68"/>
                    </a:lnTo>
                    <a:lnTo>
                      <a:pt x="282" y="86"/>
                    </a:lnTo>
                    <a:cubicBezTo>
                      <a:pt x="284" y="86"/>
                      <a:pt x="286" y="87"/>
                      <a:pt x="287" y="89"/>
                    </a:cubicBezTo>
                    <a:cubicBezTo>
                      <a:pt x="288" y="91"/>
                      <a:pt x="289" y="93"/>
                      <a:pt x="288" y="96"/>
                    </a:cubicBezTo>
                    <a:lnTo>
                      <a:pt x="264" y="187"/>
                    </a:lnTo>
                    <a:cubicBezTo>
                      <a:pt x="264" y="189"/>
                      <a:pt x="263" y="191"/>
                      <a:pt x="261" y="192"/>
                    </a:cubicBezTo>
                    <a:lnTo>
                      <a:pt x="151" y="270"/>
                    </a:lnTo>
                    <a:lnTo>
                      <a:pt x="153" y="268"/>
                    </a:lnTo>
                    <a:lnTo>
                      <a:pt x="97" y="365"/>
                    </a:lnTo>
                    <a:cubicBezTo>
                      <a:pt x="95" y="368"/>
                      <a:pt x="92" y="369"/>
                      <a:pt x="88" y="368"/>
                    </a:cubicBezTo>
                    <a:lnTo>
                      <a:pt x="24" y="354"/>
                    </a:lnTo>
                    <a:cubicBezTo>
                      <a:pt x="20" y="353"/>
                      <a:pt x="17" y="349"/>
                      <a:pt x="17" y="345"/>
                    </a:cubicBezTo>
                    <a:lnTo>
                      <a:pt x="24" y="286"/>
                    </a:lnTo>
                    <a:cubicBezTo>
                      <a:pt x="25" y="285"/>
                      <a:pt x="25" y="284"/>
                      <a:pt x="25" y="283"/>
                    </a:cubicBezTo>
                    <a:lnTo>
                      <a:pt x="53" y="228"/>
                    </a:lnTo>
                    <a:lnTo>
                      <a:pt x="58" y="239"/>
                    </a:lnTo>
                    <a:lnTo>
                      <a:pt x="7" y="221"/>
                    </a:lnTo>
                    <a:cubicBezTo>
                      <a:pt x="4" y="220"/>
                      <a:pt x="2" y="217"/>
                      <a:pt x="2" y="213"/>
                    </a:cubicBezTo>
                    <a:lnTo>
                      <a:pt x="0" y="143"/>
                    </a:lnTo>
                    <a:cubicBezTo>
                      <a:pt x="0" y="142"/>
                      <a:pt x="1" y="141"/>
                      <a:pt x="1" y="140"/>
                    </a:cubicBezTo>
                    <a:lnTo>
                      <a:pt x="36" y="40"/>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74" name="Freeform 130"/>
              <p:cNvSpPr>
                <a:spLocks/>
              </p:cNvSpPr>
              <p:nvPr/>
            </p:nvSpPr>
            <p:spPr bwMode="auto">
              <a:xfrm>
                <a:off x="1484" y="1930"/>
                <a:ext cx="32" cy="15"/>
              </a:xfrm>
              <a:custGeom>
                <a:avLst/>
                <a:gdLst/>
                <a:ahLst/>
                <a:cxnLst>
                  <a:cxn ang="0">
                    <a:pos x="0" y="11"/>
                  </a:cxn>
                  <a:cxn ang="0">
                    <a:pos x="9" y="0"/>
                  </a:cxn>
                  <a:cxn ang="0">
                    <a:pos x="32" y="15"/>
                  </a:cxn>
                  <a:cxn ang="0">
                    <a:pos x="0" y="11"/>
                  </a:cxn>
                </a:cxnLst>
                <a:rect l="0" t="0" r="r" b="b"/>
                <a:pathLst>
                  <a:path w="32" h="15">
                    <a:moveTo>
                      <a:pt x="0" y="11"/>
                    </a:moveTo>
                    <a:lnTo>
                      <a:pt x="9" y="0"/>
                    </a:lnTo>
                    <a:lnTo>
                      <a:pt x="32" y="15"/>
                    </a:lnTo>
                    <a:lnTo>
                      <a:pt x="0" y="1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75" name="Freeform 131"/>
              <p:cNvSpPr>
                <a:spLocks noEditPoints="1"/>
              </p:cNvSpPr>
              <p:nvPr/>
            </p:nvSpPr>
            <p:spPr bwMode="auto">
              <a:xfrm>
                <a:off x="1481" y="1928"/>
                <a:ext cx="38" cy="19"/>
              </a:xfrm>
              <a:custGeom>
                <a:avLst/>
                <a:gdLst/>
                <a:ahLst/>
                <a:cxnLst>
                  <a:cxn ang="0">
                    <a:pos x="7" y="64"/>
                  </a:cxn>
                  <a:cxn ang="0">
                    <a:pos x="1" y="60"/>
                  </a:cxn>
                  <a:cxn ang="0">
                    <a:pos x="2" y="52"/>
                  </a:cxn>
                  <a:cxn ang="0">
                    <a:pos x="35" y="4"/>
                  </a:cxn>
                  <a:cxn ang="0">
                    <a:pos x="41" y="1"/>
                  </a:cxn>
                  <a:cxn ang="0">
                    <a:pos x="47" y="2"/>
                  </a:cxn>
                  <a:cxn ang="0">
                    <a:pos x="126" y="66"/>
                  </a:cxn>
                  <a:cxn ang="0">
                    <a:pos x="128" y="76"/>
                  </a:cxn>
                  <a:cxn ang="0">
                    <a:pos x="119" y="80"/>
                  </a:cxn>
                  <a:cxn ang="0">
                    <a:pos x="7" y="64"/>
                  </a:cxn>
                  <a:cxn ang="0">
                    <a:pos x="122" y="65"/>
                  </a:cxn>
                  <a:cxn ang="0">
                    <a:pos x="115" y="79"/>
                  </a:cxn>
                  <a:cxn ang="0">
                    <a:pos x="37" y="15"/>
                  </a:cxn>
                  <a:cxn ang="0">
                    <a:pos x="48" y="13"/>
                  </a:cxn>
                  <a:cxn ang="0">
                    <a:pos x="15" y="61"/>
                  </a:cxn>
                  <a:cxn ang="0">
                    <a:pos x="10" y="49"/>
                  </a:cxn>
                  <a:cxn ang="0">
                    <a:pos x="122" y="65"/>
                  </a:cxn>
                </a:cxnLst>
                <a:rect l="0" t="0" r="r" b="b"/>
                <a:pathLst>
                  <a:path w="129" h="81">
                    <a:moveTo>
                      <a:pt x="7" y="64"/>
                    </a:moveTo>
                    <a:cubicBezTo>
                      <a:pt x="5" y="64"/>
                      <a:pt x="2" y="62"/>
                      <a:pt x="1" y="60"/>
                    </a:cubicBezTo>
                    <a:cubicBezTo>
                      <a:pt x="0" y="57"/>
                      <a:pt x="0" y="54"/>
                      <a:pt x="2" y="52"/>
                    </a:cubicBezTo>
                    <a:lnTo>
                      <a:pt x="35" y="4"/>
                    </a:lnTo>
                    <a:cubicBezTo>
                      <a:pt x="36" y="2"/>
                      <a:pt x="38" y="1"/>
                      <a:pt x="41" y="1"/>
                    </a:cubicBezTo>
                    <a:cubicBezTo>
                      <a:pt x="43" y="0"/>
                      <a:pt x="45" y="1"/>
                      <a:pt x="47" y="2"/>
                    </a:cubicBezTo>
                    <a:lnTo>
                      <a:pt x="126" y="66"/>
                    </a:lnTo>
                    <a:cubicBezTo>
                      <a:pt x="128" y="69"/>
                      <a:pt x="129" y="72"/>
                      <a:pt x="128" y="76"/>
                    </a:cubicBezTo>
                    <a:cubicBezTo>
                      <a:pt x="126" y="79"/>
                      <a:pt x="123" y="81"/>
                      <a:pt x="119" y="80"/>
                    </a:cubicBezTo>
                    <a:lnTo>
                      <a:pt x="7" y="64"/>
                    </a:lnTo>
                    <a:close/>
                    <a:moveTo>
                      <a:pt x="122" y="65"/>
                    </a:moveTo>
                    <a:lnTo>
                      <a:pt x="115" y="79"/>
                    </a:lnTo>
                    <a:lnTo>
                      <a:pt x="37" y="15"/>
                    </a:lnTo>
                    <a:lnTo>
                      <a:pt x="48" y="13"/>
                    </a:lnTo>
                    <a:lnTo>
                      <a:pt x="15" y="61"/>
                    </a:lnTo>
                    <a:lnTo>
                      <a:pt x="10" y="49"/>
                    </a:lnTo>
                    <a:lnTo>
                      <a:pt x="122" y="65"/>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76" name="Freeform 132"/>
              <p:cNvSpPr>
                <a:spLocks/>
              </p:cNvSpPr>
              <p:nvPr/>
            </p:nvSpPr>
            <p:spPr bwMode="auto">
              <a:xfrm>
                <a:off x="1892" y="2867"/>
                <a:ext cx="23" cy="11"/>
              </a:xfrm>
              <a:custGeom>
                <a:avLst/>
                <a:gdLst/>
                <a:ahLst/>
                <a:cxnLst>
                  <a:cxn ang="0">
                    <a:pos x="0" y="11"/>
                  </a:cxn>
                  <a:cxn ang="0">
                    <a:pos x="14" y="5"/>
                  </a:cxn>
                  <a:cxn ang="0">
                    <a:pos x="7" y="0"/>
                  </a:cxn>
                  <a:cxn ang="0">
                    <a:pos x="23" y="1"/>
                  </a:cxn>
                  <a:cxn ang="0">
                    <a:pos x="0" y="11"/>
                  </a:cxn>
                </a:cxnLst>
                <a:rect l="0" t="0" r="r" b="b"/>
                <a:pathLst>
                  <a:path w="23" h="11">
                    <a:moveTo>
                      <a:pt x="0" y="11"/>
                    </a:moveTo>
                    <a:lnTo>
                      <a:pt x="14" y="5"/>
                    </a:lnTo>
                    <a:lnTo>
                      <a:pt x="7" y="0"/>
                    </a:lnTo>
                    <a:lnTo>
                      <a:pt x="23" y="1"/>
                    </a:lnTo>
                    <a:lnTo>
                      <a:pt x="0" y="1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77" name="Freeform 133"/>
              <p:cNvSpPr>
                <a:spLocks noEditPoints="1"/>
              </p:cNvSpPr>
              <p:nvPr/>
            </p:nvSpPr>
            <p:spPr bwMode="auto">
              <a:xfrm>
                <a:off x="1889" y="2865"/>
                <a:ext cx="29" cy="15"/>
              </a:xfrm>
              <a:custGeom>
                <a:avLst/>
                <a:gdLst/>
                <a:ahLst/>
                <a:cxnLst>
                  <a:cxn ang="0">
                    <a:pos x="13" y="64"/>
                  </a:cxn>
                  <a:cxn ang="0">
                    <a:pos x="6" y="49"/>
                  </a:cxn>
                  <a:cxn ang="0">
                    <a:pos x="54" y="24"/>
                  </a:cxn>
                  <a:cxn ang="0">
                    <a:pos x="52" y="37"/>
                  </a:cxn>
                  <a:cxn ang="0">
                    <a:pos x="28" y="14"/>
                  </a:cxn>
                  <a:cxn ang="0">
                    <a:pos x="26" y="5"/>
                  </a:cxn>
                  <a:cxn ang="0">
                    <a:pos x="34" y="0"/>
                  </a:cxn>
                  <a:cxn ang="0">
                    <a:pos x="90" y="5"/>
                  </a:cxn>
                  <a:cxn ang="0">
                    <a:pos x="97" y="12"/>
                  </a:cxn>
                  <a:cxn ang="0">
                    <a:pos x="93" y="20"/>
                  </a:cxn>
                  <a:cxn ang="0">
                    <a:pos x="13" y="64"/>
                  </a:cxn>
                  <a:cxn ang="0">
                    <a:pos x="86" y="6"/>
                  </a:cxn>
                  <a:cxn ang="0">
                    <a:pos x="89" y="21"/>
                  </a:cxn>
                  <a:cxn ang="0">
                    <a:pos x="33" y="16"/>
                  </a:cxn>
                  <a:cxn ang="0">
                    <a:pos x="39" y="3"/>
                  </a:cxn>
                  <a:cxn ang="0">
                    <a:pos x="63" y="25"/>
                  </a:cxn>
                  <a:cxn ang="0">
                    <a:pos x="66" y="32"/>
                  </a:cxn>
                  <a:cxn ang="0">
                    <a:pos x="62" y="38"/>
                  </a:cxn>
                  <a:cxn ang="0">
                    <a:pos x="13" y="64"/>
                  </a:cxn>
                  <a:cxn ang="0">
                    <a:pos x="2" y="60"/>
                  </a:cxn>
                  <a:cxn ang="0">
                    <a:pos x="6" y="49"/>
                  </a:cxn>
                  <a:cxn ang="0">
                    <a:pos x="86" y="6"/>
                  </a:cxn>
                </a:cxnLst>
                <a:rect l="0" t="0" r="r" b="b"/>
                <a:pathLst>
                  <a:path w="98" h="66">
                    <a:moveTo>
                      <a:pt x="13" y="64"/>
                    </a:moveTo>
                    <a:lnTo>
                      <a:pt x="6" y="49"/>
                    </a:lnTo>
                    <a:lnTo>
                      <a:pt x="54" y="24"/>
                    </a:lnTo>
                    <a:lnTo>
                      <a:pt x="52" y="37"/>
                    </a:lnTo>
                    <a:lnTo>
                      <a:pt x="28" y="14"/>
                    </a:lnTo>
                    <a:cubicBezTo>
                      <a:pt x="26" y="12"/>
                      <a:pt x="25" y="8"/>
                      <a:pt x="26" y="5"/>
                    </a:cubicBezTo>
                    <a:cubicBezTo>
                      <a:pt x="28" y="2"/>
                      <a:pt x="31" y="0"/>
                      <a:pt x="34" y="0"/>
                    </a:cubicBezTo>
                    <a:lnTo>
                      <a:pt x="90" y="5"/>
                    </a:lnTo>
                    <a:cubicBezTo>
                      <a:pt x="94" y="6"/>
                      <a:pt x="97" y="8"/>
                      <a:pt x="97" y="12"/>
                    </a:cubicBezTo>
                    <a:cubicBezTo>
                      <a:pt x="98" y="15"/>
                      <a:pt x="96" y="19"/>
                      <a:pt x="93" y="20"/>
                    </a:cubicBezTo>
                    <a:lnTo>
                      <a:pt x="13" y="64"/>
                    </a:lnTo>
                    <a:close/>
                    <a:moveTo>
                      <a:pt x="86" y="6"/>
                    </a:moveTo>
                    <a:lnTo>
                      <a:pt x="89" y="21"/>
                    </a:lnTo>
                    <a:lnTo>
                      <a:pt x="33" y="16"/>
                    </a:lnTo>
                    <a:lnTo>
                      <a:pt x="39" y="3"/>
                    </a:lnTo>
                    <a:lnTo>
                      <a:pt x="63" y="25"/>
                    </a:lnTo>
                    <a:cubicBezTo>
                      <a:pt x="65" y="27"/>
                      <a:pt x="66" y="29"/>
                      <a:pt x="66" y="32"/>
                    </a:cubicBezTo>
                    <a:cubicBezTo>
                      <a:pt x="65" y="34"/>
                      <a:pt x="64" y="37"/>
                      <a:pt x="62" y="38"/>
                    </a:cubicBezTo>
                    <a:lnTo>
                      <a:pt x="13" y="64"/>
                    </a:lnTo>
                    <a:cubicBezTo>
                      <a:pt x="9" y="66"/>
                      <a:pt x="4" y="64"/>
                      <a:pt x="2" y="60"/>
                    </a:cubicBezTo>
                    <a:cubicBezTo>
                      <a:pt x="0" y="56"/>
                      <a:pt x="2" y="52"/>
                      <a:pt x="6" y="49"/>
                    </a:cubicBezTo>
                    <a:lnTo>
                      <a:pt x="86" y="6"/>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78" name="Freeform 134"/>
              <p:cNvSpPr>
                <a:spLocks/>
              </p:cNvSpPr>
              <p:nvPr/>
            </p:nvSpPr>
            <p:spPr bwMode="auto">
              <a:xfrm>
                <a:off x="1906" y="2863"/>
                <a:ext cx="28" cy="15"/>
              </a:xfrm>
              <a:custGeom>
                <a:avLst/>
                <a:gdLst/>
                <a:ahLst/>
                <a:cxnLst>
                  <a:cxn ang="0">
                    <a:pos x="0" y="15"/>
                  </a:cxn>
                  <a:cxn ang="0">
                    <a:pos x="12" y="0"/>
                  </a:cxn>
                  <a:cxn ang="0">
                    <a:pos x="28" y="6"/>
                  </a:cxn>
                  <a:cxn ang="0">
                    <a:pos x="0" y="15"/>
                  </a:cxn>
                </a:cxnLst>
                <a:rect l="0" t="0" r="r" b="b"/>
                <a:pathLst>
                  <a:path w="28" h="15">
                    <a:moveTo>
                      <a:pt x="0" y="15"/>
                    </a:moveTo>
                    <a:lnTo>
                      <a:pt x="12" y="0"/>
                    </a:lnTo>
                    <a:lnTo>
                      <a:pt x="28" y="6"/>
                    </a:lnTo>
                    <a:lnTo>
                      <a:pt x="0" y="15"/>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79" name="Freeform 135"/>
              <p:cNvSpPr>
                <a:spLocks noEditPoints="1"/>
              </p:cNvSpPr>
              <p:nvPr/>
            </p:nvSpPr>
            <p:spPr bwMode="auto">
              <a:xfrm>
                <a:off x="1903" y="2861"/>
                <a:ext cx="33" cy="19"/>
              </a:xfrm>
              <a:custGeom>
                <a:avLst/>
                <a:gdLst/>
                <a:ahLst/>
                <a:cxnLst>
                  <a:cxn ang="0">
                    <a:pos x="12" y="80"/>
                  </a:cxn>
                  <a:cxn ang="0">
                    <a:pos x="2" y="78"/>
                  </a:cxn>
                  <a:cxn ang="0">
                    <a:pos x="2" y="68"/>
                  </a:cxn>
                  <a:cxn ang="0">
                    <a:pos x="44" y="4"/>
                  </a:cxn>
                  <a:cxn ang="0">
                    <a:pos x="54" y="1"/>
                  </a:cxn>
                  <a:cxn ang="0">
                    <a:pos x="108" y="25"/>
                  </a:cxn>
                  <a:cxn ang="0">
                    <a:pos x="112" y="33"/>
                  </a:cxn>
                  <a:cxn ang="0">
                    <a:pos x="108" y="40"/>
                  </a:cxn>
                  <a:cxn ang="0">
                    <a:pos x="12" y="80"/>
                  </a:cxn>
                  <a:cxn ang="0">
                    <a:pos x="101" y="25"/>
                  </a:cxn>
                  <a:cxn ang="0">
                    <a:pos x="101" y="40"/>
                  </a:cxn>
                  <a:cxn ang="0">
                    <a:pos x="48" y="16"/>
                  </a:cxn>
                  <a:cxn ang="0">
                    <a:pos x="58" y="13"/>
                  </a:cxn>
                  <a:cxn ang="0">
                    <a:pos x="15" y="77"/>
                  </a:cxn>
                  <a:cxn ang="0">
                    <a:pos x="5" y="65"/>
                  </a:cxn>
                  <a:cxn ang="0">
                    <a:pos x="101" y="25"/>
                  </a:cxn>
                </a:cxnLst>
                <a:rect l="0" t="0" r="r" b="b"/>
                <a:pathLst>
                  <a:path w="113" h="81">
                    <a:moveTo>
                      <a:pt x="12" y="80"/>
                    </a:moveTo>
                    <a:cubicBezTo>
                      <a:pt x="8" y="81"/>
                      <a:pt x="5" y="80"/>
                      <a:pt x="2" y="78"/>
                    </a:cubicBezTo>
                    <a:cubicBezTo>
                      <a:pt x="0" y="75"/>
                      <a:pt x="0" y="71"/>
                      <a:pt x="2" y="68"/>
                    </a:cubicBezTo>
                    <a:lnTo>
                      <a:pt x="44" y="4"/>
                    </a:lnTo>
                    <a:cubicBezTo>
                      <a:pt x="47" y="1"/>
                      <a:pt x="51" y="0"/>
                      <a:pt x="54" y="1"/>
                    </a:cubicBezTo>
                    <a:lnTo>
                      <a:pt x="108" y="25"/>
                    </a:lnTo>
                    <a:cubicBezTo>
                      <a:pt x="111" y="27"/>
                      <a:pt x="113" y="30"/>
                      <a:pt x="112" y="33"/>
                    </a:cubicBezTo>
                    <a:cubicBezTo>
                      <a:pt x="112" y="36"/>
                      <a:pt x="110" y="39"/>
                      <a:pt x="108" y="40"/>
                    </a:cubicBezTo>
                    <a:lnTo>
                      <a:pt x="12" y="80"/>
                    </a:lnTo>
                    <a:close/>
                    <a:moveTo>
                      <a:pt x="101" y="25"/>
                    </a:moveTo>
                    <a:lnTo>
                      <a:pt x="101" y="40"/>
                    </a:lnTo>
                    <a:lnTo>
                      <a:pt x="48" y="16"/>
                    </a:lnTo>
                    <a:lnTo>
                      <a:pt x="58" y="13"/>
                    </a:lnTo>
                    <a:lnTo>
                      <a:pt x="15" y="77"/>
                    </a:lnTo>
                    <a:lnTo>
                      <a:pt x="5" y="65"/>
                    </a:lnTo>
                    <a:lnTo>
                      <a:pt x="101" y="25"/>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80" name="Freeform 136"/>
              <p:cNvSpPr>
                <a:spLocks/>
              </p:cNvSpPr>
              <p:nvPr/>
            </p:nvSpPr>
            <p:spPr bwMode="auto">
              <a:xfrm>
                <a:off x="3029" y="1008"/>
                <a:ext cx="153" cy="216"/>
              </a:xfrm>
              <a:custGeom>
                <a:avLst/>
                <a:gdLst/>
                <a:ahLst/>
                <a:cxnLst>
                  <a:cxn ang="0">
                    <a:pos x="0" y="23"/>
                  </a:cxn>
                  <a:cxn ang="0">
                    <a:pos x="10" y="16"/>
                  </a:cxn>
                  <a:cxn ang="0">
                    <a:pos x="26" y="29"/>
                  </a:cxn>
                  <a:cxn ang="0">
                    <a:pos x="56" y="32"/>
                  </a:cxn>
                  <a:cxn ang="0">
                    <a:pos x="73" y="23"/>
                  </a:cxn>
                  <a:cxn ang="0">
                    <a:pos x="77" y="5"/>
                  </a:cxn>
                  <a:cxn ang="0">
                    <a:pos x="105" y="0"/>
                  </a:cxn>
                  <a:cxn ang="0">
                    <a:pos x="120" y="7"/>
                  </a:cxn>
                  <a:cxn ang="0">
                    <a:pos x="118" y="23"/>
                  </a:cxn>
                  <a:cxn ang="0">
                    <a:pos x="113" y="38"/>
                  </a:cxn>
                  <a:cxn ang="0">
                    <a:pos x="132" y="57"/>
                  </a:cxn>
                  <a:cxn ang="0">
                    <a:pos x="120" y="70"/>
                  </a:cxn>
                  <a:cxn ang="0">
                    <a:pos x="135" y="94"/>
                  </a:cxn>
                  <a:cxn ang="0">
                    <a:pos x="129" y="115"/>
                  </a:cxn>
                  <a:cxn ang="0">
                    <a:pos x="153" y="160"/>
                  </a:cxn>
                  <a:cxn ang="0">
                    <a:pos x="99" y="203"/>
                  </a:cxn>
                  <a:cxn ang="0">
                    <a:pos x="34" y="216"/>
                  </a:cxn>
                  <a:cxn ang="0">
                    <a:pos x="31" y="208"/>
                  </a:cxn>
                  <a:cxn ang="0">
                    <a:pos x="10" y="201"/>
                  </a:cxn>
                  <a:cxn ang="0">
                    <a:pos x="7" y="159"/>
                  </a:cxn>
                  <a:cxn ang="0">
                    <a:pos x="69" y="113"/>
                  </a:cxn>
                  <a:cxn ang="0">
                    <a:pos x="49" y="91"/>
                  </a:cxn>
                  <a:cxn ang="0">
                    <a:pos x="41" y="46"/>
                  </a:cxn>
                  <a:cxn ang="0">
                    <a:pos x="0" y="23"/>
                  </a:cxn>
                </a:cxnLst>
                <a:rect l="0" t="0" r="r" b="b"/>
                <a:pathLst>
                  <a:path w="153" h="216">
                    <a:moveTo>
                      <a:pt x="0" y="23"/>
                    </a:moveTo>
                    <a:lnTo>
                      <a:pt x="10" y="16"/>
                    </a:lnTo>
                    <a:lnTo>
                      <a:pt x="26" y="29"/>
                    </a:lnTo>
                    <a:lnTo>
                      <a:pt x="56" y="32"/>
                    </a:lnTo>
                    <a:lnTo>
                      <a:pt x="73" y="23"/>
                    </a:lnTo>
                    <a:lnTo>
                      <a:pt x="77" y="5"/>
                    </a:lnTo>
                    <a:lnTo>
                      <a:pt x="105" y="0"/>
                    </a:lnTo>
                    <a:lnTo>
                      <a:pt x="120" y="7"/>
                    </a:lnTo>
                    <a:lnTo>
                      <a:pt x="118" y="23"/>
                    </a:lnTo>
                    <a:lnTo>
                      <a:pt x="113" y="38"/>
                    </a:lnTo>
                    <a:lnTo>
                      <a:pt x="132" y="57"/>
                    </a:lnTo>
                    <a:lnTo>
                      <a:pt x="120" y="70"/>
                    </a:lnTo>
                    <a:lnTo>
                      <a:pt x="135" y="94"/>
                    </a:lnTo>
                    <a:lnTo>
                      <a:pt x="129" y="115"/>
                    </a:lnTo>
                    <a:lnTo>
                      <a:pt x="153" y="160"/>
                    </a:lnTo>
                    <a:lnTo>
                      <a:pt x="99" y="203"/>
                    </a:lnTo>
                    <a:lnTo>
                      <a:pt x="34" y="216"/>
                    </a:lnTo>
                    <a:lnTo>
                      <a:pt x="31" y="208"/>
                    </a:lnTo>
                    <a:lnTo>
                      <a:pt x="10" y="201"/>
                    </a:lnTo>
                    <a:lnTo>
                      <a:pt x="7" y="159"/>
                    </a:lnTo>
                    <a:lnTo>
                      <a:pt x="69" y="113"/>
                    </a:lnTo>
                    <a:lnTo>
                      <a:pt x="49" y="91"/>
                    </a:lnTo>
                    <a:lnTo>
                      <a:pt x="41" y="46"/>
                    </a:lnTo>
                    <a:lnTo>
                      <a:pt x="0" y="23"/>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81" name="Freeform 137"/>
              <p:cNvSpPr>
                <a:spLocks noEditPoints="1"/>
              </p:cNvSpPr>
              <p:nvPr/>
            </p:nvSpPr>
            <p:spPr bwMode="auto">
              <a:xfrm>
                <a:off x="3027" y="1006"/>
                <a:ext cx="158" cy="220"/>
              </a:xfrm>
              <a:custGeom>
                <a:avLst/>
                <a:gdLst/>
                <a:ahLst/>
                <a:cxnLst>
                  <a:cxn ang="0">
                    <a:pos x="0" y="105"/>
                  </a:cxn>
                  <a:cxn ang="0">
                    <a:pos x="38" y="71"/>
                  </a:cxn>
                  <a:cxn ang="0">
                    <a:pos x="105" y="128"/>
                  </a:cxn>
                  <a:cxn ang="0">
                    <a:pos x="201" y="137"/>
                  </a:cxn>
                  <a:cxn ang="0">
                    <a:pos x="254" y="102"/>
                  </a:cxn>
                  <a:cxn ang="0">
                    <a:pos x="267" y="28"/>
                  </a:cxn>
                  <a:cxn ang="0">
                    <a:pos x="368" y="1"/>
                  </a:cxn>
                  <a:cxn ang="0">
                    <a:pos x="426" y="32"/>
                  </a:cxn>
                  <a:cxn ang="0">
                    <a:pos x="424" y="106"/>
                  </a:cxn>
                  <a:cxn ang="0">
                    <a:pos x="404" y="175"/>
                  </a:cxn>
                  <a:cxn ang="0">
                    <a:pos x="471" y="250"/>
                  </a:cxn>
                  <a:cxn ang="0">
                    <a:pos x="430" y="318"/>
                  </a:cxn>
                  <a:cxn ang="0">
                    <a:pos x="481" y="413"/>
                  </a:cxn>
                  <a:cxn ang="0">
                    <a:pos x="462" y="513"/>
                  </a:cxn>
                  <a:cxn ang="0">
                    <a:pos x="544" y="705"/>
                  </a:cxn>
                  <a:cxn ang="0">
                    <a:pos x="356" y="900"/>
                  </a:cxn>
                  <a:cxn ang="0">
                    <a:pos x="129" y="960"/>
                  </a:cxn>
                  <a:cxn ang="0">
                    <a:pos x="107" y="918"/>
                  </a:cxn>
                  <a:cxn ang="0">
                    <a:pos x="40" y="893"/>
                  </a:cxn>
                  <a:cxn ang="0">
                    <a:pos x="24" y="705"/>
                  </a:cxn>
                  <a:cxn ang="0">
                    <a:pos x="240" y="497"/>
                  </a:cxn>
                  <a:cxn ang="0">
                    <a:pos x="170" y="409"/>
                  </a:cxn>
                  <a:cxn ang="0">
                    <a:pos x="143" y="208"/>
                  </a:cxn>
                  <a:cxn ang="0">
                    <a:pos x="4" y="112"/>
                  </a:cxn>
                  <a:cxn ang="0">
                    <a:pos x="159" y="206"/>
                  </a:cxn>
                  <a:cxn ang="0">
                    <a:pos x="183" y="400"/>
                  </a:cxn>
                  <a:cxn ang="0">
                    <a:pos x="251" y="509"/>
                  </a:cxn>
                  <a:cxn ang="0">
                    <a:pos x="40" y="704"/>
                  </a:cxn>
                  <a:cxn ang="0">
                    <a:pos x="46" y="878"/>
                  </a:cxn>
                  <a:cxn ang="0">
                    <a:pos x="122" y="913"/>
                  </a:cxn>
                  <a:cxn ang="0">
                    <a:pos x="125" y="945"/>
                  </a:cxn>
                  <a:cxn ang="0">
                    <a:pos x="345" y="889"/>
                  </a:cxn>
                  <a:cxn ang="0">
                    <a:pos x="529" y="711"/>
                  </a:cxn>
                  <a:cxn ang="0">
                    <a:pos x="446" y="510"/>
                  </a:cxn>
                  <a:cxn ang="0">
                    <a:pos x="466" y="420"/>
                  </a:cxn>
                  <a:cxn ang="0">
                    <a:pos x="417" y="308"/>
                  </a:cxn>
                  <a:cxn ang="0">
                    <a:pos x="459" y="260"/>
                  </a:cxn>
                  <a:cxn ang="0">
                    <a:pos x="389" y="171"/>
                  </a:cxn>
                  <a:cxn ang="0">
                    <a:pos x="408" y="104"/>
                  </a:cxn>
                  <a:cxn ang="0">
                    <a:pos x="418" y="45"/>
                  </a:cxn>
                  <a:cxn ang="0">
                    <a:pos x="372" y="16"/>
                  </a:cxn>
                  <a:cxn ang="0">
                    <a:pos x="283" y="32"/>
                  </a:cxn>
                  <a:cxn ang="0">
                    <a:pos x="263" y="115"/>
                  </a:cxn>
                  <a:cxn ang="0">
                    <a:pos x="199" y="153"/>
                  </a:cxn>
                  <a:cxn ang="0">
                    <a:pos x="94" y="139"/>
                  </a:cxn>
                  <a:cxn ang="0">
                    <a:pos x="48" y="83"/>
                  </a:cxn>
                  <a:cxn ang="0">
                    <a:pos x="13" y="99"/>
                  </a:cxn>
                </a:cxnLst>
                <a:rect l="0" t="0" r="r" b="b"/>
                <a:pathLst>
                  <a:path w="545" h="961">
                    <a:moveTo>
                      <a:pt x="4" y="112"/>
                    </a:moveTo>
                    <a:cubicBezTo>
                      <a:pt x="2" y="110"/>
                      <a:pt x="1" y="108"/>
                      <a:pt x="0" y="105"/>
                    </a:cubicBezTo>
                    <a:cubicBezTo>
                      <a:pt x="0" y="103"/>
                      <a:pt x="1" y="100"/>
                      <a:pt x="3" y="99"/>
                    </a:cubicBezTo>
                    <a:lnTo>
                      <a:pt x="38" y="71"/>
                    </a:lnTo>
                    <a:cubicBezTo>
                      <a:pt x="42" y="68"/>
                      <a:pt x="46" y="68"/>
                      <a:pt x="49" y="71"/>
                    </a:cubicBezTo>
                    <a:lnTo>
                      <a:pt x="105" y="128"/>
                    </a:lnTo>
                    <a:lnTo>
                      <a:pt x="100" y="125"/>
                    </a:lnTo>
                    <a:lnTo>
                      <a:pt x="201" y="137"/>
                    </a:lnTo>
                    <a:lnTo>
                      <a:pt x="196" y="138"/>
                    </a:lnTo>
                    <a:lnTo>
                      <a:pt x="254" y="102"/>
                    </a:lnTo>
                    <a:lnTo>
                      <a:pt x="251" y="107"/>
                    </a:lnTo>
                    <a:lnTo>
                      <a:pt x="267" y="28"/>
                    </a:lnTo>
                    <a:cubicBezTo>
                      <a:pt x="268" y="25"/>
                      <a:pt x="270" y="23"/>
                      <a:pt x="273" y="22"/>
                    </a:cubicBezTo>
                    <a:lnTo>
                      <a:pt x="368" y="1"/>
                    </a:lnTo>
                    <a:cubicBezTo>
                      <a:pt x="370" y="0"/>
                      <a:pt x="373" y="1"/>
                      <a:pt x="374" y="2"/>
                    </a:cubicBezTo>
                    <a:lnTo>
                      <a:pt x="426" y="32"/>
                    </a:lnTo>
                    <a:cubicBezTo>
                      <a:pt x="429" y="33"/>
                      <a:pt x="430" y="36"/>
                      <a:pt x="430" y="39"/>
                    </a:cubicBezTo>
                    <a:lnTo>
                      <a:pt x="424" y="106"/>
                    </a:lnTo>
                    <a:cubicBezTo>
                      <a:pt x="424" y="106"/>
                      <a:pt x="424" y="107"/>
                      <a:pt x="424" y="107"/>
                    </a:cubicBezTo>
                    <a:lnTo>
                      <a:pt x="404" y="175"/>
                    </a:lnTo>
                    <a:lnTo>
                      <a:pt x="403" y="168"/>
                    </a:lnTo>
                    <a:lnTo>
                      <a:pt x="471" y="250"/>
                    </a:lnTo>
                    <a:cubicBezTo>
                      <a:pt x="474" y="253"/>
                      <a:pt x="474" y="257"/>
                      <a:pt x="472" y="260"/>
                    </a:cubicBezTo>
                    <a:lnTo>
                      <a:pt x="430" y="318"/>
                    </a:lnTo>
                    <a:lnTo>
                      <a:pt x="431" y="310"/>
                    </a:lnTo>
                    <a:lnTo>
                      <a:pt x="481" y="413"/>
                    </a:lnTo>
                    <a:cubicBezTo>
                      <a:pt x="482" y="414"/>
                      <a:pt x="482" y="416"/>
                      <a:pt x="481" y="418"/>
                    </a:cubicBezTo>
                    <a:lnTo>
                      <a:pt x="462" y="513"/>
                    </a:lnTo>
                    <a:lnTo>
                      <a:pt x="461" y="508"/>
                    </a:lnTo>
                    <a:lnTo>
                      <a:pt x="544" y="705"/>
                    </a:lnTo>
                    <a:cubicBezTo>
                      <a:pt x="545" y="708"/>
                      <a:pt x="544" y="711"/>
                      <a:pt x="542" y="713"/>
                    </a:cubicBezTo>
                    <a:lnTo>
                      <a:pt x="356" y="900"/>
                    </a:lnTo>
                    <a:cubicBezTo>
                      <a:pt x="355" y="901"/>
                      <a:pt x="354" y="902"/>
                      <a:pt x="353" y="902"/>
                    </a:cubicBezTo>
                    <a:lnTo>
                      <a:pt x="129" y="960"/>
                    </a:lnTo>
                    <a:cubicBezTo>
                      <a:pt x="125" y="961"/>
                      <a:pt x="121" y="959"/>
                      <a:pt x="120" y="955"/>
                    </a:cubicBezTo>
                    <a:lnTo>
                      <a:pt x="107" y="918"/>
                    </a:lnTo>
                    <a:lnTo>
                      <a:pt x="112" y="923"/>
                    </a:lnTo>
                    <a:lnTo>
                      <a:pt x="40" y="893"/>
                    </a:lnTo>
                    <a:cubicBezTo>
                      <a:pt x="37" y="892"/>
                      <a:pt x="36" y="889"/>
                      <a:pt x="35" y="886"/>
                    </a:cubicBezTo>
                    <a:lnTo>
                      <a:pt x="24" y="705"/>
                    </a:lnTo>
                    <a:cubicBezTo>
                      <a:pt x="24" y="703"/>
                      <a:pt x="25" y="700"/>
                      <a:pt x="27" y="699"/>
                    </a:cubicBezTo>
                    <a:lnTo>
                      <a:pt x="240" y="497"/>
                    </a:lnTo>
                    <a:lnTo>
                      <a:pt x="239" y="508"/>
                    </a:lnTo>
                    <a:lnTo>
                      <a:pt x="170" y="409"/>
                    </a:lnTo>
                    <a:cubicBezTo>
                      <a:pt x="169" y="408"/>
                      <a:pt x="168" y="407"/>
                      <a:pt x="168" y="406"/>
                    </a:cubicBezTo>
                    <a:lnTo>
                      <a:pt x="143" y="208"/>
                    </a:lnTo>
                    <a:lnTo>
                      <a:pt x="146" y="213"/>
                    </a:lnTo>
                    <a:lnTo>
                      <a:pt x="4" y="112"/>
                    </a:lnTo>
                    <a:close/>
                    <a:moveTo>
                      <a:pt x="156" y="200"/>
                    </a:moveTo>
                    <a:cubicBezTo>
                      <a:pt x="157" y="201"/>
                      <a:pt x="159" y="203"/>
                      <a:pt x="159" y="206"/>
                    </a:cubicBezTo>
                    <a:lnTo>
                      <a:pt x="184" y="404"/>
                    </a:lnTo>
                    <a:lnTo>
                      <a:pt x="183" y="400"/>
                    </a:lnTo>
                    <a:lnTo>
                      <a:pt x="252" y="498"/>
                    </a:lnTo>
                    <a:cubicBezTo>
                      <a:pt x="255" y="502"/>
                      <a:pt x="254" y="506"/>
                      <a:pt x="251" y="509"/>
                    </a:cubicBezTo>
                    <a:lnTo>
                      <a:pt x="38" y="710"/>
                    </a:lnTo>
                    <a:lnTo>
                      <a:pt x="40" y="704"/>
                    </a:lnTo>
                    <a:lnTo>
                      <a:pt x="51" y="885"/>
                    </a:lnTo>
                    <a:lnTo>
                      <a:pt x="46" y="878"/>
                    </a:lnTo>
                    <a:lnTo>
                      <a:pt x="118" y="908"/>
                    </a:lnTo>
                    <a:cubicBezTo>
                      <a:pt x="120" y="909"/>
                      <a:pt x="121" y="911"/>
                      <a:pt x="122" y="913"/>
                    </a:cubicBezTo>
                    <a:lnTo>
                      <a:pt x="135" y="950"/>
                    </a:lnTo>
                    <a:lnTo>
                      <a:pt x="125" y="945"/>
                    </a:lnTo>
                    <a:lnTo>
                      <a:pt x="349" y="886"/>
                    </a:lnTo>
                    <a:lnTo>
                      <a:pt x="345" y="889"/>
                    </a:lnTo>
                    <a:lnTo>
                      <a:pt x="531" y="702"/>
                    </a:lnTo>
                    <a:lnTo>
                      <a:pt x="529" y="711"/>
                    </a:lnTo>
                    <a:lnTo>
                      <a:pt x="447" y="514"/>
                    </a:lnTo>
                    <a:cubicBezTo>
                      <a:pt x="446" y="513"/>
                      <a:pt x="446" y="511"/>
                      <a:pt x="446" y="510"/>
                    </a:cubicBezTo>
                    <a:lnTo>
                      <a:pt x="466" y="415"/>
                    </a:lnTo>
                    <a:lnTo>
                      <a:pt x="466" y="420"/>
                    </a:lnTo>
                    <a:lnTo>
                      <a:pt x="416" y="317"/>
                    </a:lnTo>
                    <a:cubicBezTo>
                      <a:pt x="415" y="314"/>
                      <a:pt x="415" y="311"/>
                      <a:pt x="417" y="308"/>
                    </a:cubicBezTo>
                    <a:lnTo>
                      <a:pt x="459" y="250"/>
                    </a:lnTo>
                    <a:lnTo>
                      <a:pt x="459" y="260"/>
                    </a:lnTo>
                    <a:lnTo>
                      <a:pt x="391" y="178"/>
                    </a:lnTo>
                    <a:cubicBezTo>
                      <a:pt x="389" y="176"/>
                      <a:pt x="388" y="174"/>
                      <a:pt x="389" y="171"/>
                    </a:cubicBezTo>
                    <a:lnTo>
                      <a:pt x="409" y="103"/>
                    </a:lnTo>
                    <a:lnTo>
                      <a:pt x="408" y="104"/>
                    </a:lnTo>
                    <a:lnTo>
                      <a:pt x="414" y="38"/>
                    </a:lnTo>
                    <a:lnTo>
                      <a:pt x="418" y="45"/>
                    </a:lnTo>
                    <a:lnTo>
                      <a:pt x="366" y="15"/>
                    </a:lnTo>
                    <a:lnTo>
                      <a:pt x="372" y="16"/>
                    </a:lnTo>
                    <a:lnTo>
                      <a:pt x="277" y="38"/>
                    </a:lnTo>
                    <a:lnTo>
                      <a:pt x="283" y="32"/>
                    </a:lnTo>
                    <a:lnTo>
                      <a:pt x="266" y="110"/>
                    </a:lnTo>
                    <a:cubicBezTo>
                      <a:pt x="266" y="112"/>
                      <a:pt x="265" y="114"/>
                      <a:pt x="263" y="115"/>
                    </a:cubicBezTo>
                    <a:lnTo>
                      <a:pt x="204" y="152"/>
                    </a:lnTo>
                    <a:cubicBezTo>
                      <a:pt x="203" y="153"/>
                      <a:pt x="201" y="153"/>
                      <a:pt x="199" y="153"/>
                    </a:cubicBezTo>
                    <a:lnTo>
                      <a:pt x="98" y="141"/>
                    </a:lnTo>
                    <a:cubicBezTo>
                      <a:pt x="97" y="141"/>
                      <a:pt x="95" y="140"/>
                      <a:pt x="94" y="139"/>
                    </a:cubicBezTo>
                    <a:lnTo>
                      <a:pt x="38" y="82"/>
                    </a:lnTo>
                    <a:lnTo>
                      <a:pt x="48" y="83"/>
                    </a:lnTo>
                    <a:lnTo>
                      <a:pt x="14" y="111"/>
                    </a:lnTo>
                    <a:lnTo>
                      <a:pt x="13" y="99"/>
                    </a:lnTo>
                    <a:lnTo>
                      <a:pt x="156" y="200"/>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82" name="Freeform 138"/>
              <p:cNvSpPr>
                <a:spLocks/>
              </p:cNvSpPr>
              <p:nvPr/>
            </p:nvSpPr>
            <p:spPr bwMode="auto">
              <a:xfrm>
                <a:off x="2676" y="1385"/>
                <a:ext cx="177" cy="146"/>
              </a:xfrm>
              <a:custGeom>
                <a:avLst/>
                <a:gdLst/>
                <a:ahLst/>
                <a:cxnLst>
                  <a:cxn ang="0">
                    <a:pos x="0" y="45"/>
                  </a:cxn>
                  <a:cxn ang="0">
                    <a:pos x="6" y="58"/>
                  </a:cxn>
                  <a:cxn ang="0">
                    <a:pos x="43" y="67"/>
                  </a:cxn>
                  <a:cxn ang="0">
                    <a:pos x="37" y="74"/>
                  </a:cxn>
                  <a:cxn ang="0">
                    <a:pos x="50" y="83"/>
                  </a:cxn>
                  <a:cxn ang="0">
                    <a:pos x="56" y="100"/>
                  </a:cxn>
                  <a:cxn ang="0">
                    <a:pos x="40" y="130"/>
                  </a:cxn>
                  <a:cxn ang="0">
                    <a:pos x="84" y="143"/>
                  </a:cxn>
                  <a:cxn ang="0">
                    <a:pos x="88" y="144"/>
                  </a:cxn>
                  <a:cxn ang="0">
                    <a:pos x="109" y="146"/>
                  </a:cxn>
                  <a:cxn ang="0">
                    <a:pos x="109" y="134"/>
                  </a:cxn>
                  <a:cxn ang="0">
                    <a:pos x="121" y="128"/>
                  </a:cxn>
                  <a:cxn ang="0">
                    <a:pos x="150" y="135"/>
                  </a:cxn>
                  <a:cxn ang="0">
                    <a:pos x="169" y="123"/>
                  </a:cxn>
                  <a:cxn ang="0">
                    <a:pos x="157" y="105"/>
                  </a:cxn>
                  <a:cxn ang="0">
                    <a:pos x="162" y="88"/>
                  </a:cxn>
                  <a:cxn ang="0">
                    <a:pos x="148" y="79"/>
                  </a:cxn>
                  <a:cxn ang="0">
                    <a:pos x="169" y="59"/>
                  </a:cxn>
                  <a:cxn ang="0">
                    <a:pos x="177" y="38"/>
                  </a:cxn>
                  <a:cxn ang="0">
                    <a:pos x="150" y="28"/>
                  </a:cxn>
                  <a:cxn ang="0">
                    <a:pos x="144" y="26"/>
                  </a:cxn>
                  <a:cxn ang="0">
                    <a:pos x="104" y="0"/>
                  </a:cxn>
                  <a:cxn ang="0">
                    <a:pos x="90" y="5"/>
                  </a:cxn>
                  <a:cxn ang="0">
                    <a:pos x="74" y="29"/>
                  </a:cxn>
                  <a:cxn ang="0">
                    <a:pos x="40" y="25"/>
                  </a:cxn>
                  <a:cxn ang="0">
                    <a:pos x="45" y="44"/>
                  </a:cxn>
                  <a:cxn ang="0">
                    <a:pos x="0" y="45"/>
                  </a:cxn>
                </a:cxnLst>
                <a:rect l="0" t="0" r="r" b="b"/>
                <a:pathLst>
                  <a:path w="177" h="146">
                    <a:moveTo>
                      <a:pt x="0" y="45"/>
                    </a:moveTo>
                    <a:lnTo>
                      <a:pt x="6" y="58"/>
                    </a:lnTo>
                    <a:lnTo>
                      <a:pt x="43" y="67"/>
                    </a:lnTo>
                    <a:lnTo>
                      <a:pt x="37" y="74"/>
                    </a:lnTo>
                    <a:lnTo>
                      <a:pt x="50" y="83"/>
                    </a:lnTo>
                    <a:lnTo>
                      <a:pt x="56" y="100"/>
                    </a:lnTo>
                    <a:lnTo>
                      <a:pt x="40" y="130"/>
                    </a:lnTo>
                    <a:lnTo>
                      <a:pt x="84" y="143"/>
                    </a:lnTo>
                    <a:lnTo>
                      <a:pt x="88" y="144"/>
                    </a:lnTo>
                    <a:lnTo>
                      <a:pt x="109" y="146"/>
                    </a:lnTo>
                    <a:lnTo>
                      <a:pt x="109" y="134"/>
                    </a:lnTo>
                    <a:lnTo>
                      <a:pt x="121" y="128"/>
                    </a:lnTo>
                    <a:lnTo>
                      <a:pt x="150" y="135"/>
                    </a:lnTo>
                    <a:lnTo>
                      <a:pt x="169" y="123"/>
                    </a:lnTo>
                    <a:lnTo>
                      <a:pt x="157" y="105"/>
                    </a:lnTo>
                    <a:lnTo>
                      <a:pt x="162" y="88"/>
                    </a:lnTo>
                    <a:lnTo>
                      <a:pt x="148" y="79"/>
                    </a:lnTo>
                    <a:lnTo>
                      <a:pt x="169" y="59"/>
                    </a:lnTo>
                    <a:lnTo>
                      <a:pt x="177" y="38"/>
                    </a:lnTo>
                    <a:lnTo>
                      <a:pt x="150" y="28"/>
                    </a:lnTo>
                    <a:lnTo>
                      <a:pt x="144" y="26"/>
                    </a:lnTo>
                    <a:lnTo>
                      <a:pt x="104" y="0"/>
                    </a:lnTo>
                    <a:lnTo>
                      <a:pt x="90" y="5"/>
                    </a:lnTo>
                    <a:lnTo>
                      <a:pt x="74" y="29"/>
                    </a:lnTo>
                    <a:lnTo>
                      <a:pt x="40" y="25"/>
                    </a:lnTo>
                    <a:lnTo>
                      <a:pt x="45" y="44"/>
                    </a:lnTo>
                    <a:lnTo>
                      <a:pt x="0" y="45"/>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83" name="Freeform 139"/>
              <p:cNvSpPr>
                <a:spLocks noEditPoints="1"/>
              </p:cNvSpPr>
              <p:nvPr/>
            </p:nvSpPr>
            <p:spPr bwMode="auto">
              <a:xfrm>
                <a:off x="2674" y="1383"/>
                <a:ext cx="181" cy="151"/>
              </a:xfrm>
              <a:custGeom>
                <a:avLst/>
                <a:gdLst/>
                <a:ahLst/>
                <a:cxnLst>
                  <a:cxn ang="0">
                    <a:pos x="16" y="203"/>
                  </a:cxn>
                  <a:cxn ang="0">
                    <a:pos x="32" y="253"/>
                  </a:cxn>
                  <a:cxn ang="0">
                    <a:pos x="162" y="297"/>
                  </a:cxn>
                  <a:cxn ang="0">
                    <a:pos x="142" y="334"/>
                  </a:cxn>
                  <a:cxn ang="0">
                    <a:pos x="186" y="366"/>
                  </a:cxn>
                  <a:cxn ang="0">
                    <a:pos x="208" y="441"/>
                  </a:cxn>
                  <a:cxn ang="0">
                    <a:pos x="153" y="581"/>
                  </a:cxn>
                  <a:cxn ang="0">
                    <a:pos x="300" y="624"/>
                  </a:cxn>
                  <a:cxn ang="0">
                    <a:pos x="314" y="629"/>
                  </a:cxn>
                  <a:cxn ang="0">
                    <a:pos x="375" y="648"/>
                  </a:cxn>
                  <a:cxn ang="0">
                    <a:pos x="379" y="588"/>
                  </a:cxn>
                  <a:cxn ang="0">
                    <a:pos x="427" y="558"/>
                  </a:cxn>
                  <a:cxn ang="0">
                    <a:pos x="520" y="593"/>
                  </a:cxn>
                  <a:cxn ang="0">
                    <a:pos x="582" y="551"/>
                  </a:cxn>
                  <a:cxn ang="0">
                    <a:pos x="542" y="467"/>
                  </a:cxn>
                  <a:cxn ang="0">
                    <a:pos x="560" y="400"/>
                  </a:cxn>
                  <a:cxn ang="0">
                    <a:pos x="512" y="349"/>
                  </a:cxn>
                  <a:cxn ang="0">
                    <a:pos x="581" y="264"/>
                  </a:cxn>
                  <a:cxn ang="0">
                    <a:pos x="613" y="179"/>
                  </a:cxn>
                  <a:cxn ang="0">
                    <a:pos x="499" y="127"/>
                  </a:cxn>
                  <a:cxn ang="0">
                    <a:pos x="360" y="15"/>
                  </a:cxn>
                  <a:cxn ang="0">
                    <a:pos x="321" y="38"/>
                  </a:cxn>
                  <a:cxn ang="0">
                    <a:pos x="268" y="139"/>
                  </a:cxn>
                  <a:cxn ang="0">
                    <a:pos x="143" y="124"/>
                  </a:cxn>
                  <a:cxn ang="0">
                    <a:pos x="169" y="199"/>
                  </a:cxn>
                  <a:cxn ang="0">
                    <a:pos x="161" y="208"/>
                  </a:cxn>
                  <a:cxn ang="0">
                    <a:pos x="161" y="192"/>
                  </a:cxn>
                  <a:cxn ang="0">
                    <a:pos x="137" y="118"/>
                  </a:cxn>
                  <a:cxn ang="0">
                    <a:pos x="146" y="108"/>
                  </a:cxn>
                  <a:cxn ang="0">
                    <a:pos x="254" y="131"/>
                  </a:cxn>
                  <a:cxn ang="0">
                    <a:pos x="315" y="23"/>
                  </a:cxn>
                  <a:cxn ang="0">
                    <a:pos x="370" y="2"/>
                  </a:cxn>
                  <a:cxn ang="0">
                    <a:pos x="506" y="112"/>
                  </a:cxn>
                  <a:cxn ang="0">
                    <a:pos x="620" y="165"/>
                  </a:cxn>
                  <a:cxn ang="0">
                    <a:pos x="596" y="268"/>
                  </a:cxn>
                  <a:cxn ang="0">
                    <a:pos x="524" y="359"/>
                  </a:cxn>
                  <a:cxn ang="0">
                    <a:pos x="570" y="388"/>
                  </a:cxn>
                  <a:cxn ang="0">
                    <a:pos x="558" y="470"/>
                  </a:cxn>
                  <a:cxn ang="0">
                    <a:pos x="596" y="544"/>
                  </a:cxn>
                  <a:cxn ang="0">
                    <a:pos x="530" y="606"/>
                  </a:cxn>
                  <a:cxn ang="0">
                    <a:pos x="422" y="574"/>
                  </a:cxn>
                  <a:cxn ang="0">
                    <a:pos x="388" y="601"/>
                  </a:cxn>
                  <a:cxn ang="0">
                    <a:pos x="391" y="648"/>
                  </a:cxn>
                  <a:cxn ang="0">
                    <a:pos x="382" y="656"/>
                  </a:cxn>
                  <a:cxn ang="0">
                    <a:pos x="310" y="644"/>
                  </a:cxn>
                  <a:cxn ang="0">
                    <a:pos x="143" y="585"/>
                  </a:cxn>
                  <a:cxn ang="0">
                    <a:pos x="138" y="575"/>
                  </a:cxn>
                  <a:cxn ang="0">
                    <a:pos x="192" y="445"/>
                  </a:cxn>
                  <a:cxn ang="0">
                    <a:pos x="175" y="378"/>
                  </a:cxn>
                  <a:cxn ang="0">
                    <a:pos x="128" y="326"/>
                  </a:cxn>
                  <a:cxn ang="0">
                    <a:pos x="152" y="307"/>
                  </a:cxn>
                  <a:cxn ang="0">
                    <a:pos x="22" y="264"/>
                  </a:cxn>
                  <a:cxn ang="0">
                    <a:pos x="2" y="201"/>
                  </a:cxn>
                  <a:cxn ang="0">
                    <a:pos x="161" y="192"/>
                  </a:cxn>
                </a:cxnLst>
                <a:rect l="0" t="0" r="r" b="b"/>
                <a:pathLst>
                  <a:path w="625" h="657">
                    <a:moveTo>
                      <a:pt x="9" y="214"/>
                    </a:moveTo>
                    <a:lnTo>
                      <a:pt x="16" y="203"/>
                    </a:lnTo>
                    <a:lnTo>
                      <a:pt x="37" y="258"/>
                    </a:lnTo>
                    <a:lnTo>
                      <a:pt x="32" y="253"/>
                    </a:lnTo>
                    <a:lnTo>
                      <a:pt x="157" y="292"/>
                    </a:lnTo>
                    <a:cubicBezTo>
                      <a:pt x="159" y="293"/>
                      <a:pt x="161" y="295"/>
                      <a:pt x="162" y="297"/>
                    </a:cubicBezTo>
                    <a:cubicBezTo>
                      <a:pt x="163" y="299"/>
                      <a:pt x="162" y="302"/>
                      <a:pt x="161" y="304"/>
                    </a:cubicBezTo>
                    <a:lnTo>
                      <a:pt x="142" y="334"/>
                    </a:lnTo>
                    <a:lnTo>
                      <a:pt x="140" y="324"/>
                    </a:lnTo>
                    <a:lnTo>
                      <a:pt x="186" y="366"/>
                    </a:lnTo>
                    <a:cubicBezTo>
                      <a:pt x="187" y="367"/>
                      <a:pt x="188" y="369"/>
                      <a:pt x="188" y="370"/>
                    </a:cubicBezTo>
                    <a:lnTo>
                      <a:pt x="208" y="441"/>
                    </a:lnTo>
                    <a:cubicBezTo>
                      <a:pt x="208" y="443"/>
                      <a:pt x="208" y="444"/>
                      <a:pt x="207" y="446"/>
                    </a:cubicBezTo>
                    <a:lnTo>
                      <a:pt x="153" y="581"/>
                    </a:lnTo>
                    <a:lnTo>
                      <a:pt x="149" y="570"/>
                    </a:lnTo>
                    <a:lnTo>
                      <a:pt x="300" y="624"/>
                    </a:lnTo>
                    <a:lnTo>
                      <a:pt x="315" y="629"/>
                    </a:lnTo>
                    <a:lnTo>
                      <a:pt x="314" y="629"/>
                    </a:lnTo>
                    <a:lnTo>
                      <a:pt x="385" y="641"/>
                    </a:lnTo>
                    <a:lnTo>
                      <a:pt x="375" y="648"/>
                    </a:lnTo>
                    <a:lnTo>
                      <a:pt x="375" y="595"/>
                    </a:lnTo>
                    <a:cubicBezTo>
                      <a:pt x="375" y="592"/>
                      <a:pt x="377" y="589"/>
                      <a:pt x="379" y="588"/>
                    </a:cubicBezTo>
                    <a:lnTo>
                      <a:pt x="420" y="559"/>
                    </a:lnTo>
                    <a:cubicBezTo>
                      <a:pt x="422" y="558"/>
                      <a:pt x="425" y="558"/>
                      <a:pt x="427" y="558"/>
                    </a:cubicBezTo>
                    <a:lnTo>
                      <a:pt x="527" y="592"/>
                    </a:lnTo>
                    <a:lnTo>
                      <a:pt x="520" y="593"/>
                    </a:lnTo>
                    <a:lnTo>
                      <a:pt x="584" y="541"/>
                    </a:lnTo>
                    <a:lnTo>
                      <a:pt x="582" y="551"/>
                    </a:lnTo>
                    <a:lnTo>
                      <a:pt x="543" y="472"/>
                    </a:lnTo>
                    <a:cubicBezTo>
                      <a:pt x="542" y="470"/>
                      <a:pt x="542" y="468"/>
                      <a:pt x="542" y="467"/>
                    </a:cubicBezTo>
                    <a:lnTo>
                      <a:pt x="557" y="393"/>
                    </a:lnTo>
                    <a:lnTo>
                      <a:pt x="560" y="400"/>
                    </a:lnTo>
                    <a:lnTo>
                      <a:pt x="513" y="360"/>
                    </a:lnTo>
                    <a:cubicBezTo>
                      <a:pt x="509" y="357"/>
                      <a:pt x="509" y="352"/>
                      <a:pt x="512" y="349"/>
                    </a:cubicBezTo>
                    <a:lnTo>
                      <a:pt x="582" y="261"/>
                    </a:lnTo>
                    <a:lnTo>
                      <a:pt x="581" y="264"/>
                    </a:lnTo>
                    <a:lnTo>
                      <a:pt x="609" y="170"/>
                    </a:lnTo>
                    <a:lnTo>
                      <a:pt x="613" y="179"/>
                    </a:lnTo>
                    <a:lnTo>
                      <a:pt x="523" y="139"/>
                    </a:lnTo>
                    <a:lnTo>
                      <a:pt x="499" y="127"/>
                    </a:lnTo>
                    <a:cubicBezTo>
                      <a:pt x="499" y="127"/>
                      <a:pt x="498" y="126"/>
                      <a:pt x="498" y="126"/>
                    </a:cubicBezTo>
                    <a:lnTo>
                      <a:pt x="360" y="15"/>
                    </a:lnTo>
                    <a:lnTo>
                      <a:pt x="369" y="16"/>
                    </a:lnTo>
                    <a:lnTo>
                      <a:pt x="321" y="38"/>
                    </a:lnTo>
                    <a:lnTo>
                      <a:pt x="325" y="34"/>
                    </a:lnTo>
                    <a:lnTo>
                      <a:pt x="268" y="139"/>
                    </a:lnTo>
                    <a:cubicBezTo>
                      <a:pt x="267" y="142"/>
                      <a:pt x="263" y="143"/>
                      <a:pt x="260" y="143"/>
                    </a:cubicBezTo>
                    <a:lnTo>
                      <a:pt x="143" y="124"/>
                    </a:lnTo>
                    <a:lnTo>
                      <a:pt x="152" y="115"/>
                    </a:lnTo>
                    <a:lnTo>
                      <a:pt x="169" y="199"/>
                    </a:lnTo>
                    <a:cubicBezTo>
                      <a:pt x="169" y="201"/>
                      <a:pt x="169" y="204"/>
                      <a:pt x="167" y="205"/>
                    </a:cubicBezTo>
                    <a:cubicBezTo>
                      <a:pt x="166" y="207"/>
                      <a:pt x="164" y="208"/>
                      <a:pt x="161" y="208"/>
                    </a:cubicBezTo>
                    <a:lnTo>
                      <a:pt x="9" y="214"/>
                    </a:lnTo>
                    <a:close/>
                    <a:moveTo>
                      <a:pt x="161" y="192"/>
                    </a:moveTo>
                    <a:lnTo>
                      <a:pt x="153" y="202"/>
                    </a:lnTo>
                    <a:lnTo>
                      <a:pt x="137" y="118"/>
                    </a:lnTo>
                    <a:cubicBezTo>
                      <a:pt x="136" y="115"/>
                      <a:pt x="137" y="113"/>
                      <a:pt x="139" y="111"/>
                    </a:cubicBezTo>
                    <a:cubicBezTo>
                      <a:pt x="141" y="109"/>
                      <a:pt x="143" y="108"/>
                      <a:pt x="146" y="108"/>
                    </a:cubicBezTo>
                    <a:lnTo>
                      <a:pt x="262" y="127"/>
                    </a:lnTo>
                    <a:lnTo>
                      <a:pt x="254" y="131"/>
                    </a:lnTo>
                    <a:lnTo>
                      <a:pt x="311" y="27"/>
                    </a:lnTo>
                    <a:cubicBezTo>
                      <a:pt x="312" y="25"/>
                      <a:pt x="313" y="24"/>
                      <a:pt x="315" y="23"/>
                    </a:cubicBezTo>
                    <a:lnTo>
                      <a:pt x="362" y="1"/>
                    </a:lnTo>
                    <a:cubicBezTo>
                      <a:pt x="365" y="0"/>
                      <a:pt x="368" y="0"/>
                      <a:pt x="370" y="2"/>
                    </a:cubicBezTo>
                    <a:lnTo>
                      <a:pt x="508" y="113"/>
                    </a:lnTo>
                    <a:lnTo>
                      <a:pt x="506" y="112"/>
                    </a:lnTo>
                    <a:lnTo>
                      <a:pt x="530" y="124"/>
                    </a:lnTo>
                    <a:lnTo>
                      <a:pt x="620" y="165"/>
                    </a:lnTo>
                    <a:cubicBezTo>
                      <a:pt x="623" y="166"/>
                      <a:pt x="625" y="170"/>
                      <a:pt x="624" y="174"/>
                    </a:cubicBezTo>
                    <a:lnTo>
                      <a:pt x="596" y="268"/>
                    </a:lnTo>
                    <a:cubicBezTo>
                      <a:pt x="596" y="269"/>
                      <a:pt x="596" y="270"/>
                      <a:pt x="595" y="271"/>
                    </a:cubicBezTo>
                    <a:lnTo>
                      <a:pt x="524" y="359"/>
                    </a:lnTo>
                    <a:lnTo>
                      <a:pt x="523" y="348"/>
                    </a:lnTo>
                    <a:lnTo>
                      <a:pt x="570" y="388"/>
                    </a:lnTo>
                    <a:cubicBezTo>
                      <a:pt x="573" y="390"/>
                      <a:pt x="574" y="393"/>
                      <a:pt x="573" y="396"/>
                    </a:cubicBezTo>
                    <a:lnTo>
                      <a:pt x="558" y="470"/>
                    </a:lnTo>
                    <a:lnTo>
                      <a:pt x="557" y="465"/>
                    </a:lnTo>
                    <a:lnTo>
                      <a:pt x="596" y="544"/>
                    </a:lnTo>
                    <a:cubicBezTo>
                      <a:pt x="598" y="547"/>
                      <a:pt x="597" y="551"/>
                      <a:pt x="594" y="554"/>
                    </a:cubicBezTo>
                    <a:lnTo>
                      <a:pt x="530" y="606"/>
                    </a:lnTo>
                    <a:cubicBezTo>
                      <a:pt x="528" y="608"/>
                      <a:pt x="525" y="608"/>
                      <a:pt x="522" y="607"/>
                    </a:cubicBezTo>
                    <a:lnTo>
                      <a:pt x="422" y="574"/>
                    </a:lnTo>
                    <a:lnTo>
                      <a:pt x="429" y="573"/>
                    </a:lnTo>
                    <a:lnTo>
                      <a:pt x="388" y="601"/>
                    </a:lnTo>
                    <a:lnTo>
                      <a:pt x="391" y="595"/>
                    </a:lnTo>
                    <a:lnTo>
                      <a:pt x="391" y="648"/>
                    </a:lnTo>
                    <a:cubicBezTo>
                      <a:pt x="391" y="651"/>
                      <a:pt x="390" y="653"/>
                      <a:pt x="388" y="655"/>
                    </a:cubicBezTo>
                    <a:cubicBezTo>
                      <a:pt x="387" y="656"/>
                      <a:pt x="384" y="657"/>
                      <a:pt x="382" y="656"/>
                    </a:cubicBezTo>
                    <a:lnTo>
                      <a:pt x="311" y="645"/>
                    </a:lnTo>
                    <a:cubicBezTo>
                      <a:pt x="311" y="645"/>
                      <a:pt x="310" y="644"/>
                      <a:pt x="310" y="644"/>
                    </a:cubicBezTo>
                    <a:lnTo>
                      <a:pt x="295" y="639"/>
                    </a:lnTo>
                    <a:lnTo>
                      <a:pt x="143" y="585"/>
                    </a:lnTo>
                    <a:cubicBezTo>
                      <a:pt x="141" y="585"/>
                      <a:pt x="139" y="583"/>
                      <a:pt x="139" y="581"/>
                    </a:cubicBezTo>
                    <a:cubicBezTo>
                      <a:pt x="138" y="579"/>
                      <a:pt x="138" y="577"/>
                      <a:pt x="138" y="575"/>
                    </a:cubicBezTo>
                    <a:lnTo>
                      <a:pt x="193" y="440"/>
                    </a:lnTo>
                    <a:lnTo>
                      <a:pt x="192" y="445"/>
                    </a:lnTo>
                    <a:lnTo>
                      <a:pt x="173" y="374"/>
                    </a:lnTo>
                    <a:lnTo>
                      <a:pt x="175" y="378"/>
                    </a:lnTo>
                    <a:lnTo>
                      <a:pt x="129" y="336"/>
                    </a:lnTo>
                    <a:cubicBezTo>
                      <a:pt x="127" y="333"/>
                      <a:pt x="126" y="329"/>
                      <a:pt x="128" y="326"/>
                    </a:cubicBezTo>
                    <a:lnTo>
                      <a:pt x="147" y="296"/>
                    </a:lnTo>
                    <a:lnTo>
                      <a:pt x="152" y="307"/>
                    </a:lnTo>
                    <a:lnTo>
                      <a:pt x="27" y="269"/>
                    </a:lnTo>
                    <a:cubicBezTo>
                      <a:pt x="25" y="268"/>
                      <a:pt x="23" y="266"/>
                      <a:pt x="22" y="264"/>
                    </a:cubicBezTo>
                    <a:lnTo>
                      <a:pt x="1" y="208"/>
                    </a:lnTo>
                    <a:cubicBezTo>
                      <a:pt x="0" y="206"/>
                      <a:pt x="0" y="203"/>
                      <a:pt x="2" y="201"/>
                    </a:cubicBezTo>
                    <a:cubicBezTo>
                      <a:pt x="3" y="199"/>
                      <a:pt x="6" y="198"/>
                      <a:pt x="8" y="198"/>
                    </a:cubicBezTo>
                    <a:lnTo>
                      <a:pt x="161" y="192"/>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84" name="Freeform 140"/>
              <p:cNvSpPr>
                <a:spLocks/>
              </p:cNvSpPr>
              <p:nvPr/>
            </p:nvSpPr>
            <p:spPr bwMode="auto">
              <a:xfrm>
                <a:off x="2862" y="1520"/>
                <a:ext cx="9" cy="26"/>
              </a:xfrm>
              <a:custGeom>
                <a:avLst/>
                <a:gdLst/>
                <a:ahLst/>
                <a:cxnLst>
                  <a:cxn ang="0">
                    <a:pos x="0" y="14"/>
                  </a:cxn>
                  <a:cxn ang="0">
                    <a:pos x="8" y="26"/>
                  </a:cxn>
                  <a:cxn ang="0">
                    <a:pos x="9" y="0"/>
                  </a:cxn>
                  <a:cxn ang="0">
                    <a:pos x="0" y="14"/>
                  </a:cxn>
                </a:cxnLst>
                <a:rect l="0" t="0" r="r" b="b"/>
                <a:pathLst>
                  <a:path w="9" h="26">
                    <a:moveTo>
                      <a:pt x="0" y="14"/>
                    </a:moveTo>
                    <a:lnTo>
                      <a:pt x="8" y="26"/>
                    </a:lnTo>
                    <a:lnTo>
                      <a:pt x="9" y="0"/>
                    </a:lnTo>
                    <a:lnTo>
                      <a:pt x="0" y="14"/>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85" name="Freeform 141"/>
              <p:cNvSpPr>
                <a:spLocks noEditPoints="1"/>
              </p:cNvSpPr>
              <p:nvPr/>
            </p:nvSpPr>
            <p:spPr bwMode="auto">
              <a:xfrm>
                <a:off x="2859" y="1519"/>
                <a:ext cx="15" cy="29"/>
              </a:xfrm>
              <a:custGeom>
                <a:avLst/>
                <a:gdLst/>
                <a:ahLst/>
                <a:cxnLst>
                  <a:cxn ang="0">
                    <a:pos x="15" y="69"/>
                  </a:cxn>
                  <a:cxn ang="0">
                    <a:pos x="16" y="61"/>
                  </a:cxn>
                  <a:cxn ang="0">
                    <a:pos x="45" y="117"/>
                  </a:cxn>
                  <a:cxn ang="0">
                    <a:pos x="30" y="120"/>
                  </a:cxn>
                  <a:cxn ang="0">
                    <a:pos x="32" y="8"/>
                  </a:cxn>
                  <a:cxn ang="0">
                    <a:pos x="47" y="12"/>
                  </a:cxn>
                  <a:cxn ang="0">
                    <a:pos x="15" y="69"/>
                  </a:cxn>
                  <a:cxn ang="0">
                    <a:pos x="33" y="5"/>
                  </a:cxn>
                  <a:cxn ang="0">
                    <a:pos x="43" y="1"/>
                  </a:cxn>
                  <a:cxn ang="0">
                    <a:pos x="48" y="9"/>
                  </a:cxn>
                  <a:cxn ang="0">
                    <a:pos x="46" y="121"/>
                  </a:cxn>
                  <a:cxn ang="0">
                    <a:pos x="40" y="128"/>
                  </a:cxn>
                  <a:cxn ang="0">
                    <a:pos x="31" y="124"/>
                  </a:cxn>
                  <a:cxn ang="0">
                    <a:pos x="1" y="69"/>
                  </a:cxn>
                  <a:cxn ang="0">
                    <a:pos x="1" y="61"/>
                  </a:cxn>
                  <a:cxn ang="0">
                    <a:pos x="33" y="5"/>
                  </a:cxn>
                </a:cxnLst>
                <a:rect l="0" t="0" r="r" b="b"/>
                <a:pathLst>
                  <a:path w="49" h="129">
                    <a:moveTo>
                      <a:pt x="15" y="69"/>
                    </a:moveTo>
                    <a:lnTo>
                      <a:pt x="16" y="61"/>
                    </a:lnTo>
                    <a:lnTo>
                      <a:pt x="45" y="117"/>
                    </a:lnTo>
                    <a:lnTo>
                      <a:pt x="30" y="120"/>
                    </a:lnTo>
                    <a:lnTo>
                      <a:pt x="32" y="8"/>
                    </a:lnTo>
                    <a:lnTo>
                      <a:pt x="47" y="12"/>
                    </a:lnTo>
                    <a:lnTo>
                      <a:pt x="15" y="69"/>
                    </a:lnTo>
                    <a:close/>
                    <a:moveTo>
                      <a:pt x="33" y="5"/>
                    </a:moveTo>
                    <a:cubicBezTo>
                      <a:pt x="35" y="1"/>
                      <a:pt x="39" y="0"/>
                      <a:pt x="43" y="1"/>
                    </a:cubicBezTo>
                    <a:cubicBezTo>
                      <a:pt x="46" y="2"/>
                      <a:pt x="49" y="5"/>
                      <a:pt x="48" y="9"/>
                    </a:cubicBezTo>
                    <a:lnTo>
                      <a:pt x="46" y="121"/>
                    </a:lnTo>
                    <a:cubicBezTo>
                      <a:pt x="46" y="124"/>
                      <a:pt x="44" y="127"/>
                      <a:pt x="40" y="128"/>
                    </a:cubicBezTo>
                    <a:cubicBezTo>
                      <a:pt x="36" y="129"/>
                      <a:pt x="33" y="127"/>
                      <a:pt x="31" y="124"/>
                    </a:cubicBezTo>
                    <a:lnTo>
                      <a:pt x="1" y="69"/>
                    </a:lnTo>
                    <a:cubicBezTo>
                      <a:pt x="0" y="67"/>
                      <a:pt x="0" y="64"/>
                      <a:pt x="1" y="61"/>
                    </a:cubicBezTo>
                    <a:lnTo>
                      <a:pt x="33" y="5"/>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86" name="Freeform 142"/>
              <p:cNvSpPr>
                <a:spLocks/>
              </p:cNvSpPr>
              <p:nvPr/>
            </p:nvSpPr>
            <p:spPr bwMode="auto">
              <a:xfrm>
                <a:off x="1980" y="2051"/>
                <a:ext cx="42" cy="44"/>
              </a:xfrm>
              <a:custGeom>
                <a:avLst/>
                <a:gdLst/>
                <a:ahLst/>
                <a:cxnLst>
                  <a:cxn ang="0">
                    <a:pos x="0" y="42"/>
                  </a:cxn>
                  <a:cxn ang="0">
                    <a:pos x="6" y="0"/>
                  </a:cxn>
                  <a:cxn ang="0">
                    <a:pos x="42" y="19"/>
                  </a:cxn>
                  <a:cxn ang="0">
                    <a:pos x="20" y="44"/>
                  </a:cxn>
                  <a:cxn ang="0">
                    <a:pos x="0" y="42"/>
                  </a:cxn>
                </a:cxnLst>
                <a:rect l="0" t="0" r="r" b="b"/>
                <a:pathLst>
                  <a:path w="42" h="44">
                    <a:moveTo>
                      <a:pt x="0" y="42"/>
                    </a:moveTo>
                    <a:lnTo>
                      <a:pt x="6" y="0"/>
                    </a:lnTo>
                    <a:lnTo>
                      <a:pt x="42" y="19"/>
                    </a:lnTo>
                    <a:lnTo>
                      <a:pt x="20" y="44"/>
                    </a:lnTo>
                    <a:lnTo>
                      <a:pt x="0" y="42"/>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87" name="Freeform 143"/>
              <p:cNvSpPr>
                <a:spLocks noEditPoints="1"/>
              </p:cNvSpPr>
              <p:nvPr/>
            </p:nvSpPr>
            <p:spPr bwMode="auto">
              <a:xfrm>
                <a:off x="1978" y="2049"/>
                <a:ext cx="46" cy="48"/>
              </a:xfrm>
              <a:custGeom>
                <a:avLst/>
                <a:gdLst/>
                <a:ahLst/>
                <a:cxnLst>
                  <a:cxn ang="0">
                    <a:pos x="8" y="200"/>
                  </a:cxn>
                  <a:cxn ang="0">
                    <a:pos x="1" y="191"/>
                  </a:cxn>
                  <a:cxn ang="0">
                    <a:pos x="22" y="8"/>
                  </a:cxn>
                  <a:cxn ang="0">
                    <a:pos x="26" y="1"/>
                  </a:cxn>
                  <a:cxn ang="0">
                    <a:pos x="34" y="2"/>
                  </a:cxn>
                  <a:cxn ang="0">
                    <a:pos x="157" y="84"/>
                  </a:cxn>
                  <a:cxn ang="0">
                    <a:pos x="160" y="89"/>
                  </a:cxn>
                  <a:cxn ang="0">
                    <a:pos x="159" y="95"/>
                  </a:cxn>
                  <a:cxn ang="0">
                    <a:pos x="85" y="205"/>
                  </a:cxn>
                  <a:cxn ang="0">
                    <a:pos x="77" y="208"/>
                  </a:cxn>
                  <a:cxn ang="0">
                    <a:pos x="8" y="200"/>
                  </a:cxn>
                  <a:cxn ang="0">
                    <a:pos x="79" y="193"/>
                  </a:cxn>
                  <a:cxn ang="0">
                    <a:pos x="72" y="196"/>
                  </a:cxn>
                  <a:cxn ang="0">
                    <a:pos x="146" y="86"/>
                  </a:cxn>
                  <a:cxn ang="0">
                    <a:pos x="148" y="97"/>
                  </a:cxn>
                  <a:cxn ang="0">
                    <a:pos x="25" y="15"/>
                  </a:cxn>
                  <a:cxn ang="0">
                    <a:pos x="38" y="9"/>
                  </a:cxn>
                  <a:cxn ang="0">
                    <a:pos x="16" y="193"/>
                  </a:cxn>
                  <a:cxn ang="0">
                    <a:pos x="9" y="184"/>
                  </a:cxn>
                  <a:cxn ang="0">
                    <a:pos x="79" y="193"/>
                  </a:cxn>
                </a:cxnLst>
                <a:rect l="0" t="0" r="r" b="b"/>
                <a:pathLst>
                  <a:path w="161" h="209">
                    <a:moveTo>
                      <a:pt x="8" y="200"/>
                    </a:moveTo>
                    <a:cubicBezTo>
                      <a:pt x="3" y="200"/>
                      <a:pt x="0" y="196"/>
                      <a:pt x="1" y="191"/>
                    </a:cubicBezTo>
                    <a:lnTo>
                      <a:pt x="22" y="8"/>
                    </a:lnTo>
                    <a:cubicBezTo>
                      <a:pt x="22" y="5"/>
                      <a:pt x="24" y="2"/>
                      <a:pt x="26" y="1"/>
                    </a:cubicBezTo>
                    <a:cubicBezTo>
                      <a:pt x="29" y="0"/>
                      <a:pt x="32" y="0"/>
                      <a:pt x="34" y="2"/>
                    </a:cubicBezTo>
                    <a:lnTo>
                      <a:pt x="157" y="84"/>
                    </a:lnTo>
                    <a:cubicBezTo>
                      <a:pt x="159" y="85"/>
                      <a:pt x="160" y="87"/>
                      <a:pt x="160" y="89"/>
                    </a:cubicBezTo>
                    <a:cubicBezTo>
                      <a:pt x="161" y="91"/>
                      <a:pt x="160" y="93"/>
                      <a:pt x="159" y="95"/>
                    </a:cubicBezTo>
                    <a:lnTo>
                      <a:pt x="85" y="205"/>
                    </a:lnTo>
                    <a:cubicBezTo>
                      <a:pt x="83" y="207"/>
                      <a:pt x="80" y="209"/>
                      <a:pt x="77" y="208"/>
                    </a:cubicBezTo>
                    <a:lnTo>
                      <a:pt x="8" y="200"/>
                    </a:lnTo>
                    <a:close/>
                    <a:moveTo>
                      <a:pt x="79" y="193"/>
                    </a:moveTo>
                    <a:lnTo>
                      <a:pt x="72" y="196"/>
                    </a:lnTo>
                    <a:lnTo>
                      <a:pt x="146" y="86"/>
                    </a:lnTo>
                    <a:lnTo>
                      <a:pt x="148" y="97"/>
                    </a:lnTo>
                    <a:lnTo>
                      <a:pt x="25" y="15"/>
                    </a:lnTo>
                    <a:lnTo>
                      <a:pt x="38" y="9"/>
                    </a:lnTo>
                    <a:lnTo>
                      <a:pt x="16" y="193"/>
                    </a:lnTo>
                    <a:lnTo>
                      <a:pt x="9" y="184"/>
                    </a:lnTo>
                    <a:lnTo>
                      <a:pt x="79" y="193"/>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88" name="Freeform 144"/>
              <p:cNvSpPr>
                <a:spLocks/>
              </p:cNvSpPr>
              <p:nvPr/>
            </p:nvSpPr>
            <p:spPr bwMode="auto">
              <a:xfrm>
                <a:off x="2825" y="1319"/>
                <a:ext cx="120" cy="128"/>
              </a:xfrm>
              <a:custGeom>
                <a:avLst/>
                <a:gdLst/>
                <a:ahLst/>
                <a:cxnLst>
                  <a:cxn ang="0">
                    <a:pos x="0" y="53"/>
                  </a:cxn>
                  <a:cxn ang="0">
                    <a:pos x="1" y="74"/>
                  </a:cxn>
                  <a:cxn ang="0">
                    <a:pos x="1" y="83"/>
                  </a:cxn>
                  <a:cxn ang="0">
                    <a:pos x="3" y="95"/>
                  </a:cxn>
                  <a:cxn ang="0">
                    <a:pos x="29" y="104"/>
                  </a:cxn>
                  <a:cxn ang="0">
                    <a:pos x="21" y="125"/>
                  </a:cxn>
                  <a:cxn ang="0">
                    <a:pos x="48" y="128"/>
                  </a:cxn>
                  <a:cxn ang="0">
                    <a:pos x="95" y="128"/>
                  </a:cxn>
                  <a:cxn ang="0">
                    <a:pos x="107" y="108"/>
                  </a:cxn>
                  <a:cxn ang="0">
                    <a:pos x="82" y="81"/>
                  </a:cxn>
                  <a:cxn ang="0">
                    <a:pos x="112" y="67"/>
                  </a:cxn>
                  <a:cxn ang="0">
                    <a:pos x="120" y="71"/>
                  </a:cxn>
                  <a:cxn ang="0">
                    <a:pos x="112" y="20"/>
                  </a:cxn>
                  <a:cxn ang="0">
                    <a:pos x="90" y="7"/>
                  </a:cxn>
                  <a:cxn ang="0">
                    <a:pos x="66" y="16"/>
                  </a:cxn>
                  <a:cxn ang="0">
                    <a:pos x="69" y="10"/>
                  </a:cxn>
                  <a:cxn ang="0">
                    <a:pos x="48" y="0"/>
                  </a:cxn>
                  <a:cxn ang="0">
                    <a:pos x="37" y="0"/>
                  </a:cxn>
                  <a:cxn ang="0">
                    <a:pos x="36" y="28"/>
                  </a:cxn>
                  <a:cxn ang="0">
                    <a:pos x="24" y="21"/>
                  </a:cxn>
                  <a:cxn ang="0">
                    <a:pos x="16" y="30"/>
                  </a:cxn>
                  <a:cxn ang="0">
                    <a:pos x="14" y="47"/>
                  </a:cxn>
                  <a:cxn ang="0">
                    <a:pos x="0" y="53"/>
                  </a:cxn>
                </a:cxnLst>
                <a:rect l="0" t="0" r="r" b="b"/>
                <a:pathLst>
                  <a:path w="120" h="128">
                    <a:moveTo>
                      <a:pt x="0" y="53"/>
                    </a:moveTo>
                    <a:lnTo>
                      <a:pt x="1" y="74"/>
                    </a:lnTo>
                    <a:lnTo>
                      <a:pt x="1" y="83"/>
                    </a:lnTo>
                    <a:lnTo>
                      <a:pt x="3" y="95"/>
                    </a:lnTo>
                    <a:lnTo>
                      <a:pt x="29" y="104"/>
                    </a:lnTo>
                    <a:lnTo>
                      <a:pt x="21" y="125"/>
                    </a:lnTo>
                    <a:lnTo>
                      <a:pt x="48" y="128"/>
                    </a:lnTo>
                    <a:lnTo>
                      <a:pt x="95" y="128"/>
                    </a:lnTo>
                    <a:lnTo>
                      <a:pt x="107" y="108"/>
                    </a:lnTo>
                    <a:lnTo>
                      <a:pt x="82" y="81"/>
                    </a:lnTo>
                    <a:lnTo>
                      <a:pt x="112" y="67"/>
                    </a:lnTo>
                    <a:lnTo>
                      <a:pt x="120" y="71"/>
                    </a:lnTo>
                    <a:lnTo>
                      <a:pt x="112" y="20"/>
                    </a:lnTo>
                    <a:lnTo>
                      <a:pt x="90" y="7"/>
                    </a:lnTo>
                    <a:lnTo>
                      <a:pt x="66" y="16"/>
                    </a:lnTo>
                    <a:lnTo>
                      <a:pt x="69" y="10"/>
                    </a:lnTo>
                    <a:lnTo>
                      <a:pt x="48" y="0"/>
                    </a:lnTo>
                    <a:lnTo>
                      <a:pt x="37" y="0"/>
                    </a:lnTo>
                    <a:lnTo>
                      <a:pt x="36" y="28"/>
                    </a:lnTo>
                    <a:lnTo>
                      <a:pt x="24" y="21"/>
                    </a:lnTo>
                    <a:lnTo>
                      <a:pt x="16" y="30"/>
                    </a:lnTo>
                    <a:lnTo>
                      <a:pt x="14" y="47"/>
                    </a:lnTo>
                    <a:lnTo>
                      <a:pt x="0" y="53"/>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89" name="Freeform 145"/>
              <p:cNvSpPr>
                <a:spLocks noEditPoints="1"/>
              </p:cNvSpPr>
              <p:nvPr/>
            </p:nvSpPr>
            <p:spPr bwMode="auto">
              <a:xfrm>
                <a:off x="2822" y="1317"/>
                <a:ext cx="126" cy="132"/>
              </a:xfrm>
              <a:custGeom>
                <a:avLst/>
                <a:gdLst/>
                <a:ahLst/>
                <a:cxnLst>
                  <a:cxn ang="0">
                    <a:pos x="16" y="239"/>
                  </a:cxn>
                  <a:cxn ang="0">
                    <a:pos x="22" y="371"/>
                  </a:cxn>
                  <a:cxn ang="0">
                    <a:pos x="23" y="414"/>
                  </a:cxn>
                  <a:cxn ang="0">
                    <a:pos x="117" y="464"/>
                  </a:cxn>
                  <a:cxn ang="0">
                    <a:pos x="83" y="547"/>
                  </a:cxn>
                  <a:cxn ang="0">
                    <a:pos x="175" y="560"/>
                  </a:cxn>
                  <a:cxn ang="0">
                    <a:pos x="328" y="562"/>
                  </a:cxn>
                  <a:cxn ang="0">
                    <a:pos x="373" y="481"/>
                  </a:cxn>
                  <a:cxn ang="0">
                    <a:pos x="284" y="358"/>
                  </a:cxn>
                  <a:cxn ang="0">
                    <a:pos x="393" y="291"/>
                  </a:cxn>
                  <a:cxn ang="0">
                    <a:pos x="429" y="309"/>
                  </a:cxn>
                  <a:cxn ang="0">
                    <a:pos x="389" y="95"/>
                  </a:cxn>
                  <a:cxn ang="0">
                    <a:pos x="315" y="45"/>
                  </a:cxn>
                  <a:cxn ang="0">
                    <a:pos x="239" y="83"/>
                  </a:cxn>
                  <a:cxn ang="0">
                    <a:pos x="228" y="72"/>
                  </a:cxn>
                  <a:cxn ang="0">
                    <a:pos x="243" y="57"/>
                  </a:cxn>
                  <a:cxn ang="0">
                    <a:pos x="175" y="16"/>
                  </a:cxn>
                  <a:cxn ang="0">
                    <a:pos x="145" y="9"/>
                  </a:cxn>
                  <a:cxn ang="0">
                    <a:pos x="137" y="138"/>
                  </a:cxn>
                  <a:cxn ang="0">
                    <a:pos x="86" y="103"/>
                  </a:cxn>
                  <a:cxn ang="0">
                    <a:pos x="72" y="142"/>
                  </a:cxn>
                  <a:cxn ang="0">
                    <a:pos x="66" y="211"/>
                  </a:cxn>
                  <a:cxn ang="0">
                    <a:pos x="12" y="246"/>
                  </a:cxn>
                  <a:cxn ang="0">
                    <a:pos x="50" y="210"/>
                  </a:cxn>
                  <a:cxn ang="0">
                    <a:pos x="58" y="133"/>
                  </a:cxn>
                  <a:cxn ang="0">
                    <a:pos x="90" y="89"/>
                  </a:cxn>
                  <a:cxn ang="0">
                    <a:pos x="139" y="124"/>
                  </a:cxn>
                  <a:cxn ang="0">
                    <a:pos x="129" y="8"/>
                  </a:cxn>
                  <a:cxn ang="0">
                    <a:pos x="175" y="0"/>
                  </a:cxn>
                  <a:cxn ang="0">
                    <a:pos x="251" y="43"/>
                  </a:cxn>
                  <a:cxn ang="0">
                    <a:pos x="243" y="79"/>
                  </a:cxn>
                  <a:cxn ang="0">
                    <a:pos x="317" y="31"/>
                  </a:cxn>
                  <a:cxn ang="0">
                    <a:pos x="402" y="87"/>
                  </a:cxn>
                  <a:cxn ang="0">
                    <a:pos x="432" y="315"/>
                  </a:cxn>
                  <a:cxn ang="0">
                    <a:pos x="420" y="323"/>
                  </a:cxn>
                  <a:cxn ang="0">
                    <a:pos x="401" y="305"/>
                  </a:cxn>
                  <a:cxn ang="0">
                    <a:pos x="299" y="355"/>
                  </a:cxn>
                  <a:cxn ang="0">
                    <a:pos x="386" y="480"/>
                  </a:cxn>
                  <a:cxn ang="0">
                    <a:pos x="335" y="573"/>
                  </a:cxn>
                  <a:cxn ang="0">
                    <a:pos x="174" y="576"/>
                  </a:cxn>
                  <a:cxn ang="0">
                    <a:pos x="75" y="559"/>
                  </a:cxn>
                  <a:cxn ang="0">
                    <a:pos x="101" y="459"/>
                  </a:cxn>
                  <a:cxn ang="0">
                    <a:pos x="16" y="429"/>
                  </a:cxn>
                  <a:cxn ang="0">
                    <a:pos x="6" y="372"/>
                  </a:cxn>
                  <a:cxn ang="0">
                    <a:pos x="0" y="239"/>
                  </a:cxn>
                  <a:cxn ang="0">
                    <a:pos x="54" y="204"/>
                  </a:cxn>
                </a:cxnLst>
                <a:rect l="0" t="0" r="r" b="b"/>
                <a:pathLst>
                  <a:path w="433" h="576">
                    <a:moveTo>
                      <a:pt x="12" y="246"/>
                    </a:moveTo>
                    <a:lnTo>
                      <a:pt x="16" y="239"/>
                    </a:lnTo>
                    <a:lnTo>
                      <a:pt x="19" y="329"/>
                    </a:lnTo>
                    <a:lnTo>
                      <a:pt x="22" y="371"/>
                    </a:lnTo>
                    <a:lnTo>
                      <a:pt x="27" y="420"/>
                    </a:lnTo>
                    <a:lnTo>
                      <a:pt x="23" y="414"/>
                    </a:lnTo>
                    <a:lnTo>
                      <a:pt x="112" y="454"/>
                    </a:lnTo>
                    <a:cubicBezTo>
                      <a:pt x="116" y="456"/>
                      <a:pt x="118" y="460"/>
                      <a:pt x="117" y="464"/>
                    </a:cubicBezTo>
                    <a:lnTo>
                      <a:pt x="89" y="557"/>
                    </a:lnTo>
                    <a:lnTo>
                      <a:pt x="83" y="547"/>
                    </a:lnTo>
                    <a:lnTo>
                      <a:pt x="176" y="561"/>
                    </a:lnTo>
                    <a:lnTo>
                      <a:pt x="175" y="560"/>
                    </a:lnTo>
                    <a:lnTo>
                      <a:pt x="335" y="557"/>
                    </a:lnTo>
                    <a:lnTo>
                      <a:pt x="328" y="562"/>
                    </a:lnTo>
                    <a:lnTo>
                      <a:pt x="372" y="473"/>
                    </a:lnTo>
                    <a:lnTo>
                      <a:pt x="373" y="481"/>
                    </a:lnTo>
                    <a:lnTo>
                      <a:pt x="286" y="364"/>
                    </a:lnTo>
                    <a:cubicBezTo>
                      <a:pt x="284" y="362"/>
                      <a:pt x="284" y="360"/>
                      <a:pt x="284" y="358"/>
                    </a:cubicBezTo>
                    <a:cubicBezTo>
                      <a:pt x="285" y="356"/>
                      <a:pt x="286" y="354"/>
                      <a:pt x="288" y="353"/>
                    </a:cubicBezTo>
                    <a:lnTo>
                      <a:pt x="393" y="291"/>
                    </a:lnTo>
                    <a:cubicBezTo>
                      <a:pt x="395" y="289"/>
                      <a:pt x="399" y="289"/>
                      <a:pt x="401" y="291"/>
                    </a:cubicBezTo>
                    <a:lnTo>
                      <a:pt x="429" y="309"/>
                    </a:lnTo>
                    <a:lnTo>
                      <a:pt x="417" y="317"/>
                    </a:lnTo>
                    <a:lnTo>
                      <a:pt x="389" y="95"/>
                    </a:lnTo>
                    <a:lnTo>
                      <a:pt x="392" y="100"/>
                    </a:lnTo>
                    <a:lnTo>
                      <a:pt x="315" y="45"/>
                    </a:lnTo>
                    <a:lnTo>
                      <a:pt x="323" y="46"/>
                    </a:lnTo>
                    <a:lnTo>
                      <a:pt x="239" y="83"/>
                    </a:lnTo>
                    <a:cubicBezTo>
                      <a:pt x="236" y="84"/>
                      <a:pt x="232" y="83"/>
                      <a:pt x="230" y="81"/>
                    </a:cubicBezTo>
                    <a:cubicBezTo>
                      <a:pt x="228" y="79"/>
                      <a:pt x="227" y="75"/>
                      <a:pt x="228" y="72"/>
                    </a:cubicBezTo>
                    <a:lnTo>
                      <a:pt x="239" y="47"/>
                    </a:lnTo>
                    <a:lnTo>
                      <a:pt x="243" y="57"/>
                    </a:lnTo>
                    <a:lnTo>
                      <a:pt x="171" y="15"/>
                    </a:lnTo>
                    <a:lnTo>
                      <a:pt x="175" y="16"/>
                    </a:lnTo>
                    <a:lnTo>
                      <a:pt x="137" y="16"/>
                    </a:lnTo>
                    <a:lnTo>
                      <a:pt x="145" y="9"/>
                    </a:lnTo>
                    <a:lnTo>
                      <a:pt x="142" y="131"/>
                    </a:lnTo>
                    <a:cubicBezTo>
                      <a:pt x="142" y="134"/>
                      <a:pt x="140" y="136"/>
                      <a:pt x="137" y="138"/>
                    </a:cubicBezTo>
                    <a:cubicBezTo>
                      <a:pt x="135" y="139"/>
                      <a:pt x="131" y="139"/>
                      <a:pt x="129" y="137"/>
                    </a:cubicBezTo>
                    <a:lnTo>
                      <a:pt x="86" y="103"/>
                    </a:lnTo>
                    <a:lnTo>
                      <a:pt x="98" y="101"/>
                    </a:lnTo>
                    <a:lnTo>
                      <a:pt x="72" y="142"/>
                    </a:lnTo>
                    <a:lnTo>
                      <a:pt x="73" y="138"/>
                    </a:lnTo>
                    <a:lnTo>
                      <a:pt x="66" y="211"/>
                    </a:lnTo>
                    <a:cubicBezTo>
                      <a:pt x="66" y="214"/>
                      <a:pt x="64" y="216"/>
                      <a:pt x="62" y="218"/>
                    </a:cubicBezTo>
                    <a:lnTo>
                      <a:pt x="12" y="246"/>
                    </a:lnTo>
                    <a:close/>
                    <a:moveTo>
                      <a:pt x="54" y="204"/>
                    </a:moveTo>
                    <a:lnTo>
                      <a:pt x="50" y="210"/>
                    </a:lnTo>
                    <a:lnTo>
                      <a:pt x="57" y="136"/>
                    </a:lnTo>
                    <a:cubicBezTo>
                      <a:pt x="57" y="135"/>
                      <a:pt x="58" y="134"/>
                      <a:pt x="58" y="133"/>
                    </a:cubicBezTo>
                    <a:lnTo>
                      <a:pt x="84" y="93"/>
                    </a:lnTo>
                    <a:cubicBezTo>
                      <a:pt x="86" y="91"/>
                      <a:pt x="88" y="90"/>
                      <a:pt x="90" y="89"/>
                    </a:cubicBezTo>
                    <a:cubicBezTo>
                      <a:pt x="92" y="89"/>
                      <a:pt x="94" y="89"/>
                      <a:pt x="96" y="91"/>
                    </a:cubicBezTo>
                    <a:lnTo>
                      <a:pt x="139" y="124"/>
                    </a:lnTo>
                    <a:lnTo>
                      <a:pt x="126" y="130"/>
                    </a:lnTo>
                    <a:lnTo>
                      <a:pt x="129" y="8"/>
                    </a:lnTo>
                    <a:cubicBezTo>
                      <a:pt x="129" y="4"/>
                      <a:pt x="132" y="0"/>
                      <a:pt x="137" y="0"/>
                    </a:cubicBezTo>
                    <a:lnTo>
                      <a:pt x="175" y="0"/>
                    </a:lnTo>
                    <a:cubicBezTo>
                      <a:pt x="177" y="0"/>
                      <a:pt x="178" y="1"/>
                      <a:pt x="179" y="2"/>
                    </a:cubicBezTo>
                    <a:lnTo>
                      <a:pt x="251" y="43"/>
                    </a:lnTo>
                    <a:cubicBezTo>
                      <a:pt x="254" y="45"/>
                      <a:pt x="256" y="50"/>
                      <a:pt x="254" y="53"/>
                    </a:cubicBezTo>
                    <a:lnTo>
                      <a:pt x="243" y="79"/>
                    </a:lnTo>
                    <a:lnTo>
                      <a:pt x="233" y="68"/>
                    </a:lnTo>
                    <a:lnTo>
                      <a:pt x="317" y="31"/>
                    </a:lnTo>
                    <a:cubicBezTo>
                      <a:pt x="319" y="30"/>
                      <a:pt x="322" y="30"/>
                      <a:pt x="324" y="32"/>
                    </a:cubicBezTo>
                    <a:lnTo>
                      <a:pt x="402" y="87"/>
                    </a:lnTo>
                    <a:cubicBezTo>
                      <a:pt x="403" y="89"/>
                      <a:pt x="405" y="91"/>
                      <a:pt x="405" y="93"/>
                    </a:cubicBezTo>
                    <a:lnTo>
                      <a:pt x="432" y="315"/>
                    </a:lnTo>
                    <a:cubicBezTo>
                      <a:pt x="433" y="318"/>
                      <a:pt x="431" y="321"/>
                      <a:pt x="429" y="323"/>
                    </a:cubicBezTo>
                    <a:cubicBezTo>
                      <a:pt x="426" y="325"/>
                      <a:pt x="423" y="324"/>
                      <a:pt x="420" y="323"/>
                    </a:cubicBezTo>
                    <a:lnTo>
                      <a:pt x="392" y="304"/>
                    </a:lnTo>
                    <a:lnTo>
                      <a:pt x="401" y="305"/>
                    </a:lnTo>
                    <a:lnTo>
                      <a:pt x="296" y="366"/>
                    </a:lnTo>
                    <a:lnTo>
                      <a:pt x="299" y="355"/>
                    </a:lnTo>
                    <a:lnTo>
                      <a:pt x="385" y="472"/>
                    </a:lnTo>
                    <a:cubicBezTo>
                      <a:pt x="387" y="474"/>
                      <a:pt x="388" y="477"/>
                      <a:pt x="386" y="480"/>
                    </a:cubicBezTo>
                    <a:lnTo>
                      <a:pt x="342" y="569"/>
                    </a:lnTo>
                    <a:cubicBezTo>
                      <a:pt x="341" y="571"/>
                      <a:pt x="338" y="573"/>
                      <a:pt x="335" y="573"/>
                    </a:cubicBezTo>
                    <a:lnTo>
                      <a:pt x="175" y="576"/>
                    </a:lnTo>
                    <a:cubicBezTo>
                      <a:pt x="175" y="576"/>
                      <a:pt x="174" y="576"/>
                      <a:pt x="174" y="576"/>
                    </a:cubicBezTo>
                    <a:lnTo>
                      <a:pt x="80" y="563"/>
                    </a:lnTo>
                    <a:cubicBezTo>
                      <a:pt x="78" y="563"/>
                      <a:pt x="76" y="561"/>
                      <a:pt x="75" y="559"/>
                    </a:cubicBezTo>
                    <a:cubicBezTo>
                      <a:pt x="73" y="557"/>
                      <a:pt x="73" y="555"/>
                      <a:pt x="74" y="553"/>
                    </a:cubicBezTo>
                    <a:lnTo>
                      <a:pt x="101" y="459"/>
                    </a:lnTo>
                    <a:lnTo>
                      <a:pt x="106" y="469"/>
                    </a:lnTo>
                    <a:lnTo>
                      <a:pt x="16" y="429"/>
                    </a:lnTo>
                    <a:cubicBezTo>
                      <a:pt x="14" y="428"/>
                      <a:pt x="12" y="425"/>
                      <a:pt x="12" y="422"/>
                    </a:cubicBezTo>
                    <a:lnTo>
                      <a:pt x="6" y="372"/>
                    </a:lnTo>
                    <a:lnTo>
                      <a:pt x="3" y="330"/>
                    </a:lnTo>
                    <a:lnTo>
                      <a:pt x="0" y="239"/>
                    </a:lnTo>
                    <a:cubicBezTo>
                      <a:pt x="0" y="236"/>
                      <a:pt x="2" y="234"/>
                      <a:pt x="4" y="232"/>
                    </a:cubicBezTo>
                    <a:lnTo>
                      <a:pt x="54" y="204"/>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90" name="Freeform 146"/>
              <p:cNvSpPr>
                <a:spLocks/>
              </p:cNvSpPr>
              <p:nvPr/>
            </p:nvSpPr>
            <p:spPr bwMode="auto">
              <a:xfrm>
                <a:off x="3024" y="1539"/>
                <a:ext cx="88" cy="84"/>
              </a:xfrm>
              <a:custGeom>
                <a:avLst/>
                <a:gdLst/>
                <a:ahLst/>
                <a:cxnLst>
                  <a:cxn ang="0">
                    <a:pos x="0" y="34"/>
                  </a:cxn>
                  <a:cxn ang="0">
                    <a:pos x="12" y="15"/>
                  </a:cxn>
                  <a:cxn ang="0">
                    <a:pos x="40" y="7"/>
                  </a:cxn>
                  <a:cxn ang="0">
                    <a:pos x="75" y="8"/>
                  </a:cxn>
                  <a:cxn ang="0">
                    <a:pos x="88" y="0"/>
                  </a:cxn>
                  <a:cxn ang="0">
                    <a:pos x="84" y="17"/>
                  </a:cxn>
                  <a:cxn ang="0">
                    <a:pos x="60" y="13"/>
                  </a:cxn>
                  <a:cxn ang="0">
                    <a:pos x="48" y="28"/>
                  </a:cxn>
                  <a:cxn ang="0">
                    <a:pos x="35" y="20"/>
                  </a:cxn>
                  <a:cxn ang="0">
                    <a:pos x="44" y="43"/>
                  </a:cxn>
                  <a:cxn ang="0">
                    <a:pos x="33" y="47"/>
                  </a:cxn>
                  <a:cxn ang="0">
                    <a:pos x="55" y="56"/>
                  </a:cxn>
                  <a:cxn ang="0">
                    <a:pos x="55" y="66"/>
                  </a:cxn>
                  <a:cxn ang="0">
                    <a:pos x="37" y="68"/>
                  </a:cxn>
                  <a:cxn ang="0">
                    <a:pos x="43" y="84"/>
                  </a:cxn>
                  <a:cxn ang="0">
                    <a:pos x="21" y="79"/>
                  </a:cxn>
                  <a:cxn ang="0">
                    <a:pos x="15" y="64"/>
                  </a:cxn>
                  <a:cxn ang="0">
                    <a:pos x="43" y="58"/>
                  </a:cxn>
                  <a:cxn ang="0">
                    <a:pos x="15" y="55"/>
                  </a:cxn>
                  <a:cxn ang="0">
                    <a:pos x="0" y="34"/>
                  </a:cxn>
                </a:cxnLst>
                <a:rect l="0" t="0" r="r" b="b"/>
                <a:pathLst>
                  <a:path w="88" h="84">
                    <a:moveTo>
                      <a:pt x="0" y="34"/>
                    </a:moveTo>
                    <a:lnTo>
                      <a:pt x="12" y="15"/>
                    </a:lnTo>
                    <a:lnTo>
                      <a:pt x="40" y="7"/>
                    </a:lnTo>
                    <a:lnTo>
                      <a:pt x="75" y="8"/>
                    </a:lnTo>
                    <a:lnTo>
                      <a:pt x="88" y="0"/>
                    </a:lnTo>
                    <a:lnTo>
                      <a:pt x="84" y="17"/>
                    </a:lnTo>
                    <a:lnTo>
                      <a:pt x="60" y="13"/>
                    </a:lnTo>
                    <a:lnTo>
                      <a:pt x="48" y="28"/>
                    </a:lnTo>
                    <a:lnTo>
                      <a:pt x="35" y="20"/>
                    </a:lnTo>
                    <a:lnTo>
                      <a:pt x="44" y="43"/>
                    </a:lnTo>
                    <a:lnTo>
                      <a:pt x="33" y="47"/>
                    </a:lnTo>
                    <a:lnTo>
                      <a:pt x="55" y="56"/>
                    </a:lnTo>
                    <a:lnTo>
                      <a:pt x="55" y="66"/>
                    </a:lnTo>
                    <a:lnTo>
                      <a:pt x="37" y="68"/>
                    </a:lnTo>
                    <a:lnTo>
                      <a:pt x="43" y="84"/>
                    </a:lnTo>
                    <a:lnTo>
                      <a:pt x="21" y="79"/>
                    </a:lnTo>
                    <a:lnTo>
                      <a:pt x="15" y="64"/>
                    </a:lnTo>
                    <a:lnTo>
                      <a:pt x="43" y="58"/>
                    </a:lnTo>
                    <a:lnTo>
                      <a:pt x="15" y="55"/>
                    </a:lnTo>
                    <a:lnTo>
                      <a:pt x="0" y="34"/>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91" name="Freeform 147"/>
              <p:cNvSpPr>
                <a:spLocks noEditPoints="1"/>
              </p:cNvSpPr>
              <p:nvPr/>
            </p:nvSpPr>
            <p:spPr bwMode="auto">
              <a:xfrm>
                <a:off x="3022" y="1537"/>
                <a:ext cx="93" cy="88"/>
              </a:xfrm>
              <a:custGeom>
                <a:avLst/>
                <a:gdLst/>
                <a:ahLst/>
                <a:cxnLst>
                  <a:cxn ang="0">
                    <a:pos x="1" y="153"/>
                  </a:cxn>
                  <a:cxn ang="0">
                    <a:pos x="47" y="66"/>
                  </a:cxn>
                  <a:cxn ang="0">
                    <a:pos x="147" y="33"/>
                  </a:cxn>
                  <a:cxn ang="0">
                    <a:pos x="261" y="38"/>
                  </a:cxn>
                  <a:cxn ang="0">
                    <a:pos x="317" y="2"/>
                  </a:cxn>
                  <a:cxn ang="0">
                    <a:pos x="305" y="87"/>
                  </a:cxn>
                  <a:cxn ang="0">
                    <a:pos x="295" y="93"/>
                  </a:cxn>
                  <a:cxn ang="0">
                    <a:pos x="221" y="72"/>
                  </a:cxn>
                  <a:cxn ang="0">
                    <a:pos x="173" y="141"/>
                  </a:cxn>
                  <a:cxn ang="0">
                    <a:pos x="123" y="103"/>
                  </a:cxn>
                  <a:cxn ang="0">
                    <a:pos x="167" y="193"/>
                  </a:cxn>
                  <a:cxn ang="0">
                    <a:pos x="123" y="222"/>
                  </a:cxn>
                  <a:cxn ang="0">
                    <a:pos x="199" y="248"/>
                  </a:cxn>
                  <a:cxn ang="0">
                    <a:pos x="204" y="296"/>
                  </a:cxn>
                  <a:cxn ang="0">
                    <a:pos x="135" y="315"/>
                  </a:cxn>
                  <a:cxn ang="0">
                    <a:pos x="163" y="374"/>
                  </a:cxn>
                  <a:cxn ang="0">
                    <a:pos x="153" y="384"/>
                  </a:cxn>
                  <a:cxn ang="0">
                    <a:pos x="73" y="357"/>
                  </a:cxn>
                  <a:cxn ang="0">
                    <a:pos x="51" y="284"/>
                  </a:cxn>
                  <a:cxn ang="0">
                    <a:pos x="154" y="253"/>
                  </a:cxn>
                  <a:cxn ang="0">
                    <a:pos x="57" y="258"/>
                  </a:cxn>
                  <a:cxn ang="0">
                    <a:pos x="1" y="160"/>
                  </a:cxn>
                  <a:cxn ang="0">
                    <a:pos x="59" y="242"/>
                  </a:cxn>
                  <a:cxn ang="0">
                    <a:pos x="164" y="260"/>
                  </a:cxn>
                  <a:cxn ang="0">
                    <a:pos x="60" y="296"/>
                  </a:cxn>
                  <a:cxn ang="0">
                    <a:pos x="88" y="352"/>
                  </a:cxn>
                  <a:cxn ang="0">
                    <a:pos x="157" y="369"/>
                  </a:cxn>
                  <a:cxn ang="0">
                    <a:pos x="126" y="309"/>
                  </a:cxn>
                  <a:cxn ang="0">
                    <a:pos x="132" y="299"/>
                  </a:cxn>
                  <a:cxn ang="0">
                    <a:pos x="188" y="296"/>
                  </a:cxn>
                  <a:cxn ang="0">
                    <a:pos x="192" y="263"/>
                  </a:cxn>
                  <a:cxn ang="0">
                    <a:pos x="112" y="214"/>
                  </a:cxn>
                  <a:cxn ang="0">
                    <a:pos x="156" y="189"/>
                  </a:cxn>
                  <a:cxn ang="0">
                    <a:pos x="120" y="99"/>
                  </a:cxn>
                  <a:cxn ang="0">
                    <a:pos x="133" y="91"/>
                  </a:cxn>
                  <a:cxn ang="0">
                    <a:pos x="165" y="128"/>
                  </a:cxn>
                  <a:cxn ang="0">
                    <a:pos x="216" y="60"/>
                  </a:cxn>
                  <a:cxn ang="0">
                    <a:pos x="289" y="84"/>
                  </a:cxn>
                  <a:cxn ang="0">
                    <a:pos x="317" y="15"/>
                  </a:cxn>
                  <a:cxn ang="0">
                    <a:pos x="266" y="52"/>
                  </a:cxn>
                  <a:cxn ang="0">
                    <a:pos x="149" y="48"/>
                  </a:cxn>
                  <a:cxn ang="0">
                    <a:pos x="56" y="77"/>
                  </a:cxn>
                  <a:cxn ang="0">
                    <a:pos x="16" y="153"/>
                  </a:cxn>
                </a:cxnLst>
                <a:rect l="0" t="0" r="r" b="b"/>
                <a:pathLst>
                  <a:path w="321" h="385">
                    <a:moveTo>
                      <a:pt x="1" y="160"/>
                    </a:moveTo>
                    <a:cubicBezTo>
                      <a:pt x="0" y="158"/>
                      <a:pt x="0" y="155"/>
                      <a:pt x="1" y="153"/>
                    </a:cubicBezTo>
                    <a:lnTo>
                      <a:pt x="42" y="70"/>
                    </a:lnTo>
                    <a:cubicBezTo>
                      <a:pt x="43" y="68"/>
                      <a:pt x="45" y="66"/>
                      <a:pt x="47" y="66"/>
                    </a:cubicBezTo>
                    <a:lnTo>
                      <a:pt x="144" y="33"/>
                    </a:lnTo>
                    <a:cubicBezTo>
                      <a:pt x="145" y="33"/>
                      <a:pt x="146" y="33"/>
                      <a:pt x="147" y="33"/>
                    </a:cubicBezTo>
                    <a:lnTo>
                      <a:pt x="266" y="36"/>
                    </a:lnTo>
                    <a:lnTo>
                      <a:pt x="261" y="38"/>
                    </a:lnTo>
                    <a:lnTo>
                      <a:pt x="308" y="2"/>
                    </a:lnTo>
                    <a:cubicBezTo>
                      <a:pt x="310" y="0"/>
                      <a:pt x="314" y="0"/>
                      <a:pt x="317" y="2"/>
                    </a:cubicBezTo>
                    <a:cubicBezTo>
                      <a:pt x="320" y="3"/>
                      <a:pt x="321" y="7"/>
                      <a:pt x="320" y="10"/>
                    </a:cubicBezTo>
                    <a:lnTo>
                      <a:pt x="305" y="87"/>
                    </a:lnTo>
                    <a:cubicBezTo>
                      <a:pt x="304" y="89"/>
                      <a:pt x="303" y="91"/>
                      <a:pt x="301" y="92"/>
                    </a:cubicBezTo>
                    <a:cubicBezTo>
                      <a:pt x="300" y="93"/>
                      <a:pt x="297" y="93"/>
                      <a:pt x="295" y="93"/>
                    </a:cubicBezTo>
                    <a:lnTo>
                      <a:pt x="212" y="76"/>
                    </a:lnTo>
                    <a:lnTo>
                      <a:pt x="221" y="72"/>
                    </a:lnTo>
                    <a:lnTo>
                      <a:pt x="178" y="137"/>
                    </a:lnTo>
                    <a:cubicBezTo>
                      <a:pt x="177" y="139"/>
                      <a:pt x="175" y="140"/>
                      <a:pt x="173" y="141"/>
                    </a:cubicBezTo>
                    <a:cubicBezTo>
                      <a:pt x="171" y="141"/>
                      <a:pt x="168" y="140"/>
                      <a:pt x="167" y="139"/>
                    </a:cubicBezTo>
                    <a:lnTo>
                      <a:pt x="123" y="103"/>
                    </a:lnTo>
                    <a:lnTo>
                      <a:pt x="136" y="95"/>
                    </a:lnTo>
                    <a:lnTo>
                      <a:pt x="167" y="193"/>
                    </a:lnTo>
                    <a:cubicBezTo>
                      <a:pt x="168" y="197"/>
                      <a:pt x="166" y="201"/>
                      <a:pt x="162" y="203"/>
                    </a:cubicBezTo>
                    <a:lnTo>
                      <a:pt x="123" y="222"/>
                    </a:lnTo>
                    <a:lnTo>
                      <a:pt x="123" y="208"/>
                    </a:lnTo>
                    <a:lnTo>
                      <a:pt x="199" y="248"/>
                    </a:lnTo>
                    <a:cubicBezTo>
                      <a:pt x="202" y="250"/>
                      <a:pt x="204" y="253"/>
                      <a:pt x="204" y="256"/>
                    </a:cubicBezTo>
                    <a:lnTo>
                      <a:pt x="204" y="296"/>
                    </a:lnTo>
                    <a:cubicBezTo>
                      <a:pt x="204" y="300"/>
                      <a:pt x="201" y="304"/>
                      <a:pt x="197" y="304"/>
                    </a:cubicBezTo>
                    <a:lnTo>
                      <a:pt x="135" y="315"/>
                    </a:lnTo>
                    <a:lnTo>
                      <a:pt x="141" y="304"/>
                    </a:lnTo>
                    <a:lnTo>
                      <a:pt x="163" y="374"/>
                    </a:lnTo>
                    <a:cubicBezTo>
                      <a:pt x="163" y="377"/>
                      <a:pt x="163" y="380"/>
                      <a:pt x="161" y="382"/>
                    </a:cubicBezTo>
                    <a:cubicBezTo>
                      <a:pt x="158" y="384"/>
                      <a:pt x="155" y="385"/>
                      <a:pt x="153" y="384"/>
                    </a:cubicBezTo>
                    <a:lnTo>
                      <a:pt x="78" y="362"/>
                    </a:lnTo>
                    <a:cubicBezTo>
                      <a:pt x="75" y="361"/>
                      <a:pt x="73" y="359"/>
                      <a:pt x="73" y="357"/>
                    </a:cubicBezTo>
                    <a:lnTo>
                      <a:pt x="50" y="290"/>
                    </a:lnTo>
                    <a:cubicBezTo>
                      <a:pt x="49" y="288"/>
                      <a:pt x="50" y="286"/>
                      <a:pt x="51" y="284"/>
                    </a:cubicBezTo>
                    <a:cubicBezTo>
                      <a:pt x="52" y="282"/>
                      <a:pt x="53" y="281"/>
                      <a:pt x="56" y="280"/>
                    </a:cubicBezTo>
                    <a:lnTo>
                      <a:pt x="154" y="253"/>
                    </a:lnTo>
                    <a:lnTo>
                      <a:pt x="155" y="269"/>
                    </a:lnTo>
                    <a:lnTo>
                      <a:pt x="57" y="258"/>
                    </a:lnTo>
                    <a:cubicBezTo>
                      <a:pt x="54" y="258"/>
                      <a:pt x="52" y="256"/>
                      <a:pt x="51" y="254"/>
                    </a:cubicBezTo>
                    <a:lnTo>
                      <a:pt x="1" y="160"/>
                    </a:lnTo>
                    <a:close/>
                    <a:moveTo>
                      <a:pt x="65" y="247"/>
                    </a:moveTo>
                    <a:lnTo>
                      <a:pt x="59" y="242"/>
                    </a:lnTo>
                    <a:lnTo>
                      <a:pt x="157" y="253"/>
                    </a:lnTo>
                    <a:cubicBezTo>
                      <a:pt x="161" y="253"/>
                      <a:pt x="164" y="256"/>
                      <a:pt x="164" y="260"/>
                    </a:cubicBezTo>
                    <a:cubicBezTo>
                      <a:pt x="165" y="264"/>
                      <a:pt x="162" y="267"/>
                      <a:pt x="158" y="268"/>
                    </a:cubicBezTo>
                    <a:lnTo>
                      <a:pt x="60" y="296"/>
                    </a:lnTo>
                    <a:lnTo>
                      <a:pt x="65" y="285"/>
                    </a:lnTo>
                    <a:lnTo>
                      <a:pt x="88" y="352"/>
                    </a:lnTo>
                    <a:lnTo>
                      <a:pt x="83" y="347"/>
                    </a:lnTo>
                    <a:lnTo>
                      <a:pt x="157" y="369"/>
                    </a:lnTo>
                    <a:lnTo>
                      <a:pt x="147" y="379"/>
                    </a:lnTo>
                    <a:lnTo>
                      <a:pt x="126" y="309"/>
                    </a:lnTo>
                    <a:cubicBezTo>
                      <a:pt x="125" y="307"/>
                      <a:pt x="126" y="304"/>
                      <a:pt x="127" y="302"/>
                    </a:cubicBezTo>
                    <a:cubicBezTo>
                      <a:pt x="128" y="300"/>
                      <a:pt x="130" y="299"/>
                      <a:pt x="132" y="299"/>
                    </a:cubicBezTo>
                    <a:lnTo>
                      <a:pt x="194" y="288"/>
                    </a:lnTo>
                    <a:lnTo>
                      <a:pt x="188" y="296"/>
                    </a:lnTo>
                    <a:lnTo>
                      <a:pt x="188" y="256"/>
                    </a:lnTo>
                    <a:lnTo>
                      <a:pt x="192" y="263"/>
                    </a:lnTo>
                    <a:lnTo>
                      <a:pt x="116" y="222"/>
                    </a:lnTo>
                    <a:cubicBezTo>
                      <a:pt x="113" y="220"/>
                      <a:pt x="112" y="217"/>
                      <a:pt x="112" y="214"/>
                    </a:cubicBezTo>
                    <a:cubicBezTo>
                      <a:pt x="112" y="211"/>
                      <a:pt x="113" y="209"/>
                      <a:pt x="116" y="207"/>
                    </a:cubicBezTo>
                    <a:lnTo>
                      <a:pt x="156" y="189"/>
                    </a:lnTo>
                    <a:lnTo>
                      <a:pt x="151" y="198"/>
                    </a:lnTo>
                    <a:lnTo>
                      <a:pt x="120" y="99"/>
                    </a:lnTo>
                    <a:cubicBezTo>
                      <a:pt x="119" y="96"/>
                      <a:pt x="121" y="92"/>
                      <a:pt x="124" y="90"/>
                    </a:cubicBezTo>
                    <a:cubicBezTo>
                      <a:pt x="127" y="88"/>
                      <a:pt x="130" y="89"/>
                      <a:pt x="133" y="91"/>
                    </a:cubicBezTo>
                    <a:lnTo>
                      <a:pt x="177" y="127"/>
                    </a:lnTo>
                    <a:lnTo>
                      <a:pt x="165" y="128"/>
                    </a:lnTo>
                    <a:lnTo>
                      <a:pt x="207" y="64"/>
                    </a:lnTo>
                    <a:cubicBezTo>
                      <a:pt x="209" y="61"/>
                      <a:pt x="212" y="60"/>
                      <a:pt x="216" y="60"/>
                    </a:cubicBezTo>
                    <a:lnTo>
                      <a:pt x="299" y="77"/>
                    </a:lnTo>
                    <a:lnTo>
                      <a:pt x="289" y="84"/>
                    </a:lnTo>
                    <a:lnTo>
                      <a:pt x="305" y="7"/>
                    </a:lnTo>
                    <a:lnTo>
                      <a:pt x="317" y="15"/>
                    </a:lnTo>
                    <a:lnTo>
                      <a:pt x="271" y="51"/>
                    </a:lnTo>
                    <a:cubicBezTo>
                      <a:pt x="269" y="52"/>
                      <a:pt x="268" y="52"/>
                      <a:pt x="266" y="52"/>
                    </a:cubicBezTo>
                    <a:lnTo>
                      <a:pt x="146" y="49"/>
                    </a:lnTo>
                    <a:lnTo>
                      <a:pt x="149" y="48"/>
                    </a:lnTo>
                    <a:lnTo>
                      <a:pt x="52" y="81"/>
                    </a:lnTo>
                    <a:lnTo>
                      <a:pt x="56" y="77"/>
                    </a:lnTo>
                    <a:lnTo>
                      <a:pt x="16" y="160"/>
                    </a:lnTo>
                    <a:lnTo>
                      <a:pt x="16" y="153"/>
                    </a:lnTo>
                    <a:lnTo>
                      <a:pt x="65" y="247"/>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92" name="Freeform 148"/>
              <p:cNvSpPr>
                <a:spLocks/>
              </p:cNvSpPr>
              <p:nvPr/>
            </p:nvSpPr>
            <p:spPr bwMode="auto">
              <a:xfrm>
                <a:off x="3071" y="1638"/>
                <a:ext cx="41" cy="3"/>
              </a:xfrm>
              <a:custGeom>
                <a:avLst/>
                <a:gdLst/>
                <a:ahLst/>
                <a:cxnLst>
                  <a:cxn ang="0">
                    <a:pos x="0" y="3"/>
                  </a:cxn>
                  <a:cxn ang="0">
                    <a:pos x="3" y="0"/>
                  </a:cxn>
                  <a:cxn ang="0">
                    <a:pos x="41" y="3"/>
                  </a:cxn>
                  <a:cxn ang="0">
                    <a:pos x="14" y="3"/>
                  </a:cxn>
                  <a:cxn ang="0">
                    <a:pos x="0" y="3"/>
                  </a:cxn>
                </a:cxnLst>
                <a:rect l="0" t="0" r="r" b="b"/>
                <a:pathLst>
                  <a:path w="41" h="3">
                    <a:moveTo>
                      <a:pt x="0" y="3"/>
                    </a:moveTo>
                    <a:lnTo>
                      <a:pt x="3" y="0"/>
                    </a:lnTo>
                    <a:lnTo>
                      <a:pt x="41" y="3"/>
                    </a:lnTo>
                    <a:lnTo>
                      <a:pt x="14" y="3"/>
                    </a:lnTo>
                    <a:lnTo>
                      <a:pt x="0" y="3"/>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93" name="Freeform 149"/>
              <p:cNvSpPr>
                <a:spLocks noEditPoints="1"/>
              </p:cNvSpPr>
              <p:nvPr/>
            </p:nvSpPr>
            <p:spPr bwMode="auto">
              <a:xfrm>
                <a:off x="3068" y="1636"/>
                <a:ext cx="47" cy="7"/>
              </a:xfrm>
              <a:custGeom>
                <a:avLst/>
                <a:gdLst/>
                <a:ahLst/>
                <a:cxnLst>
                  <a:cxn ang="0">
                    <a:pos x="8" y="32"/>
                  </a:cxn>
                  <a:cxn ang="0">
                    <a:pos x="1" y="28"/>
                  </a:cxn>
                  <a:cxn ang="0">
                    <a:pos x="2" y="20"/>
                  </a:cxn>
                  <a:cxn ang="0">
                    <a:pos x="13" y="4"/>
                  </a:cxn>
                  <a:cxn ang="0">
                    <a:pos x="21" y="1"/>
                  </a:cxn>
                  <a:cxn ang="0">
                    <a:pos x="153" y="17"/>
                  </a:cxn>
                  <a:cxn ang="0">
                    <a:pos x="160" y="25"/>
                  </a:cxn>
                  <a:cxn ang="0">
                    <a:pos x="152" y="32"/>
                  </a:cxn>
                  <a:cxn ang="0">
                    <a:pos x="56" y="32"/>
                  </a:cxn>
                  <a:cxn ang="0">
                    <a:pos x="8" y="32"/>
                  </a:cxn>
                  <a:cxn ang="0">
                    <a:pos x="56" y="16"/>
                  </a:cxn>
                  <a:cxn ang="0">
                    <a:pos x="152" y="16"/>
                  </a:cxn>
                  <a:cxn ang="0">
                    <a:pos x="152" y="32"/>
                  </a:cxn>
                  <a:cxn ang="0">
                    <a:pos x="19" y="16"/>
                  </a:cxn>
                  <a:cxn ang="0">
                    <a:pos x="26" y="13"/>
                  </a:cxn>
                  <a:cxn ang="0">
                    <a:pos x="15" y="29"/>
                  </a:cxn>
                  <a:cxn ang="0">
                    <a:pos x="8" y="16"/>
                  </a:cxn>
                  <a:cxn ang="0">
                    <a:pos x="56" y="16"/>
                  </a:cxn>
                </a:cxnLst>
                <a:rect l="0" t="0" r="r" b="b"/>
                <a:pathLst>
                  <a:path w="161" h="32">
                    <a:moveTo>
                      <a:pt x="8" y="32"/>
                    </a:moveTo>
                    <a:cubicBezTo>
                      <a:pt x="5" y="32"/>
                      <a:pt x="3" y="31"/>
                      <a:pt x="1" y="28"/>
                    </a:cubicBezTo>
                    <a:cubicBezTo>
                      <a:pt x="0" y="25"/>
                      <a:pt x="0" y="22"/>
                      <a:pt x="2" y="20"/>
                    </a:cubicBezTo>
                    <a:lnTo>
                      <a:pt x="13" y="4"/>
                    </a:lnTo>
                    <a:cubicBezTo>
                      <a:pt x="15" y="1"/>
                      <a:pt x="18" y="0"/>
                      <a:pt x="21" y="1"/>
                    </a:cubicBezTo>
                    <a:lnTo>
                      <a:pt x="153" y="17"/>
                    </a:lnTo>
                    <a:cubicBezTo>
                      <a:pt x="158" y="17"/>
                      <a:pt x="161" y="21"/>
                      <a:pt x="160" y="25"/>
                    </a:cubicBezTo>
                    <a:cubicBezTo>
                      <a:pt x="160" y="29"/>
                      <a:pt x="157" y="32"/>
                      <a:pt x="152" y="32"/>
                    </a:cubicBezTo>
                    <a:lnTo>
                      <a:pt x="56" y="32"/>
                    </a:lnTo>
                    <a:lnTo>
                      <a:pt x="8" y="32"/>
                    </a:lnTo>
                    <a:close/>
                    <a:moveTo>
                      <a:pt x="56" y="16"/>
                    </a:moveTo>
                    <a:lnTo>
                      <a:pt x="152" y="16"/>
                    </a:lnTo>
                    <a:lnTo>
                      <a:pt x="152" y="32"/>
                    </a:lnTo>
                    <a:lnTo>
                      <a:pt x="19" y="16"/>
                    </a:lnTo>
                    <a:lnTo>
                      <a:pt x="26" y="13"/>
                    </a:lnTo>
                    <a:lnTo>
                      <a:pt x="15" y="29"/>
                    </a:lnTo>
                    <a:lnTo>
                      <a:pt x="8" y="16"/>
                    </a:lnTo>
                    <a:lnTo>
                      <a:pt x="56" y="16"/>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94" name="Freeform 150"/>
              <p:cNvSpPr>
                <a:spLocks/>
              </p:cNvSpPr>
              <p:nvPr/>
            </p:nvSpPr>
            <p:spPr bwMode="auto">
              <a:xfrm>
                <a:off x="1720" y="632"/>
                <a:ext cx="854" cy="588"/>
              </a:xfrm>
              <a:custGeom>
                <a:avLst/>
                <a:gdLst/>
                <a:ahLst/>
                <a:cxnLst>
                  <a:cxn ang="0">
                    <a:pos x="96" y="139"/>
                  </a:cxn>
                  <a:cxn ang="0">
                    <a:pos x="112" y="114"/>
                  </a:cxn>
                  <a:cxn ang="0">
                    <a:pos x="74" y="102"/>
                  </a:cxn>
                  <a:cxn ang="0">
                    <a:pos x="159" y="56"/>
                  </a:cxn>
                  <a:cxn ang="0">
                    <a:pos x="247" y="38"/>
                  </a:cxn>
                  <a:cxn ang="0">
                    <a:pos x="315" y="60"/>
                  </a:cxn>
                  <a:cxn ang="0">
                    <a:pos x="298" y="35"/>
                  </a:cxn>
                  <a:cxn ang="0">
                    <a:pos x="401" y="48"/>
                  </a:cxn>
                  <a:cxn ang="0">
                    <a:pos x="453" y="35"/>
                  </a:cxn>
                  <a:cxn ang="0">
                    <a:pos x="374" y="13"/>
                  </a:cxn>
                  <a:cxn ang="0">
                    <a:pos x="469" y="25"/>
                  </a:cxn>
                  <a:cxn ang="0">
                    <a:pos x="465" y="3"/>
                  </a:cxn>
                  <a:cxn ang="0">
                    <a:pos x="644" y="11"/>
                  </a:cxn>
                  <a:cxn ang="0">
                    <a:pos x="659" y="13"/>
                  </a:cxn>
                  <a:cxn ang="0">
                    <a:pos x="718" y="31"/>
                  </a:cxn>
                  <a:cxn ang="0">
                    <a:pos x="547" y="55"/>
                  </a:cxn>
                  <a:cxn ang="0">
                    <a:pos x="638" y="67"/>
                  </a:cxn>
                  <a:cxn ang="0">
                    <a:pos x="740" y="62"/>
                  </a:cxn>
                  <a:cxn ang="0">
                    <a:pos x="813" y="53"/>
                  </a:cxn>
                  <a:cxn ang="0">
                    <a:pos x="724" y="95"/>
                  </a:cxn>
                  <a:cxn ang="0">
                    <a:pos x="782" y="109"/>
                  </a:cxn>
                  <a:cxn ang="0">
                    <a:pos x="730" y="148"/>
                  </a:cxn>
                  <a:cxn ang="0">
                    <a:pos x="736" y="178"/>
                  </a:cxn>
                  <a:cxn ang="0">
                    <a:pos x="721" y="199"/>
                  </a:cxn>
                  <a:cxn ang="0">
                    <a:pos x="746" y="220"/>
                  </a:cxn>
                  <a:cxn ang="0">
                    <a:pos x="714" y="240"/>
                  </a:cxn>
                  <a:cxn ang="0">
                    <a:pos x="731" y="262"/>
                  </a:cxn>
                  <a:cxn ang="0">
                    <a:pos x="740" y="282"/>
                  </a:cxn>
                  <a:cxn ang="0">
                    <a:pos x="648" y="297"/>
                  </a:cxn>
                  <a:cxn ang="0">
                    <a:pos x="668" y="327"/>
                  </a:cxn>
                  <a:cxn ang="0">
                    <a:pos x="716" y="336"/>
                  </a:cxn>
                  <a:cxn ang="0">
                    <a:pos x="708" y="357"/>
                  </a:cxn>
                  <a:cxn ang="0">
                    <a:pos x="638" y="334"/>
                  </a:cxn>
                  <a:cxn ang="0">
                    <a:pos x="653" y="369"/>
                  </a:cxn>
                  <a:cxn ang="0">
                    <a:pos x="655" y="408"/>
                  </a:cxn>
                  <a:cxn ang="0">
                    <a:pos x="575" y="421"/>
                  </a:cxn>
                  <a:cxn ang="0">
                    <a:pos x="518" y="469"/>
                  </a:cxn>
                  <a:cxn ang="0">
                    <a:pos x="494" y="459"/>
                  </a:cxn>
                  <a:cxn ang="0">
                    <a:pos x="447" y="491"/>
                  </a:cxn>
                  <a:cxn ang="0">
                    <a:pos x="443" y="515"/>
                  </a:cxn>
                  <a:cxn ang="0">
                    <a:pos x="442" y="534"/>
                  </a:cxn>
                  <a:cxn ang="0">
                    <a:pos x="412" y="580"/>
                  </a:cxn>
                  <a:cxn ang="0">
                    <a:pos x="349" y="575"/>
                  </a:cxn>
                  <a:cxn ang="0">
                    <a:pos x="333" y="561"/>
                  </a:cxn>
                  <a:cxn ang="0">
                    <a:pos x="303" y="507"/>
                  </a:cxn>
                  <a:cxn ang="0">
                    <a:pos x="294" y="480"/>
                  </a:cxn>
                  <a:cxn ang="0">
                    <a:pos x="285" y="422"/>
                  </a:cxn>
                  <a:cxn ang="0">
                    <a:pos x="283" y="414"/>
                  </a:cxn>
                  <a:cxn ang="0">
                    <a:pos x="290" y="376"/>
                  </a:cxn>
                  <a:cxn ang="0">
                    <a:pos x="315" y="360"/>
                  </a:cxn>
                  <a:cxn ang="0">
                    <a:pos x="296" y="342"/>
                  </a:cxn>
                  <a:cxn ang="0">
                    <a:pos x="268" y="342"/>
                  </a:cxn>
                  <a:cxn ang="0">
                    <a:pos x="246" y="329"/>
                  </a:cxn>
                  <a:cxn ang="0">
                    <a:pos x="228" y="266"/>
                  </a:cxn>
                  <a:cxn ang="0">
                    <a:pos x="170" y="222"/>
                  </a:cxn>
                  <a:cxn ang="0">
                    <a:pos x="94" y="228"/>
                  </a:cxn>
                  <a:cxn ang="0">
                    <a:pos x="22" y="199"/>
                  </a:cxn>
                  <a:cxn ang="0">
                    <a:pos x="93" y="186"/>
                  </a:cxn>
                </a:cxnLst>
                <a:rect l="0" t="0" r="r" b="b"/>
                <a:pathLst>
                  <a:path w="854" h="588">
                    <a:moveTo>
                      <a:pt x="0" y="165"/>
                    </a:moveTo>
                    <a:lnTo>
                      <a:pt x="5" y="156"/>
                    </a:lnTo>
                    <a:lnTo>
                      <a:pt x="61" y="139"/>
                    </a:lnTo>
                    <a:lnTo>
                      <a:pt x="96" y="139"/>
                    </a:lnTo>
                    <a:lnTo>
                      <a:pt x="116" y="126"/>
                    </a:lnTo>
                    <a:lnTo>
                      <a:pt x="110" y="122"/>
                    </a:lnTo>
                    <a:lnTo>
                      <a:pt x="122" y="117"/>
                    </a:lnTo>
                    <a:lnTo>
                      <a:pt x="112" y="114"/>
                    </a:lnTo>
                    <a:lnTo>
                      <a:pt x="130" y="109"/>
                    </a:lnTo>
                    <a:lnTo>
                      <a:pt x="123" y="104"/>
                    </a:lnTo>
                    <a:lnTo>
                      <a:pt x="99" y="113"/>
                    </a:lnTo>
                    <a:lnTo>
                      <a:pt x="74" y="102"/>
                    </a:lnTo>
                    <a:lnTo>
                      <a:pt x="105" y="95"/>
                    </a:lnTo>
                    <a:lnTo>
                      <a:pt x="123" y="77"/>
                    </a:lnTo>
                    <a:lnTo>
                      <a:pt x="161" y="76"/>
                    </a:lnTo>
                    <a:lnTo>
                      <a:pt x="159" y="56"/>
                    </a:lnTo>
                    <a:lnTo>
                      <a:pt x="188" y="55"/>
                    </a:lnTo>
                    <a:lnTo>
                      <a:pt x="217" y="69"/>
                    </a:lnTo>
                    <a:lnTo>
                      <a:pt x="183" y="51"/>
                    </a:lnTo>
                    <a:lnTo>
                      <a:pt x="247" y="38"/>
                    </a:lnTo>
                    <a:lnTo>
                      <a:pt x="263" y="47"/>
                    </a:lnTo>
                    <a:lnTo>
                      <a:pt x="265" y="65"/>
                    </a:lnTo>
                    <a:lnTo>
                      <a:pt x="273" y="50"/>
                    </a:lnTo>
                    <a:lnTo>
                      <a:pt x="315" y="60"/>
                    </a:lnTo>
                    <a:lnTo>
                      <a:pt x="300" y="52"/>
                    </a:lnTo>
                    <a:lnTo>
                      <a:pt x="320" y="53"/>
                    </a:lnTo>
                    <a:lnTo>
                      <a:pt x="303" y="43"/>
                    </a:lnTo>
                    <a:lnTo>
                      <a:pt x="298" y="35"/>
                    </a:lnTo>
                    <a:lnTo>
                      <a:pt x="307" y="33"/>
                    </a:lnTo>
                    <a:lnTo>
                      <a:pt x="389" y="58"/>
                    </a:lnTo>
                    <a:lnTo>
                      <a:pt x="383" y="50"/>
                    </a:lnTo>
                    <a:lnTo>
                      <a:pt x="401" y="48"/>
                    </a:lnTo>
                    <a:lnTo>
                      <a:pt x="389" y="41"/>
                    </a:lnTo>
                    <a:lnTo>
                      <a:pt x="417" y="43"/>
                    </a:lnTo>
                    <a:lnTo>
                      <a:pt x="373" y="25"/>
                    </a:lnTo>
                    <a:lnTo>
                      <a:pt x="453" y="35"/>
                    </a:lnTo>
                    <a:lnTo>
                      <a:pt x="435" y="24"/>
                    </a:lnTo>
                    <a:lnTo>
                      <a:pt x="388" y="23"/>
                    </a:lnTo>
                    <a:lnTo>
                      <a:pt x="404" y="22"/>
                    </a:lnTo>
                    <a:lnTo>
                      <a:pt x="374" y="13"/>
                    </a:lnTo>
                    <a:lnTo>
                      <a:pt x="409" y="15"/>
                    </a:lnTo>
                    <a:lnTo>
                      <a:pt x="395" y="11"/>
                    </a:lnTo>
                    <a:lnTo>
                      <a:pt x="410" y="8"/>
                    </a:lnTo>
                    <a:lnTo>
                      <a:pt x="469" y="25"/>
                    </a:lnTo>
                    <a:lnTo>
                      <a:pt x="462" y="19"/>
                    </a:lnTo>
                    <a:lnTo>
                      <a:pt x="488" y="13"/>
                    </a:lnTo>
                    <a:lnTo>
                      <a:pt x="466" y="11"/>
                    </a:lnTo>
                    <a:lnTo>
                      <a:pt x="465" y="3"/>
                    </a:lnTo>
                    <a:lnTo>
                      <a:pt x="480" y="0"/>
                    </a:lnTo>
                    <a:lnTo>
                      <a:pt x="638" y="3"/>
                    </a:lnTo>
                    <a:lnTo>
                      <a:pt x="649" y="8"/>
                    </a:lnTo>
                    <a:lnTo>
                      <a:pt x="644" y="11"/>
                    </a:lnTo>
                    <a:lnTo>
                      <a:pt x="538" y="12"/>
                    </a:lnTo>
                    <a:lnTo>
                      <a:pt x="551" y="16"/>
                    </a:lnTo>
                    <a:lnTo>
                      <a:pt x="510" y="22"/>
                    </a:lnTo>
                    <a:lnTo>
                      <a:pt x="659" y="13"/>
                    </a:lnTo>
                    <a:lnTo>
                      <a:pt x="664" y="21"/>
                    </a:lnTo>
                    <a:lnTo>
                      <a:pt x="644" y="25"/>
                    </a:lnTo>
                    <a:lnTo>
                      <a:pt x="679" y="22"/>
                    </a:lnTo>
                    <a:lnTo>
                      <a:pt x="718" y="31"/>
                    </a:lnTo>
                    <a:lnTo>
                      <a:pt x="659" y="47"/>
                    </a:lnTo>
                    <a:lnTo>
                      <a:pt x="564" y="45"/>
                    </a:lnTo>
                    <a:lnTo>
                      <a:pt x="587" y="48"/>
                    </a:lnTo>
                    <a:lnTo>
                      <a:pt x="547" y="55"/>
                    </a:lnTo>
                    <a:lnTo>
                      <a:pt x="547" y="63"/>
                    </a:lnTo>
                    <a:lnTo>
                      <a:pt x="651" y="51"/>
                    </a:lnTo>
                    <a:lnTo>
                      <a:pt x="659" y="56"/>
                    </a:lnTo>
                    <a:lnTo>
                      <a:pt x="638" y="67"/>
                    </a:lnTo>
                    <a:lnTo>
                      <a:pt x="705" y="48"/>
                    </a:lnTo>
                    <a:lnTo>
                      <a:pt x="708" y="67"/>
                    </a:lnTo>
                    <a:lnTo>
                      <a:pt x="676" y="98"/>
                    </a:lnTo>
                    <a:lnTo>
                      <a:pt x="740" y="62"/>
                    </a:lnTo>
                    <a:lnTo>
                      <a:pt x="739" y="67"/>
                    </a:lnTo>
                    <a:lnTo>
                      <a:pt x="770" y="67"/>
                    </a:lnTo>
                    <a:lnTo>
                      <a:pt x="779" y="55"/>
                    </a:lnTo>
                    <a:lnTo>
                      <a:pt x="813" y="53"/>
                    </a:lnTo>
                    <a:lnTo>
                      <a:pt x="854" y="64"/>
                    </a:lnTo>
                    <a:lnTo>
                      <a:pt x="814" y="80"/>
                    </a:lnTo>
                    <a:lnTo>
                      <a:pt x="816" y="86"/>
                    </a:lnTo>
                    <a:lnTo>
                      <a:pt x="724" y="95"/>
                    </a:lnTo>
                    <a:lnTo>
                      <a:pt x="798" y="96"/>
                    </a:lnTo>
                    <a:lnTo>
                      <a:pt x="737" y="109"/>
                    </a:lnTo>
                    <a:lnTo>
                      <a:pt x="741" y="119"/>
                    </a:lnTo>
                    <a:lnTo>
                      <a:pt x="782" y="109"/>
                    </a:lnTo>
                    <a:lnTo>
                      <a:pt x="752" y="122"/>
                    </a:lnTo>
                    <a:lnTo>
                      <a:pt x="748" y="138"/>
                    </a:lnTo>
                    <a:lnTo>
                      <a:pt x="758" y="134"/>
                    </a:lnTo>
                    <a:lnTo>
                      <a:pt x="730" y="148"/>
                    </a:lnTo>
                    <a:lnTo>
                      <a:pt x="719" y="178"/>
                    </a:lnTo>
                    <a:lnTo>
                      <a:pt x="734" y="171"/>
                    </a:lnTo>
                    <a:lnTo>
                      <a:pt x="756" y="178"/>
                    </a:lnTo>
                    <a:lnTo>
                      <a:pt x="736" y="178"/>
                    </a:lnTo>
                    <a:lnTo>
                      <a:pt x="736" y="187"/>
                    </a:lnTo>
                    <a:lnTo>
                      <a:pt x="769" y="190"/>
                    </a:lnTo>
                    <a:lnTo>
                      <a:pt x="770" y="201"/>
                    </a:lnTo>
                    <a:lnTo>
                      <a:pt x="721" y="199"/>
                    </a:lnTo>
                    <a:lnTo>
                      <a:pt x="734" y="204"/>
                    </a:lnTo>
                    <a:lnTo>
                      <a:pt x="707" y="207"/>
                    </a:lnTo>
                    <a:lnTo>
                      <a:pt x="721" y="219"/>
                    </a:lnTo>
                    <a:lnTo>
                      <a:pt x="746" y="220"/>
                    </a:lnTo>
                    <a:lnTo>
                      <a:pt x="731" y="227"/>
                    </a:lnTo>
                    <a:lnTo>
                      <a:pt x="751" y="234"/>
                    </a:lnTo>
                    <a:lnTo>
                      <a:pt x="751" y="249"/>
                    </a:lnTo>
                    <a:lnTo>
                      <a:pt x="714" y="240"/>
                    </a:lnTo>
                    <a:lnTo>
                      <a:pt x="735" y="248"/>
                    </a:lnTo>
                    <a:lnTo>
                      <a:pt x="723" y="253"/>
                    </a:lnTo>
                    <a:lnTo>
                      <a:pt x="734" y="252"/>
                    </a:lnTo>
                    <a:lnTo>
                      <a:pt x="731" y="262"/>
                    </a:lnTo>
                    <a:lnTo>
                      <a:pt x="757" y="267"/>
                    </a:lnTo>
                    <a:lnTo>
                      <a:pt x="716" y="264"/>
                    </a:lnTo>
                    <a:lnTo>
                      <a:pt x="708" y="270"/>
                    </a:lnTo>
                    <a:lnTo>
                      <a:pt x="740" y="282"/>
                    </a:lnTo>
                    <a:lnTo>
                      <a:pt x="735" y="292"/>
                    </a:lnTo>
                    <a:lnTo>
                      <a:pt x="710" y="298"/>
                    </a:lnTo>
                    <a:lnTo>
                      <a:pt x="685" y="283"/>
                    </a:lnTo>
                    <a:lnTo>
                      <a:pt x="648" y="297"/>
                    </a:lnTo>
                    <a:lnTo>
                      <a:pt x="675" y="304"/>
                    </a:lnTo>
                    <a:lnTo>
                      <a:pt x="649" y="310"/>
                    </a:lnTo>
                    <a:lnTo>
                      <a:pt x="677" y="312"/>
                    </a:lnTo>
                    <a:lnTo>
                      <a:pt x="668" y="327"/>
                    </a:lnTo>
                    <a:lnTo>
                      <a:pt x="679" y="318"/>
                    </a:lnTo>
                    <a:lnTo>
                      <a:pt x="708" y="330"/>
                    </a:lnTo>
                    <a:lnTo>
                      <a:pt x="699" y="340"/>
                    </a:lnTo>
                    <a:lnTo>
                      <a:pt x="716" y="336"/>
                    </a:lnTo>
                    <a:lnTo>
                      <a:pt x="708" y="346"/>
                    </a:lnTo>
                    <a:lnTo>
                      <a:pt x="720" y="342"/>
                    </a:lnTo>
                    <a:lnTo>
                      <a:pt x="722" y="366"/>
                    </a:lnTo>
                    <a:lnTo>
                      <a:pt x="708" y="357"/>
                    </a:lnTo>
                    <a:lnTo>
                      <a:pt x="708" y="366"/>
                    </a:lnTo>
                    <a:lnTo>
                      <a:pt x="695" y="366"/>
                    </a:lnTo>
                    <a:lnTo>
                      <a:pt x="679" y="345"/>
                    </a:lnTo>
                    <a:lnTo>
                      <a:pt x="638" y="334"/>
                    </a:lnTo>
                    <a:lnTo>
                      <a:pt x="666" y="347"/>
                    </a:lnTo>
                    <a:lnTo>
                      <a:pt x="629" y="355"/>
                    </a:lnTo>
                    <a:lnTo>
                      <a:pt x="618" y="366"/>
                    </a:lnTo>
                    <a:lnTo>
                      <a:pt x="653" y="369"/>
                    </a:lnTo>
                    <a:lnTo>
                      <a:pt x="624" y="376"/>
                    </a:lnTo>
                    <a:lnTo>
                      <a:pt x="668" y="368"/>
                    </a:lnTo>
                    <a:lnTo>
                      <a:pt x="711" y="379"/>
                    </a:lnTo>
                    <a:lnTo>
                      <a:pt x="655" y="408"/>
                    </a:lnTo>
                    <a:lnTo>
                      <a:pt x="601" y="420"/>
                    </a:lnTo>
                    <a:lnTo>
                      <a:pt x="581" y="421"/>
                    </a:lnTo>
                    <a:lnTo>
                      <a:pt x="569" y="408"/>
                    </a:lnTo>
                    <a:lnTo>
                      <a:pt x="575" y="421"/>
                    </a:lnTo>
                    <a:lnTo>
                      <a:pt x="559" y="429"/>
                    </a:lnTo>
                    <a:lnTo>
                      <a:pt x="538" y="460"/>
                    </a:lnTo>
                    <a:lnTo>
                      <a:pt x="522" y="459"/>
                    </a:lnTo>
                    <a:lnTo>
                      <a:pt x="518" y="469"/>
                    </a:lnTo>
                    <a:lnTo>
                      <a:pt x="502" y="470"/>
                    </a:lnTo>
                    <a:lnTo>
                      <a:pt x="494" y="467"/>
                    </a:lnTo>
                    <a:lnTo>
                      <a:pt x="505" y="460"/>
                    </a:lnTo>
                    <a:lnTo>
                      <a:pt x="494" y="459"/>
                    </a:lnTo>
                    <a:lnTo>
                      <a:pt x="487" y="475"/>
                    </a:lnTo>
                    <a:lnTo>
                      <a:pt x="462" y="477"/>
                    </a:lnTo>
                    <a:lnTo>
                      <a:pt x="462" y="489"/>
                    </a:lnTo>
                    <a:lnTo>
                      <a:pt x="447" y="491"/>
                    </a:lnTo>
                    <a:lnTo>
                      <a:pt x="460" y="501"/>
                    </a:lnTo>
                    <a:lnTo>
                      <a:pt x="442" y="503"/>
                    </a:lnTo>
                    <a:lnTo>
                      <a:pt x="456" y="515"/>
                    </a:lnTo>
                    <a:lnTo>
                      <a:pt x="443" y="515"/>
                    </a:lnTo>
                    <a:lnTo>
                      <a:pt x="454" y="517"/>
                    </a:lnTo>
                    <a:lnTo>
                      <a:pt x="443" y="530"/>
                    </a:lnTo>
                    <a:lnTo>
                      <a:pt x="435" y="528"/>
                    </a:lnTo>
                    <a:lnTo>
                      <a:pt x="442" y="534"/>
                    </a:lnTo>
                    <a:lnTo>
                      <a:pt x="425" y="538"/>
                    </a:lnTo>
                    <a:lnTo>
                      <a:pt x="435" y="556"/>
                    </a:lnTo>
                    <a:lnTo>
                      <a:pt x="425" y="580"/>
                    </a:lnTo>
                    <a:lnTo>
                      <a:pt x="412" y="580"/>
                    </a:lnTo>
                    <a:lnTo>
                      <a:pt x="421" y="588"/>
                    </a:lnTo>
                    <a:lnTo>
                      <a:pt x="393" y="588"/>
                    </a:lnTo>
                    <a:lnTo>
                      <a:pt x="389" y="572"/>
                    </a:lnTo>
                    <a:lnTo>
                      <a:pt x="349" y="575"/>
                    </a:lnTo>
                    <a:lnTo>
                      <a:pt x="359" y="570"/>
                    </a:lnTo>
                    <a:lnTo>
                      <a:pt x="338" y="564"/>
                    </a:lnTo>
                    <a:lnTo>
                      <a:pt x="348" y="561"/>
                    </a:lnTo>
                    <a:lnTo>
                      <a:pt x="333" y="561"/>
                    </a:lnTo>
                    <a:lnTo>
                      <a:pt x="338" y="548"/>
                    </a:lnTo>
                    <a:lnTo>
                      <a:pt x="329" y="551"/>
                    </a:lnTo>
                    <a:lnTo>
                      <a:pt x="303" y="517"/>
                    </a:lnTo>
                    <a:lnTo>
                      <a:pt x="303" y="507"/>
                    </a:lnTo>
                    <a:lnTo>
                      <a:pt x="323" y="496"/>
                    </a:lnTo>
                    <a:lnTo>
                      <a:pt x="315" y="493"/>
                    </a:lnTo>
                    <a:lnTo>
                      <a:pt x="294" y="505"/>
                    </a:lnTo>
                    <a:lnTo>
                      <a:pt x="294" y="480"/>
                    </a:lnTo>
                    <a:lnTo>
                      <a:pt x="276" y="467"/>
                    </a:lnTo>
                    <a:lnTo>
                      <a:pt x="281" y="447"/>
                    </a:lnTo>
                    <a:lnTo>
                      <a:pt x="270" y="439"/>
                    </a:lnTo>
                    <a:lnTo>
                      <a:pt x="285" y="422"/>
                    </a:lnTo>
                    <a:lnTo>
                      <a:pt x="276" y="420"/>
                    </a:lnTo>
                    <a:lnTo>
                      <a:pt x="310" y="420"/>
                    </a:lnTo>
                    <a:lnTo>
                      <a:pt x="306" y="413"/>
                    </a:lnTo>
                    <a:lnTo>
                      <a:pt x="283" y="414"/>
                    </a:lnTo>
                    <a:lnTo>
                      <a:pt x="318" y="399"/>
                    </a:lnTo>
                    <a:lnTo>
                      <a:pt x="310" y="393"/>
                    </a:lnTo>
                    <a:lnTo>
                      <a:pt x="318" y="376"/>
                    </a:lnTo>
                    <a:lnTo>
                      <a:pt x="290" y="376"/>
                    </a:lnTo>
                    <a:lnTo>
                      <a:pt x="258" y="362"/>
                    </a:lnTo>
                    <a:lnTo>
                      <a:pt x="315" y="369"/>
                    </a:lnTo>
                    <a:lnTo>
                      <a:pt x="305" y="363"/>
                    </a:lnTo>
                    <a:lnTo>
                      <a:pt x="315" y="360"/>
                    </a:lnTo>
                    <a:lnTo>
                      <a:pt x="292" y="350"/>
                    </a:lnTo>
                    <a:lnTo>
                      <a:pt x="300" y="345"/>
                    </a:lnTo>
                    <a:lnTo>
                      <a:pt x="288" y="349"/>
                    </a:lnTo>
                    <a:lnTo>
                      <a:pt x="296" y="342"/>
                    </a:lnTo>
                    <a:lnTo>
                      <a:pt x="281" y="343"/>
                    </a:lnTo>
                    <a:lnTo>
                      <a:pt x="298" y="337"/>
                    </a:lnTo>
                    <a:lnTo>
                      <a:pt x="273" y="329"/>
                    </a:lnTo>
                    <a:lnTo>
                      <a:pt x="268" y="342"/>
                    </a:lnTo>
                    <a:lnTo>
                      <a:pt x="247" y="343"/>
                    </a:lnTo>
                    <a:lnTo>
                      <a:pt x="243" y="337"/>
                    </a:lnTo>
                    <a:lnTo>
                      <a:pt x="257" y="329"/>
                    </a:lnTo>
                    <a:lnTo>
                      <a:pt x="246" y="329"/>
                    </a:lnTo>
                    <a:lnTo>
                      <a:pt x="258" y="307"/>
                    </a:lnTo>
                    <a:lnTo>
                      <a:pt x="244" y="303"/>
                    </a:lnTo>
                    <a:lnTo>
                      <a:pt x="251" y="293"/>
                    </a:lnTo>
                    <a:lnTo>
                      <a:pt x="228" y="266"/>
                    </a:lnTo>
                    <a:lnTo>
                      <a:pt x="235" y="266"/>
                    </a:lnTo>
                    <a:lnTo>
                      <a:pt x="204" y="243"/>
                    </a:lnTo>
                    <a:lnTo>
                      <a:pt x="204" y="234"/>
                    </a:lnTo>
                    <a:lnTo>
                      <a:pt x="170" y="222"/>
                    </a:lnTo>
                    <a:lnTo>
                      <a:pt x="138" y="216"/>
                    </a:lnTo>
                    <a:lnTo>
                      <a:pt x="109" y="226"/>
                    </a:lnTo>
                    <a:lnTo>
                      <a:pt x="85" y="219"/>
                    </a:lnTo>
                    <a:lnTo>
                      <a:pt x="94" y="228"/>
                    </a:lnTo>
                    <a:lnTo>
                      <a:pt x="69" y="224"/>
                    </a:lnTo>
                    <a:lnTo>
                      <a:pt x="48" y="215"/>
                    </a:lnTo>
                    <a:lnTo>
                      <a:pt x="69" y="207"/>
                    </a:lnTo>
                    <a:lnTo>
                      <a:pt x="22" y="199"/>
                    </a:lnTo>
                    <a:lnTo>
                      <a:pt x="39" y="192"/>
                    </a:lnTo>
                    <a:lnTo>
                      <a:pt x="96" y="194"/>
                    </a:lnTo>
                    <a:lnTo>
                      <a:pt x="103" y="191"/>
                    </a:lnTo>
                    <a:lnTo>
                      <a:pt x="93" y="186"/>
                    </a:lnTo>
                    <a:lnTo>
                      <a:pt x="102" y="182"/>
                    </a:lnTo>
                    <a:lnTo>
                      <a:pt x="51" y="185"/>
                    </a:lnTo>
                    <a:lnTo>
                      <a:pt x="0" y="165"/>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95" name="Freeform 151"/>
              <p:cNvSpPr>
                <a:spLocks noEditPoints="1"/>
              </p:cNvSpPr>
              <p:nvPr/>
            </p:nvSpPr>
            <p:spPr bwMode="auto">
              <a:xfrm>
                <a:off x="1718" y="630"/>
                <a:ext cx="859" cy="592"/>
              </a:xfrm>
              <a:custGeom>
                <a:avLst/>
                <a:gdLst/>
                <a:ahLst/>
                <a:cxnLst>
                  <a:cxn ang="0">
                    <a:pos x="385" y="509"/>
                  </a:cxn>
                  <a:cxn ang="0">
                    <a:pos x="550" y="253"/>
                  </a:cxn>
                  <a:cxn ang="0">
                    <a:pos x="953" y="220"/>
                  </a:cxn>
                  <a:cxn ang="0">
                    <a:pos x="1322" y="232"/>
                  </a:cxn>
                  <a:cxn ang="0">
                    <a:pos x="1345" y="117"/>
                  </a:cxn>
                  <a:cxn ang="0">
                    <a:pos x="1596" y="97"/>
                  </a:cxn>
                  <a:cxn ang="0">
                    <a:pos x="2230" y="68"/>
                  </a:cxn>
                  <a:cxn ang="0">
                    <a:pos x="2485" y="140"/>
                  </a:cxn>
                  <a:cxn ang="0">
                    <a:pos x="2290" y="253"/>
                  </a:cxn>
                  <a:cxn ang="0">
                    <a:pos x="2655" y="299"/>
                  </a:cxn>
                  <a:cxn ang="0">
                    <a:pos x="2760" y="438"/>
                  </a:cxn>
                  <a:cxn ang="0">
                    <a:pos x="2496" y="790"/>
                  </a:cxn>
                  <a:cxn ang="0">
                    <a:pos x="2498" y="874"/>
                  </a:cxn>
                  <a:cxn ang="0">
                    <a:pos x="2594" y="1107"/>
                  </a:cxn>
                  <a:cxn ang="0">
                    <a:pos x="2483" y="1172"/>
                  </a:cxn>
                  <a:cxn ang="0">
                    <a:pos x="2246" y="1360"/>
                  </a:cxn>
                  <a:cxn ang="0">
                    <a:pos x="2447" y="1517"/>
                  </a:cxn>
                  <a:cxn ang="0">
                    <a:pos x="2212" y="1462"/>
                  </a:cxn>
                  <a:cxn ang="0">
                    <a:pos x="2465" y="1673"/>
                  </a:cxn>
                  <a:cxn ang="0">
                    <a:pos x="1803" y="2063"/>
                  </a:cxn>
                  <a:cxn ang="0">
                    <a:pos x="1549" y="2164"/>
                  </a:cxn>
                  <a:cxn ang="0">
                    <a:pos x="1506" y="2326"/>
                  </a:cxn>
                  <a:cxn ang="0">
                    <a:pos x="1356" y="2586"/>
                  </a:cxn>
                  <a:cxn ang="0">
                    <a:pos x="1178" y="2416"/>
                  </a:cxn>
                  <a:cxn ang="0">
                    <a:pos x="951" y="2051"/>
                  </a:cxn>
                  <a:cxn ang="0">
                    <a:pos x="1101" y="1746"/>
                  </a:cxn>
                  <a:cxn ang="0">
                    <a:pos x="1089" y="1593"/>
                  </a:cxn>
                  <a:cxn ang="0">
                    <a:pos x="958" y="1451"/>
                  </a:cxn>
                  <a:cxn ang="0">
                    <a:pos x="867" y="1289"/>
                  </a:cxn>
                  <a:cxn ang="0">
                    <a:pos x="300" y="978"/>
                  </a:cxn>
                  <a:cxn ang="0">
                    <a:pos x="339" y="850"/>
                  </a:cxn>
                  <a:cxn ang="0">
                    <a:pos x="332" y="832"/>
                  </a:cxn>
                  <a:cxn ang="0">
                    <a:pos x="248" y="983"/>
                  </a:cxn>
                  <a:cxn ang="0">
                    <a:pos x="828" y="1175"/>
                  </a:cxn>
                  <a:cxn ang="0">
                    <a:pos x="853" y="1480"/>
                  </a:cxn>
                  <a:cxn ang="0">
                    <a:pos x="999" y="1530"/>
                  </a:cxn>
                  <a:cxn ang="0">
                    <a:pos x="1008" y="1645"/>
                  </a:cxn>
                  <a:cxn ang="0">
                    <a:pos x="960" y="1841"/>
                  </a:cxn>
                  <a:cxn ang="0">
                    <a:pos x="1129" y="2179"/>
                  </a:cxn>
                  <a:cxn ang="0">
                    <a:pos x="1177" y="2468"/>
                  </a:cxn>
                  <a:cxn ang="0">
                    <a:pos x="1501" y="2438"/>
                  </a:cxn>
                  <a:cxn ang="0">
                    <a:pos x="1581" y="2254"/>
                  </a:cxn>
                  <a:cxn ang="0">
                    <a:pos x="1711" y="2011"/>
                  </a:cxn>
                  <a:cxn ang="0">
                    <a:pos x="1984" y="1855"/>
                  </a:cxn>
                  <a:cxn ang="0">
                    <a:pos x="2257" y="1617"/>
                  </a:cxn>
                  <a:cxn ang="0">
                    <a:pos x="2443" y="1613"/>
                  </a:cxn>
                  <a:cxn ang="0">
                    <a:pos x="2447" y="1461"/>
                  </a:cxn>
                  <a:cxn ang="0">
                    <a:pos x="2376" y="1243"/>
                  </a:cxn>
                  <a:cxn ang="0">
                    <a:pos x="2533" y="1112"/>
                  </a:cxn>
                  <a:cxn ang="0">
                    <a:pos x="2577" y="965"/>
                  </a:cxn>
                  <a:cxn ang="0">
                    <a:pos x="2539" y="826"/>
                  </a:cxn>
                  <a:cxn ang="0">
                    <a:pos x="2592" y="541"/>
                  </a:cxn>
                  <a:cxn ang="0">
                    <a:pos x="2806" y="360"/>
                  </a:cxn>
                  <a:cxn ang="0">
                    <a:pos x="2332" y="435"/>
                  </a:cxn>
                  <a:cxn ang="0">
                    <a:pos x="2029" y="213"/>
                  </a:cxn>
                  <a:cxn ang="0">
                    <a:pos x="2280" y="73"/>
                  </a:cxn>
                  <a:cxn ang="0">
                    <a:pos x="1616" y="31"/>
                  </a:cxn>
                  <a:cxn ang="0">
                    <a:pos x="1426" y="79"/>
                  </a:cxn>
                  <a:cxn ang="0">
                    <a:pos x="1454" y="200"/>
                  </a:cxn>
                  <a:cxn ang="0">
                    <a:pos x="1057" y="191"/>
                  </a:cxn>
                  <a:cxn ang="0">
                    <a:pos x="862" y="184"/>
                  </a:cxn>
                  <a:cxn ang="0">
                    <a:pos x="267" y="463"/>
                  </a:cxn>
                  <a:cxn ang="0">
                    <a:pos x="415" y="561"/>
                  </a:cxn>
                </a:cxnLst>
                <a:rect l="0" t="0" r="r" b="b"/>
                <a:pathLst>
                  <a:path w="2962" h="2592">
                    <a:moveTo>
                      <a:pt x="6" y="738"/>
                    </a:moveTo>
                    <a:cubicBezTo>
                      <a:pt x="2" y="736"/>
                      <a:pt x="0" y="732"/>
                      <a:pt x="2" y="728"/>
                    </a:cubicBezTo>
                    <a:lnTo>
                      <a:pt x="19" y="689"/>
                    </a:lnTo>
                    <a:cubicBezTo>
                      <a:pt x="20" y="687"/>
                      <a:pt x="21" y="686"/>
                      <a:pt x="23" y="685"/>
                    </a:cubicBezTo>
                    <a:lnTo>
                      <a:pt x="215" y="612"/>
                    </a:lnTo>
                    <a:cubicBezTo>
                      <a:pt x="216" y="611"/>
                      <a:pt x="216" y="611"/>
                      <a:pt x="217" y="611"/>
                    </a:cubicBezTo>
                    <a:lnTo>
                      <a:pt x="339" y="611"/>
                    </a:lnTo>
                    <a:lnTo>
                      <a:pt x="334" y="613"/>
                    </a:lnTo>
                    <a:lnTo>
                      <a:pt x="402" y="554"/>
                    </a:lnTo>
                    <a:lnTo>
                      <a:pt x="402" y="566"/>
                    </a:lnTo>
                    <a:lnTo>
                      <a:pt x="381" y="548"/>
                    </a:lnTo>
                    <a:cubicBezTo>
                      <a:pt x="379" y="546"/>
                      <a:pt x="378" y="544"/>
                      <a:pt x="378" y="541"/>
                    </a:cubicBezTo>
                    <a:cubicBezTo>
                      <a:pt x="379" y="538"/>
                      <a:pt x="381" y="536"/>
                      <a:pt x="383" y="535"/>
                    </a:cubicBezTo>
                    <a:lnTo>
                      <a:pt x="426" y="515"/>
                    </a:lnTo>
                    <a:lnTo>
                      <a:pt x="427" y="530"/>
                    </a:lnTo>
                    <a:lnTo>
                      <a:pt x="391" y="516"/>
                    </a:lnTo>
                    <a:cubicBezTo>
                      <a:pt x="387" y="515"/>
                      <a:pt x="385" y="512"/>
                      <a:pt x="385" y="509"/>
                    </a:cubicBezTo>
                    <a:cubicBezTo>
                      <a:pt x="385" y="505"/>
                      <a:pt x="387" y="502"/>
                      <a:pt x="391" y="501"/>
                    </a:cubicBezTo>
                    <a:lnTo>
                      <a:pt x="455" y="478"/>
                    </a:lnTo>
                    <a:lnTo>
                      <a:pt x="452" y="491"/>
                    </a:lnTo>
                    <a:lnTo>
                      <a:pt x="429" y="471"/>
                    </a:lnTo>
                    <a:lnTo>
                      <a:pt x="437" y="472"/>
                    </a:lnTo>
                    <a:lnTo>
                      <a:pt x="352" y="511"/>
                    </a:lnTo>
                    <a:cubicBezTo>
                      <a:pt x="350" y="512"/>
                      <a:pt x="347" y="512"/>
                      <a:pt x="345" y="511"/>
                    </a:cubicBezTo>
                    <a:lnTo>
                      <a:pt x="261" y="462"/>
                    </a:lnTo>
                    <a:cubicBezTo>
                      <a:pt x="258" y="460"/>
                      <a:pt x="257" y="457"/>
                      <a:pt x="257" y="454"/>
                    </a:cubicBezTo>
                    <a:cubicBezTo>
                      <a:pt x="257" y="451"/>
                      <a:pt x="260" y="448"/>
                      <a:pt x="263" y="447"/>
                    </a:cubicBezTo>
                    <a:lnTo>
                      <a:pt x="370" y="419"/>
                    </a:lnTo>
                    <a:lnTo>
                      <a:pt x="366" y="422"/>
                    </a:lnTo>
                    <a:lnTo>
                      <a:pt x="426" y="340"/>
                    </a:lnTo>
                    <a:cubicBezTo>
                      <a:pt x="427" y="338"/>
                      <a:pt x="430" y="337"/>
                      <a:pt x="432" y="337"/>
                    </a:cubicBezTo>
                    <a:lnTo>
                      <a:pt x="563" y="333"/>
                    </a:lnTo>
                    <a:lnTo>
                      <a:pt x="556" y="342"/>
                    </a:lnTo>
                    <a:lnTo>
                      <a:pt x="550" y="253"/>
                    </a:lnTo>
                    <a:cubicBezTo>
                      <a:pt x="550" y="251"/>
                      <a:pt x="551" y="249"/>
                      <a:pt x="552" y="247"/>
                    </a:cubicBezTo>
                    <a:cubicBezTo>
                      <a:pt x="554" y="246"/>
                      <a:pt x="556" y="245"/>
                      <a:pt x="558" y="245"/>
                    </a:cubicBezTo>
                    <a:lnTo>
                      <a:pt x="656" y="241"/>
                    </a:lnTo>
                    <a:cubicBezTo>
                      <a:pt x="657" y="241"/>
                      <a:pt x="659" y="242"/>
                      <a:pt x="660" y="243"/>
                    </a:cubicBezTo>
                    <a:lnTo>
                      <a:pt x="759" y="306"/>
                    </a:lnTo>
                    <a:lnTo>
                      <a:pt x="750" y="319"/>
                    </a:lnTo>
                    <a:lnTo>
                      <a:pt x="633" y="238"/>
                    </a:lnTo>
                    <a:cubicBezTo>
                      <a:pt x="630" y="236"/>
                      <a:pt x="629" y="233"/>
                      <a:pt x="630" y="229"/>
                    </a:cubicBezTo>
                    <a:cubicBezTo>
                      <a:pt x="630" y="226"/>
                      <a:pt x="633" y="224"/>
                      <a:pt x="636" y="223"/>
                    </a:cubicBezTo>
                    <a:lnTo>
                      <a:pt x="858" y="168"/>
                    </a:lnTo>
                    <a:cubicBezTo>
                      <a:pt x="860" y="167"/>
                      <a:pt x="862" y="168"/>
                      <a:pt x="864" y="169"/>
                    </a:cubicBezTo>
                    <a:lnTo>
                      <a:pt x="919" y="209"/>
                    </a:lnTo>
                    <a:cubicBezTo>
                      <a:pt x="921" y="211"/>
                      <a:pt x="922" y="213"/>
                      <a:pt x="922" y="215"/>
                    </a:cubicBezTo>
                    <a:lnTo>
                      <a:pt x="929" y="292"/>
                    </a:lnTo>
                    <a:lnTo>
                      <a:pt x="914" y="290"/>
                    </a:lnTo>
                    <a:lnTo>
                      <a:pt x="943" y="224"/>
                    </a:lnTo>
                    <a:cubicBezTo>
                      <a:pt x="945" y="221"/>
                      <a:pt x="949" y="219"/>
                      <a:pt x="953" y="220"/>
                    </a:cubicBezTo>
                    <a:lnTo>
                      <a:pt x="1095" y="267"/>
                    </a:lnTo>
                    <a:lnTo>
                      <a:pt x="1088" y="281"/>
                    </a:lnTo>
                    <a:lnTo>
                      <a:pt x="1039" y="242"/>
                    </a:lnTo>
                    <a:cubicBezTo>
                      <a:pt x="1036" y="240"/>
                      <a:pt x="1035" y="236"/>
                      <a:pt x="1036" y="233"/>
                    </a:cubicBezTo>
                    <a:cubicBezTo>
                      <a:pt x="1038" y="230"/>
                      <a:pt x="1041" y="228"/>
                      <a:pt x="1045" y="228"/>
                    </a:cubicBezTo>
                    <a:lnTo>
                      <a:pt x="1113" y="235"/>
                    </a:lnTo>
                    <a:lnTo>
                      <a:pt x="1107" y="249"/>
                    </a:lnTo>
                    <a:lnTo>
                      <a:pt x="1047" y="204"/>
                    </a:lnTo>
                    <a:cubicBezTo>
                      <a:pt x="1046" y="203"/>
                      <a:pt x="1046" y="202"/>
                      <a:pt x="1045" y="201"/>
                    </a:cubicBezTo>
                    <a:lnTo>
                      <a:pt x="1028" y="166"/>
                    </a:lnTo>
                    <a:cubicBezTo>
                      <a:pt x="1027" y="164"/>
                      <a:pt x="1027" y="161"/>
                      <a:pt x="1028" y="159"/>
                    </a:cubicBezTo>
                    <a:cubicBezTo>
                      <a:pt x="1029" y="157"/>
                      <a:pt x="1031" y="155"/>
                      <a:pt x="1033" y="155"/>
                    </a:cubicBezTo>
                    <a:lnTo>
                      <a:pt x="1066" y="146"/>
                    </a:lnTo>
                    <a:cubicBezTo>
                      <a:pt x="1067" y="146"/>
                      <a:pt x="1069" y="146"/>
                      <a:pt x="1070" y="147"/>
                    </a:cubicBezTo>
                    <a:lnTo>
                      <a:pt x="1354" y="255"/>
                    </a:lnTo>
                    <a:lnTo>
                      <a:pt x="1344" y="267"/>
                    </a:lnTo>
                    <a:lnTo>
                      <a:pt x="1322" y="232"/>
                    </a:lnTo>
                    <a:cubicBezTo>
                      <a:pt x="1320" y="230"/>
                      <a:pt x="1320" y="227"/>
                      <a:pt x="1321" y="224"/>
                    </a:cubicBezTo>
                    <a:cubicBezTo>
                      <a:pt x="1323" y="222"/>
                      <a:pt x="1325" y="220"/>
                      <a:pt x="1328" y="220"/>
                    </a:cubicBezTo>
                    <a:lnTo>
                      <a:pt x="1389" y="213"/>
                    </a:lnTo>
                    <a:lnTo>
                      <a:pt x="1385" y="227"/>
                    </a:lnTo>
                    <a:lnTo>
                      <a:pt x="1346" y="197"/>
                    </a:lnTo>
                    <a:cubicBezTo>
                      <a:pt x="1343" y="195"/>
                      <a:pt x="1342" y="191"/>
                      <a:pt x="1343" y="188"/>
                    </a:cubicBezTo>
                    <a:cubicBezTo>
                      <a:pt x="1345" y="185"/>
                      <a:pt x="1348" y="183"/>
                      <a:pt x="1352" y="183"/>
                    </a:cubicBezTo>
                    <a:lnTo>
                      <a:pt x="1446" y="189"/>
                    </a:lnTo>
                    <a:lnTo>
                      <a:pt x="1442" y="205"/>
                    </a:lnTo>
                    <a:lnTo>
                      <a:pt x="1291" y="126"/>
                    </a:lnTo>
                    <a:cubicBezTo>
                      <a:pt x="1288" y="124"/>
                      <a:pt x="1286" y="120"/>
                      <a:pt x="1288" y="116"/>
                    </a:cubicBezTo>
                    <a:cubicBezTo>
                      <a:pt x="1289" y="113"/>
                      <a:pt x="1292" y="110"/>
                      <a:pt x="1296" y="111"/>
                    </a:cubicBezTo>
                    <a:lnTo>
                      <a:pt x="1571" y="154"/>
                    </a:lnTo>
                    <a:lnTo>
                      <a:pt x="1565" y="169"/>
                    </a:lnTo>
                    <a:lnTo>
                      <a:pt x="1504" y="124"/>
                    </a:lnTo>
                    <a:lnTo>
                      <a:pt x="1508" y="125"/>
                    </a:lnTo>
                    <a:lnTo>
                      <a:pt x="1345" y="117"/>
                    </a:lnTo>
                    <a:cubicBezTo>
                      <a:pt x="1341" y="117"/>
                      <a:pt x="1337" y="113"/>
                      <a:pt x="1337" y="109"/>
                    </a:cubicBezTo>
                    <a:cubicBezTo>
                      <a:pt x="1337" y="105"/>
                      <a:pt x="1341" y="101"/>
                      <a:pt x="1345" y="101"/>
                    </a:cubicBezTo>
                    <a:lnTo>
                      <a:pt x="1399" y="97"/>
                    </a:lnTo>
                    <a:lnTo>
                      <a:pt x="1397" y="113"/>
                    </a:lnTo>
                    <a:lnTo>
                      <a:pt x="1296" y="73"/>
                    </a:lnTo>
                    <a:cubicBezTo>
                      <a:pt x="1293" y="71"/>
                      <a:pt x="1291" y="67"/>
                      <a:pt x="1292" y="63"/>
                    </a:cubicBezTo>
                    <a:cubicBezTo>
                      <a:pt x="1292" y="60"/>
                      <a:pt x="1296" y="57"/>
                      <a:pt x="1300" y="57"/>
                    </a:cubicBezTo>
                    <a:lnTo>
                      <a:pt x="1419" y="69"/>
                    </a:lnTo>
                    <a:lnTo>
                      <a:pt x="1415" y="85"/>
                    </a:lnTo>
                    <a:lnTo>
                      <a:pt x="1367" y="68"/>
                    </a:lnTo>
                    <a:cubicBezTo>
                      <a:pt x="1363" y="67"/>
                      <a:pt x="1361" y="64"/>
                      <a:pt x="1361" y="60"/>
                    </a:cubicBezTo>
                    <a:cubicBezTo>
                      <a:pt x="1361" y="56"/>
                      <a:pt x="1364" y="53"/>
                      <a:pt x="1367" y="53"/>
                    </a:cubicBezTo>
                    <a:lnTo>
                      <a:pt x="1420" y="39"/>
                    </a:lnTo>
                    <a:cubicBezTo>
                      <a:pt x="1422" y="39"/>
                      <a:pt x="1423" y="39"/>
                      <a:pt x="1425" y="39"/>
                    </a:cubicBezTo>
                    <a:lnTo>
                      <a:pt x="1627" y="111"/>
                    </a:lnTo>
                    <a:lnTo>
                      <a:pt x="1618" y="124"/>
                    </a:lnTo>
                    <a:lnTo>
                      <a:pt x="1596" y="97"/>
                    </a:lnTo>
                    <a:cubicBezTo>
                      <a:pt x="1594" y="95"/>
                      <a:pt x="1594" y="92"/>
                      <a:pt x="1595" y="90"/>
                    </a:cubicBezTo>
                    <a:cubicBezTo>
                      <a:pt x="1595" y="87"/>
                      <a:pt x="1597" y="85"/>
                      <a:pt x="1600" y="84"/>
                    </a:cubicBezTo>
                    <a:lnTo>
                      <a:pt x="1688" y="58"/>
                    </a:lnTo>
                    <a:lnTo>
                      <a:pt x="1690" y="73"/>
                    </a:lnTo>
                    <a:lnTo>
                      <a:pt x="1616" y="68"/>
                    </a:lnTo>
                    <a:cubicBezTo>
                      <a:pt x="1612" y="68"/>
                      <a:pt x="1608" y="65"/>
                      <a:pt x="1608" y="61"/>
                    </a:cubicBezTo>
                    <a:lnTo>
                      <a:pt x="1605" y="24"/>
                    </a:lnTo>
                    <a:cubicBezTo>
                      <a:pt x="1605" y="20"/>
                      <a:pt x="1607" y="17"/>
                      <a:pt x="1611" y="16"/>
                    </a:cubicBezTo>
                    <a:lnTo>
                      <a:pt x="1661" y="1"/>
                    </a:lnTo>
                    <a:cubicBezTo>
                      <a:pt x="1662" y="1"/>
                      <a:pt x="1663" y="0"/>
                      <a:pt x="1664" y="0"/>
                    </a:cubicBezTo>
                    <a:lnTo>
                      <a:pt x="2207" y="17"/>
                    </a:lnTo>
                    <a:cubicBezTo>
                      <a:pt x="2208" y="17"/>
                      <a:pt x="2209" y="18"/>
                      <a:pt x="2210" y="18"/>
                    </a:cubicBezTo>
                    <a:lnTo>
                      <a:pt x="2249" y="38"/>
                    </a:lnTo>
                    <a:cubicBezTo>
                      <a:pt x="2252" y="39"/>
                      <a:pt x="2253" y="42"/>
                      <a:pt x="2254" y="44"/>
                    </a:cubicBezTo>
                    <a:cubicBezTo>
                      <a:pt x="2254" y="47"/>
                      <a:pt x="2253" y="49"/>
                      <a:pt x="2251" y="51"/>
                    </a:cubicBezTo>
                    <a:lnTo>
                      <a:pt x="2236" y="66"/>
                    </a:lnTo>
                    <a:cubicBezTo>
                      <a:pt x="2235" y="67"/>
                      <a:pt x="2233" y="68"/>
                      <a:pt x="2230" y="68"/>
                    </a:cubicBezTo>
                    <a:lnTo>
                      <a:pt x="1865" y="72"/>
                    </a:lnTo>
                    <a:lnTo>
                      <a:pt x="1868" y="56"/>
                    </a:lnTo>
                    <a:lnTo>
                      <a:pt x="1911" y="75"/>
                    </a:lnTo>
                    <a:cubicBezTo>
                      <a:pt x="1914" y="76"/>
                      <a:pt x="1916" y="79"/>
                      <a:pt x="1916" y="83"/>
                    </a:cubicBezTo>
                    <a:cubicBezTo>
                      <a:pt x="1915" y="87"/>
                      <a:pt x="1913" y="89"/>
                      <a:pt x="1909" y="90"/>
                    </a:cubicBezTo>
                    <a:lnTo>
                      <a:pt x="1767" y="113"/>
                    </a:lnTo>
                    <a:lnTo>
                      <a:pt x="1765" y="98"/>
                    </a:lnTo>
                    <a:lnTo>
                      <a:pt x="2279" y="57"/>
                    </a:lnTo>
                    <a:cubicBezTo>
                      <a:pt x="2282" y="57"/>
                      <a:pt x="2285" y="59"/>
                      <a:pt x="2286" y="61"/>
                    </a:cubicBezTo>
                    <a:lnTo>
                      <a:pt x="2306" y="97"/>
                    </a:lnTo>
                    <a:cubicBezTo>
                      <a:pt x="2307" y="99"/>
                      <a:pt x="2307" y="101"/>
                      <a:pt x="2306" y="104"/>
                    </a:cubicBezTo>
                    <a:cubicBezTo>
                      <a:pt x="2305" y="106"/>
                      <a:pt x="2303" y="107"/>
                      <a:pt x="2301" y="108"/>
                    </a:cubicBezTo>
                    <a:lnTo>
                      <a:pt x="2233" y="128"/>
                    </a:lnTo>
                    <a:lnTo>
                      <a:pt x="2229" y="113"/>
                    </a:lnTo>
                    <a:lnTo>
                      <a:pt x="2347" y="99"/>
                    </a:lnTo>
                    <a:cubicBezTo>
                      <a:pt x="2348" y="99"/>
                      <a:pt x="2349" y="99"/>
                      <a:pt x="2350" y="99"/>
                    </a:cubicBezTo>
                    <a:lnTo>
                      <a:pt x="2485" y="140"/>
                    </a:lnTo>
                    <a:cubicBezTo>
                      <a:pt x="2489" y="141"/>
                      <a:pt x="2491" y="144"/>
                      <a:pt x="2491" y="147"/>
                    </a:cubicBezTo>
                    <a:cubicBezTo>
                      <a:pt x="2491" y="151"/>
                      <a:pt x="2489" y="154"/>
                      <a:pt x="2486" y="155"/>
                    </a:cubicBezTo>
                    <a:lnTo>
                      <a:pt x="2282" y="223"/>
                    </a:lnTo>
                    <a:cubicBezTo>
                      <a:pt x="2281" y="224"/>
                      <a:pt x="2280" y="224"/>
                      <a:pt x="2279" y="224"/>
                    </a:cubicBezTo>
                    <a:lnTo>
                      <a:pt x="1952" y="217"/>
                    </a:lnTo>
                    <a:lnTo>
                      <a:pt x="1954" y="201"/>
                    </a:lnTo>
                    <a:lnTo>
                      <a:pt x="2032" y="213"/>
                    </a:lnTo>
                    <a:cubicBezTo>
                      <a:pt x="2036" y="214"/>
                      <a:pt x="2039" y="217"/>
                      <a:pt x="2039" y="221"/>
                    </a:cubicBezTo>
                    <a:cubicBezTo>
                      <a:pt x="2039" y="225"/>
                      <a:pt x="2036" y="228"/>
                      <a:pt x="2032" y="229"/>
                    </a:cubicBezTo>
                    <a:lnTo>
                      <a:pt x="1894" y="257"/>
                    </a:lnTo>
                    <a:lnTo>
                      <a:pt x="1901" y="249"/>
                    </a:lnTo>
                    <a:lnTo>
                      <a:pt x="1901" y="284"/>
                    </a:lnTo>
                    <a:lnTo>
                      <a:pt x="1891" y="277"/>
                    </a:lnTo>
                    <a:lnTo>
                      <a:pt x="2252" y="223"/>
                    </a:lnTo>
                    <a:cubicBezTo>
                      <a:pt x="2254" y="223"/>
                      <a:pt x="2256" y="223"/>
                      <a:pt x="2257" y="225"/>
                    </a:cubicBezTo>
                    <a:lnTo>
                      <a:pt x="2287" y="246"/>
                    </a:lnTo>
                    <a:cubicBezTo>
                      <a:pt x="2289" y="248"/>
                      <a:pt x="2290" y="250"/>
                      <a:pt x="2290" y="253"/>
                    </a:cubicBezTo>
                    <a:cubicBezTo>
                      <a:pt x="2290" y="255"/>
                      <a:pt x="2289" y="258"/>
                      <a:pt x="2287" y="259"/>
                    </a:cubicBezTo>
                    <a:lnTo>
                      <a:pt x="2211" y="311"/>
                    </a:lnTo>
                    <a:lnTo>
                      <a:pt x="2204" y="297"/>
                    </a:lnTo>
                    <a:lnTo>
                      <a:pt x="2436" y="213"/>
                    </a:lnTo>
                    <a:cubicBezTo>
                      <a:pt x="2438" y="213"/>
                      <a:pt x="2440" y="213"/>
                      <a:pt x="2442" y="214"/>
                    </a:cubicBezTo>
                    <a:cubicBezTo>
                      <a:pt x="2445" y="215"/>
                      <a:pt x="2446" y="217"/>
                      <a:pt x="2446" y="220"/>
                    </a:cubicBezTo>
                    <a:lnTo>
                      <a:pt x="2459" y="300"/>
                    </a:lnTo>
                    <a:cubicBezTo>
                      <a:pt x="2459" y="302"/>
                      <a:pt x="2459" y="304"/>
                      <a:pt x="2457" y="306"/>
                    </a:cubicBezTo>
                    <a:lnTo>
                      <a:pt x="2344" y="445"/>
                    </a:lnTo>
                    <a:lnTo>
                      <a:pt x="2333" y="434"/>
                    </a:lnTo>
                    <a:lnTo>
                      <a:pt x="2555" y="275"/>
                    </a:lnTo>
                    <a:cubicBezTo>
                      <a:pt x="2558" y="273"/>
                      <a:pt x="2561" y="273"/>
                      <a:pt x="2564" y="274"/>
                    </a:cubicBezTo>
                    <a:cubicBezTo>
                      <a:pt x="2567" y="276"/>
                      <a:pt x="2568" y="279"/>
                      <a:pt x="2568" y="283"/>
                    </a:cubicBezTo>
                    <a:lnTo>
                      <a:pt x="2564" y="306"/>
                    </a:lnTo>
                    <a:lnTo>
                      <a:pt x="2556" y="297"/>
                    </a:lnTo>
                    <a:lnTo>
                      <a:pt x="2662" y="295"/>
                    </a:lnTo>
                    <a:lnTo>
                      <a:pt x="2655" y="299"/>
                    </a:lnTo>
                    <a:lnTo>
                      <a:pt x="2688" y="245"/>
                    </a:lnTo>
                    <a:cubicBezTo>
                      <a:pt x="2690" y="243"/>
                      <a:pt x="2692" y="241"/>
                      <a:pt x="2695" y="241"/>
                    </a:cubicBezTo>
                    <a:lnTo>
                      <a:pt x="2811" y="235"/>
                    </a:lnTo>
                    <a:cubicBezTo>
                      <a:pt x="2812" y="235"/>
                      <a:pt x="2813" y="235"/>
                      <a:pt x="2814" y="235"/>
                    </a:cubicBezTo>
                    <a:lnTo>
                      <a:pt x="2956" y="282"/>
                    </a:lnTo>
                    <a:cubicBezTo>
                      <a:pt x="2959" y="283"/>
                      <a:pt x="2961" y="286"/>
                      <a:pt x="2961" y="289"/>
                    </a:cubicBezTo>
                    <a:cubicBezTo>
                      <a:pt x="2962" y="292"/>
                      <a:pt x="2960" y="295"/>
                      <a:pt x="2957" y="297"/>
                    </a:cubicBezTo>
                    <a:lnTo>
                      <a:pt x="2817" y="365"/>
                    </a:lnTo>
                    <a:lnTo>
                      <a:pt x="2822" y="356"/>
                    </a:lnTo>
                    <a:lnTo>
                      <a:pt x="2830" y="384"/>
                    </a:lnTo>
                    <a:cubicBezTo>
                      <a:pt x="2831" y="386"/>
                      <a:pt x="2830" y="389"/>
                      <a:pt x="2829" y="391"/>
                    </a:cubicBezTo>
                    <a:cubicBezTo>
                      <a:pt x="2828" y="393"/>
                      <a:pt x="2826" y="394"/>
                      <a:pt x="2823" y="394"/>
                    </a:cubicBezTo>
                    <a:lnTo>
                      <a:pt x="2505" y="435"/>
                    </a:lnTo>
                    <a:lnTo>
                      <a:pt x="2504" y="419"/>
                    </a:lnTo>
                    <a:lnTo>
                      <a:pt x="2758" y="422"/>
                    </a:lnTo>
                    <a:cubicBezTo>
                      <a:pt x="2762" y="422"/>
                      <a:pt x="2765" y="425"/>
                      <a:pt x="2766" y="429"/>
                    </a:cubicBezTo>
                    <a:cubicBezTo>
                      <a:pt x="2766" y="433"/>
                      <a:pt x="2764" y="437"/>
                      <a:pt x="2760" y="438"/>
                    </a:cubicBezTo>
                    <a:lnTo>
                      <a:pt x="2552" y="495"/>
                    </a:lnTo>
                    <a:lnTo>
                      <a:pt x="2558" y="485"/>
                    </a:lnTo>
                    <a:lnTo>
                      <a:pt x="2570" y="528"/>
                    </a:lnTo>
                    <a:lnTo>
                      <a:pt x="2560" y="523"/>
                    </a:lnTo>
                    <a:lnTo>
                      <a:pt x="2701" y="479"/>
                    </a:lnTo>
                    <a:cubicBezTo>
                      <a:pt x="2705" y="478"/>
                      <a:pt x="2709" y="480"/>
                      <a:pt x="2711" y="484"/>
                    </a:cubicBezTo>
                    <a:cubicBezTo>
                      <a:pt x="2713" y="488"/>
                      <a:pt x="2711" y="492"/>
                      <a:pt x="2707" y="494"/>
                    </a:cubicBezTo>
                    <a:lnTo>
                      <a:pt x="2604" y="549"/>
                    </a:lnTo>
                    <a:lnTo>
                      <a:pt x="2608" y="543"/>
                    </a:lnTo>
                    <a:lnTo>
                      <a:pt x="2596" y="614"/>
                    </a:lnTo>
                    <a:lnTo>
                      <a:pt x="2584" y="605"/>
                    </a:lnTo>
                    <a:lnTo>
                      <a:pt x="2617" y="587"/>
                    </a:lnTo>
                    <a:cubicBezTo>
                      <a:pt x="2621" y="585"/>
                      <a:pt x="2626" y="586"/>
                      <a:pt x="2628" y="590"/>
                    </a:cubicBezTo>
                    <a:cubicBezTo>
                      <a:pt x="2630" y="594"/>
                      <a:pt x="2629" y="598"/>
                      <a:pt x="2626" y="601"/>
                    </a:cubicBezTo>
                    <a:lnTo>
                      <a:pt x="2528" y="664"/>
                    </a:lnTo>
                    <a:lnTo>
                      <a:pt x="2531" y="660"/>
                    </a:lnTo>
                    <a:lnTo>
                      <a:pt x="2496" y="790"/>
                    </a:lnTo>
                    <a:lnTo>
                      <a:pt x="2485" y="781"/>
                    </a:lnTo>
                    <a:lnTo>
                      <a:pt x="2536" y="753"/>
                    </a:lnTo>
                    <a:cubicBezTo>
                      <a:pt x="2538" y="751"/>
                      <a:pt x="2541" y="751"/>
                      <a:pt x="2543" y="752"/>
                    </a:cubicBezTo>
                    <a:lnTo>
                      <a:pt x="2617" y="780"/>
                    </a:lnTo>
                    <a:cubicBezTo>
                      <a:pt x="2621" y="782"/>
                      <a:pt x="2623" y="786"/>
                      <a:pt x="2622" y="789"/>
                    </a:cubicBezTo>
                    <a:cubicBezTo>
                      <a:pt x="2621" y="793"/>
                      <a:pt x="2618" y="796"/>
                      <a:pt x="2614" y="796"/>
                    </a:cubicBezTo>
                    <a:lnTo>
                      <a:pt x="2547" y="796"/>
                    </a:lnTo>
                    <a:lnTo>
                      <a:pt x="2555" y="788"/>
                    </a:lnTo>
                    <a:lnTo>
                      <a:pt x="2555" y="826"/>
                    </a:lnTo>
                    <a:lnTo>
                      <a:pt x="2548" y="819"/>
                    </a:lnTo>
                    <a:lnTo>
                      <a:pt x="2660" y="835"/>
                    </a:lnTo>
                    <a:cubicBezTo>
                      <a:pt x="2664" y="836"/>
                      <a:pt x="2667" y="839"/>
                      <a:pt x="2667" y="843"/>
                    </a:cubicBezTo>
                    <a:lnTo>
                      <a:pt x="2670" y="890"/>
                    </a:lnTo>
                    <a:cubicBezTo>
                      <a:pt x="2670" y="892"/>
                      <a:pt x="2669" y="894"/>
                      <a:pt x="2667" y="896"/>
                    </a:cubicBezTo>
                    <a:cubicBezTo>
                      <a:pt x="2666" y="897"/>
                      <a:pt x="2664" y="898"/>
                      <a:pt x="2661" y="898"/>
                    </a:cubicBezTo>
                    <a:lnTo>
                      <a:pt x="2494" y="890"/>
                    </a:lnTo>
                    <a:lnTo>
                      <a:pt x="2498" y="874"/>
                    </a:lnTo>
                    <a:lnTo>
                      <a:pt x="2544" y="896"/>
                    </a:lnTo>
                    <a:cubicBezTo>
                      <a:pt x="2547" y="898"/>
                      <a:pt x="2549" y="901"/>
                      <a:pt x="2548" y="905"/>
                    </a:cubicBezTo>
                    <a:cubicBezTo>
                      <a:pt x="2548" y="908"/>
                      <a:pt x="2545" y="911"/>
                      <a:pt x="2541" y="911"/>
                    </a:cubicBezTo>
                    <a:lnTo>
                      <a:pt x="2448" y="925"/>
                    </a:lnTo>
                    <a:lnTo>
                      <a:pt x="2453" y="911"/>
                    </a:lnTo>
                    <a:lnTo>
                      <a:pt x="2500" y="965"/>
                    </a:lnTo>
                    <a:lnTo>
                      <a:pt x="2494" y="962"/>
                    </a:lnTo>
                    <a:lnTo>
                      <a:pt x="2581" y="964"/>
                    </a:lnTo>
                    <a:cubicBezTo>
                      <a:pt x="2584" y="964"/>
                      <a:pt x="2588" y="966"/>
                      <a:pt x="2588" y="970"/>
                    </a:cubicBezTo>
                    <a:cubicBezTo>
                      <a:pt x="2589" y="973"/>
                      <a:pt x="2588" y="977"/>
                      <a:pt x="2585" y="979"/>
                    </a:cubicBezTo>
                    <a:lnTo>
                      <a:pt x="2533" y="1011"/>
                    </a:lnTo>
                    <a:lnTo>
                      <a:pt x="2532" y="996"/>
                    </a:lnTo>
                    <a:lnTo>
                      <a:pt x="2601" y="1025"/>
                    </a:lnTo>
                    <a:cubicBezTo>
                      <a:pt x="2604" y="1026"/>
                      <a:pt x="2606" y="1029"/>
                      <a:pt x="2606" y="1032"/>
                    </a:cubicBezTo>
                    <a:lnTo>
                      <a:pt x="2604" y="1099"/>
                    </a:lnTo>
                    <a:cubicBezTo>
                      <a:pt x="2604" y="1102"/>
                      <a:pt x="2603" y="1104"/>
                      <a:pt x="2601" y="1106"/>
                    </a:cubicBezTo>
                    <a:cubicBezTo>
                      <a:pt x="2599" y="1107"/>
                      <a:pt x="2596" y="1107"/>
                      <a:pt x="2594" y="1107"/>
                    </a:cubicBezTo>
                    <a:lnTo>
                      <a:pt x="2468" y="1067"/>
                    </a:lnTo>
                    <a:lnTo>
                      <a:pt x="2474" y="1052"/>
                    </a:lnTo>
                    <a:lnTo>
                      <a:pt x="2548" y="1089"/>
                    </a:lnTo>
                    <a:cubicBezTo>
                      <a:pt x="2551" y="1090"/>
                      <a:pt x="2552" y="1093"/>
                      <a:pt x="2552" y="1096"/>
                    </a:cubicBezTo>
                    <a:cubicBezTo>
                      <a:pt x="2552" y="1099"/>
                      <a:pt x="2551" y="1102"/>
                      <a:pt x="2548" y="1103"/>
                    </a:cubicBezTo>
                    <a:lnTo>
                      <a:pt x="2503" y="1125"/>
                    </a:lnTo>
                    <a:lnTo>
                      <a:pt x="2499" y="1110"/>
                    </a:lnTo>
                    <a:lnTo>
                      <a:pt x="2540" y="1106"/>
                    </a:lnTo>
                    <a:cubicBezTo>
                      <a:pt x="2542" y="1106"/>
                      <a:pt x="2545" y="1107"/>
                      <a:pt x="2546" y="1109"/>
                    </a:cubicBezTo>
                    <a:cubicBezTo>
                      <a:pt x="2548" y="1111"/>
                      <a:pt x="2549" y="1114"/>
                      <a:pt x="2548" y="1116"/>
                    </a:cubicBezTo>
                    <a:lnTo>
                      <a:pt x="2537" y="1158"/>
                    </a:lnTo>
                    <a:lnTo>
                      <a:pt x="2531" y="1148"/>
                    </a:lnTo>
                    <a:lnTo>
                      <a:pt x="2622" y="1172"/>
                    </a:lnTo>
                    <a:cubicBezTo>
                      <a:pt x="2626" y="1173"/>
                      <a:pt x="2628" y="1177"/>
                      <a:pt x="2628" y="1181"/>
                    </a:cubicBezTo>
                    <a:cubicBezTo>
                      <a:pt x="2627" y="1185"/>
                      <a:pt x="2623" y="1188"/>
                      <a:pt x="2619" y="1187"/>
                    </a:cubicBezTo>
                    <a:lnTo>
                      <a:pt x="2477" y="1174"/>
                    </a:lnTo>
                    <a:lnTo>
                      <a:pt x="2483" y="1172"/>
                    </a:lnTo>
                    <a:lnTo>
                      <a:pt x="2456" y="1195"/>
                    </a:lnTo>
                    <a:lnTo>
                      <a:pt x="2454" y="1182"/>
                    </a:lnTo>
                    <a:lnTo>
                      <a:pt x="2563" y="1236"/>
                    </a:lnTo>
                    <a:cubicBezTo>
                      <a:pt x="2567" y="1238"/>
                      <a:pt x="2569" y="1242"/>
                      <a:pt x="2567" y="1246"/>
                    </a:cubicBezTo>
                    <a:lnTo>
                      <a:pt x="2552" y="1289"/>
                    </a:lnTo>
                    <a:cubicBezTo>
                      <a:pt x="2551" y="1291"/>
                      <a:pt x="2549" y="1293"/>
                      <a:pt x="2547" y="1294"/>
                    </a:cubicBezTo>
                    <a:lnTo>
                      <a:pt x="2460" y="1321"/>
                    </a:lnTo>
                    <a:cubicBezTo>
                      <a:pt x="2458" y="1322"/>
                      <a:pt x="2455" y="1321"/>
                      <a:pt x="2453" y="1320"/>
                    </a:cubicBezTo>
                    <a:lnTo>
                      <a:pt x="2367" y="1256"/>
                    </a:lnTo>
                    <a:lnTo>
                      <a:pt x="2375" y="1257"/>
                    </a:lnTo>
                    <a:lnTo>
                      <a:pt x="2245" y="1314"/>
                    </a:lnTo>
                    <a:lnTo>
                      <a:pt x="2244" y="1299"/>
                    </a:lnTo>
                    <a:lnTo>
                      <a:pt x="2336" y="1331"/>
                    </a:lnTo>
                    <a:cubicBezTo>
                      <a:pt x="2340" y="1332"/>
                      <a:pt x="2342" y="1335"/>
                      <a:pt x="2342" y="1338"/>
                    </a:cubicBezTo>
                    <a:cubicBezTo>
                      <a:pt x="2342" y="1342"/>
                      <a:pt x="2340" y="1345"/>
                      <a:pt x="2336" y="1346"/>
                    </a:cubicBezTo>
                    <a:lnTo>
                      <a:pt x="2248" y="1376"/>
                    </a:lnTo>
                    <a:lnTo>
                      <a:pt x="2246" y="1360"/>
                    </a:lnTo>
                    <a:lnTo>
                      <a:pt x="2341" y="1365"/>
                    </a:lnTo>
                    <a:cubicBezTo>
                      <a:pt x="2344" y="1366"/>
                      <a:pt x="2346" y="1367"/>
                      <a:pt x="2348" y="1369"/>
                    </a:cubicBezTo>
                    <a:cubicBezTo>
                      <a:pt x="2349" y="1372"/>
                      <a:pt x="2349" y="1374"/>
                      <a:pt x="2348" y="1377"/>
                    </a:cubicBezTo>
                    <a:lnTo>
                      <a:pt x="2317" y="1442"/>
                    </a:lnTo>
                    <a:lnTo>
                      <a:pt x="2304" y="1433"/>
                    </a:lnTo>
                    <a:lnTo>
                      <a:pt x="2342" y="1395"/>
                    </a:lnTo>
                    <a:cubicBezTo>
                      <a:pt x="2344" y="1392"/>
                      <a:pt x="2348" y="1391"/>
                      <a:pt x="2351" y="1393"/>
                    </a:cubicBezTo>
                    <a:lnTo>
                      <a:pt x="2455" y="1447"/>
                    </a:lnTo>
                    <a:cubicBezTo>
                      <a:pt x="2457" y="1448"/>
                      <a:pt x="2458" y="1450"/>
                      <a:pt x="2459" y="1452"/>
                    </a:cubicBezTo>
                    <a:cubicBezTo>
                      <a:pt x="2459" y="1454"/>
                      <a:pt x="2459" y="1457"/>
                      <a:pt x="2457" y="1458"/>
                    </a:cubicBezTo>
                    <a:lnTo>
                      <a:pt x="2427" y="1500"/>
                    </a:lnTo>
                    <a:lnTo>
                      <a:pt x="2418" y="1488"/>
                    </a:lnTo>
                    <a:lnTo>
                      <a:pt x="2475" y="1471"/>
                    </a:lnTo>
                    <a:cubicBezTo>
                      <a:pt x="2478" y="1470"/>
                      <a:pt x="2482" y="1471"/>
                      <a:pt x="2484" y="1474"/>
                    </a:cubicBezTo>
                    <a:cubicBezTo>
                      <a:pt x="2486" y="1476"/>
                      <a:pt x="2486" y="1480"/>
                      <a:pt x="2484" y="1483"/>
                    </a:cubicBezTo>
                    <a:lnTo>
                      <a:pt x="2458" y="1528"/>
                    </a:lnTo>
                    <a:lnTo>
                      <a:pt x="2447" y="1517"/>
                    </a:lnTo>
                    <a:lnTo>
                      <a:pt x="2488" y="1497"/>
                    </a:lnTo>
                    <a:cubicBezTo>
                      <a:pt x="2490" y="1496"/>
                      <a:pt x="2493" y="1496"/>
                      <a:pt x="2495" y="1497"/>
                    </a:cubicBezTo>
                    <a:cubicBezTo>
                      <a:pt x="2498" y="1498"/>
                      <a:pt x="2499" y="1501"/>
                      <a:pt x="2499" y="1503"/>
                    </a:cubicBezTo>
                    <a:lnTo>
                      <a:pt x="2505" y="1612"/>
                    </a:lnTo>
                    <a:cubicBezTo>
                      <a:pt x="2505" y="1615"/>
                      <a:pt x="2503" y="1618"/>
                      <a:pt x="2500" y="1620"/>
                    </a:cubicBezTo>
                    <a:cubicBezTo>
                      <a:pt x="2497" y="1621"/>
                      <a:pt x="2494" y="1621"/>
                      <a:pt x="2492" y="1619"/>
                    </a:cubicBezTo>
                    <a:lnTo>
                      <a:pt x="2446" y="1577"/>
                    </a:lnTo>
                    <a:lnTo>
                      <a:pt x="2459" y="1571"/>
                    </a:lnTo>
                    <a:lnTo>
                      <a:pt x="2459" y="1613"/>
                    </a:lnTo>
                    <a:cubicBezTo>
                      <a:pt x="2459" y="1615"/>
                      <a:pt x="2458" y="1617"/>
                      <a:pt x="2456" y="1618"/>
                    </a:cubicBezTo>
                    <a:cubicBezTo>
                      <a:pt x="2455" y="1620"/>
                      <a:pt x="2453" y="1621"/>
                      <a:pt x="2451" y="1621"/>
                    </a:cubicBezTo>
                    <a:lnTo>
                      <a:pt x="2406" y="1619"/>
                    </a:lnTo>
                    <a:cubicBezTo>
                      <a:pt x="2403" y="1619"/>
                      <a:pt x="2401" y="1617"/>
                      <a:pt x="2400" y="1615"/>
                    </a:cubicBezTo>
                    <a:lnTo>
                      <a:pt x="2341" y="1525"/>
                    </a:lnTo>
                    <a:lnTo>
                      <a:pt x="2345" y="1528"/>
                    </a:lnTo>
                    <a:lnTo>
                      <a:pt x="2205" y="1476"/>
                    </a:lnTo>
                    <a:lnTo>
                      <a:pt x="2212" y="1462"/>
                    </a:lnTo>
                    <a:lnTo>
                      <a:pt x="2310" y="1522"/>
                    </a:lnTo>
                    <a:cubicBezTo>
                      <a:pt x="2313" y="1524"/>
                      <a:pt x="2314" y="1527"/>
                      <a:pt x="2314" y="1530"/>
                    </a:cubicBezTo>
                    <a:cubicBezTo>
                      <a:pt x="2313" y="1533"/>
                      <a:pt x="2311" y="1536"/>
                      <a:pt x="2308" y="1537"/>
                    </a:cubicBezTo>
                    <a:lnTo>
                      <a:pt x="2178" y="1569"/>
                    </a:lnTo>
                    <a:lnTo>
                      <a:pt x="2182" y="1565"/>
                    </a:lnTo>
                    <a:lnTo>
                      <a:pt x="2146" y="1617"/>
                    </a:lnTo>
                    <a:lnTo>
                      <a:pt x="2140" y="1605"/>
                    </a:lnTo>
                    <a:lnTo>
                      <a:pt x="2260" y="1616"/>
                    </a:lnTo>
                    <a:cubicBezTo>
                      <a:pt x="2264" y="1617"/>
                      <a:pt x="2267" y="1620"/>
                      <a:pt x="2268" y="1623"/>
                    </a:cubicBezTo>
                    <a:cubicBezTo>
                      <a:pt x="2268" y="1627"/>
                      <a:pt x="2266" y="1631"/>
                      <a:pt x="2262" y="1632"/>
                    </a:cubicBezTo>
                    <a:lnTo>
                      <a:pt x="2162" y="1664"/>
                    </a:lnTo>
                    <a:lnTo>
                      <a:pt x="2157" y="1648"/>
                    </a:lnTo>
                    <a:lnTo>
                      <a:pt x="2311" y="1612"/>
                    </a:lnTo>
                    <a:cubicBezTo>
                      <a:pt x="2312" y="1611"/>
                      <a:pt x="2314" y="1611"/>
                      <a:pt x="2315" y="1612"/>
                    </a:cubicBezTo>
                    <a:lnTo>
                      <a:pt x="2463" y="1659"/>
                    </a:lnTo>
                    <a:cubicBezTo>
                      <a:pt x="2466" y="1659"/>
                      <a:pt x="2468" y="1662"/>
                      <a:pt x="2469" y="1665"/>
                    </a:cubicBezTo>
                    <a:cubicBezTo>
                      <a:pt x="2469" y="1668"/>
                      <a:pt x="2468" y="1671"/>
                      <a:pt x="2465" y="1673"/>
                    </a:cubicBezTo>
                    <a:lnTo>
                      <a:pt x="2272" y="1800"/>
                    </a:lnTo>
                    <a:cubicBezTo>
                      <a:pt x="2272" y="1800"/>
                      <a:pt x="2271" y="1801"/>
                      <a:pt x="2270" y="1801"/>
                    </a:cubicBezTo>
                    <a:lnTo>
                      <a:pt x="2082" y="1856"/>
                    </a:lnTo>
                    <a:cubicBezTo>
                      <a:pt x="2081" y="1856"/>
                      <a:pt x="2081" y="1856"/>
                      <a:pt x="2080" y="1856"/>
                    </a:cubicBezTo>
                    <a:lnTo>
                      <a:pt x="2012" y="1860"/>
                    </a:lnTo>
                    <a:cubicBezTo>
                      <a:pt x="2009" y="1860"/>
                      <a:pt x="2006" y="1859"/>
                      <a:pt x="2005" y="1857"/>
                    </a:cubicBezTo>
                    <a:lnTo>
                      <a:pt x="1963" y="1800"/>
                    </a:lnTo>
                    <a:lnTo>
                      <a:pt x="1977" y="1792"/>
                    </a:lnTo>
                    <a:lnTo>
                      <a:pt x="1999" y="1849"/>
                    </a:lnTo>
                    <a:cubicBezTo>
                      <a:pt x="2001" y="1853"/>
                      <a:pt x="1999" y="1857"/>
                      <a:pt x="1996" y="1859"/>
                    </a:cubicBezTo>
                    <a:lnTo>
                      <a:pt x="1938" y="1892"/>
                    </a:lnTo>
                    <a:lnTo>
                      <a:pt x="1942" y="1889"/>
                    </a:lnTo>
                    <a:lnTo>
                      <a:pt x="1872" y="2026"/>
                    </a:lnTo>
                    <a:cubicBezTo>
                      <a:pt x="1870" y="2029"/>
                      <a:pt x="1867" y="2031"/>
                      <a:pt x="1864" y="2030"/>
                    </a:cubicBezTo>
                    <a:lnTo>
                      <a:pt x="1807" y="2027"/>
                    </a:lnTo>
                    <a:lnTo>
                      <a:pt x="1815" y="2021"/>
                    </a:lnTo>
                    <a:lnTo>
                      <a:pt x="1803" y="2063"/>
                    </a:lnTo>
                    <a:cubicBezTo>
                      <a:pt x="1802" y="2066"/>
                      <a:pt x="1799" y="2069"/>
                      <a:pt x="1796" y="2069"/>
                    </a:cubicBezTo>
                    <a:lnTo>
                      <a:pt x="1740" y="2074"/>
                    </a:lnTo>
                    <a:cubicBezTo>
                      <a:pt x="1738" y="2074"/>
                      <a:pt x="1737" y="2074"/>
                      <a:pt x="1736" y="2073"/>
                    </a:cubicBezTo>
                    <a:lnTo>
                      <a:pt x="1708" y="2060"/>
                    </a:lnTo>
                    <a:cubicBezTo>
                      <a:pt x="1705" y="2059"/>
                      <a:pt x="1703" y="2056"/>
                      <a:pt x="1703" y="2053"/>
                    </a:cubicBezTo>
                    <a:cubicBezTo>
                      <a:pt x="1703" y="2051"/>
                      <a:pt x="1704" y="2048"/>
                      <a:pt x="1706" y="2046"/>
                    </a:cubicBezTo>
                    <a:lnTo>
                      <a:pt x="1744" y="2018"/>
                    </a:lnTo>
                    <a:lnTo>
                      <a:pt x="1748" y="2032"/>
                    </a:lnTo>
                    <a:lnTo>
                      <a:pt x="1709" y="2027"/>
                    </a:lnTo>
                    <a:lnTo>
                      <a:pt x="1717" y="2021"/>
                    </a:lnTo>
                    <a:lnTo>
                      <a:pt x="1696" y="2092"/>
                    </a:lnTo>
                    <a:cubicBezTo>
                      <a:pt x="1695" y="2095"/>
                      <a:pt x="1693" y="2097"/>
                      <a:pt x="1689" y="2097"/>
                    </a:cubicBezTo>
                    <a:lnTo>
                      <a:pt x="1601" y="2104"/>
                    </a:lnTo>
                    <a:lnTo>
                      <a:pt x="1609" y="2096"/>
                    </a:lnTo>
                    <a:lnTo>
                      <a:pt x="1610" y="2151"/>
                    </a:lnTo>
                    <a:cubicBezTo>
                      <a:pt x="1610" y="2155"/>
                      <a:pt x="1607" y="2159"/>
                      <a:pt x="1603" y="2159"/>
                    </a:cubicBezTo>
                    <a:lnTo>
                      <a:pt x="1549" y="2164"/>
                    </a:lnTo>
                    <a:lnTo>
                      <a:pt x="1553" y="2150"/>
                    </a:lnTo>
                    <a:lnTo>
                      <a:pt x="1601" y="2196"/>
                    </a:lnTo>
                    <a:cubicBezTo>
                      <a:pt x="1603" y="2198"/>
                      <a:pt x="1604" y="2201"/>
                      <a:pt x="1603" y="2204"/>
                    </a:cubicBezTo>
                    <a:cubicBezTo>
                      <a:pt x="1602" y="2207"/>
                      <a:pt x="1599" y="2209"/>
                      <a:pt x="1596" y="2209"/>
                    </a:cubicBezTo>
                    <a:lnTo>
                      <a:pt x="1533" y="2218"/>
                    </a:lnTo>
                    <a:lnTo>
                      <a:pt x="1538" y="2204"/>
                    </a:lnTo>
                    <a:lnTo>
                      <a:pt x="1587" y="2256"/>
                    </a:lnTo>
                    <a:cubicBezTo>
                      <a:pt x="1589" y="2258"/>
                      <a:pt x="1590" y="2262"/>
                      <a:pt x="1589" y="2265"/>
                    </a:cubicBezTo>
                    <a:cubicBezTo>
                      <a:pt x="1587" y="2268"/>
                      <a:pt x="1584" y="2270"/>
                      <a:pt x="1581" y="2270"/>
                    </a:cubicBezTo>
                    <a:lnTo>
                      <a:pt x="1537" y="2270"/>
                    </a:lnTo>
                    <a:lnTo>
                      <a:pt x="1539" y="2254"/>
                    </a:lnTo>
                    <a:lnTo>
                      <a:pt x="1574" y="2266"/>
                    </a:lnTo>
                    <a:cubicBezTo>
                      <a:pt x="1576" y="2267"/>
                      <a:pt x="1578" y="2268"/>
                      <a:pt x="1579" y="2271"/>
                    </a:cubicBezTo>
                    <a:cubicBezTo>
                      <a:pt x="1580" y="2273"/>
                      <a:pt x="1580" y="2276"/>
                      <a:pt x="1578" y="2278"/>
                    </a:cubicBezTo>
                    <a:lnTo>
                      <a:pt x="1543" y="2333"/>
                    </a:lnTo>
                    <a:cubicBezTo>
                      <a:pt x="1541" y="2336"/>
                      <a:pt x="1537" y="2337"/>
                      <a:pt x="1534" y="2336"/>
                    </a:cubicBezTo>
                    <a:lnTo>
                      <a:pt x="1506" y="2326"/>
                    </a:lnTo>
                    <a:lnTo>
                      <a:pt x="1515" y="2313"/>
                    </a:lnTo>
                    <a:lnTo>
                      <a:pt x="1538" y="2338"/>
                    </a:lnTo>
                    <a:cubicBezTo>
                      <a:pt x="1540" y="2340"/>
                      <a:pt x="1541" y="2343"/>
                      <a:pt x="1540" y="2346"/>
                    </a:cubicBezTo>
                    <a:cubicBezTo>
                      <a:pt x="1540" y="2348"/>
                      <a:pt x="1538" y="2350"/>
                      <a:pt x="1535" y="2351"/>
                    </a:cubicBezTo>
                    <a:lnTo>
                      <a:pt x="1475" y="2371"/>
                    </a:lnTo>
                    <a:lnTo>
                      <a:pt x="1480" y="2360"/>
                    </a:lnTo>
                    <a:lnTo>
                      <a:pt x="1516" y="2437"/>
                    </a:lnTo>
                    <a:cubicBezTo>
                      <a:pt x="1517" y="2439"/>
                      <a:pt x="1517" y="2441"/>
                      <a:pt x="1516" y="2443"/>
                    </a:cubicBezTo>
                    <a:lnTo>
                      <a:pt x="1480" y="2549"/>
                    </a:lnTo>
                    <a:cubicBezTo>
                      <a:pt x="1479" y="2552"/>
                      <a:pt x="1476" y="2554"/>
                      <a:pt x="1473" y="2554"/>
                    </a:cubicBezTo>
                    <a:lnTo>
                      <a:pt x="1428" y="2556"/>
                    </a:lnTo>
                    <a:lnTo>
                      <a:pt x="1434" y="2542"/>
                    </a:lnTo>
                    <a:lnTo>
                      <a:pt x="1467" y="2579"/>
                    </a:lnTo>
                    <a:cubicBezTo>
                      <a:pt x="1469" y="2581"/>
                      <a:pt x="1470" y="2585"/>
                      <a:pt x="1469" y="2588"/>
                    </a:cubicBezTo>
                    <a:cubicBezTo>
                      <a:pt x="1467" y="2591"/>
                      <a:pt x="1464" y="2592"/>
                      <a:pt x="1461" y="2592"/>
                    </a:cubicBezTo>
                    <a:lnTo>
                      <a:pt x="1364" y="2592"/>
                    </a:lnTo>
                    <a:cubicBezTo>
                      <a:pt x="1360" y="2592"/>
                      <a:pt x="1356" y="2590"/>
                      <a:pt x="1356" y="2586"/>
                    </a:cubicBezTo>
                    <a:lnTo>
                      <a:pt x="1343" y="2516"/>
                    </a:lnTo>
                    <a:lnTo>
                      <a:pt x="1351" y="2522"/>
                    </a:lnTo>
                    <a:lnTo>
                      <a:pt x="1213" y="2531"/>
                    </a:lnTo>
                    <a:cubicBezTo>
                      <a:pt x="1210" y="2531"/>
                      <a:pt x="1206" y="2528"/>
                      <a:pt x="1205" y="2525"/>
                    </a:cubicBezTo>
                    <a:cubicBezTo>
                      <a:pt x="1204" y="2521"/>
                      <a:pt x="1206" y="2517"/>
                      <a:pt x="1209" y="2516"/>
                    </a:cubicBezTo>
                    <a:lnTo>
                      <a:pt x="1241" y="2497"/>
                    </a:lnTo>
                    <a:lnTo>
                      <a:pt x="1242" y="2512"/>
                    </a:lnTo>
                    <a:lnTo>
                      <a:pt x="1171" y="2483"/>
                    </a:lnTo>
                    <a:cubicBezTo>
                      <a:pt x="1168" y="2482"/>
                      <a:pt x="1166" y="2479"/>
                      <a:pt x="1166" y="2476"/>
                    </a:cubicBezTo>
                    <a:cubicBezTo>
                      <a:pt x="1166" y="2472"/>
                      <a:pt x="1168" y="2469"/>
                      <a:pt x="1171" y="2468"/>
                    </a:cubicBezTo>
                    <a:lnTo>
                      <a:pt x="1206" y="2456"/>
                    </a:lnTo>
                    <a:lnTo>
                      <a:pt x="1209" y="2472"/>
                    </a:lnTo>
                    <a:lnTo>
                      <a:pt x="1157" y="2472"/>
                    </a:lnTo>
                    <a:cubicBezTo>
                      <a:pt x="1154" y="2472"/>
                      <a:pt x="1152" y="2471"/>
                      <a:pt x="1150" y="2469"/>
                    </a:cubicBezTo>
                    <a:cubicBezTo>
                      <a:pt x="1149" y="2467"/>
                      <a:pt x="1149" y="2464"/>
                      <a:pt x="1149" y="2462"/>
                    </a:cubicBezTo>
                    <a:lnTo>
                      <a:pt x="1167" y="2406"/>
                    </a:lnTo>
                    <a:lnTo>
                      <a:pt x="1178" y="2416"/>
                    </a:lnTo>
                    <a:lnTo>
                      <a:pt x="1147" y="2428"/>
                    </a:lnTo>
                    <a:cubicBezTo>
                      <a:pt x="1144" y="2429"/>
                      <a:pt x="1140" y="2428"/>
                      <a:pt x="1138" y="2425"/>
                    </a:cubicBezTo>
                    <a:lnTo>
                      <a:pt x="1045" y="2278"/>
                    </a:lnTo>
                    <a:cubicBezTo>
                      <a:pt x="1045" y="2276"/>
                      <a:pt x="1044" y="2275"/>
                      <a:pt x="1044" y="2273"/>
                    </a:cubicBezTo>
                    <a:lnTo>
                      <a:pt x="1044" y="2228"/>
                    </a:lnTo>
                    <a:cubicBezTo>
                      <a:pt x="1044" y="2226"/>
                      <a:pt x="1045" y="2223"/>
                      <a:pt x="1048" y="2222"/>
                    </a:cubicBezTo>
                    <a:lnTo>
                      <a:pt x="1116" y="2173"/>
                    </a:lnTo>
                    <a:lnTo>
                      <a:pt x="1117" y="2187"/>
                    </a:lnTo>
                    <a:lnTo>
                      <a:pt x="1089" y="2172"/>
                    </a:lnTo>
                    <a:lnTo>
                      <a:pt x="1098" y="2171"/>
                    </a:lnTo>
                    <a:lnTo>
                      <a:pt x="1028" y="2226"/>
                    </a:lnTo>
                    <a:cubicBezTo>
                      <a:pt x="1025" y="2228"/>
                      <a:pt x="1022" y="2228"/>
                      <a:pt x="1019" y="2227"/>
                    </a:cubicBezTo>
                    <a:cubicBezTo>
                      <a:pt x="1017" y="2226"/>
                      <a:pt x="1015" y="2223"/>
                      <a:pt x="1015" y="2220"/>
                    </a:cubicBezTo>
                    <a:lnTo>
                      <a:pt x="1015" y="2109"/>
                    </a:lnTo>
                    <a:lnTo>
                      <a:pt x="1018" y="2115"/>
                    </a:lnTo>
                    <a:lnTo>
                      <a:pt x="953" y="2059"/>
                    </a:lnTo>
                    <a:cubicBezTo>
                      <a:pt x="951" y="2057"/>
                      <a:pt x="950" y="2054"/>
                      <a:pt x="951" y="2051"/>
                    </a:cubicBezTo>
                    <a:lnTo>
                      <a:pt x="969" y="1962"/>
                    </a:lnTo>
                    <a:lnTo>
                      <a:pt x="972" y="1970"/>
                    </a:lnTo>
                    <a:lnTo>
                      <a:pt x="933" y="1938"/>
                    </a:lnTo>
                    <a:cubicBezTo>
                      <a:pt x="929" y="1936"/>
                      <a:pt x="929" y="1931"/>
                      <a:pt x="931" y="1928"/>
                    </a:cubicBezTo>
                    <a:lnTo>
                      <a:pt x="984" y="1851"/>
                    </a:lnTo>
                    <a:lnTo>
                      <a:pt x="989" y="1863"/>
                    </a:lnTo>
                    <a:lnTo>
                      <a:pt x="957" y="1856"/>
                    </a:lnTo>
                    <a:cubicBezTo>
                      <a:pt x="953" y="1855"/>
                      <a:pt x="950" y="1852"/>
                      <a:pt x="951" y="1848"/>
                    </a:cubicBezTo>
                    <a:cubicBezTo>
                      <a:pt x="951" y="1844"/>
                      <a:pt x="955" y="1840"/>
                      <a:pt x="959" y="1840"/>
                    </a:cubicBezTo>
                    <a:lnTo>
                      <a:pt x="1076" y="1840"/>
                    </a:lnTo>
                    <a:lnTo>
                      <a:pt x="1068" y="1851"/>
                    </a:lnTo>
                    <a:lnTo>
                      <a:pt x="1057" y="1821"/>
                    </a:lnTo>
                    <a:lnTo>
                      <a:pt x="1065" y="1826"/>
                    </a:lnTo>
                    <a:lnTo>
                      <a:pt x="986" y="1830"/>
                    </a:lnTo>
                    <a:cubicBezTo>
                      <a:pt x="982" y="1830"/>
                      <a:pt x="979" y="1827"/>
                      <a:pt x="978" y="1824"/>
                    </a:cubicBezTo>
                    <a:cubicBezTo>
                      <a:pt x="976" y="1820"/>
                      <a:pt x="978" y="1817"/>
                      <a:pt x="981" y="1815"/>
                    </a:cubicBezTo>
                    <a:lnTo>
                      <a:pt x="1101" y="1746"/>
                    </a:lnTo>
                    <a:lnTo>
                      <a:pt x="1100" y="1760"/>
                    </a:lnTo>
                    <a:lnTo>
                      <a:pt x="1071" y="1738"/>
                    </a:lnTo>
                    <a:cubicBezTo>
                      <a:pt x="1068" y="1736"/>
                      <a:pt x="1067" y="1732"/>
                      <a:pt x="1068" y="1728"/>
                    </a:cubicBezTo>
                    <a:lnTo>
                      <a:pt x="1098" y="1653"/>
                    </a:lnTo>
                    <a:lnTo>
                      <a:pt x="1105" y="1664"/>
                    </a:lnTo>
                    <a:lnTo>
                      <a:pt x="1007" y="1661"/>
                    </a:lnTo>
                    <a:cubicBezTo>
                      <a:pt x="1006" y="1661"/>
                      <a:pt x="1005" y="1660"/>
                      <a:pt x="1004" y="1660"/>
                    </a:cubicBezTo>
                    <a:lnTo>
                      <a:pt x="895" y="1600"/>
                    </a:lnTo>
                    <a:cubicBezTo>
                      <a:pt x="891" y="1598"/>
                      <a:pt x="890" y="1594"/>
                      <a:pt x="891" y="1590"/>
                    </a:cubicBezTo>
                    <a:cubicBezTo>
                      <a:pt x="892" y="1586"/>
                      <a:pt x="896" y="1584"/>
                      <a:pt x="900" y="1585"/>
                    </a:cubicBezTo>
                    <a:lnTo>
                      <a:pt x="1094" y="1616"/>
                    </a:lnTo>
                    <a:lnTo>
                      <a:pt x="1088" y="1631"/>
                    </a:lnTo>
                    <a:lnTo>
                      <a:pt x="1054" y="1604"/>
                    </a:lnTo>
                    <a:cubicBezTo>
                      <a:pt x="1052" y="1602"/>
                      <a:pt x="1051" y="1599"/>
                      <a:pt x="1051" y="1596"/>
                    </a:cubicBezTo>
                    <a:cubicBezTo>
                      <a:pt x="1052" y="1593"/>
                      <a:pt x="1054" y="1591"/>
                      <a:pt x="1057" y="1590"/>
                    </a:cubicBezTo>
                    <a:lnTo>
                      <a:pt x="1090" y="1578"/>
                    </a:lnTo>
                    <a:lnTo>
                      <a:pt x="1089" y="1593"/>
                    </a:lnTo>
                    <a:lnTo>
                      <a:pt x="1012" y="1548"/>
                    </a:lnTo>
                    <a:cubicBezTo>
                      <a:pt x="1010" y="1546"/>
                      <a:pt x="1008" y="1544"/>
                      <a:pt x="1008" y="1541"/>
                    </a:cubicBezTo>
                    <a:cubicBezTo>
                      <a:pt x="1008" y="1538"/>
                      <a:pt x="1009" y="1536"/>
                      <a:pt x="1011" y="1534"/>
                    </a:cubicBezTo>
                    <a:lnTo>
                      <a:pt x="1039" y="1514"/>
                    </a:lnTo>
                    <a:lnTo>
                      <a:pt x="1047" y="1528"/>
                    </a:lnTo>
                    <a:lnTo>
                      <a:pt x="1005" y="1545"/>
                    </a:lnTo>
                    <a:cubicBezTo>
                      <a:pt x="1002" y="1546"/>
                      <a:pt x="998" y="1545"/>
                      <a:pt x="995" y="1542"/>
                    </a:cubicBezTo>
                    <a:cubicBezTo>
                      <a:pt x="993" y="1539"/>
                      <a:pt x="993" y="1535"/>
                      <a:pt x="996" y="1532"/>
                    </a:cubicBezTo>
                    <a:lnTo>
                      <a:pt x="1022" y="1500"/>
                    </a:lnTo>
                    <a:lnTo>
                      <a:pt x="1029" y="1514"/>
                    </a:lnTo>
                    <a:lnTo>
                      <a:pt x="979" y="1517"/>
                    </a:lnTo>
                    <a:cubicBezTo>
                      <a:pt x="975" y="1517"/>
                      <a:pt x="971" y="1515"/>
                      <a:pt x="970" y="1511"/>
                    </a:cubicBezTo>
                    <a:cubicBezTo>
                      <a:pt x="970" y="1507"/>
                      <a:pt x="971" y="1503"/>
                      <a:pt x="975" y="1502"/>
                    </a:cubicBezTo>
                    <a:lnTo>
                      <a:pt x="1032" y="1476"/>
                    </a:lnTo>
                    <a:lnTo>
                      <a:pt x="1032" y="1491"/>
                    </a:lnTo>
                    <a:lnTo>
                      <a:pt x="947" y="1456"/>
                    </a:lnTo>
                    <a:lnTo>
                      <a:pt x="958" y="1451"/>
                    </a:lnTo>
                    <a:lnTo>
                      <a:pt x="938" y="1508"/>
                    </a:lnTo>
                    <a:cubicBezTo>
                      <a:pt x="937" y="1511"/>
                      <a:pt x="934" y="1513"/>
                      <a:pt x="931" y="1514"/>
                    </a:cubicBezTo>
                    <a:lnTo>
                      <a:pt x="860" y="1517"/>
                    </a:lnTo>
                    <a:cubicBezTo>
                      <a:pt x="857" y="1517"/>
                      <a:pt x="854" y="1515"/>
                      <a:pt x="853" y="1513"/>
                    </a:cubicBezTo>
                    <a:lnTo>
                      <a:pt x="839" y="1488"/>
                    </a:lnTo>
                    <a:cubicBezTo>
                      <a:pt x="837" y="1484"/>
                      <a:pt x="838" y="1480"/>
                      <a:pt x="841" y="1477"/>
                    </a:cubicBezTo>
                    <a:lnTo>
                      <a:pt x="888" y="1442"/>
                    </a:lnTo>
                    <a:lnTo>
                      <a:pt x="893" y="1457"/>
                    </a:lnTo>
                    <a:lnTo>
                      <a:pt x="855" y="1457"/>
                    </a:lnTo>
                    <a:cubicBezTo>
                      <a:pt x="853" y="1457"/>
                      <a:pt x="850" y="1455"/>
                      <a:pt x="849" y="1453"/>
                    </a:cubicBezTo>
                    <a:cubicBezTo>
                      <a:pt x="847" y="1451"/>
                      <a:pt x="847" y="1448"/>
                      <a:pt x="848" y="1445"/>
                    </a:cubicBezTo>
                    <a:lnTo>
                      <a:pt x="891" y="1350"/>
                    </a:lnTo>
                    <a:lnTo>
                      <a:pt x="896" y="1361"/>
                    </a:lnTo>
                    <a:lnTo>
                      <a:pt x="846" y="1344"/>
                    </a:lnTo>
                    <a:cubicBezTo>
                      <a:pt x="844" y="1343"/>
                      <a:pt x="842" y="1342"/>
                      <a:pt x="841" y="1339"/>
                    </a:cubicBezTo>
                    <a:cubicBezTo>
                      <a:pt x="840" y="1337"/>
                      <a:pt x="840" y="1335"/>
                      <a:pt x="841" y="1333"/>
                    </a:cubicBezTo>
                    <a:lnTo>
                      <a:pt x="867" y="1289"/>
                    </a:lnTo>
                    <a:lnTo>
                      <a:pt x="867" y="1298"/>
                    </a:lnTo>
                    <a:lnTo>
                      <a:pt x="787" y="1179"/>
                    </a:lnTo>
                    <a:cubicBezTo>
                      <a:pt x="786" y="1176"/>
                      <a:pt x="786" y="1173"/>
                      <a:pt x="787" y="1171"/>
                    </a:cubicBezTo>
                    <a:cubicBezTo>
                      <a:pt x="788" y="1168"/>
                      <a:pt x="791" y="1167"/>
                      <a:pt x="793" y="1166"/>
                    </a:cubicBezTo>
                    <a:lnTo>
                      <a:pt x="820" y="1165"/>
                    </a:lnTo>
                    <a:lnTo>
                      <a:pt x="815" y="1178"/>
                    </a:lnTo>
                    <a:lnTo>
                      <a:pt x="707" y="1076"/>
                    </a:lnTo>
                    <a:cubicBezTo>
                      <a:pt x="706" y="1075"/>
                      <a:pt x="705" y="1073"/>
                      <a:pt x="705" y="1071"/>
                    </a:cubicBezTo>
                    <a:lnTo>
                      <a:pt x="705" y="1032"/>
                    </a:lnTo>
                    <a:lnTo>
                      <a:pt x="710" y="1040"/>
                    </a:lnTo>
                    <a:lnTo>
                      <a:pt x="591" y="989"/>
                    </a:lnTo>
                    <a:lnTo>
                      <a:pt x="592" y="990"/>
                    </a:lnTo>
                    <a:lnTo>
                      <a:pt x="482" y="961"/>
                    </a:lnTo>
                    <a:lnTo>
                      <a:pt x="488" y="961"/>
                    </a:lnTo>
                    <a:lnTo>
                      <a:pt x="388" y="1008"/>
                    </a:lnTo>
                    <a:cubicBezTo>
                      <a:pt x="386" y="1009"/>
                      <a:pt x="384" y="1009"/>
                      <a:pt x="382" y="1008"/>
                    </a:cubicBezTo>
                    <a:lnTo>
                      <a:pt x="300" y="978"/>
                    </a:lnTo>
                    <a:lnTo>
                      <a:pt x="309" y="965"/>
                    </a:lnTo>
                    <a:lnTo>
                      <a:pt x="340" y="1004"/>
                    </a:lnTo>
                    <a:cubicBezTo>
                      <a:pt x="342" y="1006"/>
                      <a:pt x="342" y="1010"/>
                      <a:pt x="340" y="1013"/>
                    </a:cubicBezTo>
                    <a:cubicBezTo>
                      <a:pt x="338" y="1016"/>
                      <a:pt x="335" y="1017"/>
                      <a:pt x="332" y="1017"/>
                    </a:cubicBezTo>
                    <a:lnTo>
                      <a:pt x="245" y="998"/>
                    </a:lnTo>
                    <a:cubicBezTo>
                      <a:pt x="244" y="998"/>
                      <a:pt x="244" y="998"/>
                      <a:pt x="243" y="997"/>
                    </a:cubicBezTo>
                    <a:lnTo>
                      <a:pt x="169" y="959"/>
                    </a:lnTo>
                    <a:cubicBezTo>
                      <a:pt x="166" y="958"/>
                      <a:pt x="165" y="955"/>
                      <a:pt x="165" y="952"/>
                    </a:cubicBezTo>
                    <a:cubicBezTo>
                      <a:pt x="165" y="949"/>
                      <a:pt x="167" y="946"/>
                      <a:pt x="169" y="945"/>
                    </a:cubicBezTo>
                    <a:lnTo>
                      <a:pt x="243" y="910"/>
                    </a:lnTo>
                    <a:lnTo>
                      <a:pt x="245" y="925"/>
                    </a:lnTo>
                    <a:lnTo>
                      <a:pt x="82" y="889"/>
                    </a:lnTo>
                    <a:cubicBezTo>
                      <a:pt x="79" y="889"/>
                      <a:pt x="76" y="886"/>
                      <a:pt x="76" y="883"/>
                    </a:cubicBezTo>
                    <a:cubicBezTo>
                      <a:pt x="75" y="880"/>
                      <a:pt x="77" y="876"/>
                      <a:pt x="80" y="875"/>
                    </a:cubicBezTo>
                    <a:lnTo>
                      <a:pt x="140" y="841"/>
                    </a:lnTo>
                    <a:cubicBezTo>
                      <a:pt x="141" y="840"/>
                      <a:pt x="142" y="840"/>
                      <a:pt x="144" y="840"/>
                    </a:cubicBezTo>
                    <a:lnTo>
                      <a:pt x="339" y="850"/>
                    </a:lnTo>
                    <a:lnTo>
                      <a:pt x="335" y="851"/>
                    </a:lnTo>
                    <a:lnTo>
                      <a:pt x="359" y="838"/>
                    </a:lnTo>
                    <a:lnTo>
                      <a:pt x="359" y="852"/>
                    </a:lnTo>
                    <a:lnTo>
                      <a:pt x="324" y="832"/>
                    </a:lnTo>
                    <a:cubicBezTo>
                      <a:pt x="321" y="830"/>
                      <a:pt x="320" y="828"/>
                      <a:pt x="320" y="825"/>
                    </a:cubicBezTo>
                    <a:cubicBezTo>
                      <a:pt x="320" y="822"/>
                      <a:pt x="321" y="819"/>
                      <a:pt x="324" y="818"/>
                    </a:cubicBezTo>
                    <a:lnTo>
                      <a:pt x="357" y="798"/>
                    </a:lnTo>
                    <a:lnTo>
                      <a:pt x="362" y="813"/>
                    </a:lnTo>
                    <a:lnTo>
                      <a:pt x="186" y="826"/>
                    </a:lnTo>
                    <a:cubicBezTo>
                      <a:pt x="185" y="826"/>
                      <a:pt x="183" y="826"/>
                      <a:pt x="182" y="825"/>
                    </a:cubicBezTo>
                    <a:lnTo>
                      <a:pt x="6" y="738"/>
                    </a:lnTo>
                    <a:close/>
                    <a:moveTo>
                      <a:pt x="189" y="811"/>
                    </a:moveTo>
                    <a:lnTo>
                      <a:pt x="185" y="810"/>
                    </a:lnTo>
                    <a:lnTo>
                      <a:pt x="361" y="797"/>
                    </a:lnTo>
                    <a:cubicBezTo>
                      <a:pt x="364" y="796"/>
                      <a:pt x="368" y="799"/>
                      <a:pt x="369" y="802"/>
                    </a:cubicBezTo>
                    <a:cubicBezTo>
                      <a:pt x="370" y="806"/>
                      <a:pt x="369" y="810"/>
                      <a:pt x="365" y="812"/>
                    </a:cubicBezTo>
                    <a:lnTo>
                      <a:pt x="332" y="832"/>
                    </a:lnTo>
                    <a:lnTo>
                      <a:pt x="332" y="818"/>
                    </a:lnTo>
                    <a:lnTo>
                      <a:pt x="367" y="838"/>
                    </a:lnTo>
                    <a:cubicBezTo>
                      <a:pt x="369" y="839"/>
                      <a:pt x="371" y="842"/>
                      <a:pt x="371" y="845"/>
                    </a:cubicBezTo>
                    <a:cubicBezTo>
                      <a:pt x="371" y="848"/>
                      <a:pt x="369" y="850"/>
                      <a:pt x="367" y="852"/>
                    </a:cubicBezTo>
                    <a:lnTo>
                      <a:pt x="343" y="865"/>
                    </a:lnTo>
                    <a:cubicBezTo>
                      <a:pt x="342" y="866"/>
                      <a:pt x="340" y="866"/>
                      <a:pt x="338" y="866"/>
                    </a:cubicBezTo>
                    <a:lnTo>
                      <a:pt x="143" y="856"/>
                    </a:lnTo>
                    <a:lnTo>
                      <a:pt x="147" y="855"/>
                    </a:lnTo>
                    <a:lnTo>
                      <a:pt x="87" y="889"/>
                    </a:lnTo>
                    <a:lnTo>
                      <a:pt x="85" y="874"/>
                    </a:lnTo>
                    <a:lnTo>
                      <a:pt x="248" y="909"/>
                    </a:lnTo>
                    <a:cubicBezTo>
                      <a:pt x="252" y="910"/>
                      <a:pt x="254" y="912"/>
                      <a:pt x="255" y="916"/>
                    </a:cubicBezTo>
                    <a:cubicBezTo>
                      <a:pt x="255" y="919"/>
                      <a:pt x="253" y="923"/>
                      <a:pt x="250" y="924"/>
                    </a:cubicBezTo>
                    <a:lnTo>
                      <a:pt x="176" y="959"/>
                    </a:lnTo>
                    <a:lnTo>
                      <a:pt x="176" y="945"/>
                    </a:lnTo>
                    <a:lnTo>
                      <a:pt x="250" y="983"/>
                    </a:lnTo>
                    <a:lnTo>
                      <a:pt x="248" y="983"/>
                    </a:lnTo>
                    <a:lnTo>
                      <a:pt x="335" y="1001"/>
                    </a:lnTo>
                    <a:lnTo>
                      <a:pt x="327" y="1014"/>
                    </a:lnTo>
                    <a:lnTo>
                      <a:pt x="296" y="975"/>
                    </a:lnTo>
                    <a:cubicBezTo>
                      <a:pt x="294" y="972"/>
                      <a:pt x="294" y="969"/>
                      <a:pt x="296" y="966"/>
                    </a:cubicBezTo>
                    <a:cubicBezTo>
                      <a:pt x="298" y="963"/>
                      <a:pt x="302" y="962"/>
                      <a:pt x="305" y="963"/>
                    </a:cubicBezTo>
                    <a:lnTo>
                      <a:pt x="388" y="993"/>
                    </a:lnTo>
                    <a:lnTo>
                      <a:pt x="382" y="993"/>
                    </a:lnTo>
                    <a:lnTo>
                      <a:pt x="481" y="946"/>
                    </a:lnTo>
                    <a:cubicBezTo>
                      <a:pt x="482" y="946"/>
                      <a:pt x="484" y="945"/>
                      <a:pt x="486" y="946"/>
                    </a:cubicBezTo>
                    <a:lnTo>
                      <a:pt x="596" y="974"/>
                    </a:lnTo>
                    <a:cubicBezTo>
                      <a:pt x="597" y="974"/>
                      <a:pt x="597" y="974"/>
                      <a:pt x="597" y="975"/>
                    </a:cubicBezTo>
                    <a:lnTo>
                      <a:pt x="716" y="1025"/>
                    </a:lnTo>
                    <a:cubicBezTo>
                      <a:pt x="719" y="1026"/>
                      <a:pt x="721" y="1029"/>
                      <a:pt x="721" y="1032"/>
                    </a:cubicBezTo>
                    <a:lnTo>
                      <a:pt x="721" y="1071"/>
                    </a:lnTo>
                    <a:lnTo>
                      <a:pt x="719" y="1065"/>
                    </a:lnTo>
                    <a:lnTo>
                      <a:pt x="826" y="1167"/>
                    </a:lnTo>
                    <a:cubicBezTo>
                      <a:pt x="828" y="1169"/>
                      <a:pt x="829" y="1172"/>
                      <a:pt x="828" y="1175"/>
                    </a:cubicBezTo>
                    <a:cubicBezTo>
                      <a:pt x="827" y="1178"/>
                      <a:pt x="824" y="1180"/>
                      <a:pt x="821" y="1181"/>
                    </a:cubicBezTo>
                    <a:lnTo>
                      <a:pt x="794" y="1182"/>
                    </a:lnTo>
                    <a:lnTo>
                      <a:pt x="801" y="1170"/>
                    </a:lnTo>
                    <a:lnTo>
                      <a:pt x="880" y="1289"/>
                    </a:lnTo>
                    <a:cubicBezTo>
                      <a:pt x="882" y="1291"/>
                      <a:pt x="882" y="1294"/>
                      <a:pt x="880" y="1297"/>
                    </a:cubicBezTo>
                    <a:lnTo>
                      <a:pt x="855" y="1341"/>
                    </a:lnTo>
                    <a:lnTo>
                      <a:pt x="851" y="1329"/>
                    </a:lnTo>
                    <a:lnTo>
                      <a:pt x="901" y="1346"/>
                    </a:lnTo>
                    <a:cubicBezTo>
                      <a:pt x="903" y="1346"/>
                      <a:pt x="905" y="1348"/>
                      <a:pt x="906" y="1350"/>
                    </a:cubicBezTo>
                    <a:cubicBezTo>
                      <a:pt x="907" y="1352"/>
                      <a:pt x="907" y="1355"/>
                      <a:pt x="906" y="1357"/>
                    </a:cubicBezTo>
                    <a:lnTo>
                      <a:pt x="863" y="1452"/>
                    </a:lnTo>
                    <a:lnTo>
                      <a:pt x="855" y="1441"/>
                    </a:lnTo>
                    <a:lnTo>
                      <a:pt x="893" y="1441"/>
                    </a:lnTo>
                    <a:cubicBezTo>
                      <a:pt x="897" y="1441"/>
                      <a:pt x="900" y="1443"/>
                      <a:pt x="901" y="1446"/>
                    </a:cubicBezTo>
                    <a:cubicBezTo>
                      <a:pt x="902" y="1449"/>
                      <a:pt x="901" y="1453"/>
                      <a:pt x="898" y="1455"/>
                    </a:cubicBezTo>
                    <a:lnTo>
                      <a:pt x="850" y="1490"/>
                    </a:lnTo>
                    <a:lnTo>
                      <a:pt x="853" y="1480"/>
                    </a:lnTo>
                    <a:lnTo>
                      <a:pt x="867" y="1505"/>
                    </a:lnTo>
                    <a:lnTo>
                      <a:pt x="859" y="1501"/>
                    </a:lnTo>
                    <a:lnTo>
                      <a:pt x="930" y="1498"/>
                    </a:lnTo>
                    <a:lnTo>
                      <a:pt x="923" y="1503"/>
                    </a:lnTo>
                    <a:lnTo>
                      <a:pt x="943" y="1446"/>
                    </a:lnTo>
                    <a:cubicBezTo>
                      <a:pt x="943" y="1444"/>
                      <a:pt x="945" y="1442"/>
                      <a:pt x="947" y="1441"/>
                    </a:cubicBezTo>
                    <a:cubicBezTo>
                      <a:pt x="949" y="1440"/>
                      <a:pt x="951" y="1440"/>
                      <a:pt x="953" y="1441"/>
                    </a:cubicBezTo>
                    <a:lnTo>
                      <a:pt x="1039" y="1476"/>
                    </a:lnTo>
                    <a:cubicBezTo>
                      <a:pt x="1041" y="1478"/>
                      <a:pt x="1043" y="1481"/>
                      <a:pt x="1043" y="1484"/>
                    </a:cubicBezTo>
                    <a:cubicBezTo>
                      <a:pt x="1044" y="1487"/>
                      <a:pt x="1042" y="1490"/>
                      <a:pt x="1039" y="1491"/>
                    </a:cubicBezTo>
                    <a:lnTo>
                      <a:pt x="981" y="1516"/>
                    </a:lnTo>
                    <a:lnTo>
                      <a:pt x="978" y="1501"/>
                    </a:lnTo>
                    <a:lnTo>
                      <a:pt x="1028" y="1498"/>
                    </a:lnTo>
                    <a:cubicBezTo>
                      <a:pt x="1031" y="1497"/>
                      <a:pt x="1034" y="1499"/>
                      <a:pt x="1036" y="1502"/>
                    </a:cubicBezTo>
                    <a:cubicBezTo>
                      <a:pt x="1037" y="1505"/>
                      <a:pt x="1037" y="1508"/>
                      <a:pt x="1035" y="1511"/>
                    </a:cubicBezTo>
                    <a:lnTo>
                      <a:pt x="1008" y="1542"/>
                    </a:lnTo>
                    <a:lnTo>
                      <a:pt x="999" y="1530"/>
                    </a:lnTo>
                    <a:lnTo>
                      <a:pt x="1041" y="1513"/>
                    </a:lnTo>
                    <a:cubicBezTo>
                      <a:pt x="1045" y="1512"/>
                      <a:pt x="1049" y="1513"/>
                      <a:pt x="1051" y="1517"/>
                    </a:cubicBezTo>
                    <a:cubicBezTo>
                      <a:pt x="1053" y="1520"/>
                      <a:pt x="1052" y="1525"/>
                      <a:pt x="1049" y="1527"/>
                    </a:cubicBezTo>
                    <a:lnTo>
                      <a:pt x="1021" y="1547"/>
                    </a:lnTo>
                    <a:lnTo>
                      <a:pt x="1020" y="1534"/>
                    </a:lnTo>
                    <a:lnTo>
                      <a:pt x="1097" y="1579"/>
                    </a:lnTo>
                    <a:cubicBezTo>
                      <a:pt x="1099" y="1581"/>
                      <a:pt x="1101" y="1584"/>
                      <a:pt x="1101" y="1587"/>
                    </a:cubicBezTo>
                    <a:cubicBezTo>
                      <a:pt x="1100" y="1590"/>
                      <a:pt x="1098" y="1592"/>
                      <a:pt x="1095" y="1593"/>
                    </a:cubicBezTo>
                    <a:lnTo>
                      <a:pt x="1062" y="1605"/>
                    </a:lnTo>
                    <a:lnTo>
                      <a:pt x="1064" y="1591"/>
                    </a:lnTo>
                    <a:lnTo>
                      <a:pt x="1098" y="1618"/>
                    </a:lnTo>
                    <a:cubicBezTo>
                      <a:pt x="1101" y="1620"/>
                      <a:pt x="1101" y="1624"/>
                      <a:pt x="1100" y="1628"/>
                    </a:cubicBezTo>
                    <a:cubicBezTo>
                      <a:pt x="1099" y="1631"/>
                      <a:pt x="1095" y="1633"/>
                      <a:pt x="1091" y="1632"/>
                    </a:cubicBezTo>
                    <a:lnTo>
                      <a:pt x="897" y="1600"/>
                    </a:lnTo>
                    <a:lnTo>
                      <a:pt x="903" y="1586"/>
                    </a:lnTo>
                    <a:lnTo>
                      <a:pt x="1011" y="1646"/>
                    </a:lnTo>
                    <a:lnTo>
                      <a:pt x="1008" y="1645"/>
                    </a:lnTo>
                    <a:lnTo>
                      <a:pt x="1106" y="1648"/>
                    </a:lnTo>
                    <a:cubicBezTo>
                      <a:pt x="1108" y="1648"/>
                      <a:pt x="1111" y="1650"/>
                      <a:pt x="1112" y="1652"/>
                    </a:cubicBezTo>
                    <a:cubicBezTo>
                      <a:pt x="1113" y="1654"/>
                      <a:pt x="1114" y="1657"/>
                      <a:pt x="1113" y="1659"/>
                    </a:cubicBezTo>
                    <a:lnTo>
                      <a:pt x="1083" y="1734"/>
                    </a:lnTo>
                    <a:lnTo>
                      <a:pt x="1081" y="1725"/>
                    </a:lnTo>
                    <a:lnTo>
                      <a:pt x="1110" y="1747"/>
                    </a:lnTo>
                    <a:cubicBezTo>
                      <a:pt x="1112" y="1748"/>
                      <a:pt x="1113" y="1751"/>
                      <a:pt x="1113" y="1754"/>
                    </a:cubicBezTo>
                    <a:cubicBezTo>
                      <a:pt x="1113" y="1756"/>
                      <a:pt x="1112" y="1759"/>
                      <a:pt x="1109" y="1760"/>
                    </a:cubicBezTo>
                    <a:lnTo>
                      <a:pt x="989" y="1829"/>
                    </a:lnTo>
                    <a:lnTo>
                      <a:pt x="985" y="1814"/>
                    </a:lnTo>
                    <a:lnTo>
                      <a:pt x="1064" y="1810"/>
                    </a:lnTo>
                    <a:cubicBezTo>
                      <a:pt x="1068" y="1810"/>
                      <a:pt x="1071" y="1812"/>
                      <a:pt x="1072" y="1816"/>
                    </a:cubicBezTo>
                    <a:lnTo>
                      <a:pt x="1083" y="1846"/>
                    </a:lnTo>
                    <a:cubicBezTo>
                      <a:pt x="1084" y="1848"/>
                      <a:pt x="1084" y="1851"/>
                      <a:pt x="1083" y="1853"/>
                    </a:cubicBezTo>
                    <a:cubicBezTo>
                      <a:pt x="1081" y="1855"/>
                      <a:pt x="1079" y="1856"/>
                      <a:pt x="1076" y="1856"/>
                    </a:cubicBezTo>
                    <a:lnTo>
                      <a:pt x="959" y="1856"/>
                    </a:lnTo>
                    <a:lnTo>
                      <a:pt x="960" y="1841"/>
                    </a:lnTo>
                    <a:lnTo>
                      <a:pt x="992" y="1847"/>
                    </a:lnTo>
                    <a:cubicBezTo>
                      <a:pt x="995" y="1848"/>
                      <a:pt x="997" y="1850"/>
                      <a:pt x="998" y="1852"/>
                    </a:cubicBezTo>
                    <a:cubicBezTo>
                      <a:pt x="999" y="1855"/>
                      <a:pt x="999" y="1857"/>
                      <a:pt x="997" y="1860"/>
                    </a:cubicBezTo>
                    <a:lnTo>
                      <a:pt x="944" y="1937"/>
                    </a:lnTo>
                    <a:lnTo>
                      <a:pt x="943" y="1926"/>
                    </a:lnTo>
                    <a:lnTo>
                      <a:pt x="982" y="1958"/>
                    </a:lnTo>
                    <a:cubicBezTo>
                      <a:pt x="984" y="1960"/>
                      <a:pt x="985" y="1963"/>
                      <a:pt x="985" y="1965"/>
                    </a:cubicBezTo>
                    <a:lnTo>
                      <a:pt x="967" y="2054"/>
                    </a:lnTo>
                    <a:lnTo>
                      <a:pt x="964" y="2047"/>
                    </a:lnTo>
                    <a:lnTo>
                      <a:pt x="1028" y="2103"/>
                    </a:lnTo>
                    <a:cubicBezTo>
                      <a:pt x="1030" y="2105"/>
                      <a:pt x="1031" y="2107"/>
                      <a:pt x="1031" y="2109"/>
                    </a:cubicBezTo>
                    <a:lnTo>
                      <a:pt x="1031" y="2220"/>
                    </a:lnTo>
                    <a:lnTo>
                      <a:pt x="1018" y="2214"/>
                    </a:lnTo>
                    <a:lnTo>
                      <a:pt x="1088" y="2158"/>
                    </a:lnTo>
                    <a:cubicBezTo>
                      <a:pt x="1090" y="2156"/>
                      <a:pt x="1094" y="2156"/>
                      <a:pt x="1097" y="2158"/>
                    </a:cubicBezTo>
                    <a:lnTo>
                      <a:pt x="1124" y="2173"/>
                    </a:lnTo>
                    <a:cubicBezTo>
                      <a:pt x="1127" y="2174"/>
                      <a:pt x="1128" y="2176"/>
                      <a:pt x="1129" y="2179"/>
                    </a:cubicBezTo>
                    <a:cubicBezTo>
                      <a:pt x="1129" y="2182"/>
                      <a:pt x="1128" y="2185"/>
                      <a:pt x="1125" y="2186"/>
                    </a:cubicBezTo>
                    <a:lnTo>
                      <a:pt x="1057" y="2235"/>
                    </a:lnTo>
                    <a:lnTo>
                      <a:pt x="1060" y="2228"/>
                    </a:lnTo>
                    <a:lnTo>
                      <a:pt x="1060" y="2273"/>
                    </a:lnTo>
                    <a:lnTo>
                      <a:pt x="1059" y="2269"/>
                    </a:lnTo>
                    <a:lnTo>
                      <a:pt x="1151" y="2416"/>
                    </a:lnTo>
                    <a:lnTo>
                      <a:pt x="1141" y="2413"/>
                    </a:lnTo>
                    <a:lnTo>
                      <a:pt x="1172" y="2401"/>
                    </a:lnTo>
                    <a:cubicBezTo>
                      <a:pt x="1175" y="2400"/>
                      <a:pt x="1178" y="2401"/>
                      <a:pt x="1181" y="2403"/>
                    </a:cubicBezTo>
                    <a:cubicBezTo>
                      <a:pt x="1183" y="2405"/>
                      <a:pt x="1184" y="2408"/>
                      <a:pt x="1183" y="2411"/>
                    </a:cubicBezTo>
                    <a:lnTo>
                      <a:pt x="1165" y="2467"/>
                    </a:lnTo>
                    <a:lnTo>
                      <a:pt x="1157" y="2456"/>
                    </a:lnTo>
                    <a:lnTo>
                      <a:pt x="1209" y="2456"/>
                    </a:lnTo>
                    <a:cubicBezTo>
                      <a:pt x="1212" y="2456"/>
                      <a:pt x="1216" y="2459"/>
                      <a:pt x="1216" y="2463"/>
                    </a:cubicBezTo>
                    <a:cubicBezTo>
                      <a:pt x="1217" y="2467"/>
                      <a:pt x="1215" y="2470"/>
                      <a:pt x="1211" y="2472"/>
                    </a:cubicBezTo>
                    <a:lnTo>
                      <a:pt x="1176" y="2483"/>
                    </a:lnTo>
                    <a:lnTo>
                      <a:pt x="1177" y="2468"/>
                    </a:lnTo>
                    <a:lnTo>
                      <a:pt x="1248" y="2497"/>
                    </a:lnTo>
                    <a:cubicBezTo>
                      <a:pt x="1251" y="2498"/>
                      <a:pt x="1253" y="2501"/>
                      <a:pt x="1253" y="2504"/>
                    </a:cubicBezTo>
                    <a:cubicBezTo>
                      <a:pt x="1253" y="2507"/>
                      <a:pt x="1252" y="2510"/>
                      <a:pt x="1249" y="2511"/>
                    </a:cubicBezTo>
                    <a:lnTo>
                      <a:pt x="1217" y="2530"/>
                    </a:lnTo>
                    <a:lnTo>
                      <a:pt x="1212" y="2515"/>
                    </a:lnTo>
                    <a:lnTo>
                      <a:pt x="1350" y="2506"/>
                    </a:lnTo>
                    <a:cubicBezTo>
                      <a:pt x="1355" y="2506"/>
                      <a:pt x="1358" y="2509"/>
                      <a:pt x="1359" y="2513"/>
                    </a:cubicBezTo>
                    <a:lnTo>
                      <a:pt x="1371" y="2583"/>
                    </a:lnTo>
                    <a:lnTo>
                      <a:pt x="1364" y="2576"/>
                    </a:lnTo>
                    <a:lnTo>
                      <a:pt x="1461" y="2576"/>
                    </a:lnTo>
                    <a:lnTo>
                      <a:pt x="1455" y="2590"/>
                    </a:lnTo>
                    <a:lnTo>
                      <a:pt x="1422" y="2553"/>
                    </a:lnTo>
                    <a:cubicBezTo>
                      <a:pt x="1420" y="2551"/>
                      <a:pt x="1419" y="2547"/>
                      <a:pt x="1420" y="2545"/>
                    </a:cubicBezTo>
                    <a:cubicBezTo>
                      <a:pt x="1422" y="2542"/>
                      <a:pt x="1424" y="2540"/>
                      <a:pt x="1427" y="2540"/>
                    </a:cubicBezTo>
                    <a:lnTo>
                      <a:pt x="1472" y="2538"/>
                    </a:lnTo>
                    <a:lnTo>
                      <a:pt x="1465" y="2543"/>
                    </a:lnTo>
                    <a:lnTo>
                      <a:pt x="1501" y="2438"/>
                    </a:lnTo>
                    <a:lnTo>
                      <a:pt x="1501" y="2444"/>
                    </a:lnTo>
                    <a:lnTo>
                      <a:pt x="1465" y="2367"/>
                    </a:lnTo>
                    <a:cubicBezTo>
                      <a:pt x="1464" y="2365"/>
                      <a:pt x="1464" y="2363"/>
                      <a:pt x="1465" y="2361"/>
                    </a:cubicBezTo>
                    <a:cubicBezTo>
                      <a:pt x="1466" y="2358"/>
                      <a:pt x="1468" y="2357"/>
                      <a:pt x="1470" y="2356"/>
                    </a:cubicBezTo>
                    <a:lnTo>
                      <a:pt x="1530" y="2336"/>
                    </a:lnTo>
                    <a:lnTo>
                      <a:pt x="1527" y="2349"/>
                    </a:lnTo>
                    <a:lnTo>
                      <a:pt x="1503" y="2324"/>
                    </a:lnTo>
                    <a:cubicBezTo>
                      <a:pt x="1500" y="2321"/>
                      <a:pt x="1500" y="2317"/>
                      <a:pt x="1502" y="2314"/>
                    </a:cubicBezTo>
                    <a:cubicBezTo>
                      <a:pt x="1504" y="2311"/>
                      <a:pt x="1508" y="2310"/>
                      <a:pt x="1511" y="2311"/>
                    </a:cubicBezTo>
                    <a:lnTo>
                      <a:pt x="1539" y="2321"/>
                    </a:lnTo>
                    <a:lnTo>
                      <a:pt x="1530" y="2324"/>
                    </a:lnTo>
                    <a:lnTo>
                      <a:pt x="1565" y="2269"/>
                    </a:lnTo>
                    <a:lnTo>
                      <a:pt x="1569" y="2281"/>
                    </a:lnTo>
                    <a:lnTo>
                      <a:pt x="1534" y="2269"/>
                    </a:lnTo>
                    <a:cubicBezTo>
                      <a:pt x="1530" y="2268"/>
                      <a:pt x="1528" y="2264"/>
                      <a:pt x="1529" y="2260"/>
                    </a:cubicBezTo>
                    <a:cubicBezTo>
                      <a:pt x="1529" y="2256"/>
                      <a:pt x="1533" y="2254"/>
                      <a:pt x="1537" y="2254"/>
                    </a:cubicBezTo>
                    <a:lnTo>
                      <a:pt x="1581" y="2254"/>
                    </a:lnTo>
                    <a:lnTo>
                      <a:pt x="1575" y="2267"/>
                    </a:lnTo>
                    <a:lnTo>
                      <a:pt x="1527" y="2215"/>
                    </a:lnTo>
                    <a:cubicBezTo>
                      <a:pt x="1525" y="2213"/>
                      <a:pt x="1524" y="2210"/>
                      <a:pt x="1525" y="2207"/>
                    </a:cubicBezTo>
                    <a:cubicBezTo>
                      <a:pt x="1526" y="2204"/>
                      <a:pt x="1528" y="2202"/>
                      <a:pt x="1531" y="2202"/>
                    </a:cubicBezTo>
                    <a:lnTo>
                      <a:pt x="1594" y="2193"/>
                    </a:lnTo>
                    <a:lnTo>
                      <a:pt x="1590" y="2207"/>
                    </a:lnTo>
                    <a:lnTo>
                      <a:pt x="1542" y="2162"/>
                    </a:lnTo>
                    <a:cubicBezTo>
                      <a:pt x="1540" y="2160"/>
                      <a:pt x="1539" y="2157"/>
                      <a:pt x="1540" y="2154"/>
                    </a:cubicBezTo>
                    <a:cubicBezTo>
                      <a:pt x="1541" y="2151"/>
                      <a:pt x="1544" y="2149"/>
                      <a:pt x="1547" y="2148"/>
                    </a:cubicBezTo>
                    <a:lnTo>
                      <a:pt x="1601" y="2143"/>
                    </a:lnTo>
                    <a:lnTo>
                      <a:pt x="1594" y="2151"/>
                    </a:lnTo>
                    <a:lnTo>
                      <a:pt x="1593" y="2096"/>
                    </a:lnTo>
                    <a:cubicBezTo>
                      <a:pt x="1593" y="2092"/>
                      <a:pt x="1596" y="2088"/>
                      <a:pt x="1600" y="2088"/>
                    </a:cubicBezTo>
                    <a:lnTo>
                      <a:pt x="1688" y="2081"/>
                    </a:lnTo>
                    <a:lnTo>
                      <a:pt x="1681" y="2087"/>
                    </a:lnTo>
                    <a:lnTo>
                      <a:pt x="1702" y="2017"/>
                    </a:lnTo>
                    <a:cubicBezTo>
                      <a:pt x="1703" y="2013"/>
                      <a:pt x="1707" y="2011"/>
                      <a:pt x="1711" y="2011"/>
                    </a:cubicBezTo>
                    <a:lnTo>
                      <a:pt x="1750" y="2016"/>
                    </a:lnTo>
                    <a:cubicBezTo>
                      <a:pt x="1753" y="2017"/>
                      <a:pt x="1756" y="2019"/>
                      <a:pt x="1757" y="2022"/>
                    </a:cubicBezTo>
                    <a:cubicBezTo>
                      <a:pt x="1757" y="2025"/>
                      <a:pt x="1756" y="2029"/>
                      <a:pt x="1754" y="2030"/>
                    </a:cubicBezTo>
                    <a:lnTo>
                      <a:pt x="1716" y="2059"/>
                    </a:lnTo>
                    <a:lnTo>
                      <a:pt x="1715" y="2045"/>
                    </a:lnTo>
                    <a:lnTo>
                      <a:pt x="1742" y="2059"/>
                    </a:lnTo>
                    <a:lnTo>
                      <a:pt x="1738" y="2058"/>
                    </a:lnTo>
                    <a:lnTo>
                      <a:pt x="1794" y="2053"/>
                    </a:lnTo>
                    <a:lnTo>
                      <a:pt x="1787" y="2059"/>
                    </a:lnTo>
                    <a:lnTo>
                      <a:pt x="1800" y="2017"/>
                    </a:lnTo>
                    <a:cubicBezTo>
                      <a:pt x="1801" y="2013"/>
                      <a:pt x="1804" y="2011"/>
                      <a:pt x="1808" y="2011"/>
                    </a:cubicBezTo>
                    <a:lnTo>
                      <a:pt x="1865" y="2014"/>
                    </a:lnTo>
                    <a:lnTo>
                      <a:pt x="1858" y="2019"/>
                    </a:lnTo>
                    <a:lnTo>
                      <a:pt x="1927" y="1882"/>
                    </a:lnTo>
                    <a:cubicBezTo>
                      <a:pt x="1928" y="1880"/>
                      <a:pt x="1929" y="1879"/>
                      <a:pt x="1930" y="1878"/>
                    </a:cubicBezTo>
                    <a:lnTo>
                      <a:pt x="1988" y="1845"/>
                    </a:lnTo>
                    <a:lnTo>
                      <a:pt x="1984" y="1855"/>
                    </a:lnTo>
                    <a:lnTo>
                      <a:pt x="1962" y="1798"/>
                    </a:lnTo>
                    <a:cubicBezTo>
                      <a:pt x="1960" y="1794"/>
                      <a:pt x="1962" y="1790"/>
                      <a:pt x="1965" y="1788"/>
                    </a:cubicBezTo>
                    <a:cubicBezTo>
                      <a:pt x="1969" y="1786"/>
                      <a:pt x="1973" y="1787"/>
                      <a:pt x="1976" y="1790"/>
                    </a:cubicBezTo>
                    <a:lnTo>
                      <a:pt x="2018" y="1847"/>
                    </a:lnTo>
                    <a:lnTo>
                      <a:pt x="2011" y="1844"/>
                    </a:lnTo>
                    <a:lnTo>
                      <a:pt x="2079" y="1840"/>
                    </a:lnTo>
                    <a:lnTo>
                      <a:pt x="2077" y="1841"/>
                    </a:lnTo>
                    <a:lnTo>
                      <a:pt x="2266" y="1786"/>
                    </a:lnTo>
                    <a:lnTo>
                      <a:pt x="2264" y="1787"/>
                    </a:lnTo>
                    <a:lnTo>
                      <a:pt x="2456" y="1659"/>
                    </a:lnTo>
                    <a:lnTo>
                      <a:pt x="2458" y="1674"/>
                    </a:lnTo>
                    <a:lnTo>
                      <a:pt x="2310" y="1627"/>
                    </a:lnTo>
                    <a:lnTo>
                      <a:pt x="2315" y="1627"/>
                    </a:lnTo>
                    <a:lnTo>
                      <a:pt x="2161" y="1664"/>
                    </a:lnTo>
                    <a:cubicBezTo>
                      <a:pt x="2157" y="1665"/>
                      <a:pt x="2153" y="1662"/>
                      <a:pt x="2151" y="1658"/>
                    </a:cubicBezTo>
                    <a:cubicBezTo>
                      <a:pt x="2150" y="1654"/>
                      <a:pt x="2153" y="1650"/>
                      <a:pt x="2157" y="1648"/>
                    </a:cubicBezTo>
                    <a:lnTo>
                      <a:pt x="2257" y="1617"/>
                    </a:lnTo>
                    <a:lnTo>
                      <a:pt x="2259" y="1632"/>
                    </a:lnTo>
                    <a:lnTo>
                      <a:pt x="2139" y="1621"/>
                    </a:lnTo>
                    <a:cubicBezTo>
                      <a:pt x="2136" y="1620"/>
                      <a:pt x="2134" y="1619"/>
                      <a:pt x="2132" y="1616"/>
                    </a:cubicBezTo>
                    <a:cubicBezTo>
                      <a:pt x="2131" y="1613"/>
                      <a:pt x="2131" y="1610"/>
                      <a:pt x="2133" y="1608"/>
                    </a:cubicBezTo>
                    <a:lnTo>
                      <a:pt x="2169" y="1556"/>
                    </a:lnTo>
                    <a:cubicBezTo>
                      <a:pt x="2170" y="1555"/>
                      <a:pt x="2172" y="1553"/>
                      <a:pt x="2174" y="1553"/>
                    </a:cubicBezTo>
                    <a:lnTo>
                      <a:pt x="2304" y="1521"/>
                    </a:lnTo>
                    <a:lnTo>
                      <a:pt x="2302" y="1536"/>
                    </a:lnTo>
                    <a:lnTo>
                      <a:pt x="2204" y="1476"/>
                    </a:lnTo>
                    <a:cubicBezTo>
                      <a:pt x="2200" y="1473"/>
                      <a:pt x="2199" y="1469"/>
                      <a:pt x="2201" y="1465"/>
                    </a:cubicBezTo>
                    <a:cubicBezTo>
                      <a:pt x="2203" y="1462"/>
                      <a:pt x="2207" y="1460"/>
                      <a:pt x="2211" y="1461"/>
                    </a:cubicBezTo>
                    <a:lnTo>
                      <a:pt x="2350" y="1513"/>
                    </a:lnTo>
                    <a:cubicBezTo>
                      <a:pt x="2352" y="1514"/>
                      <a:pt x="2353" y="1515"/>
                      <a:pt x="2354" y="1516"/>
                    </a:cubicBezTo>
                    <a:lnTo>
                      <a:pt x="2413" y="1607"/>
                    </a:lnTo>
                    <a:lnTo>
                      <a:pt x="2407" y="1603"/>
                    </a:lnTo>
                    <a:lnTo>
                      <a:pt x="2451" y="1605"/>
                    </a:lnTo>
                    <a:lnTo>
                      <a:pt x="2443" y="1613"/>
                    </a:lnTo>
                    <a:lnTo>
                      <a:pt x="2443" y="1571"/>
                    </a:lnTo>
                    <a:cubicBezTo>
                      <a:pt x="2443" y="1568"/>
                      <a:pt x="2445" y="1565"/>
                      <a:pt x="2448" y="1563"/>
                    </a:cubicBezTo>
                    <a:cubicBezTo>
                      <a:pt x="2451" y="1562"/>
                      <a:pt x="2454" y="1563"/>
                      <a:pt x="2456" y="1565"/>
                    </a:cubicBezTo>
                    <a:lnTo>
                      <a:pt x="2502" y="1607"/>
                    </a:lnTo>
                    <a:lnTo>
                      <a:pt x="2489" y="1613"/>
                    </a:lnTo>
                    <a:lnTo>
                      <a:pt x="2483" y="1504"/>
                    </a:lnTo>
                    <a:lnTo>
                      <a:pt x="2495" y="1511"/>
                    </a:lnTo>
                    <a:lnTo>
                      <a:pt x="2454" y="1531"/>
                    </a:lnTo>
                    <a:cubicBezTo>
                      <a:pt x="2451" y="1533"/>
                      <a:pt x="2447" y="1532"/>
                      <a:pt x="2445" y="1529"/>
                    </a:cubicBezTo>
                    <a:cubicBezTo>
                      <a:pt x="2443" y="1527"/>
                      <a:pt x="2442" y="1523"/>
                      <a:pt x="2444" y="1520"/>
                    </a:cubicBezTo>
                    <a:lnTo>
                      <a:pt x="2471" y="1475"/>
                    </a:lnTo>
                    <a:lnTo>
                      <a:pt x="2480" y="1486"/>
                    </a:lnTo>
                    <a:lnTo>
                      <a:pt x="2422" y="1503"/>
                    </a:lnTo>
                    <a:cubicBezTo>
                      <a:pt x="2419" y="1504"/>
                      <a:pt x="2416" y="1503"/>
                      <a:pt x="2414" y="1500"/>
                    </a:cubicBezTo>
                    <a:cubicBezTo>
                      <a:pt x="2412" y="1497"/>
                      <a:pt x="2412" y="1494"/>
                      <a:pt x="2414" y="1491"/>
                    </a:cubicBezTo>
                    <a:lnTo>
                      <a:pt x="2444" y="1449"/>
                    </a:lnTo>
                    <a:lnTo>
                      <a:pt x="2447" y="1461"/>
                    </a:lnTo>
                    <a:lnTo>
                      <a:pt x="2344" y="1407"/>
                    </a:lnTo>
                    <a:lnTo>
                      <a:pt x="2353" y="1406"/>
                    </a:lnTo>
                    <a:lnTo>
                      <a:pt x="2316" y="1444"/>
                    </a:lnTo>
                    <a:cubicBezTo>
                      <a:pt x="2313" y="1447"/>
                      <a:pt x="2309" y="1447"/>
                      <a:pt x="2305" y="1445"/>
                    </a:cubicBezTo>
                    <a:cubicBezTo>
                      <a:pt x="2302" y="1443"/>
                      <a:pt x="2301" y="1439"/>
                      <a:pt x="2303" y="1435"/>
                    </a:cubicBezTo>
                    <a:lnTo>
                      <a:pt x="2333" y="1370"/>
                    </a:lnTo>
                    <a:lnTo>
                      <a:pt x="2340" y="1381"/>
                    </a:lnTo>
                    <a:lnTo>
                      <a:pt x="2245" y="1376"/>
                    </a:lnTo>
                    <a:cubicBezTo>
                      <a:pt x="2241" y="1376"/>
                      <a:pt x="2238" y="1373"/>
                      <a:pt x="2238" y="1370"/>
                    </a:cubicBezTo>
                    <a:cubicBezTo>
                      <a:pt x="2237" y="1366"/>
                      <a:pt x="2240" y="1362"/>
                      <a:pt x="2243" y="1361"/>
                    </a:cubicBezTo>
                    <a:lnTo>
                      <a:pt x="2331" y="1331"/>
                    </a:lnTo>
                    <a:lnTo>
                      <a:pt x="2331" y="1346"/>
                    </a:lnTo>
                    <a:lnTo>
                      <a:pt x="2239" y="1314"/>
                    </a:lnTo>
                    <a:cubicBezTo>
                      <a:pt x="2236" y="1313"/>
                      <a:pt x="2234" y="1310"/>
                      <a:pt x="2234" y="1307"/>
                    </a:cubicBezTo>
                    <a:cubicBezTo>
                      <a:pt x="2233" y="1304"/>
                      <a:pt x="2235" y="1300"/>
                      <a:pt x="2238" y="1299"/>
                    </a:cubicBezTo>
                    <a:lnTo>
                      <a:pt x="2368" y="1242"/>
                    </a:lnTo>
                    <a:cubicBezTo>
                      <a:pt x="2371" y="1241"/>
                      <a:pt x="2374" y="1241"/>
                      <a:pt x="2376" y="1243"/>
                    </a:cubicBezTo>
                    <a:lnTo>
                      <a:pt x="2463" y="1307"/>
                    </a:lnTo>
                    <a:lnTo>
                      <a:pt x="2456" y="1306"/>
                    </a:lnTo>
                    <a:lnTo>
                      <a:pt x="2542" y="1279"/>
                    </a:lnTo>
                    <a:lnTo>
                      <a:pt x="2537" y="1284"/>
                    </a:lnTo>
                    <a:lnTo>
                      <a:pt x="2552" y="1240"/>
                    </a:lnTo>
                    <a:lnTo>
                      <a:pt x="2556" y="1250"/>
                    </a:lnTo>
                    <a:lnTo>
                      <a:pt x="2447" y="1197"/>
                    </a:lnTo>
                    <a:cubicBezTo>
                      <a:pt x="2445" y="1195"/>
                      <a:pt x="2443" y="1193"/>
                      <a:pt x="2443" y="1190"/>
                    </a:cubicBezTo>
                    <a:cubicBezTo>
                      <a:pt x="2443" y="1188"/>
                      <a:pt x="2444" y="1185"/>
                      <a:pt x="2446" y="1183"/>
                    </a:cubicBezTo>
                    <a:lnTo>
                      <a:pt x="2472" y="1160"/>
                    </a:lnTo>
                    <a:cubicBezTo>
                      <a:pt x="2474" y="1159"/>
                      <a:pt x="2476" y="1158"/>
                      <a:pt x="2478" y="1158"/>
                    </a:cubicBezTo>
                    <a:lnTo>
                      <a:pt x="2621" y="1171"/>
                    </a:lnTo>
                    <a:lnTo>
                      <a:pt x="2618" y="1187"/>
                    </a:lnTo>
                    <a:lnTo>
                      <a:pt x="2527" y="1164"/>
                    </a:lnTo>
                    <a:cubicBezTo>
                      <a:pt x="2525" y="1163"/>
                      <a:pt x="2523" y="1162"/>
                      <a:pt x="2522" y="1160"/>
                    </a:cubicBezTo>
                    <a:cubicBezTo>
                      <a:pt x="2521" y="1158"/>
                      <a:pt x="2521" y="1156"/>
                      <a:pt x="2521" y="1154"/>
                    </a:cubicBezTo>
                    <a:lnTo>
                      <a:pt x="2533" y="1112"/>
                    </a:lnTo>
                    <a:lnTo>
                      <a:pt x="2541" y="1122"/>
                    </a:lnTo>
                    <a:lnTo>
                      <a:pt x="2500" y="1125"/>
                    </a:lnTo>
                    <a:cubicBezTo>
                      <a:pt x="2497" y="1126"/>
                      <a:pt x="2493" y="1123"/>
                      <a:pt x="2492" y="1120"/>
                    </a:cubicBezTo>
                    <a:cubicBezTo>
                      <a:pt x="2491" y="1116"/>
                      <a:pt x="2493" y="1112"/>
                      <a:pt x="2496" y="1110"/>
                    </a:cubicBezTo>
                    <a:lnTo>
                      <a:pt x="2541" y="1089"/>
                    </a:lnTo>
                    <a:lnTo>
                      <a:pt x="2541" y="1103"/>
                    </a:lnTo>
                    <a:lnTo>
                      <a:pt x="2467" y="1066"/>
                    </a:lnTo>
                    <a:cubicBezTo>
                      <a:pt x="2463" y="1064"/>
                      <a:pt x="2461" y="1060"/>
                      <a:pt x="2463" y="1056"/>
                    </a:cubicBezTo>
                    <a:cubicBezTo>
                      <a:pt x="2465" y="1052"/>
                      <a:pt x="2469" y="1050"/>
                      <a:pt x="2473" y="1051"/>
                    </a:cubicBezTo>
                    <a:lnTo>
                      <a:pt x="2599" y="1091"/>
                    </a:lnTo>
                    <a:lnTo>
                      <a:pt x="2588" y="1099"/>
                    </a:lnTo>
                    <a:lnTo>
                      <a:pt x="2590" y="1032"/>
                    </a:lnTo>
                    <a:lnTo>
                      <a:pt x="2594" y="1040"/>
                    </a:lnTo>
                    <a:lnTo>
                      <a:pt x="2526" y="1011"/>
                    </a:lnTo>
                    <a:cubicBezTo>
                      <a:pt x="2523" y="1010"/>
                      <a:pt x="2521" y="1007"/>
                      <a:pt x="2521" y="1004"/>
                    </a:cubicBezTo>
                    <a:cubicBezTo>
                      <a:pt x="2521" y="1001"/>
                      <a:pt x="2522" y="998"/>
                      <a:pt x="2525" y="997"/>
                    </a:cubicBezTo>
                    <a:lnTo>
                      <a:pt x="2577" y="965"/>
                    </a:lnTo>
                    <a:lnTo>
                      <a:pt x="2581" y="980"/>
                    </a:lnTo>
                    <a:lnTo>
                      <a:pt x="2494" y="978"/>
                    </a:lnTo>
                    <a:cubicBezTo>
                      <a:pt x="2492" y="978"/>
                      <a:pt x="2490" y="977"/>
                      <a:pt x="2488" y="976"/>
                    </a:cubicBezTo>
                    <a:lnTo>
                      <a:pt x="2441" y="922"/>
                    </a:lnTo>
                    <a:cubicBezTo>
                      <a:pt x="2439" y="920"/>
                      <a:pt x="2438" y="917"/>
                      <a:pt x="2439" y="914"/>
                    </a:cubicBezTo>
                    <a:cubicBezTo>
                      <a:pt x="2440" y="911"/>
                      <a:pt x="2443" y="909"/>
                      <a:pt x="2446" y="909"/>
                    </a:cubicBezTo>
                    <a:lnTo>
                      <a:pt x="2539" y="895"/>
                    </a:lnTo>
                    <a:lnTo>
                      <a:pt x="2537" y="911"/>
                    </a:lnTo>
                    <a:lnTo>
                      <a:pt x="2491" y="889"/>
                    </a:lnTo>
                    <a:cubicBezTo>
                      <a:pt x="2487" y="887"/>
                      <a:pt x="2486" y="883"/>
                      <a:pt x="2486" y="880"/>
                    </a:cubicBezTo>
                    <a:cubicBezTo>
                      <a:pt x="2487" y="876"/>
                      <a:pt x="2491" y="873"/>
                      <a:pt x="2495" y="874"/>
                    </a:cubicBezTo>
                    <a:lnTo>
                      <a:pt x="2662" y="882"/>
                    </a:lnTo>
                    <a:lnTo>
                      <a:pt x="2654" y="890"/>
                    </a:lnTo>
                    <a:lnTo>
                      <a:pt x="2651" y="844"/>
                    </a:lnTo>
                    <a:lnTo>
                      <a:pt x="2658" y="851"/>
                    </a:lnTo>
                    <a:lnTo>
                      <a:pt x="2546" y="834"/>
                    </a:lnTo>
                    <a:cubicBezTo>
                      <a:pt x="2542" y="834"/>
                      <a:pt x="2539" y="830"/>
                      <a:pt x="2539" y="826"/>
                    </a:cubicBezTo>
                    <a:lnTo>
                      <a:pt x="2539" y="788"/>
                    </a:lnTo>
                    <a:cubicBezTo>
                      <a:pt x="2539" y="784"/>
                      <a:pt x="2543" y="780"/>
                      <a:pt x="2547" y="780"/>
                    </a:cubicBezTo>
                    <a:lnTo>
                      <a:pt x="2614" y="780"/>
                    </a:lnTo>
                    <a:lnTo>
                      <a:pt x="2611" y="795"/>
                    </a:lnTo>
                    <a:lnTo>
                      <a:pt x="2537" y="767"/>
                    </a:lnTo>
                    <a:lnTo>
                      <a:pt x="2544" y="767"/>
                    </a:lnTo>
                    <a:lnTo>
                      <a:pt x="2492" y="795"/>
                    </a:lnTo>
                    <a:cubicBezTo>
                      <a:pt x="2490" y="797"/>
                      <a:pt x="2486" y="796"/>
                      <a:pt x="2484" y="794"/>
                    </a:cubicBezTo>
                    <a:cubicBezTo>
                      <a:pt x="2481" y="792"/>
                      <a:pt x="2480" y="789"/>
                      <a:pt x="2481" y="786"/>
                    </a:cubicBezTo>
                    <a:lnTo>
                      <a:pt x="2516" y="655"/>
                    </a:lnTo>
                    <a:cubicBezTo>
                      <a:pt x="2516" y="654"/>
                      <a:pt x="2517" y="652"/>
                      <a:pt x="2519" y="651"/>
                    </a:cubicBezTo>
                    <a:lnTo>
                      <a:pt x="2617" y="587"/>
                    </a:lnTo>
                    <a:lnTo>
                      <a:pt x="2625" y="601"/>
                    </a:lnTo>
                    <a:lnTo>
                      <a:pt x="2592" y="619"/>
                    </a:lnTo>
                    <a:cubicBezTo>
                      <a:pt x="2589" y="621"/>
                      <a:pt x="2586" y="621"/>
                      <a:pt x="2583" y="619"/>
                    </a:cubicBezTo>
                    <a:cubicBezTo>
                      <a:pt x="2581" y="617"/>
                      <a:pt x="2579" y="614"/>
                      <a:pt x="2580" y="611"/>
                    </a:cubicBezTo>
                    <a:lnTo>
                      <a:pt x="2592" y="541"/>
                    </a:lnTo>
                    <a:cubicBezTo>
                      <a:pt x="2593" y="538"/>
                      <a:pt x="2594" y="536"/>
                      <a:pt x="2597" y="535"/>
                    </a:cubicBezTo>
                    <a:lnTo>
                      <a:pt x="2700" y="480"/>
                    </a:lnTo>
                    <a:lnTo>
                      <a:pt x="2706" y="495"/>
                    </a:lnTo>
                    <a:lnTo>
                      <a:pt x="2565" y="538"/>
                    </a:lnTo>
                    <a:cubicBezTo>
                      <a:pt x="2563" y="539"/>
                      <a:pt x="2561" y="538"/>
                      <a:pt x="2559" y="537"/>
                    </a:cubicBezTo>
                    <a:cubicBezTo>
                      <a:pt x="2557" y="536"/>
                      <a:pt x="2556" y="535"/>
                      <a:pt x="2555" y="533"/>
                    </a:cubicBezTo>
                    <a:lnTo>
                      <a:pt x="2542" y="489"/>
                    </a:lnTo>
                    <a:cubicBezTo>
                      <a:pt x="2542" y="487"/>
                      <a:pt x="2542" y="485"/>
                      <a:pt x="2543" y="483"/>
                    </a:cubicBezTo>
                    <a:cubicBezTo>
                      <a:pt x="2544" y="481"/>
                      <a:pt x="2546" y="480"/>
                      <a:pt x="2548" y="479"/>
                    </a:cubicBezTo>
                    <a:lnTo>
                      <a:pt x="2756" y="422"/>
                    </a:lnTo>
                    <a:lnTo>
                      <a:pt x="2758" y="438"/>
                    </a:lnTo>
                    <a:lnTo>
                      <a:pt x="2504" y="435"/>
                    </a:lnTo>
                    <a:cubicBezTo>
                      <a:pt x="2500" y="435"/>
                      <a:pt x="2496" y="431"/>
                      <a:pt x="2496" y="427"/>
                    </a:cubicBezTo>
                    <a:cubicBezTo>
                      <a:pt x="2496" y="423"/>
                      <a:pt x="2499" y="419"/>
                      <a:pt x="2503" y="419"/>
                    </a:cubicBezTo>
                    <a:lnTo>
                      <a:pt x="2821" y="379"/>
                    </a:lnTo>
                    <a:lnTo>
                      <a:pt x="2815" y="389"/>
                    </a:lnTo>
                    <a:lnTo>
                      <a:pt x="2806" y="360"/>
                    </a:lnTo>
                    <a:cubicBezTo>
                      <a:pt x="2805" y="357"/>
                      <a:pt x="2807" y="353"/>
                      <a:pt x="2810" y="351"/>
                    </a:cubicBezTo>
                    <a:lnTo>
                      <a:pt x="2950" y="282"/>
                    </a:lnTo>
                    <a:lnTo>
                      <a:pt x="2951" y="297"/>
                    </a:lnTo>
                    <a:lnTo>
                      <a:pt x="2809" y="250"/>
                    </a:lnTo>
                    <a:lnTo>
                      <a:pt x="2812" y="251"/>
                    </a:lnTo>
                    <a:lnTo>
                      <a:pt x="2696" y="257"/>
                    </a:lnTo>
                    <a:lnTo>
                      <a:pt x="2702" y="254"/>
                    </a:lnTo>
                    <a:lnTo>
                      <a:pt x="2669" y="307"/>
                    </a:lnTo>
                    <a:cubicBezTo>
                      <a:pt x="2667" y="309"/>
                      <a:pt x="2665" y="311"/>
                      <a:pt x="2662" y="311"/>
                    </a:cubicBezTo>
                    <a:lnTo>
                      <a:pt x="2556" y="313"/>
                    </a:lnTo>
                    <a:cubicBezTo>
                      <a:pt x="2553" y="313"/>
                      <a:pt x="2551" y="312"/>
                      <a:pt x="2550" y="310"/>
                    </a:cubicBezTo>
                    <a:cubicBezTo>
                      <a:pt x="2548" y="308"/>
                      <a:pt x="2547" y="305"/>
                      <a:pt x="2548" y="303"/>
                    </a:cubicBezTo>
                    <a:lnTo>
                      <a:pt x="2552" y="280"/>
                    </a:lnTo>
                    <a:lnTo>
                      <a:pt x="2564" y="288"/>
                    </a:lnTo>
                    <a:lnTo>
                      <a:pt x="2343" y="447"/>
                    </a:lnTo>
                    <a:cubicBezTo>
                      <a:pt x="2339" y="449"/>
                      <a:pt x="2335" y="448"/>
                      <a:pt x="2332" y="446"/>
                    </a:cubicBezTo>
                    <a:cubicBezTo>
                      <a:pt x="2329" y="443"/>
                      <a:pt x="2329" y="438"/>
                      <a:pt x="2332" y="435"/>
                    </a:cubicBezTo>
                    <a:lnTo>
                      <a:pt x="2445" y="296"/>
                    </a:lnTo>
                    <a:lnTo>
                      <a:pt x="2443" y="302"/>
                    </a:lnTo>
                    <a:lnTo>
                      <a:pt x="2430" y="222"/>
                    </a:lnTo>
                    <a:lnTo>
                      <a:pt x="2441" y="228"/>
                    </a:lnTo>
                    <a:lnTo>
                      <a:pt x="2209" y="312"/>
                    </a:lnTo>
                    <a:cubicBezTo>
                      <a:pt x="2206" y="313"/>
                      <a:pt x="2201" y="312"/>
                      <a:pt x="2200" y="308"/>
                    </a:cubicBezTo>
                    <a:cubicBezTo>
                      <a:pt x="2198" y="305"/>
                      <a:pt x="2199" y="300"/>
                      <a:pt x="2202" y="298"/>
                    </a:cubicBezTo>
                    <a:lnTo>
                      <a:pt x="2277" y="246"/>
                    </a:lnTo>
                    <a:lnTo>
                      <a:pt x="2277" y="259"/>
                    </a:lnTo>
                    <a:lnTo>
                      <a:pt x="2248" y="237"/>
                    </a:lnTo>
                    <a:lnTo>
                      <a:pt x="2254" y="239"/>
                    </a:lnTo>
                    <a:lnTo>
                      <a:pt x="1894" y="292"/>
                    </a:lnTo>
                    <a:cubicBezTo>
                      <a:pt x="1891" y="293"/>
                      <a:pt x="1889" y="292"/>
                      <a:pt x="1887" y="291"/>
                    </a:cubicBezTo>
                    <a:cubicBezTo>
                      <a:pt x="1886" y="289"/>
                      <a:pt x="1885" y="287"/>
                      <a:pt x="1885" y="284"/>
                    </a:cubicBezTo>
                    <a:lnTo>
                      <a:pt x="1885" y="249"/>
                    </a:lnTo>
                    <a:cubicBezTo>
                      <a:pt x="1885" y="246"/>
                      <a:pt x="1887" y="242"/>
                      <a:pt x="1891" y="241"/>
                    </a:cubicBezTo>
                    <a:lnTo>
                      <a:pt x="2029" y="213"/>
                    </a:lnTo>
                    <a:lnTo>
                      <a:pt x="2030" y="229"/>
                    </a:lnTo>
                    <a:lnTo>
                      <a:pt x="1951" y="217"/>
                    </a:lnTo>
                    <a:cubicBezTo>
                      <a:pt x="1947" y="216"/>
                      <a:pt x="1944" y="213"/>
                      <a:pt x="1945" y="209"/>
                    </a:cubicBezTo>
                    <a:cubicBezTo>
                      <a:pt x="1945" y="204"/>
                      <a:pt x="1949" y="201"/>
                      <a:pt x="1953" y="201"/>
                    </a:cubicBezTo>
                    <a:lnTo>
                      <a:pt x="2279" y="208"/>
                    </a:lnTo>
                    <a:lnTo>
                      <a:pt x="2277" y="208"/>
                    </a:lnTo>
                    <a:lnTo>
                      <a:pt x="2480" y="140"/>
                    </a:lnTo>
                    <a:lnTo>
                      <a:pt x="2481" y="155"/>
                    </a:lnTo>
                    <a:lnTo>
                      <a:pt x="2345" y="115"/>
                    </a:lnTo>
                    <a:lnTo>
                      <a:pt x="2349" y="115"/>
                    </a:lnTo>
                    <a:lnTo>
                      <a:pt x="2231" y="128"/>
                    </a:lnTo>
                    <a:cubicBezTo>
                      <a:pt x="2227" y="129"/>
                      <a:pt x="2223" y="126"/>
                      <a:pt x="2223" y="122"/>
                    </a:cubicBezTo>
                    <a:cubicBezTo>
                      <a:pt x="2222" y="118"/>
                      <a:pt x="2224" y="114"/>
                      <a:pt x="2228" y="113"/>
                    </a:cubicBezTo>
                    <a:lnTo>
                      <a:pt x="2297" y="93"/>
                    </a:lnTo>
                    <a:lnTo>
                      <a:pt x="2292" y="104"/>
                    </a:lnTo>
                    <a:lnTo>
                      <a:pt x="2272" y="69"/>
                    </a:lnTo>
                    <a:lnTo>
                      <a:pt x="2280" y="73"/>
                    </a:lnTo>
                    <a:lnTo>
                      <a:pt x="1766" y="113"/>
                    </a:lnTo>
                    <a:cubicBezTo>
                      <a:pt x="1762" y="114"/>
                      <a:pt x="1758" y="111"/>
                      <a:pt x="1758" y="106"/>
                    </a:cubicBezTo>
                    <a:cubicBezTo>
                      <a:pt x="1757" y="102"/>
                      <a:pt x="1760" y="98"/>
                      <a:pt x="1764" y="98"/>
                    </a:cubicBezTo>
                    <a:lnTo>
                      <a:pt x="1907" y="74"/>
                    </a:lnTo>
                    <a:lnTo>
                      <a:pt x="1905" y="89"/>
                    </a:lnTo>
                    <a:lnTo>
                      <a:pt x="1862" y="71"/>
                    </a:lnTo>
                    <a:cubicBezTo>
                      <a:pt x="1858" y="70"/>
                      <a:pt x="1856" y="66"/>
                      <a:pt x="1857" y="62"/>
                    </a:cubicBezTo>
                    <a:cubicBezTo>
                      <a:pt x="1858" y="58"/>
                      <a:pt x="1861" y="56"/>
                      <a:pt x="1865" y="56"/>
                    </a:cubicBezTo>
                    <a:lnTo>
                      <a:pt x="2230" y="52"/>
                    </a:lnTo>
                    <a:lnTo>
                      <a:pt x="2225" y="55"/>
                    </a:lnTo>
                    <a:lnTo>
                      <a:pt x="2240" y="40"/>
                    </a:lnTo>
                    <a:lnTo>
                      <a:pt x="2242" y="52"/>
                    </a:lnTo>
                    <a:lnTo>
                      <a:pt x="2203" y="32"/>
                    </a:lnTo>
                    <a:lnTo>
                      <a:pt x="2206" y="33"/>
                    </a:lnTo>
                    <a:lnTo>
                      <a:pt x="1663" y="16"/>
                    </a:lnTo>
                    <a:lnTo>
                      <a:pt x="1666" y="16"/>
                    </a:lnTo>
                    <a:lnTo>
                      <a:pt x="1616" y="31"/>
                    </a:lnTo>
                    <a:lnTo>
                      <a:pt x="1621" y="23"/>
                    </a:lnTo>
                    <a:lnTo>
                      <a:pt x="1624" y="60"/>
                    </a:lnTo>
                    <a:lnTo>
                      <a:pt x="1617" y="52"/>
                    </a:lnTo>
                    <a:lnTo>
                      <a:pt x="1691" y="57"/>
                    </a:lnTo>
                    <a:cubicBezTo>
                      <a:pt x="1695" y="58"/>
                      <a:pt x="1698" y="61"/>
                      <a:pt x="1698" y="64"/>
                    </a:cubicBezTo>
                    <a:cubicBezTo>
                      <a:pt x="1699" y="68"/>
                      <a:pt x="1696" y="72"/>
                      <a:pt x="1692" y="73"/>
                    </a:cubicBezTo>
                    <a:lnTo>
                      <a:pt x="1605" y="100"/>
                    </a:lnTo>
                    <a:lnTo>
                      <a:pt x="1608" y="87"/>
                    </a:lnTo>
                    <a:lnTo>
                      <a:pt x="1631" y="114"/>
                    </a:lnTo>
                    <a:cubicBezTo>
                      <a:pt x="1633" y="117"/>
                      <a:pt x="1633" y="120"/>
                      <a:pt x="1631" y="123"/>
                    </a:cubicBezTo>
                    <a:cubicBezTo>
                      <a:pt x="1629" y="126"/>
                      <a:pt x="1625" y="128"/>
                      <a:pt x="1622" y="126"/>
                    </a:cubicBezTo>
                    <a:lnTo>
                      <a:pt x="1419" y="54"/>
                    </a:lnTo>
                    <a:lnTo>
                      <a:pt x="1424" y="55"/>
                    </a:lnTo>
                    <a:lnTo>
                      <a:pt x="1371" y="68"/>
                    </a:lnTo>
                    <a:lnTo>
                      <a:pt x="1372" y="53"/>
                    </a:lnTo>
                    <a:lnTo>
                      <a:pt x="1421" y="69"/>
                    </a:lnTo>
                    <a:cubicBezTo>
                      <a:pt x="1424" y="71"/>
                      <a:pt x="1427" y="75"/>
                      <a:pt x="1426" y="79"/>
                    </a:cubicBezTo>
                    <a:cubicBezTo>
                      <a:pt x="1425" y="83"/>
                      <a:pt x="1421" y="85"/>
                      <a:pt x="1417" y="85"/>
                    </a:cubicBezTo>
                    <a:lnTo>
                      <a:pt x="1299" y="73"/>
                    </a:lnTo>
                    <a:lnTo>
                      <a:pt x="1302" y="58"/>
                    </a:lnTo>
                    <a:lnTo>
                      <a:pt x="1403" y="98"/>
                    </a:lnTo>
                    <a:cubicBezTo>
                      <a:pt x="1406" y="99"/>
                      <a:pt x="1408" y="103"/>
                      <a:pt x="1408" y="107"/>
                    </a:cubicBezTo>
                    <a:cubicBezTo>
                      <a:pt x="1407" y="110"/>
                      <a:pt x="1404" y="113"/>
                      <a:pt x="1400" y="113"/>
                    </a:cubicBezTo>
                    <a:lnTo>
                      <a:pt x="1346" y="117"/>
                    </a:lnTo>
                    <a:lnTo>
                      <a:pt x="1346" y="101"/>
                    </a:lnTo>
                    <a:lnTo>
                      <a:pt x="1509" y="109"/>
                    </a:lnTo>
                    <a:cubicBezTo>
                      <a:pt x="1511" y="109"/>
                      <a:pt x="1512" y="110"/>
                      <a:pt x="1513" y="111"/>
                    </a:cubicBezTo>
                    <a:lnTo>
                      <a:pt x="1575" y="156"/>
                    </a:lnTo>
                    <a:cubicBezTo>
                      <a:pt x="1578" y="158"/>
                      <a:pt x="1579" y="162"/>
                      <a:pt x="1577" y="165"/>
                    </a:cubicBezTo>
                    <a:cubicBezTo>
                      <a:pt x="1576" y="169"/>
                      <a:pt x="1573" y="171"/>
                      <a:pt x="1569" y="170"/>
                    </a:cubicBezTo>
                    <a:lnTo>
                      <a:pt x="1294" y="127"/>
                    </a:lnTo>
                    <a:lnTo>
                      <a:pt x="1299" y="112"/>
                    </a:lnTo>
                    <a:lnTo>
                      <a:pt x="1450" y="190"/>
                    </a:lnTo>
                    <a:cubicBezTo>
                      <a:pt x="1453" y="192"/>
                      <a:pt x="1455" y="196"/>
                      <a:pt x="1454" y="200"/>
                    </a:cubicBezTo>
                    <a:cubicBezTo>
                      <a:pt x="1453" y="203"/>
                      <a:pt x="1449" y="206"/>
                      <a:pt x="1445" y="205"/>
                    </a:cubicBezTo>
                    <a:lnTo>
                      <a:pt x="1350" y="199"/>
                    </a:lnTo>
                    <a:lnTo>
                      <a:pt x="1356" y="184"/>
                    </a:lnTo>
                    <a:lnTo>
                      <a:pt x="1395" y="215"/>
                    </a:lnTo>
                    <a:cubicBezTo>
                      <a:pt x="1398" y="217"/>
                      <a:pt x="1399" y="220"/>
                      <a:pt x="1398" y="223"/>
                    </a:cubicBezTo>
                    <a:cubicBezTo>
                      <a:pt x="1397" y="226"/>
                      <a:pt x="1394" y="229"/>
                      <a:pt x="1391" y="229"/>
                    </a:cubicBezTo>
                    <a:lnTo>
                      <a:pt x="1329" y="236"/>
                    </a:lnTo>
                    <a:lnTo>
                      <a:pt x="1335" y="223"/>
                    </a:lnTo>
                    <a:lnTo>
                      <a:pt x="1358" y="258"/>
                    </a:lnTo>
                    <a:cubicBezTo>
                      <a:pt x="1360" y="261"/>
                      <a:pt x="1359" y="265"/>
                      <a:pt x="1357" y="268"/>
                    </a:cubicBezTo>
                    <a:cubicBezTo>
                      <a:pt x="1355" y="270"/>
                      <a:pt x="1351" y="271"/>
                      <a:pt x="1348" y="270"/>
                    </a:cubicBezTo>
                    <a:lnTo>
                      <a:pt x="1065" y="161"/>
                    </a:lnTo>
                    <a:lnTo>
                      <a:pt x="1070" y="162"/>
                    </a:lnTo>
                    <a:lnTo>
                      <a:pt x="1037" y="170"/>
                    </a:lnTo>
                    <a:lnTo>
                      <a:pt x="1043" y="159"/>
                    </a:lnTo>
                    <a:lnTo>
                      <a:pt x="1059" y="194"/>
                    </a:lnTo>
                    <a:lnTo>
                      <a:pt x="1057" y="191"/>
                    </a:lnTo>
                    <a:lnTo>
                      <a:pt x="1117" y="236"/>
                    </a:lnTo>
                    <a:cubicBezTo>
                      <a:pt x="1120" y="238"/>
                      <a:pt x="1121" y="242"/>
                      <a:pt x="1120" y="246"/>
                    </a:cubicBezTo>
                    <a:cubicBezTo>
                      <a:pt x="1118" y="249"/>
                      <a:pt x="1115" y="251"/>
                      <a:pt x="1111" y="251"/>
                    </a:cubicBezTo>
                    <a:lnTo>
                      <a:pt x="1043" y="244"/>
                    </a:lnTo>
                    <a:lnTo>
                      <a:pt x="1049" y="230"/>
                    </a:lnTo>
                    <a:lnTo>
                      <a:pt x="1098" y="268"/>
                    </a:lnTo>
                    <a:cubicBezTo>
                      <a:pt x="1101" y="271"/>
                      <a:pt x="1102" y="275"/>
                      <a:pt x="1100" y="278"/>
                    </a:cubicBezTo>
                    <a:cubicBezTo>
                      <a:pt x="1098" y="282"/>
                      <a:pt x="1094" y="283"/>
                      <a:pt x="1090" y="282"/>
                    </a:cubicBezTo>
                    <a:lnTo>
                      <a:pt x="948" y="235"/>
                    </a:lnTo>
                    <a:lnTo>
                      <a:pt x="958" y="231"/>
                    </a:lnTo>
                    <a:lnTo>
                      <a:pt x="928" y="296"/>
                    </a:lnTo>
                    <a:cubicBezTo>
                      <a:pt x="927" y="299"/>
                      <a:pt x="923" y="301"/>
                      <a:pt x="920" y="301"/>
                    </a:cubicBezTo>
                    <a:cubicBezTo>
                      <a:pt x="916" y="300"/>
                      <a:pt x="913" y="297"/>
                      <a:pt x="913" y="294"/>
                    </a:cubicBezTo>
                    <a:lnTo>
                      <a:pt x="906" y="217"/>
                    </a:lnTo>
                    <a:lnTo>
                      <a:pt x="909" y="222"/>
                    </a:lnTo>
                    <a:lnTo>
                      <a:pt x="855" y="182"/>
                    </a:lnTo>
                    <a:lnTo>
                      <a:pt x="862" y="184"/>
                    </a:lnTo>
                    <a:lnTo>
                      <a:pt x="640" y="239"/>
                    </a:lnTo>
                    <a:lnTo>
                      <a:pt x="642" y="224"/>
                    </a:lnTo>
                    <a:lnTo>
                      <a:pt x="759" y="306"/>
                    </a:lnTo>
                    <a:cubicBezTo>
                      <a:pt x="763" y="309"/>
                      <a:pt x="764" y="314"/>
                      <a:pt x="762" y="317"/>
                    </a:cubicBezTo>
                    <a:cubicBezTo>
                      <a:pt x="759" y="321"/>
                      <a:pt x="754" y="322"/>
                      <a:pt x="751" y="320"/>
                    </a:cubicBezTo>
                    <a:lnTo>
                      <a:pt x="651" y="256"/>
                    </a:lnTo>
                    <a:lnTo>
                      <a:pt x="656" y="257"/>
                    </a:lnTo>
                    <a:lnTo>
                      <a:pt x="558" y="261"/>
                    </a:lnTo>
                    <a:lnTo>
                      <a:pt x="566" y="252"/>
                    </a:lnTo>
                    <a:lnTo>
                      <a:pt x="572" y="341"/>
                    </a:lnTo>
                    <a:cubicBezTo>
                      <a:pt x="572" y="343"/>
                      <a:pt x="571" y="345"/>
                      <a:pt x="570" y="347"/>
                    </a:cubicBezTo>
                    <a:cubicBezTo>
                      <a:pt x="568" y="348"/>
                      <a:pt x="566" y="349"/>
                      <a:pt x="564" y="349"/>
                    </a:cubicBezTo>
                    <a:lnTo>
                      <a:pt x="433" y="353"/>
                    </a:lnTo>
                    <a:lnTo>
                      <a:pt x="439" y="349"/>
                    </a:lnTo>
                    <a:lnTo>
                      <a:pt x="379" y="431"/>
                    </a:lnTo>
                    <a:cubicBezTo>
                      <a:pt x="378" y="433"/>
                      <a:pt x="376" y="434"/>
                      <a:pt x="374" y="434"/>
                    </a:cubicBezTo>
                    <a:lnTo>
                      <a:pt x="267" y="463"/>
                    </a:lnTo>
                    <a:lnTo>
                      <a:pt x="269" y="448"/>
                    </a:lnTo>
                    <a:lnTo>
                      <a:pt x="353" y="497"/>
                    </a:lnTo>
                    <a:lnTo>
                      <a:pt x="345" y="496"/>
                    </a:lnTo>
                    <a:lnTo>
                      <a:pt x="431" y="458"/>
                    </a:lnTo>
                    <a:cubicBezTo>
                      <a:pt x="433" y="457"/>
                      <a:pt x="437" y="457"/>
                      <a:pt x="439" y="459"/>
                    </a:cubicBezTo>
                    <a:lnTo>
                      <a:pt x="463" y="479"/>
                    </a:lnTo>
                    <a:cubicBezTo>
                      <a:pt x="465" y="481"/>
                      <a:pt x="466" y="484"/>
                      <a:pt x="465" y="487"/>
                    </a:cubicBezTo>
                    <a:cubicBezTo>
                      <a:pt x="465" y="489"/>
                      <a:pt x="463" y="492"/>
                      <a:pt x="460" y="493"/>
                    </a:cubicBezTo>
                    <a:lnTo>
                      <a:pt x="396" y="516"/>
                    </a:lnTo>
                    <a:lnTo>
                      <a:pt x="396" y="501"/>
                    </a:lnTo>
                    <a:lnTo>
                      <a:pt x="432" y="514"/>
                    </a:lnTo>
                    <a:cubicBezTo>
                      <a:pt x="435" y="516"/>
                      <a:pt x="438" y="518"/>
                      <a:pt x="438" y="522"/>
                    </a:cubicBezTo>
                    <a:cubicBezTo>
                      <a:pt x="438" y="525"/>
                      <a:pt x="436" y="528"/>
                      <a:pt x="433" y="529"/>
                    </a:cubicBezTo>
                    <a:lnTo>
                      <a:pt x="390" y="549"/>
                    </a:lnTo>
                    <a:lnTo>
                      <a:pt x="392" y="536"/>
                    </a:lnTo>
                    <a:lnTo>
                      <a:pt x="413" y="554"/>
                    </a:lnTo>
                    <a:cubicBezTo>
                      <a:pt x="414" y="556"/>
                      <a:pt x="415" y="558"/>
                      <a:pt x="415" y="561"/>
                    </a:cubicBezTo>
                    <a:cubicBezTo>
                      <a:pt x="415" y="563"/>
                      <a:pt x="414" y="565"/>
                      <a:pt x="413" y="567"/>
                    </a:cubicBezTo>
                    <a:lnTo>
                      <a:pt x="344" y="625"/>
                    </a:lnTo>
                    <a:cubicBezTo>
                      <a:pt x="343" y="626"/>
                      <a:pt x="341" y="627"/>
                      <a:pt x="339" y="627"/>
                    </a:cubicBezTo>
                    <a:lnTo>
                      <a:pt x="217" y="627"/>
                    </a:lnTo>
                    <a:lnTo>
                      <a:pt x="220" y="626"/>
                    </a:lnTo>
                    <a:lnTo>
                      <a:pt x="29" y="700"/>
                    </a:lnTo>
                    <a:lnTo>
                      <a:pt x="34" y="696"/>
                    </a:lnTo>
                    <a:lnTo>
                      <a:pt x="17" y="734"/>
                    </a:lnTo>
                    <a:lnTo>
                      <a:pt x="13" y="724"/>
                    </a:lnTo>
                    <a:lnTo>
                      <a:pt x="189" y="81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96" name="Freeform 152"/>
              <p:cNvSpPr>
                <a:spLocks/>
              </p:cNvSpPr>
              <p:nvPr/>
            </p:nvSpPr>
            <p:spPr bwMode="auto">
              <a:xfrm>
                <a:off x="1451" y="1883"/>
                <a:ext cx="56" cy="58"/>
              </a:xfrm>
              <a:custGeom>
                <a:avLst/>
                <a:gdLst/>
                <a:ahLst/>
                <a:cxnLst>
                  <a:cxn ang="0">
                    <a:pos x="0" y="47"/>
                  </a:cxn>
                  <a:cxn ang="0">
                    <a:pos x="12" y="25"/>
                  </a:cxn>
                  <a:cxn ang="0">
                    <a:pos x="27" y="25"/>
                  </a:cxn>
                  <a:cxn ang="0">
                    <a:pos x="11" y="7"/>
                  </a:cxn>
                  <a:cxn ang="0">
                    <a:pos x="44" y="0"/>
                  </a:cxn>
                  <a:cxn ang="0">
                    <a:pos x="48" y="28"/>
                  </a:cxn>
                  <a:cxn ang="0">
                    <a:pos x="56" y="30"/>
                  </a:cxn>
                  <a:cxn ang="0">
                    <a:pos x="41" y="48"/>
                  </a:cxn>
                  <a:cxn ang="0">
                    <a:pos x="31" y="58"/>
                  </a:cxn>
                  <a:cxn ang="0">
                    <a:pos x="0" y="47"/>
                  </a:cxn>
                </a:cxnLst>
                <a:rect l="0" t="0" r="r" b="b"/>
                <a:pathLst>
                  <a:path w="56" h="58">
                    <a:moveTo>
                      <a:pt x="0" y="47"/>
                    </a:moveTo>
                    <a:lnTo>
                      <a:pt x="12" y="25"/>
                    </a:lnTo>
                    <a:lnTo>
                      <a:pt x="27" y="25"/>
                    </a:lnTo>
                    <a:lnTo>
                      <a:pt x="11" y="7"/>
                    </a:lnTo>
                    <a:lnTo>
                      <a:pt x="44" y="0"/>
                    </a:lnTo>
                    <a:lnTo>
                      <a:pt x="48" y="28"/>
                    </a:lnTo>
                    <a:lnTo>
                      <a:pt x="56" y="30"/>
                    </a:lnTo>
                    <a:lnTo>
                      <a:pt x="41" y="48"/>
                    </a:lnTo>
                    <a:lnTo>
                      <a:pt x="31" y="58"/>
                    </a:lnTo>
                    <a:lnTo>
                      <a:pt x="0" y="47"/>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97" name="Freeform 153"/>
              <p:cNvSpPr>
                <a:spLocks noEditPoints="1"/>
              </p:cNvSpPr>
              <p:nvPr/>
            </p:nvSpPr>
            <p:spPr bwMode="auto">
              <a:xfrm>
                <a:off x="1448" y="1881"/>
                <a:ext cx="61" cy="62"/>
              </a:xfrm>
              <a:custGeom>
                <a:avLst/>
                <a:gdLst/>
                <a:ahLst/>
                <a:cxnLst>
                  <a:cxn ang="0">
                    <a:pos x="6" y="222"/>
                  </a:cxn>
                  <a:cxn ang="0">
                    <a:pos x="2" y="212"/>
                  </a:cxn>
                  <a:cxn ang="0">
                    <a:pos x="44" y="118"/>
                  </a:cxn>
                  <a:cxn ang="0">
                    <a:pos x="51" y="113"/>
                  </a:cxn>
                  <a:cxn ang="0">
                    <a:pos x="100" y="111"/>
                  </a:cxn>
                  <a:cxn ang="0">
                    <a:pos x="94" y="124"/>
                  </a:cxn>
                  <a:cxn ang="0">
                    <a:pos x="41" y="45"/>
                  </a:cxn>
                  <a:cxn ang="0">
                    <a:pos x="40" y="38"/>
                  </a:cxn>
                  <a:cxn ang="0">
                    <a:pos x="45" y="33"/>
                  </a:cxn>
                  <a:cxn ang="0">
                    <a:pos x="159" y="1"/>
                  </a:cxn>
                  <a:cxn ang="0">
                    <a:pos x="165" y="2"/>
                  </a:cxn>
                  <a:cxn ang="0">
                    <a:pos x="169" y="7"/>
                  </a:cxn>
                  <a:cxn ang="0">
                    <a:pos x="184" y="130"/>
                  </a:cxn>
                  <a:cxn ang="0">
                    <a:pos x="179" y="124"/>
                  </a:cxn>
                  <a:cxn ang="0">
                    <a:pos x="204" y="134"/>
                  </a:cxn>
                  <a:cxn ang="0">
                    <a:pos x="209" y="139"/>
                  </a:cxn>
                  <a:cxn ang="0">
                    <a:pos x="208" y="146"/>
                  </a:cxn>
                  <a:cxn ang="0">
                    <a:pos x="158" y="223"/>
                  </a:cxn>
                  <a:cxn ang="0">
                    <a:pos x="124" y="269"/>
                  </a:cxn>
                  <a:cxn ang="0">
                    <a:pos x="114" y="272"/>
                  </a:cxn>
                  <a:cxn ang="0">
                    <a:pos x="6" y="222"/>
                  </a:cxn>
                  <a:cxn ang="0">
                    <a:pos x="121" y="257"/>
                  </a:cxn>
                  <a:cxn ang="0">
                    <a:pos x="111" y="260"/>
                  </a:cxn>
                  <a:cxn ang="0">
                    <a:pos x="144" y="214"/>
                  </a:cxn>
                  <a:cxn ang="0">
                    <a:pos x="195" y="137"/>
                  </a:cxn>
                  <a:cxn ang="0">
                    <a:pos x="198" y="149"/>
                  </a:cxn>
                  <a:cxn ang="0">
                    <a:pos x="173" y="139"/>
                  </a:cxn>
                  <a:cxn ang="0">
                    <a:pos x="168" y="132"/>
                  </a:cxn>
                  <a:cxn ang="0">
                    <a:pos x="153" y="9"/>
                  </a:cxn>
                  <a:cxn ang="0">
                    <a:pos x="163" y="16"/>
                  </a:cxn>
                  <a:cxn ang="0">
                    <a:pos x="50" y="49"/>
                  </a:cxn>
                  <a:cxn ang="0">
                    <a:pos x="54" y="36"/>
                  </a:cxn>
                  <a:cxn ang="0">
                    <a:pos x="107" y="115"/>
                  </a:cxn>
                  <a:cxn ang="0">
                    <a:pos x="108" y="123"/>
                  </a:cxn>
                  <a:cxn ang="0">
                    <a:pos x="101" y="127"/>
                  </a:cxn>
                  <a:cxn ang="0">
                    <a:pos x="52" y="129"/>
                  </a:cxn>
                  <a:cxn ang="0">
                    <a:pos x="59" y="124"/>
                  </a:cxn>
                  <a:cxn ang="0">
                    <a:pos x="17" y="218"/>
                  </a:cxn>
                  <a:cxn ang="0">
                    <a:pos x="13" y="208"/>
                  </a:cxn>
                  <a:cxn ang="0">
                    <a:pos x="121" y="257"/>
                  </a:cxn>
                </a:cxnLst>
                <a:rect l="0" t="0" r="r" b="b"/>
                <a:pathLst>
                  <a:path w="210" h="273">
                    <a:moveTo>
                      <a:pt x="6" y="222"/>
                    </a:moveTo>
                    <a:cubicBezTo>
                      <a:pt x="2" y="220"/>
                      <a:pt x="0" y="216"/>
                      <a:pt x="2" y="212"/>
                    </a:cubicBezTo>
                    <a:lnTo>
                      <a:pt x="44" y="118"/>
                    </a:lnTo>
                    <a:cubicBezTo>
                      <a:pt x="45" y="115"/>
                      <a:pt x="48" y="113"/>
                      <a:pt x="51" y="113"/>
                    </a:cubicBezTo>
                    <a:lnTo>
                      <a:pt x="100" y="111"/>
                    </a:lnTo>
                    <a:lnTo>
                      <a:pt x="94" y="124"/>
                    </a:lnTo>
                    <a:lnTo>
                      <a:pt x="41" y="45"/>
                    </a:lnTo>
                    <a:cubicBezTo>
                      <a:pt x="39" y="43"/>
                      <a:pt x="39" y="41"/>
                      <a:pt x="40" y="38"/>
                    </a:cubicBezTo>
                    <a:cubicBezTo>
                      <a:pt x="41" y="36"/>
                      <a:pt x="43" y="34"/>
                      <a:pt x="45" y="33"/>
                    </a:cubicBezTo>
                    <a:lnTo>
                      <a:pt x="159" y="1"/>
                    </a:lnTo>
                    <a:cubicBezTo>
                      <a:pt x="161" y="0"/>
                      <a:pt x="163" y="0"/>
                      <a:pt x="165" y="2"/>
                    </a:cubicBezTo>
                    <a:cubicBezTo>
                      <a:pt x="167" y="3"/>
                      <a:pt x="168" y="5"/>
                      <a:pt x="169" y="7"/>
                    </a:cubicBezTo>
                    <a:lnTo>
                      <a:pt x="184" y="130"/>
                    </a:lnTo>
                    <a:lnTo>
                      <a:pt x="179" y="124"/>
                    </a:lnTo>
                    <a:lnTo>
                      <a:pt x="204" y="134"/>
                    </a:lnTo>
                    <a:cubicBezTo>
                      <a:pt x="207" y="135"/>
                      <a:pt x="208" y="137"/>
                      <a:pt x="209" y="139"/>
                    </a:cubicBezTo>
                    <a:cubicBezTo>
                      <a:pt x="210" y="141"/>
                      <a:pt x="209" y="144"/>
                      <a:pt x="208" y="146"/>
                    </a:cubicBezTo>
                    <a:lnTo>
                      <a:pt x="158" y="223"/>
                    </a:lnTo>
                    <a:lnTo>
                      <a:pt x="124" y="269"/>
                    </a:lnTo>
                    <a:cubicBezTo>
                      <a:pt x="122" y="272"/>
                      <a:pt x="118" y="273"/>
                      <a:pt x="114" y="272"/>
                    </a:cubicBezTo>
                    <a:lnTo>
                      <a:pt x="6" y="222"/>
                    </a:lnTo>
                    <a:close/>
                    <a:moveTo>
                      <a:pt x="121" y="257"/>
                    </a:moveTo>
                    <a:lnTo>
                      <a:pt x="111" y="260"/>
                    </a:lnTo>
                    <a:lnTo>
                      <a:pt x="144" y="214"/>
                    </a:lnTo>
                    <a:lnTo>
                      <a:pt x="195" y="137"/>
                    </a:lnTo>
                    <a:lnTo>
                      <a:pt x="198" y="149"/>
                    </a:lnTo>
                    <a:lnTo>
                      <a:pt x="173" y="139"/>
                    </a:lnTo>
                    <a:cubicBezTo>
                      <a:pt x="171" y="138"/>
                      <a:pt x="169" y="135"/>
                      <a:pt x="168" y="132"/>
                    </a:cubicBezTo>
                    <a:lnTo>
                      <a:pt x="153" y="9"/>
                    </a:lnTo>
                    <a:lnTo>
                      <a:pt x="163" y="16"/>
                    </a:lnTo>
                    <a:lnTo>
                      <a:pt x="50" y="49"/>
                    </a:lnTo>
                    <a:lnTo>
                      <a:pt x="54" y="36"/>
                    </a:lnTo>
                    <a:lnTo>
                      <a:pt x="107" y="115"/>
                    </a:lnTo>
                    <a:cubicBezTo>
                      <a:pt x="109" y="117"/>
                      <a:pt x="109" y="120"/>
                      <a:pt x="108" y="123"/>
                    </a:cubicBezTo>
                    <a:cubicBezTo>
                      <a:pt x="106" y="126"/>
                      <a:pt x="104" y="127"/>
                      <a:pt x="101" y="127"/>
                    </a:cubicBezTo>
                    <a:lnTo>
                      <a:pt x="52" y="129"/>
                    </a:lnTo>
                    <a:lnTo>
                      <a:pt x="59" y="124"/>
                    </a:lnTo>
                    <a:lnTo>
                      <a:pt x="17" y="218"/>
                    </a:lnTo>
                    <a:lnTo>
                      <a:pt x="13" y="208"/>
                    </a:lnTo>
                    <a:lnTo>
                      <a:pt x="121" y="257"/>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98" name="Freeform 154"/>
              <p:cNvSpPr>
                <a:spLocks/>
              </p:cNvSpPr>
              <p:nvPr/>
            </p:nvSpPr>
            <p:spPr bwMode="auto">
              <a:xfrm>
                <a:off x="1887" y="2014"/>
                <a:ext cx="65" cy="88"/>
              </a:xfrm>
              <a:custGeom>
                <a:avLst/>
                <a:gdLst/>
                <a:ahLst/>
                <a:cxnLst>
                  <a:cxn ang="0">
                    <a:pos x="0" y="29"/>
                  </a:cxn>
                  <a:cxn ang="0">
                    <a:pos x="10" y="41"/>
                  </a:cxn>
                  <a:cxn ang="0">
                    <a:pos x="22" y="51"/>
                  </a:cxn>
                  <a:cxn ang="0">
                    <a:pos x="20" y="75"/>
                  </a:cxn>
                  <a:cxn ang="0">
                    <a:pos x="27" y="88"/>
                  </a:cxn>
                  <a:cxn ang="0">
                    <a:pos x="65" y="83"/>
                  </a:cxn>
                  <a:cxn ang="0">
                    <a:pos x="43" y="56"/>
                  </a:cxn>
                  <a:cxn ang="0">
                    <a:pos x="59" y="32"/>
                  </a:cxn>
                  <a:cxn ang="0">
                    <a:pos x="20" y="0"/>
                  </a:cxn>
                  <a:cxn ang="0">
                    <a:pos x="7" y="10"/>
                  </a:cxn>
                  <a:cxn ang="0">
                    <a:pos x="12" y="18"/>
                  </a:cxn>
                  <a:cxn ang="0">
                    <a:pos x="0" y="29"/>
                  </a:cxn>
                </a:cxnLst>
                <a:rect l="0" t="0" r="r" b="b"/>
                <a:pathLst>
                  <a:path w="65" h="88">
                    <a:moveTo>
                      <a:pt x="0" y="29"/>
                    </a:moveTo>
                    <a:lnTo>
                      <a:pt x="10" y="41"/>
                    </a:lnTo>
                    <a:lnTo>
                      <a:pt x="22" y="51"/>
                    </a:lnTo>
                    <a:lnTo>
                      <a:pt x="20" y="75"/>
                    </a:lnTo>
                    <a:lnTo>
                      <a:pt x="27" y="88"/>
                    </a:lnTo>
                    <a:lnTo>
                      <a:pt x="65" y="83"/>
                    </a:lnTo>
                    <a:lnTo>
                      <a:pt x="43" y="56"/>
                    </a:lnTo>
                    <a:lnTo>
                      <a:pt x="59" y="32"/>
                    </a:lnTo>
                    <a:lnTo>
                      <a:pt x="20" y="0"/>
                    </a:lnTo>
                    <a:lnTo>
                      <a:pt x="7" y="10"/>
                    </a:lnTo>
                    <a:lnTo>
                      <a:pt x="12" y="18"/>
                    </a:lnTo>
                    <a:lnTo>
                      <a:pt x="0" y="29"/>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99" name="Freeform 155"/>
              <p:cNvSpPr>
                <a:spLocks noEditPoints="1"/>
              </p:cNvSpPr>
              <p:nvPr/>
            </p:nvSpPr>
            <p:spPr bwMode="auto">
              <a:xfrm>
                <a:off x="1885" y="2012"/>
                <a:ext cx="70" cy="92"/>
              </a:xfrm>
              <a:custGeom>
                <a:avLst/>
                <a:gdLst/>
                <a:ahLst/>
                <a:cxnLst>
                  <a:cxn ang="0">
                    <a:pos x="14" y="139"/>
                  </a:cxn>
                  <a:cxn ang="0">
                    <a:pos x="15" y="130"/>
                  </a:cxn>
                  <a:cxn ang="0">
                    <a:pos x="48" y="183"/>
                  </a:cxn>
                  <a:cxn ang="0">
                    <a:pos x="46" y="182"/>
                  </a:cxn>
                  <a:cxn ang="0">
                    <a:pos x="90" y="222"/>
                  </a:cxn>
                  <a:cxn ang="0">
                    <a:pos x="92" y="229"/>
                  </a:cxn>
                  <a:cxn ang="0">
                    <a:pos x="83" y="336"/>
                  </a:cxn>
                  <a:cxn ang="0">
                    <a:pos x="82" y="332"/>
                  </a:cxn>
                  <a:cxn ang="0">
                    <a:pos x="106" y="389"/>
                  </a:cxn>
                  <a:cxn ang="0">
                    <a:pos x="98" y="385"/>
                  </a:cxn>
                  <a:cxn ang="0">
                    <a:pos x="231" y="362"/>
                  </a:cxn>
                  <a:cxn ang="0">
                    <a:pos x="226" y="374"/>
                  </a:cxn>
                  <a:cxn ang="0">
                    <a:pos x="150" y="255"/>
                  </a:cxn>
                  <a:cxn ang="0">
                    <a:pos x="150" y="247"/>
                  </a:cxn>
                  <a:cxn ang="0">
                    <a:pos x="202" y="145"/>
                  </a:cxn>
                  <a:cxn ang="0">
                    <a:pos x="204" y="154"/>
                  </a:cxn>
                  <a:cxn ang="0">
                    <a:pos x="70" y="14"/>
                  </a:cxn>
                  <a:cxn ang="0">
                    <a:pos x="81" y="14"/>
                  </a:cxn>
                  <a:cxn ang="0">
                    <a:pos x="37" y="55"/>
                  </a:cxn>
                  <a:cxn ang="0">
                    <a:pos x="39" y="46"/>
                  </a:cxn>
                  <a:cxn ang="0">
                    <a:pos x="57" y="83"/>
                  </a:cxn>
                  <a:cxn ang="0">
                    <a:pos x="56" y="92"/>
                  </a:cxn>
                  <a:cxn ang="0">
                    <a:pos x="14" y="139"/>
                  </a:cxn>
                  <a:cxn ang="0">
                    <a:pos x="44" y="81"/>
                  </a:cxn>
                  <a:cxn ang="0">
                    <a:pos x="43" y="90"/>
                  </a:cxn>
                  <a:cxn ang="0">
                    <a:pos x="24" y="53"/>
                  </a:cxn>
                  <a:cxn ang="0">
                    <a:pos x="26" y="43"/>
                  </a:cxn>
                  <a:cxn ang="0">
                    <a:pos x="71" y="3"/>
                  </a:cxn>
                  <a:cxn ang="0">
                    <a:pos x="82" y="3"/>
                  </a:cxn>
                  <a:cxn ang="0">
                    <a:pos x="215" y="143"/>
                  </a:cxn>
                  <a:cxn ang="0">
                    <a:pos x="217" y="152"/>
                  </a:cxn>
                  <a:cxn ang="0">
                    <a:pos x="164" y="255"/>
                  </a:cxn>
                  <a:cxn ang="0">
                    <a:pos x="164" y="247"/>
                  </a:cxn>
                  <a:cxn ang="0">
                    <a:pos x="239" y="365"/>
                  </a:cxn>
                  <a:cxn ang="0">
                    <a:pos x="240" y="373"/>
                  </a:cxn>
                  <a:cxn ang="0">
                    <a:pos x="234" y="378"/>
                  </a:cxn>
                  <a:cxn ang="0">
                    <a:pos x="100" y="400"/>
                  </a:cxn>
                  <a:cxn ang="0">
                    <a:pos x="92" y="396"/>
                  </a:cxn>
                  <a:cxn ang="0">
                    <a:pos x="67" y="339"/>
                  </a:cxn>
                  <a:cxn ang="0">
                    <a:pos x="67" y="335"/>
                  </a:cxn>
                  <a:cxn ang="0">
                    <a:pos x="76" y="227"/>
                  </a:cxn>
                  <a:cxn ang="0">
                    <a:pos x="79" y="234"/>
                  </a:cxn>
                  <a:cxn ang="0">
                    <a:pos x="35" y="193"/>
                  </a:cxn>
                  <a:cxn ang="0">
                    <a:pos x="34" y="192"/>
                  </a:cxn>
                  <a:cxn ang="0">
                    <a:pos x="2" y="138"/>
                  </a:cxn>
                  <a:cxn ang="0">
                    <a:pos x="2" y="128"/>
                  </a:cxn>
                  <a:cxn ang="0">
                    <a:pos x="44" y="81"/>
                  </a:cxn>
                </a:cxnLst>
                <a:rect l="0" t="0" r="r" b="b"/>
                <a:pathLst>
                  <a:path w="241" h="401">
                    <a:moveTo>
                      <a:pt x="14" y="139"/>
                    </a:moveTo>
                    <a:lnTo>
                      <a:pt x="15" y="130"/>
                    </a:lnTo>
                    <a:lnTo>
                      <a:pt x="48" y="183"/>
                    </a:lnTo>
                    <a:lnTo>
                      <a:pt x="46" y="182"/>
                    </a:lnTo>
                    <a:lnTo>
                      <a:pt x="90" y="222"/>
                    </a:lnTo>
                    <a:cubicBezTo>
                      <a:pt x="91" y="224"/>
                      <a:pt x="92" y="226"/>
                      <a:pt x="92" y="229"/>
                    </a:cubicBezTo>
                    <a:lnTo>
                      <a:pt x="83" y="336"/>
                    </a:lnTo>
                    <a:lnTo>
                      <a:pt x="82" y="332"/>
                    </a:lnTo>
                    <a:lnTo>
                      <a:pt x="106" y="389"/>
                    </a:lnTo>
                    <a:lnTo>
                      <a:pt x="98" y="385"/>
                    </a:lnTo>
                    <a:lnTo>
                      <a:pt x="231" y="362"/>
                    </a:lnTo>
                    <a:lnTo>
                      <a:pt x="226" y="374"/>
                    </a:lnTo>
                    <a:lnTo>
                      <a:pt x="150" y="255"/>
                    </a:lnTo>
                    <a:cubicBezTo>
                      <a:pt x="149" y="253"/>
                      <a:pt x="148" y="250"/>
                      <a:pt x="150" y="247"/>
                    </a:cubicBezTo>
                    <a:lnTo>
                      <a:pt x="202" y="145"/>
                    </a:lnTo>
                    <a:lnTo>
                      <a:pt x="204" y="154"/>
                    </a:lnTo>
                    <a:lnTo>
                      <a:pt x="70" y="14"/>
                    </a:lnTo>
                    <a:lnTo>
                      <a:pt x="81" y="14"/>
                    </a:lnTo>
                    <a:lnTo>
                      <a:pt x="37" y="55"/>
                    </a:lnTo>
                    <a:lnTo>
                      <a:pt x="39" y="46"/>
                    </a:lnTo>
                    <a:lnTo>
                      <a:pt x="57" y="83"/>
                    </a:lnTo>
                    <a:cubicBezTo>
                      <a:pt x="59" y="86"/>
                      <a:pt x="58" y="89"/>
                      <a:pt x="56" y="92"/>
                    </a:cubicBezTo>
                    <a:lnTo>
                      <a:pt x="14" y="139"/>
                    </a:lnTo>
                    <a:close/>
                    <a:moveTo>
                      <a:pt x="44" y="81"/>
                    </a:moveTo>
                    <a:lnTo>
                      <a:pt x="43" y="90"/>
                    </a:lnTo>
                    <a:lnTo>
                      <a:pt x="24" y="53"/>
                    </a:lnTo>
                    <a:cubicBezTo>
                      <a:pt x="23" y="50"/>
                      <a:pt x="23" y="46"/>
                      <a:pt x="26" y="43"/>
                    </a:cubicBezTo>
                    <a:lnTo>
                      <a:pt x="71" y="3"/>
                    </a:lnTo>
                    <a:cubicBezTo>
                      <a:pt x="74" y="0"/>
                      <a:pt x="79" y="0"/>
                      <a:pt x="82" y="3"/>
                    </a:cubicBezTo>
                    <a:lnTo>
                      <a:pt x="215" y="143"/>
                    </a:lnTo>
                    <a:cubicBezTo>
                      <a:pt x="218" y="145"/>
                      <a:pt x="218" y="149"/>
                      <a:pt x="217" y="152"/>
                    </a:cubicBezTo>
                    <a:lnTo>
                      <a:pt x="164" y="255"/>
                    </a:lnTo>
                    <a:lnTo>
                      <a:pt x="164" y="247"/>
                    </a:lnTo>
                    <a:lnTo>
                      <a:pt x="239" y="365"/>
                    </a:lnTo>
                    <a:cubicBezTo>
                      <a:pt x="241" y="368"/>
                      <a:pt x="241" y="370"/>
                      <a:pt x="240" y="373"/>
                    </a:cubicBezTo>
                    <a:cubicBezTo>
                      <a:pt x="239" y="375"/>
                      <a:pt x="236" y="377"/>
                      <a:pt x="234" y="378"/>
                    </a:cubicBezTo>
                    <a:lnTo>
                      <a:pt x="100" y="400"/>
                    </a:lnTo>
                    <a:cubicBezTo>
                      <a:pt x="97" y="401"/>
                      <a:pt x="93" y="399"/>
                      <a:pt x="92" y="396"/>
                    </a:cubicBezTo>
                    <a:lnTo>
                      <a:pt x="67" y="339"/>
                    </a:lnTo>
                    <a:cubicBezTo>
                      <a:pt x="67" y="337"/>
                      <a:pt x="66" y="336"/>
                      <a:pt x="67" y="335"/>
                    </a:cubicBezTo>
                    <a:lnTo>
                      <a:pt x="76" y="227"/>
                    </a:lnTo>
                    <a:lnTo>
                      <a:pt x="79" y="234"/>
                    </a:lnTo>
                    <a:lnTo>
                      <a:pt x="35" y="193"/>
                    </a:lnTo>
                    <a:cubicBezTo>
                      <a:pt x="35" y="193"/>
                      <a:pt x="34" y="192"/>
                      <a:pt x="34" y="192"/>
                    </a:cubicBezTo>
                    <a:lnTo>
                      <a:pt x="2" y="138"/>
                    </a:lnTo>
                    <a:cubicBezTo>
                      <a:pt x="0" y="135"/>
                      <a:pt x="0" y="131"/>
                      <a:pt x="2" y="128"/>
                    </a:cubicBezTo>
                    <a:lnTo>
                      <a:pt x="44" y="8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00" name="Freeform 156"/>
              <p:cNvSpPr>
                <a:spLocks/>
              </p:cNvSpPr>
              <p:nvPr/>
            </p:nvSpPr>
            <p:spPr bwMode="auto">
              <a:xfrm>
                <a:off x="1702" y="1857"/>
                <a:ext cx="37" cy="26"/>
              </a:xfrm>
              <a:custGeom>
                <a:avLst/>
                <a:gdLst/>
                <a:ahLst/>
                <a:cxnLst>
                  <a:cxn ang="0">
                    <a:pos x="0" y="19"/>
                  </a:cxn>
                  <a:cxn ang="0">
                    <a:pos x="28" y="19"/>
                  </a:cxn>
                  <a:cxn ang="0">
                    <a:pos x="15" y="2"/>
                  </a:cxn>
                  <a:cxn ang="0">
                    <a:pos x="37" y="0"/>
                  </a:cxn>
                  <a:cxn ang="0">
                    <a:pos x="37" y="26"/>
                  </a:cxn>
                  <a:cxn ang="0">
                    <a:pos x="0" y="19"/>
                  </a:cxn>
                </a:cxnLst>
                <a:rect l="0" t="0" r="r" b="b"/>
                <a:pathLst>
                  <a:path w="37" h="26">
                    <a:moveTo>
                      <a:pt x="0" y="19"/>
                    </a:moveTo>
                    <a:lnTo>
                      <a:pt x="28" y="19"/>
                    </a:lnTo>
                    <a:lnTo>
                      <a:pt x="15" y="2"/>
                    </a:lnTo>
                    <a:lnTo>
                      <a:pt x="37" y="0"/>
                    </a:lnTo>
                    <a:lnTo>
                      <a:pt x="37" y="26"/>
                    </a:lnTo>
                    <a:lnTo>
                      <a:pt x="0" y="19"/>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01" name="Freeform 157"/>
              <p:cNvSpPr>
                <a:spLocks noEditPoints="1"/>
              </p:cNvSpPr>
              <p:nvPr/>
            </p:nvSpPr>
            <p:spPr bwMode="auto">
              <a:xfrm>
                <a:off x="1699" y="1855"/>
                <a:ext cx="42" cy="30"/>
              </a:xfrm>
              <a:custGeom>
                <a:avLst/>
                <a:gdLst/>
                <a:ahLst/>
                <a:cxnLst>
                  <a:cxn ang="0">
                    <a:pos x="7" y="99"/>
                  </a:cxn>
                  <a:cxn ang="0">
                    <a:pos x="1" y="91"/>
                  </a:cxn>
                  <a:cxn ang="0">
                    <a:pos x="8" y="84"/>
                  </a:cxn>
                  <a:cxn ang="0">
                    <a:pos x="105" y="82"/>
                  </a:cxn>
                  <a:cxn ang="0">
                    <a:pos x="98" y="94"/>
                  </a:cxn>
                  <a:cxn ang="0">
                    <a:pos x="53" y="21"/>
                  </a:cxn>
                  <a:cxn ang="0">
                    <a:pos x="52" y="13"/>
                  </a:cxn>
                  <a:cxn ang="0">
                    <a:pos x="59" y="9"/>
                  </a:cxn>
                  <a:cxn ang="0">
                    <a:pos x="136" y="1"/>
                  </a:cxn>
                  <a:cxn ang="0">
                    <a:pos x="142" y="3"/>
                  </a:cxn>
                  <a:cxn ang="0">
                    <a:pos x="144" y="8"/>
                  </a:cxn>
                  <a:cxn ang="0">
                    <a:pos x="144" y="120"/>
                  </a:cxn>
                  <a:cxn ang="0">
                    <a:pos x="141" y="127"/>
                  </a:cxn>
                  <a:cxn ang="0">
                    <a:pos x="135" y="128"/>
                  </a:cxn>
                  <a:cxn ang="0">
                    <a:pos x="7" y="99"/>
                  </a:cxn>
                  <a:cxn ang="0">
                    <a:pos x="138" y="113"/>
                  </a:cxn>
                  <a:cxn ang="0">
                    <a:pos x="128" y="120"/>
                  </a:cxn>
                  <a:cxn ang="0">
                    <a:pos x="128" y="8"/>
                  </a:cxn>
                  <a:cxn ang="0">
                    <a:pos x="137" y="16"/>
                  </a:cxn>
                  <a:cxn ang="0">
                    <a:pos x="61" y="25"/>
                  </a:cxn>
                  <a:cxn ang="0">
                    <a:pos x="66" y="13"/>
                  </a:cxn>
                  <a:cxn ang="0">
                    <a:pos x="112" y="86"/>
                  </a:cxn>
                  <a:cxn ang="0">
                    <a:pos x="112" y="94"/>
                  </a:cxn>
                  <a:cxn ang="0">
                    <a:pos x="105" y="98"/>
                  </a:cxn>
                  <a:cxn ang="0">
                    <a:pos x="9" y="100"/>
                  </a:cxn>
                  <a:cxn ang="0">
                    <a:pos x="10" y="84"/>
                  </a:cxn>
                  <a:cxn ang="0">
                    <a:pos x="138" y="113"/>
                  </a:cxn>
                </a:cxnLst>
                <a:rect l="0" t="0" r="r" b="b"/>
                <a:pathLst>
                  <a:path w="144" h="129">
                    <a:moveTo>
                      <a:pt x="7" y="99"/>
                    </a:moveTo>
                    <a:cubicBezTo>
                      <a:pt x="3" y="99"/>
                      <a:pt x="0" y="95"/>
                      <a:pt x="1" y="91"/>
                    </a:cubicBezTo>
                    <a:cubicBezTo>
                      <a:pt x="1" y="87"/>
                      <a:pt x="4" y="84"/>
                      <a:pt x="8" y="84"/>
                    </a:cubicBezTo>
                    <a:lnTo>
                      <a:pt x="105" y="82"/>
                    </a:lnTo>
                    <a:lnTo>
                      <a:pt x="98" y="94"/>
                    </a:lnTo>
                    <a:lnTo>
                      <a:pt x="53" y="21"/>
                    </a:lnTo>
                    <a:cubicBezTo>
                      <a:pt x="51" y="19"/>
                      <a:pt x="51" y="16"/>
                      <a:pt x="52" y="13"/>
                    </a:cubicBezTo>
                    <a:cubicBezTo>
                      <a:pt x="54" y="11"/>
                      <a:pt x="56" y="9"/>
                      <a:pt x="59" y="9"/>
                    </a:cubicBezTo>
                    <a:lnTo>
                      <a:pt x="136" y="1"/>
                    </a:lnTo>
                    <a:cubicBezTo>
                      <a:pt x="138" y="0"/>
                      <a:pt x="140" y="1"/>
                      <a:pt x="142" y="3"/>
                    </a:cubicBezTo>
                    <a:cubicBezTo>
                      <a:pt x="144" y="4"/>
                      <a:pt x="144" y="6"/>
                      <a:pt x="144" y="8"/>
                    </a:cubicBezTo>
                    <a:lnTo>
                      <a:pt x="144" y="120"/>
                    </a:lnTo>
                    <a:cubicBezTo>
                      <a:pt x="144" y="123"/>
                      <a:pt x="143" y="125"/>
                      <a:pt x="141" y="127"/>
                    </a:cubicBezTo>
                    <a:cubicBezTo>
                      <a:pt x="140" y="128"/>
                      <a:pt x="137" y="129"/>
                      <a:pt x="135" y="128"/>
                    </a:cubicBezTo>
                    <a:lnTo>
                      <a:pt x="7" y="99"/>
                    </a:lnTo>
                    <a:close/>
                    <a:moveTo>
                      <a:pt x="138" y="113"/>
                    </a:moveTo>
                    <a:lnTo>
                      <a:pt x="128" y="120"/>
                    </a:lnTo>
                    <a:lnTo>
                      <a:pt x="128" y="8"/>
                    </a:lnTo>
                    <a:lnTo>
                      <a:pt x="137" y="16"/>
                    </a:lnTo>
                    <a:lnTo>
                      <a:pt x="61" y="25"/>
                    </a:lnTo>
                    <a:lnTo>
                      <a:pt x="66" y="13"/>
                    </a:lnTo>
                    <a:lnTo>
                      <a:pt x="112" y="86"/>
                    </a:lnTo>
                    <a:cubicBezTo>
                      <a:pt x="113" y="88"/>
                      <a:pt x="114" y="91"/>
                      <a:pt x="112" y="94"/>
                    </a:cubicBezTo>
                    <a:cubicBezTo>
                      <a:pt x="111" y="96"/>
                      <a:pt x="108" y="98"/>
                      <a:pt x="105" y="98"/>
                    </a:cubicBezTo>
                    <a:lnTo>
                      <a:pt x="9" y="100"/>
                    </a:lnTo>
                    <a:lnTo>
                      <a:pt x="10" y="84"/>
                    </a:lnTo>
                    <a:lnTo>
                      <a:pt x="138" y="113"/>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02" name="Freeform 158"/>
              <p:cNvSpPr>
                <a:spLocks/>
              </p:cNvSpPr>
              <p:nvPr/>
            </p:nvSpPr>
            <p:spPr bwMode="auto">
              <a:xfrm>
                <a:off x="1493" y="1912"/>
                <a:ext cx="83" cy="40"/>
              </a:xfrm>
              <a:custGeom>
                <a:avLst/>
                <a:gdLst/>
                <a:ahLst/>
                <a:cxnLst>
                  <a:cxn ang="0">
                    <a:pos x="0" y="20"/>
                  </a:cxn>
                  <a:cxn ang="0">
                    <a:pos x="14" y="2"/>
                  </a:cxn>
                  <a:cxn ang="0">
                    <a:pos x="60" y="0"/>
                  </a:cxn>
                  <a:cxn ang="0">
                    <a:pos x="83" y="12"/>
                  </a:cxn>
                  <a:cxn ang="0">
                    <a:pos x="64" y="15"/>
                  </a:cxn>
                  <a:cxn ang="0">
                    <a:pos x="29" y="40"/>
                  </a:cxn>
                  <a:cxn ang="0">
                    <a:pos x="22" y="34"/>
                  </a:cxn>
                  <a:cxn ang="0">
                    <a:pos x="0" y="20"/>
                  </a:cxn>
                </a:cxnLst>
                <a:rect l="0" t="0" r="r" b="b"/>
                <a:pathLst>
                  <a:path w="83" h="40">
                    <a:moveTo>
                      <a:pt x="0" y="20"/>
                    </a:moveTo>
                    <a:lnTo>
                      <a:pt x="14" y="2"/>
                    </a:lnTo>
                    <a:lnTo>
                      <a:pt x="60" y="0"/>
                    </a:lnTo>
                    <a:lnTo>
                      <a:pt x="83" y="12"/>
                    </a:lnTo>
                    <a:lnTo>
                      <a:pt x="64" y="15"/>
                    </a:lnTo>
                    <a:lnTo>
                      <a:pt x="29" y="40"/>
                    </a:lnTo>
                    <a:lnTo>
                      <a:pt x="22" y="34"/>
                    </a:lnTo>
                    <a:lnTo>
                      <a:pt x="0" y="2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03" name="Freeform 159"/>
              <p:cNvSpPr>
                <a:spLocks noEditPoints="1"/>
              </p:cNvSpPr>
              <p:nvPr/>
            </p:nvSpPr>
            <p:spPr bwMode="auto">
              <a:xfrm>
                <a:off x="1490" y="1910"/>
                <a:ext cx="89" cy="44"/>
              </a:xfrm>
              <a:custGeom>
                <a:avLst/>
                <a:gdLst/>
                <a:ahLst/>
                <a:cxnLst>
                  <a:cxn ang="0">
                    <a:pos x="5" y="101"/>
                  </a:cxn>
                  <a:cxn ang="0">
                    <a:pos x="3" y="90"/>
                  </a:cxn>
                  <a:cxn ang="0">
                    <a:pos x="52" y="14"/>
                  </a:cxn>
                  <a:cxn ang="0">
                    <a:pos x="58" y="11"/>
                  </a:cxn>
                  <a:cxn ang="0">
                    <a:pos x="215" y="0"/>
                  </a:cxn>
                  <a:cxn ang="0">
                    <a:pos x="220" y="2"/>
                  </a:cxn>
                  <a:cxn ang="0">
                    <a:pos x="302" y="56"/>
                  </a:cxn>
                  <a:cxn ang="0">
                    <a:pos x="305" y="64"/>
                  </a:cxn>
                  <a:cxn ang="0">
                    <a:pos x="299" y="71"/>
                  </a:cxn>
                  <a:cxn ang="0">
                    <a:pos x="230" y="81"/>
                  </a:cxn>
                  <a:cxn ang="0">
                    <a:pos x="235" y="79"/>
                  </a:cxn>
                  <a:cxn ang="0">
                    <a:pos x="115" y="190"/>
                  </a:cxn>
                  <a:cxn ang="0">
                    <a:pos x="108" y="192"/>
                  </a:cxn>
                  <a:cxn ang="0">
                    <a:pos x="103" y="189"/>
                  </a:cxn>
                  <a:cxn ang="0">
                    <a:pos x="81" y="161"/>
                  </a:cxn>
                  <a:cxn ang="0">
                    <a:pos x="82" y="162"/>
                  </a:cxn>
                  <a:cxn ang="0">
                    <a:pos x="5" y="101"/>
                  </a:cxn>
                  <a:cxn ang="0">
                    <a:pos x="92" y="149"/>
                  </a:cxn>
                  <a:cxn ang="0">
                    <a:pos x="94" y="151"/>
                  </a:cxn>
                  <a:cxn ang="0">
                    <a:pos x="115" y="180"/>
                  </a:cxn>
                  <a:cxn ang="0">
                    <a:pos x="104" y="179"/>
                  </a:cxn>
                  <a:cxn ang="0">
                    <a:pos x="224" y="67"/>
                  </a:cxn>
                  <a:cxn ang="0">
                    <a:pos x="228" y="65"/>
                  </a:cxn>
                  <a:cxn ang="0">
                    <a:pos x="296" y="55"/>
                  </a:cxn>
                  <a:cxn ang="0">
                    <a:pos x="293" y="69"/>
                  </a:cxn>
                  <a:cxn ang="0">
                    <a:pos x="211" y="15"/>
                  </a:cxn>
                  <a:cxn ang="0">
                    <a:pos x="216" y="16"/>
                  </a:cxn>
                  <a:cxn ang="0">
                    <a:pos x="59" y="27"/>
                  </a:cxn>
                  <a:cxn ang="0">
                    <a:pos x="65" y="23"/>
                  </a:cxn>
                  <a:cxn ang="0">
                    <a:pos x="16" y="99"/>
                  </a:cxn>
                  <a:cxn ang="0">
                    <a:pos x="14" y="88"/>
                  </a:cxn>
                  <a:cxn ang="0">
                    <a:pos x="92" y="149"/>
                  </a:cxn>
                </a:cxnLst>
                <a:rect l="0" t="0" r="r" b="b"/>
                <a:pathLst>
                  <a:path w="306" h="193">
                    <a:moveTo>
                      <a:pt x="5" y="101"/>
                    </a:moveTo>
                    <a:cubicBezTo>
                      <a:pt x="1" y="99"/>
                      <a:pt x="0" y="94"/>
                      <a:pt x="3" y="90"/>
                    </a:cubicBezTo>
                    <a:lnTo>
                      <a:pt x="52" y="14"/>
                    </a:lnTo>
                    <a:cubicBezTo>
                      <a:pt x="53" y="12"/>
                      <a:pt x="56" y="11"/>
                      <a:pt x="58" y="11"/>
                    </a:cubicBezTo>
                    <a:lnTo>
                      <a:pt x="215" y="0"/>
                    </a:lnTo>
                    <a:cubicBezTo>
                      <a:pt x="217" y="0"/>
                      <a:pt x="219" y="1"/>
                      <a:pt x="220" y="2"/>
                    </a:cubicBezTo>
                    <a:lnTo>
                      <a:pt x="302" y="56"/>
                    </a:lnTo>
                    <a:cubicBezTo>
                      <a:pt x="305" y="58"/>
                      <a:pt x="306" y="61"/>
                      <a:pt x="305" y="64"/>
                    </a:cubicBezTo>
                    <a:cubicBezTo>
                      <a:pt x="305" y="68"/>
                      <a:pt x="302" y="70"/>
                      <a:pt x="299" y="71"/>
                    </a:cubicBezTo>
                    <a:lnTo>
                      <a:pt x="230" y="81"/>
                    </a:lnTo>
                    <a:lnTo>
                      <a:pt x="235" y="79"/>
                    </a:lnTo>
                    <a:lnTo>
                      <a:pt x="115" y="190"/>
                    </a:lnTo>
                    <a:cubicBezTo>
                      <a:pt x="113" y="192"/>
                      <a:pt x="111" y="193"/>
                      <a:pt x="108" y="192"/>
                    </a:cubicBezTo>
                    <a:cubicBezTo>
                      <a:pt x="106" y="192"/>
                      <a:pt x="104" y="191"/>
                      <a:pt x="103" y="189"/>
                    </a:cubicBezTo>
                    <a:lnTo>
                      <a:pt x="81" y="161"/>
                    </a:lnTo>
                    <a:lnTo>
                      <a:pt x="82" y="162"/>
                    </a:lnTo>
                    <a:lnTo>
                      <a:pt x="5" y="101"/>
                    </a:lnTo>
                    <a:close/>
                    <a:moveTo>
                      <a:pt x="92" y="149"/>
                    </a:moveTo>
                    <a:cubicBezTo>
                      <a:pt x="93" y="150"/>
                      <a:pt x="93" y="150"/>
                      <a:pt x="94" y="151"/>
                    </a:cubicBezTo>
                    <a:lnTo>
                      <a:pt x="115" y="180"/>
                    </a:lnTo>
                    <a:lnTo>
                      <a:pt x="104" y="179"/>
                    </a:lnTo>
                    <a:lnTo>
                      <a:pt x="224" y="67"/>
                    </a:lnTo>
                    <a:cubicBezTo>
                      <a:pt x="225" y="66"/>
                      <a:pt x="226" y="65"/>
                      <a:pt x="228" y="65"/>
                    </a:cubicBezTo>
                    <a:lnTo>
                      <a:pt x="296" y="55"/>
                    </a:lnTo>
                    <a:lnTo>
                      <a:pt x="293" y="69"/>
                    </a:lnTo>
                    <a:lnTo>
                      <a:pt x="211" y="15"/>
                    </a:lnTo>
                    <a:lnTo>
                      <a:pt x="216" y="16"/>
                    </a:lnTo>
                    <a:lnTo>
                      <a:pt x="59" y="27"/>
                    </a:lnTo>
                    <a:lnTo>
                      <a:pt x="65" y="23"/>
                    </a:lnTo>
                    <a:lnTo>
                      <a:pt x="16" y="99"/>
                    </a:lnTo>
                    <a:lnTo>
                      <a:pt x="14" y="88"/>
                    </a:lnTo>
                    <a:lnTo>
                      <a:pt x="92" y="149"/>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04" name="Freeform 160"/>
              <p:cNvSpPr>
                <a:spLocks/>
              </p:cNvSpPr>
              <p:nvPr/>
            </p:nvSpPr>
            <p:spPr bwMode="auto">
              <a:xfrm>
                <a:off x="2899" y="1429"/>
                <a:ext cx="93" cy="48"/>
              </a:xfrm>
              <a:custGeom>
                <a:avLst/>
                <a:gdLst/>
                <a:ahLst/>
                <a:cxnLst>
                  <a:cxn ang="0">
                    <a:pos x="0" y="28"/>
                  </a:cxn>
                  <a:cxn ang="0">
                    <a:pos x="14" y="8"/>
                  </a:cxn>
                  <a:cxn ang="0">
                    <a:pos x="33" y="14"/>
                  </a:cxn>
                  <a:cxn ang="0">
                    <a:pos x="65" y="0"/>
                  </a:cxn>
                  <a:cxn ang="0">
                    <a:pos x="84" y="3"/>
                  </a:cxn>
                  <a:cxn ang="0">
                    <a:pos x="93" y="10"/>
                  </a:cxn>
                  <a:cxn ang="0">
                    <a:pos x="57" y="42"/>
                  </a:cxn>
                  <a:cxn ang="0">
                    <a:pos x="27" y="48"/>
                  </a:cxn>
                  <a:cxn ang="0">
                    <a:pos x="0" y="28"/>
                  </a:cxn>
                </a:cxnLst>
                <a:rect l="0" t="0" r="r" b="b"/>
                <a:pathLst>
                  <a:path w="93" h="48">
                    <a:moveTo>
                      <a:pt x="0" y="28"/>
                    </a:moveTo>
                    <a:lnTo>
                      <a:pt x="14" y="8"/>
                    </a:lnTo>
                    <a:lnTo>
                      <a:pt x="33" y="14"/>
                    </a:lnTo>
                    <a:lnTo>
                      <a:pt x="65" y="0"/>
                    </a:lnTo>
                    <a:lnTo>
                      <a:pt x="84" y="3"/>
                    </a:lnTo>
                    <a:lnTo>
                      <a:pt x="93" y="10"/>
                    </a:lnTo>
                    <a:lnTo>
                      <a:pt x="57" y="42"/>
                    </a:lnTo>
                    <a:lnTo>
                      <a:pt x="27" y="48"/>
                    </a:lnTo>
                    <a:lnTo>
                      <a:pt x="0" y="28"/>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05" name="Freeform 161"/>
              <p:cNvSpPr>
                <a:spLocks noEditPoints="1"/>
              </p:cNvSpPr>
              <p:nvPr/>
            </p:nvSpPr>
            <p:spPr bwMode="auto">
              <a:xfrm>
                <a:off x="2897" y="1427"/>
                <a:ext cx="97" cy="52"/>
              </a:xfrm>
              <a:custGeom>
                <a:avLst/>
                <a:gdLst/>
                <a:ahLst/>
                <a:cxnLst>
                  <a:cxn ang="0">
                    <a:pos x="3" y="136"/>
                  </a:cxn>
                  <a:cxn ang="0">
                    <a:pos x="1" y="127"/>
                  </a:cxn>
                  <a:cxn ang="0">
                    <a:pos x="50" y="39"/>
                  </a:cxn>
                  <a:cxn ang="0">
                    <a:pos x="60" y="35"/>
                  </a:cxn>
                  <a:cxn ang="0">
                    <a:pos x="125" y="61"/>
                  </a:cxn>
                  <a:cxn ang="0">
                    <a:pos x="118" y="62"/>
                  </a:cxn>
                  <a:cxn ang="0">
                    <a:pos x="228" y="1"/>
                  </a:cxn>
                  <a:cxn ang="0">
                    <a:pos x="234" y="1"/>
                  </a:cxn>
                  <a:cxn ang="0">
                    <a:pos x="298" y="14"/>
                  </a:cxn>
                  <a:cxn ang="0">
                    <a:pos x="302" y="16"/>
                  </a:cxn>
                  <a:cxn ang="0">
                    <a:pos x="334" y="47"/>
                  </a:cxn>
                  <a:cxn ang="0">
                    <a:pos x="334" y="58"/>
                  </a:cxn>
                  <a:cxn ang="0">
                    <a:pos x="212" y="198"/>
                  </a:cxn>
                  <a:cxn ang="0">
                    <a:pos x="207" y="200"/>
                  </a:cxn>
                  <a:cxn ang="0">
                    <a:pos x="103" y="224"/>
                  </a:cxn>
                  <a:cxn ang="0">
                    <a:pos x="95" y="222"/>
                  </a:cxn>
                  <a:cxn ang="0">
                    <a:pos x="3" y="136"/>
                  </a:cxn>
                  <a:cxn ang="0">
                    <a:pos x="106" y="211"/>
                  </a:cxn>
                  <a:cxn ang="0">
                    <a:pos x="99" y="209"/>
                  </a:cxn>
                  <a:cxn ang="0">
                    <a:pos x="204" y="185"/>
                  </a:cxn>
                  <a:cxn ang="0">
                    <a:pos x="200" y="187"/>
                  </a:cxn>
                  <a:cxn ang="0">
                    <a:pos x="322" y="48"/>
                  </a:cxn>
                  <a:cxn ang="0">
                    <a:pos x="323" y="59"/>
                  </a:cxn>
                  <a:cxn ang="0">
                    <a:pos x="291" y="28"/>
                  </a:cxn>
                  <a:cxn ang="0">
                    <a:pos x="295" y="30"/>
                  </a:cxn>
                  <a:cxn ang="0">
                    <a:pos x="230" y="16"/>
                  </a:cxn>
                  <a:cxn ang="0">
                    <a:pos x="236" y="15"/>
                  </a:cxn>
                  <a:cxn ang="0">
                    <a:pos x="125" y="76"/>
                  </a:cxn>
                  <a:cxn ang="0">
                    <a:pos x="119" y="76"/>
                  </a:cxn>
                  <a:cxn ang="0">
                    <a:pos x="54" y="50"/>
                  </a:cxn>
                  <a:cxn ang="0">
                    <a:pos x="64" y="47"/>
                  </a:cxn>
                  <a:cxn ang="0">
                    <a:pos x="15" y="134"/>
                  </a:cxn>
                  <a:cxn ang="0">
                    <a:pos x="14" y="125"/>
                  </a:cxn>
                  <a:cxn ang="0">
                    <a:pos x="106" y="211"/>
                  </a:cxn>
                </a:cxnLst>
                <a:rect l="0" t="0" r="r" b="b"/>
                <a:pathLst>
                  <a:path w="337" h="225">
                    <a:moveTo>
                      <a:pt x="3" y="136"/>
                    </a:moveTo>
                    <a:cubicBezTo>
                      <a:pt x="0" y="134"/>
                      <a:pt x="0" y="130"/>
                      <a:pt x="1" y="127"/>
                    </a:cubicBezTo>
                    <a:lnTo>
                      <a:pt x="50" y="39"/>
                    </a:lnTo>
                    <a:cubicBezTo>
                      <a:pt x="52" y="35"/>
                      <a:pt x="56" y="34"/>
                      <a:pt x="60" y="35"/>
                    </a:cubicBezTo>
                    <a:lnTo>
                      <a:pt x="125" y="61"/>
                    </a:lnTo>
                    <a:lnTo>
                      <a:pt x="118" y="62"/>
                    </a:lnTo>
                    <a:lnTo>
                      <a:pt x="228" y="1"/>
                    </a:lnTo>
                    <a:cubicBezTo>
                      <a:pt x="230" y="1"/>
                      <a:pt x="232" y="0"/>
                      <a:pt x="234" y="1"/>
                    </a:cubicBezTo>
                    <a:lnTo>
                      <a:pt x="298" y="14"/>
                    </a:lnTo>
                    <a:cubicBezTo>
                      <a:pt x="300" y="15"/>
                      <a:pt x="301" y="15"/>
                      <a:pt x="302" y="16"/>
                    </a:cubicBezTo>
                    <a:lnTo>
                      <a:pt x="334" y="47"/>
                    </a:lnTo>
                    <a:cubicBezTo>
                      <a:pt x="337" y="50"/>
                      <a:pt x="337" y="55"/>
                      <a:pt x="334" y="58"/>
                    </a:cubicBezTo>
                    <a:lnTo>
                      <a:pt x="212" y="198"/>
                    </a:lnTo>
                    <a:cubicBezTo>
                      <a:pt x="211" y="199"/>
                      <a:pt x="209" y="200"/>
                      <a:pt x="207" y="200"/>
                    </a:cubicBezTo>
                    <a:lnTo>
                      <a:pt x="103" y="224"/>
                    </a:lnTo>
                    <a:cubicBezTo>
                      <a:pt x="100" y="225"/>
                      <a:pt x="97" y="224"/>
                      <a:pt x="95" y="222"/>
                    </a:cubicBezTo>
                    <a:lnTo>
                      <a:pt x="3" y="136"/>
                    </a:lnTo>
                    <a:close/>
                    <a:moveTo>
                      <a:pt x="106" y="211"/>
                    </a:moveTo>
                    <a:lnTo>
                      <a:pt x="99" y="209"/>
                    </a:lnTo>
                    <a:lnTo>
                      <a:pt x="204" y="185"/>
                    </a:lnTo>
                    <a:lnTo>
                      <a:pt x="200" y="187"/>
                    </a:lnTo>
                    <a:lnTo>
                      <a:pt x="322" y="48"/>
                    </a:lnTo>
                    <a:lnTo>
                      <a:pt x="323" y="59"/>
                    </a:lnTo>
                    <a:lnTo>
                      <a:pt x="291" y="28"/>
                    </a:lnTo>
                    <a:lnTo>
                      <a:pt x="295" y="30"/>
                    </a:lnTo>
                    <a:lnTo>
                      <a:pt x="230" y="16"/>
                    </a:lnTo>
                    <a:lnTo>
                      <a:pt x="236" y="15"/>
                    </a:lnTo>
                    <a:lnTo>
                      <a:pt x="125" y="76"/>
                    </a:lnTo>
                    <a:cubicBezTo>
                      <a:pt x="123" y="77"/>
                      <a:pt x="121" y="77"/>
                      <a:pt x="119" y="76"/>
                    </a:cubicBezTo>
                    <a:lnTo>
                      <a:pt x="54" y="50"/>
                    </a:lnTo>
                    <a:lnTo>
                      <a:pt x="64" y="47"/>
                    </a:lnTo>
                    <a:lnTo>
                      <a:pt x="15" y="134"/>
                    </a:lnTo>
                    <a:lnTo>
                      <a:pt x="14" y="125"/>
                    </a:lnTo>
                    <a:lnTo>
                      <a:pt x="106" y="21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06" name="Freeform 162"/>
              <p:cNvSpPr>
                <a:spLocks/>
              </p:cNvSpPr>
              <p:nvPr/>
            </p:nvSpPr>
            <p:spPr bwMode="auto">
              <a:xfrm>
                <a:off x="2398" y="1085"/>
                <a:ext cx="158" cy="66"/>
              </a:xfrm>
              <a:custGeom>
                <a:avLst/>
                <a:gdLst/>
                <a:ahLst/>
                <a:cxnLst>
                  <a:cxn ang="0">
                    <a:pos x="0" y="24"/>
                  </a:cxn>
                  <a:cxn ang="0">
                    <a:pos x="10" y="20"/>
                  </a:cxn>
                  <a:cxn ang="0">
                    <a:pos x="4" y="14"/>
                  </a:cxn>
                  <a:cxn ang="0">
                    <a:pos x="18" y="18"/>
                  </a:cxn>
                  <a:cxn ang="0">
                    <a:pos x="11" y="7"/>
                  </a:cxn>
                  <a:cxn ang="0">
                    <a:pos x="27" y="14"/>
                  </a:cxn>
                  <a:cxn ang="0">
                    <a:pos x="19" y="1"/>
                  </a:cxn>
                  <a:cxn ang="0">
                    <a:pos x="44" y="11"/>
                  </a:cxn>
                  <a:cxn ang="0">
                    <a:pos x="46" y="28"/>
                  </a:cxn>
                  <a:cxn ang="0">
                    <a:pos x="59" y="9"/>
                  </a:cxn>
                  <a:cxn ang="0">
                    <a:pos x="72" y="16"/>
                  </a:cxn>
                  <a:cxn ang="0">
                    <a:pos x="82" y="7"/>
                  </a:cxn>
                  <a:cxn ang="0">
                    <a:pos x="91" y="19"/>
                  </a:cxn>
                  <a:cxn ang="0">
                    <a:pos x="88" y="7"/>
                  </a:cxn>
                  <a:cxn ang="0">
                    <a:pos x="114" y="7"/>
                  </a:cxn>
                  <a:cxn ang="0">
                    <a:pos x="118" y="0"/>
                  </a:cxn>
                  <a:cxn ang="0">
                    <a:pos x="129" y="7"/>
                  </a:cxn>
                  <a:cxn ang="0">
                    <a:pos x="144" y="4"/>
                  </a:cxn>
                  <a:cxn ang="0">
                    <a:pos x="134" y="9"/>
                  </a:cxn>
                  <a:cxn ang="0">
                    <a:pos x="158" y="30"/>
                  </a:cxn>
                  <a:cxn ang="0">
                    <a:pos x="137" y="49"/>
                  </a:cxn>
                  <a:cxn ang="0">
                    <a:pos x="78" y="66"/>
                  </a:cxn>
                  <a:cxn ang="0">
                    <a:pos x="26" y="58"/>
                  </a:cxn>
                  <a:cxn ang="0">
                    <a:pos x="39" y="41"/>
                  </a:cxn>
                  <a:cxn ang="0">
                    <a:pos x="8" y="35"/>
                  </a:cxn>
                  <a:cxn ang="0">
                    <a:pos x="38" y="34"/>
                  </a:cxn>
                  <a:cxn ang="0">
                    <a:pos x="27" y="29"/>
                  </a:cxn>
                  <a:cxn ang="0">
                    <a:pos x="38" y="24"/>
                  </a:cxn>
                  <a:cxn ang="0">
                    <a:pos x="0" y="24"/>
                  </a:cxn>
                </a:cxnLst>
                <a:rect l="0" t="0" r="r" b="b"/>
                <a:pathLst>
                  <a:path w="158" h="66">
                    <a:moveTo>
                      <a:pt x="0" y="24"/>
                    </a:moveTo>
                    <a:lnTo>
                      <a:pt x="10" y="20"/>
                    </a:lnTo>
                    <a:lnTo>
                      <a:pt x="4" y="14"/>
                    </a:lnTo>
                    <a:lnTo>
                      <a:pt x="18" y="18"/>
                    </a:lnTo>
                    <a:lnTo>
                      <a:pt x="11" y="7"/>
                    </a:lnTo>
                    <a:lnTo>
                      <a:pt x="27" y="14"/>
                    </a:lnTo>
                    <a:lnTo>
                      <a:pt x="19" y="1"/>
                    </a:lnTo>
                    <a:lnTo>
                      <a:pt x="44" y="11"/>
                    </a:lnTo>
                    <a:lnTo>
                      <a:pt x="46" y="28"/>
                    </a:lnTo>
                    <a:lnTo>
                      <a:pt x="59" y="9"/>
                    </a:lnTo>
                    <a:lnTo>
                      <a:pt x="72" y="16"/>
                    </a:lnTo>
                    <a:lnTo>
                      <a:pt x="82" y="7"/>
                    </a:lnTo>
                    <a:lnTo>
                      <a:pt x="91" y="19"/>
                    </a:lnTo>
                    <a:lnTo>
                      <a:pt x="88" y="7"/>
                    </a:lnTo>
                    <a:lnTo>
                      <a:pt x="114" y="7"/>
                    </a:lnTo>
                    <a:lnTo>
                      <a:pt x="118" y="0"/>
                    </a:lnTo>
                    <a:lnTo>
                      <a:pt x="129" y="7"/>
                    </a:lnTo>
                    <a:lnTo>
                      <a:pt x="144" y="4"/>
                    </a:lnTo>
                    <a:lnTo>
                      <a:pt x="134" y="9"/>
                    </a:lnTo>
                    <a:lnTo>
                      <a:pt x="158" y="30"/>
                    </a:lnTo>
                    <a:lnTo>
                      <a:pt x="137" y="49"/>
                    </a:lnTo>
                    <a:lnTo>
                      <a:pt x="78" y="66"/>
                    </a:lnTo>
                    <a:lnTo>
                      <a:pt x="26" y="58"/>
                    </a:lnTo>
                    <a:lnTo>
                      <a:pt x="39" y="41"/>
                    </a:lnTo>
                    <a:lnTo>
                      <a:pt x="8" y="35"/>
                    </a:lnTo>
                    <a:lnTo>
                      <a:pt x="38" y="34"/>
                    </a:lnTo>
                    <a:lnTo>
                      <a:pt x="27" y="29"/>
                    </a:lnTo>
                    <a:lnTo>
                      <a:pt x="38" y="24"/>
                    </a:lnTo>
                    <a:lnTo>
                      <a:pt x="0" y="24"/>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07" name="Freeform 163"/>
              <p:cNvSpPr>
                <a:spLocks noEditPoints="1"/>
              </p:cNvSpPr>
              <p:nvPr/>
            </p:nvSpPr>
            <p:spPr bwMode="auto">
              <a:xfrm>
                <a:off x="2395" y="1083"/>
                <a:ext cx="163" cy="70"/>
              </a:xfrm>
              <a:custGeom>
                <a:avLst/>
                <a:gdLst/>
                <a:ahLst/>
                <a:cxnLst>
                  <a:cxn ang="0">
                    <a:pos x="5" y="104"/>
                  </a:cxn>
                  <a:cxn ang="0">
                    <a:pos x="16" y="75"/>
                  </a:cxn>
                  <a:cxn ang="0">
                    <a:pos x="73" y="79"/>
                  </a:cxn>
                  <a:cxn ang="0">
                    <a:pos x="43" y="34"/>
                  </a:cxn>
                  <a:cxn ang="0">
                    <a:pos x="94" y="72"/>
                  </a:cxn>
                  <a:cxn ang="0">
                    <a:pos x="78" y="5"/>
                  </a:cxn>
                  <a:cxn ang="0">
                    <a:pos x="175" y="130"/>
                  </a:cxn>
                  <a:cxn ang="0">
                    <a:pos x="211" y="40"/>
                  </a:cxn>
                  <a:cxn ang="0">
                    <a:pos x="251" y="73"/>
                  </a:cxn>
                  <a:cxn ang="0">
                    <a:pos x="298" y="34"/>
                  </a:cxn>
                  <a:cxn ang="0">
                    <a:pos x="306" y="41"/>
                  </a:cxn>
                  <a:cxn ang="0">
                    <a:pos x="403" y="32"/>
                  </a:cxn>
                  <a:cxn ang="0">
                    <a:pos x="413" y="1"/>
                  </a:cxn>
                  <a:cxn ang="0">
                    <a:pos x="454" y="30"/>
                  </a:cxn>
                  <a:cxn ang="0">
                    <a:pos x="508" y="33"/>
                  </a:cxn>
                  <a:cxn ang="0">
                    <a:pos x="558" y="134"/>
                  </a:cxn>
                  <a:cxn ang="0">
                    <a:pos x="484" y="228"/>
                  </a:cxn>
                  <a:cxn ang="0">
                    <a:pos x="97" y="271"/>
                  </a:cxn>
                  <a:cxn ang="0">
                    <a:pos x="136" y="183"/>
                  </a:cxn>
                  <a:cxn ang="0">
                    <a:pos x="28" y="160"/>
                  </a:cxn>
                  <a:cxn ang="0">
                    <a:pos x="136" y="161"/>
                  </a:cxn>
                  <a:cxn ang="0">
                    <a:pos x="97" y="126"/>
                  </a:cxn>
                  <a:cxn ang="0">
                    <a:pos x="8" y="119"/>
                  </a:cxn>
                  <a:cxn ang="0">
                    <a:pos x="145" y="118"/>
                  </a:cxn>
                  <a:cxn ang="0">
                    <a:pos x="144" y="147"/>
                  </a:cxn>
                  <a:cxn ang="0">
                    <a:pos x="36" y="169"/>
                  </a:cxn>
                  <a:cxn ang="0">
                    <a:pos x="150" y="184"/>
                  </a:cxn>
                  <a:cxn ang="0">
                    <a:pos x="100" y="255"/>
                  </a:cxn>
                  <a:cxn ang="0">
                    <a:pos x="478" y="213"/>
                  </a:cxn>
                  <a:cxn ang="0">
                    <a:pos x="547" y="145"/>
                  </a:cxn>
                  <a:cxn ang="0">
                    <a:pos x="465" y="41"/>
                  </a:cxn>
                  <a:cxn ang="0">
                    <a:pos x="457" y="46"/>
                  </a:cxn>
                  <a:cxn ang="0">
                    <a:pos x="423" y="11"/>
                  </a:cxn>
                  <a:cxn ang="0">
                    <a:pos x="314" y="48"/>
                  </a:cxn>
                  <a:cxn ang="0">
                    <a:pos x="325" y="99"/>
                  </a:cxn>
                  <a:cxn ang="0">
                    <a:pos x="297" y="43"/>
                  </a:cxn>
                  <a:cxn ang="0">
                    <a:pos x="208" y="55"/>
                  </a:cxn>
                  <a:cxn ang="0">
                    <a:pos x="165" y="139"/>
                  </a:cxn>
                  <a:cxn ang="0">
                    <a:pos x="156" y="64"/>
                  </a:cxn>
                  <a:cxn ang="0">
                    <a:pos x="108" y="65"/>
                  </a:cxn>
                  <a:cxn ang="0">
                    <a:pos x="45" y="47"/>
                  </a:cxn>
                  <a:cxn ang="0">
                    <a:pos x="76" y="92"/>
                  </a:cxn>
                  <a:cxn ang="0">
                    <a:pos x="29" y="65"/>
                  </a:cxn>
                  <a:cxn ang="0">
                    <a:pos x="46" y="104"/>
                  </a:cxn>
                  <a:cxn ang="0">
                    <a:pos x="141" y="103"/>
                  </a:cxn>
                </a:cxnLst>
                <a:rect l="0" t="0" r="r" b="b"/>
                <a:pathLst>
                  <a:path w="561" h="305">
                    <a:moveTo>
                      <a:pt x="8" y="119"/>
                    </a:moveTo>
                    <a:cubicBezTo>
                      <a:pt x="5" y="119"/>
                      <a:pt x="1" y="116"/>
                      <a:pt x="1" y="113"/>
                    </a:cubicBezTo>
                    <a:cubicBezTo>
                      <a:pt x="0" y="109"/>
                      <a:pt x="2" y="105"/>
                      <a:pt x="5" y="104"/>
                    </a:cubicBezTo>
                    <a:lnTo>
                      <a:pt x="40" y="89"/>
                    </a:lnTo>
                    <a:lnTo>
                      <a:pt x="36" y="101"/>
                    </a:lnTo>
                    <a:lnTo>
                      <a:pt x="16" y="75"/>
                    </a:lnTo>
                    <a:cubicBezTo>
                      <a:pt x="14" y="72"/>
                      <a:pt x="14" y="68"/>
                      <a:pt x="16" y="65"/>
                    </a:cubicBezTo>
                    <a:cubicBezTo>
                      <a:pt x="18" y="62"/>
                      <a:pt x="22" y="61"/>
                      <a:pt x="25" y="62"/>
                    </a:cubicBezTo>
                    <a:lnTo>
                      <a:pt x="73" y="79"/>
                    </a:lnTo>
                    <a:lnTo>
                      <a:pt x="63" y="90"/>
                    </a:lnTo>
                    <a:lnTo>
                      <a:pt x="41" y="43"/>
                    </a:lnTo>
                    <a:cubicBezTo>
                      <a:pt x="40" y="40"/>
                      <a:pt x="40" y="36"/>
                      <a:pt x="43" y="34"/>
                    </a:cubicBezTo>
                    <a:cubicBezTo>
                      <a:pt x="45" y="32"/>
                      <a:pt x="49" y="31"/>
                      <a:pt x="52" y="33"/>
                    </a:cubicBezTo>
                    <a:lnTo>
                      <a:pt x="105" y="61"/>
                    </a:lnTo>
                    <a:lnTo>
                      <a:pt x="94" y="72"/>
                    </a:lnTo>
                    <a:lnTo>
                      <a:pt x="67" y="15"/>
                    </a:lnTo>
                    <a:cubicBezTo>
                      <a:pt x="65" y="12"/>
                      <a:pt x="66" y="8"/>
                      <a:pt x="69" y="6"/>
                    </a:cubicBezTo>
                    <a:cubicBezTo>
                      <a:pt x="71" y="4"/>
                      <a:pt x="75" y="3"/>
                      <a:pt x="78" y="5"/>
                    </a:cubicBezTo>
                    <a:lnTo>
                      <a:pt x="164" y="49"/>
                    </a:lnTo>
                    <a:cubicBezTo>
                      <a:pt x="166" y="51"/>
                      <a:pt x="168" y="53"/>
                      <a:pt x="168" y="56"/>
                    </a:cubicBezTo>
                    <a:lnTo>
                      <a:pt x="175" y="130"/>
                    </a:lnTo>
                    <a:lnTo>
                      <a:pt x="160" y="127"/>
                    </a:lnTo>
                    <a:lnTo>
                      <a:pt x="206" y="44"/>
                    </a:lnTo>
                    <a:cubicBezTo>
                      <a:pt x="207" y="42"/>
                      <a:pt x="209" y="41"/>
                      <a:pt x="211" y="40"/>
                    </a:cubicBezTo>
                    <a:cubicBezTo>
                      <a:pt x="213" y="40"/>
                      <a:pt x="215" y="40"/>
                      <a:pt x="217" y="42"/>
                    </a:cubicBezTo>
                    <a:lnTo>
                      <a:pt x="261" y="71"/>
                    </a:lnTo>
                    <a:lnTo>
                      <a:pt x="251" y="73"/>
                    </a:lnTo>
                    <a:lnTo>
                      <a:pt x="285" y="33"/>
                    </a:lnTo>
                    <a:cubicBezTo>
                      <a:pt x="287" y="31"/>
                      <a:pt x="289" y="30"/>
                      <a:pt x="292" y="30"/>
                    </a:cubicBezTo>
                    <a:cubicBezTo>
                      <a:pt x="294" y="31"/>
                      <a:pt x="297" y="32"/>
                      <a:pt x="298" y="34"/>
                    </a:cubicBezTo>
                    <a:lnTo>
                      <a:pt x="329" y="87"/>
                    </a:lnTo>
                    <a:lnTo>
                      <a:pt x="315" y="93"/>
                    </a:lnTo>
                    <a:lnTo>
                      <a:pt x="306" y="41"/>
                    </a:lnTo>
                    <a:cubicBezTo>
                      <a:pt x="306" y="39"/>
                      <a:pt x="306" y="37"/>
                      <a:pt x="308" y="35"/>
                    </a:cubicBezTo>
                    <a:cubicBezTo>
                      <a:pt x="309" y="33"/>
                      <a:pt x="312" y="32"/>
                      <a:pt x="314" y="32"/>
                    </a:cubicBezTo>
                    <a:lnTo>
                      <a:pt x="403" y="32"/>
                    </a:lnTo>
                    <a:lnTo>
                      <a:pt x="395" y="37"/>
                    </a:lnTo>
                    <a:lnTo>
                      <a:pt x="408" y="5"/>
                    </a:lnTo>
                    <a:cubicBezTo>
                      <a:pt x="409" y="3"/>
                      <a:pt x="411" y="1"/>
                      <a:pt x="413" y="1"/>
                    </a:cubicBezTo>
                    <a:cubicBezTo>
                      <a:pt x="416" y="0"/>
                      <a:pt x="418" y="1"/>
                      <a:pt x="420" y="2"/>
                    </a:cubicBezTo>
                    <a:lnTo>
                      <a:pt x="460" y="32"/>
                    </a:lnTo>
                    <a:lnTo>
                      <a:pt x="454" y="30"/>
                    </a:lnTo>
                    <a:lnTo>
                      <a:pt x="502" y="19"/>
                    </a:lnTo>
                    <a:cubicBezTo>
                      <a:pt x="506" y="18"/>
                      <a:pt x="510" y="20"/>
                      <a:pt x="511" y="24"/>
                    </a:cubicBezTo>
                    <a:cubicBezTo>
                      <a:pt x="513" y="27"/>
                      <a:pt x="511" y="31"/>
                      <a:pt x="508" y="33"/>
                    </a:cubicBezTo>
                    <a:lnTo>
                      <a:pt x="474" y="55"/>
                    </a:lnTo>
                    <a:lnTo>
                      <a:pt x="476" y="43"/>
                    </a:lnTo>
                    <a:lnTo>
                      <a:pt x="558" y="134"/>
                    </a:lnTo>
                    <a:cubicBezTo>
                      <a:pt x="561" y="137"/>
                      <a:pt x="561" y="141"/>
                      <a:pt x="558" y="145"/>
                    </a:cubicBezTo>
                    <a:lnTo>
                      <a:pt x="487" y="226"/>
                    </a:lnTo>
                    <a:cubicBezTo>
                      <a:pt x="486" y="227"/>
                      <a:pt x="485" y="227"/>
                      <a:pt x="484" y="228"/>
                    </a:cubicBezTo>
                    <a:lnTo>
                      <a:pt x="281" y="304"/>
                    </a:lnTo>
                    <a:cubicBezTo>
                      <a:pt x="280" y="304"/>
                      <a:pt x="278" y="305"/>
                      <a:pt x="277" y="304"/>
                    </a:cubicBezTo>
                    <a:lnTo>
                      <a:pt x="97" y="271"/>
                    </a:lnTo>
                    <a:cubicBezTo>
                      <a:pt x="94" y="271"/>
                      <a:pt x="92" y="269"/>
                      <a:pt x="91" y="267"/>
                    </a:cubicBezTo>
                    <a:cubicBezTo>
                      <a:pt x="90" y="264"/>
                      <a:pt x="90" y="262"/>
                      <a:pt x="91" y="259"/>
                    </a:cubicBezTo>
                    <a:lnTo>
                      <a:pt x="136" y="183"/>
                    </a:lnTo>
                    <a:lnTo>
                      <a:pt x="141" y="195"/>
                    </a:lnTo>
                    <a:lnTo>
                      <a:pt x="34" y="169"/>
                    </a:lnTo>
                    <a:cubicBezTo>
                      <a:pt x="30" y="168"/>
                      <a:pt x="27" y="164"/>
                      <a:pt x="28" y="160"/>
                    </a:cubicBezTo>
                    <a:cubicBezTo>
                      <a:pt x="28" y="156"/>
                      <a:pt x="31" y="153"/>
                      <a:pt x="35" y="153"/>
                    </a:cubicBezTo>
                    <a:lnTo>
                      <a:pt x="139" y="146"/>
                    </a:lnTo>
                    <a:lnTo>
                      <a:pt x="136" y="161"/>
                    </a:lnTo>
                    <a:lnTo>
                      <a:pt x="97" y="140"/>
                    </a:lnTo>
                    <a:cubicBezTo>
                      <a:pt x="95" y="138"/>
                      <a:pt x="93" y="135"/>
                      <a:pt x="93" y="133"/>
                    </a:cubicBezTo>
                    <a:cubicBezTo>
                      <a:pt x="93" y="130"/>
                      <a:pt x="95" y="127"/>
                      <a:pt x="97" y="126"/>
                    </a:cubicBezTo>
                    <a:lnTo>
                      <a:pt x="137" y="104"/>
                    </a:lnTo>
                    <a:lnTo>
                      <a:pt x="141" y="119"/>
                    </a:lnTo>
                    <a:lnTo>
                      <a:pt x="8" y="119"/>
                    </a:lnTo>
                    <a:close/>
                    <a:moveTo>
                      <a:pt x="141" y="103"/>
                    </a:moveTo>
                    <a:cubicBezTo>
                      <a:pt x="145" y="103"/>
                      <a:pt x="148" y="106"/>
                      <a:pt x="149" y="109"/>
                    </a:cubicBezTo>
                    <a:cubicBezTo>
                      <a:pt x="150" y="113"/>
                      <a:pt x="148" y="116"/>
                      <a:pt x="145" y="118"/>
                    </a:cubicBezTo>
                    <a:lnTo>
                      <a:pt x="105" y="140"/>
                    </a:lnTo>
                    <a:lnTo>
                      <a:pt x="105" y="126"/>
                    </a:lnTo>
                    <a:lnTo>
                      <a:pt x="144" y="147"/>
                    </a:lnTo>
                    <a:cubicBezTo>
                      <a:pt x="147" y="149"/>
                      <a:pt x="148" y="152"/>
                      <a:pt x="148" y="156"/>
                    </a:cubicBezTo>
                    <a:cubicBezTo>
                      <a:pt x="147" y="159"/>
                      <a:pt x="144" y="162"/>
                      <a:pt x="140" y="162"/>
                    </a:cubicBezTo>
                    <a:lnTo>
                      <a:pt x="36" y="169"/>
                    </a:lnTo>
                    <a:lnTo>
                      <a:pt x="38" y="153"/>
                    </a:lnTo>
                    <a:lnTo>
                      <a:pt x="145" y="179"/>
                    </a:lnTo>
                    <a:cubicBezTo>
                      <a:pt x="147" y="180"/>
                      <a:pt x="149" y="182"/>
                      <a:pt x="150" y="184"/>
                    </a:cubicBezTo>
                    <a:cubicBezTo>
                      <a:pt x="151" y="186"/>
                      <a:pt x="151" y="189"/>
                      <a:pt x="150" y="191"/>
                    </a:cubicBezTo>
                    <a:lnTo>
                      <a:pt x="105" y="267"/>
                    </a:lnTo>
                    <a:lnTo>
                      <a:pt x="100" y="255"/>
                    </a:lnTo>
                    <a:lnTo>
                      <a:pt x="280" y="289"/>
                    </a:lnTo>
                    <a:lnTo>
                      <a:pt x="276" y="289"/>
                    </a:lnTo>
                    <a:lnTo>
                      <a:pt x="478" y="213"/>
                    </a:lnTo>
                    <a:lnTo>
                      <a:pt x="475" y="215"/>
                    </a:lnTo>
                    <a:lnTo>
                      <a:pt x="546" y="134"/>
                    </a:lnTo>
                    <a:lnTo>
                      <a:pt x="547" y="145"/>
                    </a:lnTo>
                    <a:lnTo>
                      <a:pt x="464" y="54"/>
                    </a:lnTo>
                    <a:cubicBezTo>
                      <a:pt x="462" y="52"/>
                      <a:pt x="461" y="49"/>
                      <a:pt x="462" y="47"/>
                    </a:cubicBezTo>
                    <a:cubicBezTo>
                      <a:pt x="462" y="45"/>
                      <a:pt x="463" y="43"/>
                      <a:pt x="465" y="41"/>
                    </a:cubicBezTo>
                    <a:lnTo>
                      <a:pt x="500" y="20"/>
                    </a:lnTo>
                    <a:lnTo>
                      <a:pt x="506" y="34"/>
                    </a:lnTo>
                    <a:lnTo>
                      <a:pt x="457" y="46"/>
                    </a:lnTo>
                    <a:cubicBezTo>
                      <a:pt x="455" y="47"/>
                      <a:pt x="452" y="46"/>
                      <a:pt x="451" y="45"/>
                    </a:cubicBezTo>
                    <a:lnTo>
                      <a:pt x="411" y="15"/>
                    </a:lnTo>
                    <a:lnTo>
                      <a:pt x="423" y="11"/>
                    </a:lnTo>
                    <a:lnTo>
                      <a:pt x="410" y="43"/>
                    </a:lnTo>
                    <a:cubicBezTo>
                      <a:pt x="409" y="46"/>
                      <a:pt x="406" y="48"/>
                      <a:pt x="403" y="48"/>
                    </a:cubicBezTo>
                    <a:lnTo>
                      <a:pt x="314" y="48"/>
                    </a:lnTo>
                    <a:lnTo>
                      <a:pt x="322" y="39"/>
                    </a:lnTo>
                    <a:lnTo>
                      <a:pt x="330" y="90"/>
                    </a:lnTo>
                    <a:cubicBezTo>
                      <a:pt x="331" y="94"/>
                      <a:pt x="329" y="97"/>
                      <a:pt x="325" y="99"/>
                    </a:cubicBezTo>
                    <a:cubicBezTo>
                      <a:pt x="322" y="100"/>
                      <a:pt x="318" y="99"/>
                      <a:pt x="316" y="95"/>
                    </a:cubicBezTo>
                    <a:lnTo>
                      <a:pt x="284" y="42"/>
                    </a:lnTo>
                    <a:lnTo>
                      <a:pt x="297" y="43"/>
                    </a:lnTo>
                    <a:lnTo>
                      <a:pt x="263" y="83"/>
                    </a:lnTo>
                    <a:cubicBezTo>
                      <a:pt x="260" y="86"/>
                      <a:pt x="256" y="87"/>
                      <a:pt x="252" y="85"/>
                    </a:cubicBezTo>
                    <a:lnTo>
                      <a:pt x="208" y="55"/>
                    </a:lnTo>
                    <a:lnTo>
                      <a:pt x="220" y="52"/>
                    </a:lnTo>
                    <a:lnTo>
                      <a:pt x="174" y="135"/>
                    </a:lnTo>
                    <a:cubicBezTo>
                      <a:pt x="172" y="138"/>
                      <a:pt x="169" y="140"/>
                      <a:pt x="165" y="139"/>
                    </a:cubicBezTo>
                    <a:cubicBezTo>
                      <a:pt x="162" y="138"/>
                      <a:pt x="159" y="135"/>
                      <a:pt x="159" y="132"/>
                    </a:cubicBezTo>
                    <a:lnTo>
                      <a:pt x="152" y="57"/>
                    </a:lnTo>
                    <a:lnTo>
                      <a:pt x="156" y="64"/>
                    </a:lnTo>
                    <a:lnTo>
                      <a:pt x="70" y="19"/>
                    </a:lnTo>
                    <a:lnTo>
                      <a:pt x="81" y="8"/>
                    </a:lnTo>
                    <a:lnTo>
                      <a:pt x="108" y="65"/>
                    </a:lnTo>
                    <a:cubicBezTo>
                      <a:pt x="110" y="68"/>
                      <a:pt x="109" y="71"/>
                      <a:pt x="107" y="74"/>
                    </a:cubicBezTo>
                    <a:cubicBezTo>
                      <a:pt x="104" y="76"/>
                      <a:pt x="101" y="77"/>
                      <a:pt x="98" y="75"/>
                    </a:cubicBezTo>
                    <a:lnTo>
                      <a:pt x="45" y="47"/>
                    </a:lnTo>
                    <a:lnTo>
                      <a:pt x="56" y="37"/>
                    </a:lnTo>
                    <a:lnTo>
                      <a:pt x="77" y="83"/>
                    </a:lnTo>
                    <a:cubicBezTo>
                      <a:pt x="78" y="86"/>
                      <a:pt x="78" y="89"/>
                      <a:pt x="76" y="92"/>
                    </a:cubicBezTo>
                    <a:cubicBezTo>
                      <a:pt x="74" y="94"/>
                      <a:pt x="70" y="95"/>
                      <a:pt x="67" y="94"/>
                    </a:cubicBezTo>
                    <a:lnTo>
                      <a:pt x="20" y="77"/>
                    </a:lnTo>
                    <a:lnTo>
                      <a:pt x="29" y="65"/>
                    </a:lnTo>
                    <a:lnTo>
                      <a:pt x="49" y="91"/>
                    </a:lnTo>
                    <a:cubicBezTo>
                      <a:pt x="51" y="93"/>
                      <a:pt x="51" y="96"/>
                      <a:pt x="50" y="98"/>
                    </a:cubicBezTo>
                    <a:cubicBezTo>
                      <a:pt x="50" y="101"/>
                      <a:pt x="48" y="103"/>
                      <a:pt x="46" y="104"/>
                    </a:cubicBezTo>
                    <a:lnTo>
                      <a:pt x="12" y="118"/>
                    </a:lnTo>
                    <a:lnTo>
                      <a:pt x="8" y="103"/>
                    </a:lnTo>
                    <a:lnTo>
                      <a:pt x="141" y="103"/>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08" name="Freeform 164"/>
              <p:cNvSpPr>
                <a:spLocks/>
              </p:cNvSpPr>
              <p:nvPr/>
            </p:nvSpPr>
            <p:spPr bwMode="auto">
              <a:xfrm>
                <a:off x="3692" y="1627"/>
                <a:ext cx="409" cy="387"/>
              </a:xfrm>
              <a:custGeom>
                <a:avLst/>
                <a:gdLst/>
                <a:ahLst/>
                <a:cxnLst>
                  <a:cxn ang="0">
                    <a:pos x="0" y="176"/>
                  </a:cxn>
                  <a:cxn ang="0">
                    <a:pos x="12" y="167"/>
                  </a:cxn>
                  <a:cxn ang="0">
                    <a:pos x="43" y="167"/>
                  </a:cxn>
                  <a:cxn ang="0">
                    <a:pos x="22" y="127"/>
                  </a:cxn>
                  <a:cxn ang="0">
                    <a:pos x="34" y="116"/>
                  </a:cxn>
                  <a:cxn ang="0">
                    <a:pos x="53" y="117"/>
                  </a:cxn>
                  <a:cxn ang="0">
                    <a:pos x="94" y="73"/>
                  </a:cxn>
                  <a:cxn ang="0">
                    <a:pos x="91" y="61"/>
                  </a:cxn>
                  <a:cxn ang="0">
                    <a:pos x="102" y="54"/>
                  </a:cxn>
                  <a:cxn ang="0">
                    <a:pos x="84" y="40"/>
                  </a:cxn>
                  <a:cxn ang="0">
                    <a:pos x="83" y="18"/>
                  </a:cxn>
                  <a:cxn ang="0">
                    <a:pos x="123" y="18"/>
                  </a:cxn>
                  <a:cxn ang="0">
                    <a:pos x="135" y="8"/>
                  </a:cxn>
                  <a:cxn ang="0">
                    <a:pos x="156" y="0"/>
                  </a:cxn>
                  <a:cxn ang="0">
                    <a:pos x="172" y="7"/>
                  </a:cxn>
                  <a:cxn ang="0">
                    <a:pos x="152" y="30"/>
                  </a:cxn>
                  <a:cxn ang="0">
                    <a:pos x="161" y="48"/>
                  </a:cxn>
                  <a:cxn ang="0">
                    <a:pos x="146" y="51"/>
                  </a:cxn>
                  <a:cxn ang="0">
                    <a:pos x="153" y="74"/>
                  </a:cxn>
                  <a:cxn ang="0">
                    <a:pos x="181" y="84"/>
                  </a:cxn>
                  <a:cxn ang="0">
                    <a:pos x="168" y="105"/>
                  </a:cxn>
                  <a:cxn ang="0">
                    <a:pos x="205" y="125"/>
                  </a:cxn>
                  <a:cxn ang="0">
                    <a:pos x="278" y="138"/>
                  </a:cxn>
                  <a:cxn ang="0">
                    <a:pos x="279" y="118"/>
                  </a:cxn>
                  <a:cxn ang="0">
                    <a:pos x="288" y="116"/>
                  </a:cxn>
                  <a:cxn ang="0">
                    <a:pos x="291" y="126"/>
                  </a:cxn>
                  <a:cxn ang="0">
                    <a:pos x="296" y="134"/>
                  </a:cxn>
                  <a:cxn ang="0">
                    <a:pos x="333" y="131"/>
                  </a:cxn>
                  <a:cxn ang="0">
                    <a:pos x="330" y="118"/>
                  </a:cxn>
                  <a:cxn ang="0">
                    <a:pos x="390" y="95"/>
                  </a:cxn>
                  <a:cxn ang="0">
                    <a:pos x="394" y="109"/>
                  </a:cxn>
                  <a:cxn ang="0">
                    <a:pos x="409" y="114"/>
                  </a:cxn>
                  <a:cxn ang="0">
                    <a:pos x="403" y="129"/>
                  </a:cxn>
                  <a:cxn ang="0">
                    <a:pos x="379" y="137"/>
                  </a:cxn>
                  <a:cxn ang="0">
                    <a:pos x="342" y="201"/>
                  </a:cxn>
                  <a:cxn ang="0">
                    <a:pos x="335" y="176"/>
                  </a:cxn>
                  <a:cxn ang="0">
                    <a:pos x="329" y="185"/>
                  </a:cxn>
                  <a:cxn ang="0">
                    <a:pos x="320" y="173"/>
                  </a:cxn>
                  <a:cxn ang="0">
                    <a:pos x="336" y="157"/>
                  </a:cxn>
                  <a:cxn ang="0">
                    <a:pos x="304" y="155"/>
                  </a:cxn>
                  <a:cxn ang="0">
                    <a:pos x="284" y="137"/>
                  </a:cxn>
                  <a:cxn ang="0">
                    <a:pos x="278" y="147"/>
                  </a:cxn>
                  <a:cxn ang="0">
                    <a:pos x="285" y="155"/>
                  </a:cxn>
                  <a:cxn ang="0">
                    <a:pos x="276" y="160"/>
                  </a:cxn>
                  <a:cxn ang="0">
                    <a:pos x="285" y="169"/>
                  </a:cxn>
                  <a:cxn ang="0">
                    <a:pos x="291" y="205"/>
                  </a:cxn>
                  <a:cxn ang="0">
                    <a:pos x="278" y="199"/>
                  </a:cxn>
                  <a:cxn ang="0">
                    <a:pos x="255" y="228"/>
                  </a:cxn>
                  <a:cxn ang="0">
                    <a:pos x="170" y="286"/>
                  </a:cxn>
                  <a:cxn ang="0">
                    <a:pos x="164" y="358"/>
                  </a:cxn>
                  <a:cxn ang="0">
                    <a:pos x="129" y="387"/>
                  </a:cxn>
                  <a:cxn ang="0">
                    <a:pos x="98" y="332"/>
                  </a:cxn>
                  <a:cxn ang="0">
                    <a:pos x="85" y="287"/>
                  </a:cxn>
                  <a:cxn ang="0">
                    <a:pos x="74" y="277"/>
                  </a:cxn>
                  <a:cxn ang="0">
                    <a:pos x="65" y="197"/>
                  </a:cxn>
                  <a:cxn ang="0">
                    <a:pos x="58" y="194"/>
                  </a:cxn>
                  <a:cxn ang="0">
                    <a:pos x="54" y="212"/>
                  </a:cxn>
                  <a:cxn ang="0">
                    <a:pos x="34" y="216"/>
                  </a:cxn>
                  <a:cxn ang="0">
                    <a:pos x="13" y="195"/>
                  </a:cxn>
                  <a:cxn ang="0">
                    <a:pos x="33" y="184"/>
                  </a:cxn>
                  <a:cxn ang="0">
                    <a:pos x="13" y="188"/>
                  </a:cxn>
                  <a:cxn ang="0">
                    <a:pos x="0" y="176"/>
                  </a:cxn>
                </a:cxnLst>
                <a:rect l="0" t="0" r="r" b="b"/>
                <a:pathLst>
                  <a:path w="409" h="387">
                    <a:moveTo>
                      <a:pt x="0" y="176"/>
                    </a:moveTo>
                    <a:lnTo>
                      <a:pt x="12" y="167"/>
                    </a:lnTo>
                    <a:lnTo>
                      <a:pt x="43" y="167"/>
                    </a:lnTo>
                    <a:lnTo>
                      <a:pt x="22" y="127"/>
                    </a:lnTo>
                    <a:lnTo>
                      <a:pt x="34" y="116"/>
                    </a:lnTo>
                    <a:lnTo>
                      <a:pt x="53" y="117"/>
                    </a:lnTo>
                    <a:lnTo>
                      <a:pt x="94" y="73"/>
                    </a:lnTo>
                    <a:lnTo>
                      <a:pt x="91" y="61"/>
                    </a:lnTo>
                    <a:lnTo>
                      <a:pt x="102" y="54"/>
                    </a:lnTo>
                    <a:lnTo>
                      <a:pt x="84" y="40"/>
                    </a:lnTo>
                    <a:lnTo>
                      <a:pt x="83" y="18"/>
                    </a:lnTo>
                    <a:lnTo>
                      <a:pt x="123" y="18"/>
                    </a:lnTo>
                    <a:lnTo>
                      <a:pt x="135" y="8"/>
                    </a:lnTo>
                    <a:lnTo>
                      <a:pt x="156" y="0"/>
                    </a:lnTo>
                    <a:lnTo>
                      <a:pt x="172" y="7"/>
                    </a:lnTo>
                    <a:lnTo>
                      <a:pt x="152" y="30"/>
                    </a:lnTo>
                    <a:lnTo>
                      <a:pt x="161" y="48"/>
                    </a:lnTo>
                    <a:lnTo>
                      <a:pt x="146" y="51"/>
                    </a:lnTo>
                    <a:lnTo>
                      <a:pt x="153" y="74"/>
                    </a:lnTo>
                    <a:lnTo>
                      <a:pt x="181" y="84"/>
                    </a:lnTo>
                    <a:lnTo>
                      <a:pt x="168" y="105"/>
                    </a:lnTo>
                    <a:lnTo>
                      <a:pt x="205" y="125"/>
                    </a:lnTo>
                    <a:lnTo>
                      <a:pt x="278" y="138"/>
                    </a:lnTo>
                    <a:lnTo>
                      <a:pt x="279" y="118"/>
                    </a:lnTo>
                    <a:lnTo>
                      <a:pt x="288" y="116"/>
                    </a:lnTo>
                    <a:lnTo>
                      <a:pt x="291" y="126"/>
                    </a:lnTo>
                    <a:lnTo>
                      <a:pt x="296" y="134"/>
                    </a:lnTo>
                    <a:lnTo>
                      <a:pt x="333" y="131"/>
                    </a:lnTo>
                    <a:lnTo>
                      <a:pt x="330" y="118"/>
                    </a:lnTo>
                    <a:lnTo>
                      <a:pt x="390" y="95"/>
                    </a:lnTo>
                    <a:lnTo>
                      <a:pt x="394" y="109"/>
                    </a:lnTo>
                    <a:lnTo>
                      <a:pt x="409" y="114"/>
                    </a:lnTo>
                    <a:lnTo>
                      <a:pt x="403" y="129"/>
                    </a:lnTo>
                    <a:lnTo>
                      <a:pt x="379" y="137"/>
                    </a:lnTo>
                    <a:lnTo>
                      <a:pt x="342" y="201"/>
                    </a:lnTo>
                    <a:lnTo>
                      <a:pt x="335" y="176"/>
                    </a:lnTo>
                    <a:lnTo>
                      <a:pt x="329" y="185"/>
                    </a:lnTo>
                    <a:lnTo>
                      <a:pt x="320" y="173"/>
                    </a:lnTo>
                    <a:lnTo>
                      <a:pt x="336" y="157"/>
                    </a:lnTo>
                    <a:lnTo>
                      <a:pt x="304" y="155"/>
                    </a:lnTo>
                    <a:lnTo>
                      <a:pt x="284" y="137"/>
                    </a:lnTo>
                    <a:lnTo>
                      <a:pt x="278" y="147"/>
                    </a:lnTo>
                    <a:lnTo>
                      <a:pt x="285" y="155"/>
                    </a:lnTo>
                    <a:lnTo>
                      <a:pt x="276" y="160"/>
                    </a:lnTo>
                    <a:lnTo>
                      <a:pt x="285" y="169"/>
                    </a:lnTo>
                    <a:lnTo>
                      <a:pt x="291" y="205"/>
                    </a:lnTo>
                    <a:lnTo>
                      <a:pt x="278" y="199"/>
                    </a:lnTo>
                    <a:lnTo>
                      <a:pt x="255" y="228"/>
                    </a:lnTo>
                    <a:lnTo>
                      <a:pt x="170" y="286"/>
                    </a:lnTo>
                    <a:lnTo>
                      <a:pt x="164" y="358"/>
                    </a:lnTo>
                    <a:lnTo>
                      <a:pt x="129" y="387"/>
                    </a:lnTo>
                    <a:lnTo>
                      <a:pt x="98" y="332"/>
                    </a:lnTo>
                    <a:lnTo>
                      <a:pt x="85" y="287"/>
                    </a:lnTo>
                    <a:lnTo>
                      <a:pt x="74" y="277"/>
                    </a:lnTo>
                    <a:lnTo>
                      <a:pt x="65" y="197"/>
                    </a:lnTo>
                    <a:lnTo>
                      <a:pt x="58" y="194"/>
                    </a:lnTo>
                    <a:lnTo>
                      <a:pt x="54" y="212"/>
                    </a:lnTo>
                    <a:lnTo>
                      <a:pt x="34" y="216"/>
                    </a:lnTo>
                    <a:lnTo>
                      <a:pt x="13" y="195"/>
                    </a:lnTo>
                    <a:lnTo>
                      <a:pt x="33" y="184"/>
                    </a:lnTo>
                    <a:lnTo>
                      <a:pt x="13" y="188"/>
                    </a:lnTo>
                    <a:lnTo>
                      <a:pt x="0" y="176"/>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09" name="Freeform 165"/>
              <p:cNvSpPr>
                <a:spLocks noEditPoints="1"/>
              </p:cNvSpPr>
              <p:nvPr/>
            </p:nvSpPr>
            <p:spPr bwMode="auto">
              <a:xfrm>
                <a:off x="3690" y="1625"/>
                <a:ext cx="413" cy="391"/>
              </a:xfrm>
              <a:custGeom>
                <a:avLst/>
                <a:gdLst/>
                <a:ahLst/>
                <a:cxnLst>
                  <a:cxn ang="0">
                    <a:pos x="156" y="734"/>
                  </a:cxn>
                  <a:cxn ang="0">
                    <a:pos x="125" y="508"/>
                  </a:cxn>
                  <a:cxn ang="0">
                    <a:pos x="313" y="277"/>
                  </a:cxn>
                  <a:cxn ang="0">
                    <a:pos x="288" y="186"/>
                  </a:cxn>
                  <a:cxn ang="0">
                    <a:pos x="424" y="85"/>
                  </a:cxn>
                  <a:cxn ang="0">
                    <a:pos x="602" y="35"/>
                  </a:cxn>
                  <a:cxn ang="0">
                    <a:pos x="569" y="218"/>
                  </a:cxn>
                  <a:cxn ang="0">
                    <a:pos x="541" y="331"/>
                  </a:cxn>
                  <a:cxn ang="0">
                    <a:pos x="593" y="473"/>
                  </a:cxn>
                  <a:cxn ang="0">
                    <a:pos x="956" y="615"/>
                  </a:cxn>
                  <a:cxn ang="0">
                    <a:pos x="1009" y="515"/>
                  </a:cxn>
                  <a:cxn ang="0">
                    <a:pos x="1152" y="574"/>
                  </a:cxn>
                  <a:cxn ang="0">
                    <a:pos x="1354" y="417"/>
                  </a:cxn>
                  <a:cxn ang="0">
                    <a:pos x="1424" y="512"/>
                  </a:cxn>
                  <a:cxn ang="0">
                    <a:pos x="1193" y="894"/>
                  </a:cxn>
                  <a:cxn ang="0">
                    <a:pos x="1146" y="824"/>
                  </a:cxn>
                  <a:cxn ang="0">
                    <a:pos x="1158" y="692"/>
                  </a:cxn>
                  <a:cxn ang="0">
                    <a:pos x="994" y="612"/>
                  </a:cxn>
                  <a:cxn ang="0">
                    <a:pos x="995" y="693"/>
                  </a:cxn>
                  <a:cxn ang="0">
                    <a:pos x="1016" y="906"/>
                  </a:cxn>
                  <a:cxn ang="0">
                    <a:pos x="890" y="1012"/>
                  </a:cxn>
                  <a:cxn ang="0">
                    <a:pos x="579" y="1583"/>
                  </a:cxn>
                  <a:cxn ang="0">
                    <a:pos x="336" y="1462"/>
                  </a:cxn>
                  <a:cxn ang="0">
                    <a:pos x="223" y="871"/>
                  </a:cxn>
                  <a:cxn ang="0">
                    <a:pos x="193" y="944"/>
                  </a:cxn>
                  <a:cxn ang="0">
                    <a:pos x="47" y="857"/>
                  </a:cxn>
                  <a:cxn ang="0">
                    <a:pos x="2" y="785"/>
                  </a:cxn>
                  <a:cxn ang="0">
                    <a:pos x="124" y="822"/>
                  </a:cxn>
                  <a:cxn ang="0">
                    <a:pos x="188" y="928"/>
                  </a:cxn>
                  <a:cxn ang="0">
                    <a:pos x="235" y="864"/>
                  </a:cxn>
                  <a:cxn ang="0">
                    <a:pos x="308" y="1265"/>
                  </a:cxn>
                  <a:cxn ang="0">
                    <a:pos x="567" y="1572"/>
                  </a:cxn>
                  <a:cxn ang="0">
                    <a:pos x="877" y="1003"/>
                  </a:cxn>
                  <a:cxn ang="0">
                    <a:pos x="981" y="748"/>
                  </a:cxn>
                  <a:cxn ang="0">
                    <a:pos x="985" y="680"/>
                  </a:cxn>
                  <a:cxn ang="0">
                    <a:pos x="986" y="600"/>
                  </a:cxn>
                  <a:cxn ang="0">
                    <a:pos x="1171" y="694"/>
                  </a:cxn>
                  <a:cxn ang="0">
                    <a:pos x="1132" y="817"/>
                  </a:cxn>
                  <a:cxn ang="0">
                    <a:pos x="1179" y="887"/>
                  </a:cxn>
                  <a:cxn ang="0">
                    <a:pos x="1409" y="507"/>
                  </a:cxn>
                  <a:cxn ang="0">
                    <a:pos x="1354" y="432"/>
                  </a:cxn>
                  <a:cxn ang="0">
                    <a:pos x="1154" y="590"/>
                  </a:cxn>
                  <a:cxn ang="0">
                    <a:pos x="993" y="518"/>
                  </a:cxn>
                  <a:cxn ang="0">
                    <a:pos x="968" y="621"/>
                  </a:cxn>
                  <a:cxn ang="0">
                    <a:pos x="578" y="466"/>
                  </a:cxn>
                  <a:cxn ang="0">
                    <a:pos x="502" y="234"/>
                  </a:cxn>
                  <a:cxn ang="0">
                    <a:pos x="523" y="143"/>
                  </a:cxn>
                  <a:cxn ang="0">
                    <a:pos x="549" y="16"/>
                  </a:cxn>
                  <a:cxn ang="0">
                    <a:pos x="293" y="98"/>
                  </a:cxn>
                  <a:cxn ang="0">
                    <a:pos x="366" y="244"/>
                  </a:cxn>
                  <a:cxn ang="0">
                    <a:pos x="337" y="334"/>
                  </a:cxn>
                  <a:cxn ang="0">
                    <a:pos x="88" y="570"/>
                  </a:cxn>
                  <a:cxn ang="0">
                    <a:pos x="48" y="750"/>
                  </a:cxn>
                </a:cxnLst>
                <a:rect l="0" t="0" r="r" b="b"/>
                <a:pathLst>
                  <a:path w="1425" h="1713">
                    <a:moveTo>
                      <a:pt x="2" y="785"/>
                    </a:moveTo>
                    <a:cubicBezTo>
                      <a:pt x="0" y="782"/>
                      <a:pt x="0" y="778"/>
                      <a:pt x="3" y="775"/>
                    </a:cubicBezTo>
                    <a:lnTo>
                      <a:pt x="43" y="736"/>
                    </a:lnTo>
                    <a:cubicBezTo>
                      <a:pt x="44" y="735"/>
                      <a:pt x="46" y="734"/>
                      <a:pt x="48" y="734"/>
                    </a:cubicBezTo>
                    <a:lnTo>
                      <a:pt x="156" y="734"/>
                    </a:lnTo>
                    <a:lnTo>
                      <a:pt x="149" y="745"/>
                    </a:lnTo>
                    <a:lnTo>
                      <a:pt x="74" y="568"/>
                    </a:lnTo>
                    <a:cubicBezTo>
                      <a:pt x="73" y="565"/>
                      <a:pt x="74" y="562"/>
                      <a:pt x="76" y="560"/>
                    </a:cubicBezTo>
                    <a:lnTo>
                      <a:pt x="118" y="511"/>
                    </a:lnTo>
                    <a:cubicBezTo>
                      <a:pt x="120" y="509"/>
                      <a:pt x="123" y="508"/>
                      <a:pt x="125" y="508"/>
                    </a:cubicBezTo>
                    <a:lnTo>
                      <a:pt x="190" y="515"/>
                    </a:lnTo>
                    <a:lnTo>
                      <a:pt x="183" y="518"/>
                    </a:lnTo>
                    <a:lnTo>
                      <a:pt x="324" y="325"/>
                    </a:lnTo>
                    <a:lnTo>
                      <a:pt x="322" y="331"/>
                    </a:lnTo>
                    <a:lnTo>
                      <a:pt x="313" y="277"/>
                    </a:lnTo>
                    <a:cubicBezTo>
                      <a:pt x="312" y="274"/>
                      <a:pt x="313" y="272"/>
                      <a:pt x="315" y="270"/>
                    </a:cubicBezTo>
                    <a:lnTo>
                      <a:pt x="353" y="238"/>
                    </a:lnTo>
                    <a:lnTo>
                      <a:pt x="352" y="250"/>
                    </a:lnTo>
                    <a:lnTo>
                      <a:pt x="290" y="191"/>
                    </a:lnTo>
                    <a:cubicBezTo>
                      <a:pt x="289" y="190"/>
                      <a:pt x="288" y="188"/>
                      <a:pt x="288" y="186"/>
                    </a:cubicBezTo>
                    <a:lnTo>
                      <a:pt x="285" y="91"/>
                    </a:lnTo>
                    <a:cubicBezTo>
                      <a:pt x="285" y="88"/>
                      <a:pt x="286" y="86"/>
                      <a:pt x="287" y="85"/>
                    </a:cubicBezTo>
                    <a:cubicBezTo>
                      <a:pt x="289" y="83"/>
                      <a:pt x="291" y="82"/>
                      <a:pt x="293" y="82"/>
                    </a:cubicBezTo>
                    <a:lnTo>
                      <a:pt x="429" y="82"/>
                    </a:lnTo>
                    <a:lnTo>
                      <a:pt x="424" y="85"/>
                    </a:lnTo>
                    <a:lnTo>
                      <a:pt x="465" y="40"/>
                    </a:lnTo>
                    <a:cubicBezTo>
                      <a:pt x="466" y="39"/>
                      <a:pt x="466" y="38"/>
                      <a:pt x="467" y="38"/>
                    </a:cubicBezTo>
                    <a:lnTo>
                      <a:pt x="542" y="1"/>
                    </a:lnTo>
                    <a:cubicBezTo>
                      <a:pt x="544" y="0"/>
                      <a:pt x="547" y="0"/>
                      <a:pt x="550" y="2"/>
                    </a:cubicBezTo>
                    <a:lnTo>
                      <a:pt x="602" y="35"/>
                    </a:lnTo>
                    <a:cubicBezTo>
                      <a:pt x="604" y="36"/>
                      <a:pt x="605" y="38"/>
                      <a:pt x="606" y="40"/>
                    </a:cubicBezTo>
                    <a:cubicBezTo>
                      <a:pt x="606" y="42"/>
                      <a:pt x="606" y="45"/>
                      <a:pt x="604" y="46"/>
                    </a:cubicBezTo>
                    <a:lnTo>
                      <a:pt x="537" y="145"/>
                    </a:lnTo>
                    <a:lnTo>
                      <a:pt x="538" y="138"/>
                    </a:lnTo>
                    <a:lnTo>
                      <a:pt x="569" y="218"/>
                    </a:lnTo>
                    <a:cubicBezTo>
                      <a:pt x="570" y="220"/>
                      <a:pt x="570" y="222"/>
                      <a:pt x="569" y="224"/>
                    </a:cubicBezTo>
                    <a:cubicBezTo>
                      <a:pt x="568" y="226"/>
                      <a:pt x="566" y="228"/>
                      <a:pt x="564" y="228"/>
                    </a:cubicBezTo>
                    <a:lnTo>
                      <a:pt x="511" y="240"/>
                    </a:lnTo>
                    <a:lnTo>
                      <a:pt x="517" y="231"/>
                    </a:lnTo>
                    <a:lnTo>
                      <a:pt x="541" y="331"/>
                    </a:lnTo>
                    <a:lnTo>
                      <a:pt x="536" y="325"/>
                    </a:lnTo>
                    <a:lnTo>
                      <a:pt x="636" y="369"/>
                    </a:lnTo>
                    <a:cubicBezTo>
                      <a:pt x="638" y="370"/>
                      <a:pt x="639" y="371"/>
                      <a:pt x="640" y="373"/>
                    </a:cubicBezTo>
                    <a:cubicBezTo>
                      <a:pt x="641" y="375"/>
                      <a:pt x="641" y="378"/>
                      <a:pt x="640" y="380"/>
                    </a:cubicBezTo>
                    <a:lnTo>
                      <a:pt x="593" y="473"/>
                    </a:lnTo>
                    <a:lnTo>
                      <a:pt x="590" y="463"/>
                    </a:lnTo>
                    <a:lnTo>
                      <a:pt x="718" y="552"/>
                    </a:lnTo>
                    <a:lnTo>
                      <a:pt x="716" y="550"/>
                    </a:lnTo>
                    <a:lnTo>
                      <a:pt x="965" y="607"/>
                    </a:lnTo>
                    <a:lnTo>
                      <a:pt x="956" y="615"/>
                    </a:lnTo>
                    <a:lnTo>
                      <a:pt x="961" y="526"/>
                    </a:lnTo>
                    <a:cubicBezTo>
                      <a:pt x="961" y="523"/>
                      <a:pt x="964" y="520"/>
                      <a:pt x="967" y="519"/>
                    </a:cubicBezTo>
                    <a:lnTo>
                      <a:pt x="999" y="509"/>
                    </a:lnTo>
                    <a:cubicBezTo>
                      <a:pt x="1001" y="508"/>
                      <a:pt x="1003" y="508"/>
                      <a:pt x="1005" y="510"/>
                    </a:cubicBezTo>
                    <a:cubicBezTo>
                      <a:pt x="1007" y="511"/>
                      <a:pt x="1009" y="513"/>
                      <a:pt x="1009" y="515"/>
                    </a:cubicBezTo>
                    <a:lnTo>
                      <a:pt x="1016" y="559"/>
                    </a:lnTo>
                    <a:lnTo>
                      <a:pt x="1015" y="556"/>
                    </a:lnTo>
                    <a:lnTo>
                      <a:pt x="1033" y="595"/>
                    </a:lnTo>
                    <a:lnTo>
                      <a:pt x="1025" y="590"/>
                    </a:lnTo>
                    <a:lnTo>
                      <a:pt x="1152" y="574"/>
                    </a:lnTo>
                    <a:lnTo>
                      <a:pt x="1145" y="583"/>
                    </a:lnTo>
                    <a:lnTo>
                      <a:pt x="1137" y="529"/>
                    </a:lnTo>
                    <a:cubicBezTo>
                      <a:pt x="1136" y="526"/>
                      <a:pt x="1138" y="523"/>
                      <a:pt x="1141" y="521"/>
                    </a:cubicBezTo>
                    <a:lnTo>
                      <a:pt x="1347" y="417"/>
                    </a:lnTo>
                    <a:cubicBezTo>
                      <a:pt x="1349" y="416"/>
                      <a:pt x="1351" y="416"/>
                      <a:pt x="1354" y="417"/>
                    </a:cubicBezTo>
                    <a:cubicBezTo>
                      <a:pt x="1356" y="418"/>
                      <a:pt x="1357" y="420"/>
                      <a:pt x="1358" y="423"/>
                    </a:cubicBezTo>
                    <a:lnTo>
                      <a:pt x="1373" y="484"/>
                    </a:lnTo>
                    <a:lnTo>
                      <a:pt x="1369" y="479"/>
                    </a:lnTo>
                    <a:lnTo>
                      <a:pt x="1420" y="502"/>
                    </a:lnTo>
                    <a:cubicBezTo>
                      <a:pt x="1424" y="504"/>
                      <a:pt x="1425" y="508"/>
                      <a:pt x="1424" y="512"/>
                    </a:cubicBezTo>
                    <a:lnTo>
                      <a:pt x="1403" y="574"/>
                    </a:lnTo>
                    <a:cubicBezTo>
                      <a:pt x="1403" y="576"/>
                      <a:pt x="1401" y="578"/>
                      <a:pt x="1399" y="579"/>
                    </a:cubicBezTo>
                    <a:lnTo>
                      <a:pt x="1315" y="617"/>
                    </a:lnTo>
                    <a:lnTo>
                      <a:pt x="1319" y="613"/>
                    </a:lnTo>
                    <a:lnTo>
                      <a:pt x="1193" y="894"/>
                    </a:lnTo>
                    <a:cubicBezTo>
                      <a:pt x="1192" y="897"/>
                      <a:pt x="1189" y="899"/>
                      <a:pt x="1185" y="899"/>
                    </a:cubicBezTo>
                    <a:cubicBezTo>
                      <a:pt x="1182" y="898"/>
                      <a:pt x="1179" y="896"/>
                      <a:pt x="1178" y="892"/>
                    </a:cubicBezTo>
                    <a:lnTo>
                      <a:pt x="1153" y="781"/>
                    </a:lnTo>
                    <a:lnTo>
                      <a:pt x="1168" y="783"/>
                    </a:lnTo>
                    <a:lnTo>
                      <a:pt x="1146" y="824"/>
                    </a:lnTo>
                    <a:cubicBezTo>
                      <a:pt x="1145" y="827"/>
                      <a:pt x="1142" y="829"/>
                      <a:pt x="1139" y="829"/>
                    </a:cubicBezTo>
                    <a:cubicBezTo>
                      <a:pt x="1136" y="829"/>
                      <a:pt x="1133" y="827"/>
                      <a:pt x="1132" y="824"/>
                    </a:cubicBezTo>
                    <a:lnTo>
                      <a:pt x="1102" y="769"/>
                    </a:lnTo>
                    <a:cubicBezTo>
                      <a:pt x="1100" y="766"/>
                      <a:pt x="1100" y="763"/>
                      <a:pt x="1102" y="760"/>
                    </a:cubicBezTo>
                    <a:lnTo>
                      <a:pt x="1158" y="692"/>
                    </a:lnTo>
                    <a:lnTo>
                      <a:pt x="1163" y="705"/>
                    </a:lnTo>
                    <a:lnTo>
                      <a:pt x="1055" y="695"/>
                    </a:lnTo>
                    <a:cubicBezTo>
                      <a:pt x="1053" y="695"/>
                      <a:pt x="1052" y="694"/>
                      <a:pt x="1050" y="692"/>
                    </a:cubicBezTo>
                    <a:lnTo>
                      <a:pt x="981" y="614"/>
                    </a:lnTo>
                    <a:lnTo>
                      <a:pt x="994" y="612"/>
                    </a:lnTo>
                    <a:lnTo>
                      <a:pt x="972" y="655"/>
                    </a:lnTo>
                    <a:lnTo>
                      <a:pt x="972" y="647"/>
                    </a:lnTo>
                    <a:lnTo>
                      <a:pt x="996" y="682"/>
                    </a:lnTo>
                    <a:cubicBezTo>
                      <a:pt x="998" y="684"/>
                      <a:pt x="998" y="686"/>
                      <a:pt x="998" y="688"/>
                    </a:cubicBezTo>
                    <a:cubicBezTo>
                      <a:pt x="997" y="690"/>
                      <a:pt x="996" y="692"/>
                      <a:pt x="995" y="693"/>
                    </a:cubicBezTo>
                    <a:lnTo>
                      <a:pt x="961" y="717"/>
                    </a:lnTo>
                    <a:lnTo>
                      <a:pt x="963" y="705"/>
                    </a:lnTo>
                    <a:lnTo>
                      <a:pt x="995" y="742"/>
                    </a:lnTo>
                    <a:cubicBezTo>
                      <a:pt x="996" y="743"/>
                      <a:pt x="996" y="744"/>
                      <a:pt x="996" y="746"/>
                    </a:cubicBezTo>
                    <a:lnTo>
                      <a:pt x="1016" y="906"/>
                    </a:lnTo>
                    <a:cubicBezTo>
                      <a:pt x="1016" y="910"/>
                      <a:pt x="1015" y="913"/>
                      <a:pt x="1012" y="914"/>
                    </a:cubicBezTo>
                    <a:cubicBezTo>
                      <a:pt x="1010" y="916"/>
                      <a:pt x="1006" y="916"/>
                      <a:pt x="1004" y="914"/>
                    </a:cubicBezTo>
                    <a:lnTo>
                      <a:pt x="961" y="887"/>
                    </a:lnTo>
                    <a:lnTo>
                      <a:pt x="972" y="885"/>
                    </a:lnTo>
                    <a:lnTo>
                      <a:pt x="890" y="1012"/>
                    </a:lnTo>
                    <a:cubicBezTo>
                      <a:pt x="890" y="1013"/>
                      <a:pt x="889" y="1013"/>
                      <a:pt x="889" y="1014"/>
                    </a:cubicBezTo>
                    <a:lnTo>
                      <a:pt x="599" y="1268"/>
                    </a:lnTo>
                    <a:lnTo>
                      <a:pt x="602" y="1262"/>
                    </a:lnTo>
                    <a:lnTo>
                      <a:pt x="581" y="1578"/>
                    </a:lnTo>
                    <a:cubicBezTo>
                      <a:pt x="581" y="1580"/>
                      <a:pt x="580" y="1582"/>
                      <a:pt x="579" y="1583"/>
                    </a:cubicBezTo>
                    <a:lnTo>
                      <a:pt x="457" y="1710"/>
                    </a:lnTo>
                    <a:cubicBezTo>
                      <a:pt x="456" y="1712"/>
                      <a:pt x="453" y="1713"/>
                      <a:pt x="450" y="1712"/>
                    </a:cubicBezTo>
                    <a:cubicBezTo>
                      <a:pt x="448" y="1712"/>
                      <a:pt x="445" y="1710"/>
                      <a:pt x="444" y="1708"/>
                    </a:cubicBezTo>
                    <a:lnTo>
                      <a:pt x="337" y="1464"/>
                    </a:lnTo>
                    <a:cubicBezTo>
                      <a:pt x="336" y="1463"/>
                      <a:pt x="336" y="1463"/>
                      <a:pt x="336" y="1462"/>
                    </a:cubicBezTo>
                    <a:lnTo>
                      <a:pt x="292" y="1268"/>
                    </a:lnTo>
                    <a:lnTo>
                      <a:pt x="294" y="1272"/>
                    </a:lnTo>
                    <a:lnTo>
                      <a:pt x="255" y="1227"/>
                    </a:lnTo>
                    <a:cubicBezTo>
                      <a:pt x="254" y="1226"/>
                      <a:pt x="253" y="1224"/>
                      <a:pt x="253" y="1222"/>
                    </a:cubicBezTo>
                    <a:lnTo>
                      <a:pt x="223" y="871"/>
                    </a:lnTo>
                    <a:lnTo>
                      <a:pt x="227" y="878"/>
                    </a:lnTo>
                    <a:lnTo>
                      <a:pt x="203" y="864"/>
                    </a:lnTo>
                    <a:lnTo>
                      <a:pt x="215" y="859"/>
                    </a:lnTo>
                    <a:lnTo>
                      <a:pt x="199" y="937"/>
                    </a:lnTo>
                    <a:cubicBezTo>
                      <a:pt x="198" y="940"/>
                      <a:pt x="196" y="943"/>
                      <a:pt x="193" y="944"/>
                    </a:cubicBezTo>
                    <a:lnTo>
                      <a:pt x="124" y="964"/>
                    </a:lnTo>
                    <a:cubicBezTo>
                      <a:pt x="121" y="964"/>
                      <a:pt x="117" y="963"/>
                      <a:pt x="115" y="961"/>
                    </a:cubicBezTo>
                    <a:lnTo>
                      <a:pt x="45" y="869"/>
                    </a:lnTo>
                    <a:cubicBezTo>
                      <a:pt x="44" y="867"/>
                      <a:pt x="43" y="865"/>
                      <a:pt x="43" y="863"/>
                    </a:cubicBezTo>
                    <a:cubicBezTo>
                      <a:pt x="44" y="861"/>
                      <a:pt x="45" y="859"/>
                      <a:pt x="47" y="857"/>
                    </a:cubicBezTo>
                    <a:lnTo>
                      <a:pt x="114" y="809"/>
                    </a:lnTo>
                    <a:lnTo>
                      <a:pt x="121" y="823"/>
                    </a:lnTo>
                    <a:lnTo>
                      <a:pt x="53" y="842"/>
                    </a:lnTo>
                    <a:cubicBezTo>
                      <a:pt x="50" y="842"/>
                      <a:pt x="47" y="841"/>
                      <a:pt x="45" y="839"/>
                    </a:cubicBezTo>
                    <a:lnTo>
                      <a:pt x="2" y="785"/>
                    </a:lnTo>
                    <a:close/>
                    <a:moveTo>
                      <a:pt x="58" y="829"/>
                    </a:moveTo>
                    <a:lnTo>
                      <a:pt x="49" y="826"/>
                    </a:lnTo>
                    <a:lnTo>
                      <a:pt x="117" y="808"/>
                    </a:lnTo>
                    <a:cubicBezTo>
                      <a:pt x="121" y="807"/>
                      <a:pt x="124" y="809"/>
                      <a:pt x="126" y="812"/>
                    </a:cubicBezTo>
                    <a:cubicBezTo>
                      <a:pt x="128" y="816"/>
                      <a:pt x="127" y="820"/>
                      <a:pt x="124" y="822"/>
                    </a:cubicBezTo>
                    <a:lnTo>
                      <a:pt x="56" y="870"/>
                    </a:lnTo>
                    <a:lnTo>
                      <a:pt x="58" y="859"/>
                    </a:lnTo>
                    <a:lnTo>
                      <a:pt x="128" y="951"/>
                    </a:lnTo>
                    <a:lnTo>
                      <a:pt x="119" y="948"/>
                    </a:lnTo>
                    <a:lnTo>
                      <a:pt x="188" y="928"/>
                    </a:lnTo>
                    <a:lnTo>
                      <a:pt x="183" y="934"/>
                    </a:lnTo>
                    <a:lnTo>
                      <a:pt x="199" y="856"/>
                    </a:lnTo>
                    <a:cubicBezTo>
                      <a:pt x="200" y="853"/>
                      <a:pt x="202" y="851"/>
                      <a:pt x="204" y="850"/>
                    </a:cubicBezTo>
                    <a:cubicBezTo>
                      <a:pt x="206" y="849"/>
                      <a:pt x="209" y="849"/>
                      <a:pt x="211" y="850"/>
                    </a:cubicBezTo>
                    <a:lnTo>
                      <a:pt x="235" y="864"/>
                    </a:lnTo>
                    <a:cubicBezTo>
                      <a:pt x="237" y="865"/>
                      <a:pt x="238" y="867"/>
                      <a:pt x="239" y="870"/>
                    </a:cubicBezTo>
                    <a:lnTo>
                      <a:pt x="269" y="1221"/>
                    </a:lnTo>
                    <a:lnTo>
                      <a:pt x="267" y="1216"/>
                    </a:lnTo>
                    <a:lnTo>
                      <a:pt x="306" y="1261"/>
                    </a:lnTo>
                    <a:cubicBezTo>
                      <a:pt x="307" y="1262"/>
                      <a:pt x="307" y="1264"/>
                      <a:pt x="308" y="1265"/>
                    </a:cubicBezTo>
                    <a:lnTo>
                      <a:pt x="352" y="1459"/>
                    </a:lnTo>
                    <a:lnTo>
                      <a:pt x="351" y="1457"/>
                    </a:lnTo>
                    <a:lnTo>
                      <a:pt x="459" y="1701"/>
                    </a:lnTo>
                    <a:lnTo>
                      <a:pt x="446" y="1699"/>
                    </a:lnTo>
                    <a:lnTo>
                      <a:pt x="567" y="1572"/>
                    </a:lnTo>
                    <a:lnTo>
                      <a:pt x="565" y="1577"/>
                    </a:lnTo>
                    <a:lnTo>
                      <a:pt x="586" y="1261"/>
                    </a:lnTo>
                    <a:cubicBezTo>
                      <a:pt x="586" y="1259"/>
                      <a:pt x="587" y="1257"/>
                      <a:pt x="588" y="1256"/>
                    </a:cubicBezTo>
                    <a:lnTo>
                      <a:pt x="878" y="1002"/>
                    </a:lnTo>
                    <a:lnTo>
                      <a:pt x="877" y="1003"/>
                    </a:lnTo>
                    <a:lnTo>
                      <a:pt x="958" y="876"/>
                    </a:lnTo>
                    <a:cubicBezTo>
                      <a:pt x="961" y="873"/>
                      <a:pt x="966" y="872"/>
                      <a:pt x="969" y="874"/>
                    </a:cubicBezTo>
                    <a:lnTo>
                      <a:pt x="1012" y="901"/>
                    </a:lnTo>
                    <a:lnTo>
                      <a:pt x="1000" y="908"/>
                    </a:lnTo>
                    <a:lnTo>
                      <a:pt x="981" y="748"/>
                    </a:lnTo>
                    <a:lnTo>
                      <a:pt x="982" y="752"/>
                    </a:lnTo>
                    <a:lnTo>
                      <a:pt x="951" y="715"/>
                    </a:lnTo>
                    <a:cubicBezTo>
                      <a:pt x="949" y="714"/>
                      <a:pt x="949" y="712"/>
                      <a:pt x="949" y="709"/>
                    </a:cubicBezTo>
                    <a:cubicBezTo>
                      <a:pt x="949" y="707"/>
                      <a:pt x="950" y="705"/>
                      <a:pt x="952" y="704"/>
                    </a:cubicBezTo>
                    <a:lnTo>
                      <a:pt x="985" y="680"/>
                    </a:lnTo>
                    <a:lnTo>
                      <a:pt x="983" y="691"/>
                    </a:lnTo>
                    <a:lnTo>
                      <a:pt x="959" y="656"/>
                    </a:lnTo>
                    <a:cubicBezTo>
                      <a:pt x="957" y="654"/>
                      <a:pt x="957" y="651"/>
                      <a:pt x="958" y="648"/>
                    </a:cubicBezTo>
                    <a:lnTo>
                      <a:pt x="980" y="605"/>
                    </a:lnTo>
                    <a:cubicBezTo>
                      <a:pt x="981" y="602"/>
                      <a:pt x="984" y="601"/>
                      <a:pt x="986" y="600"/>
                    </a:cubicBezTo>
                    <a:cubicBezTo>
                      <a:pt x="989" y="600"/>
                      <a:pt x="991" y="601"/>
                      <a:pt x="993" y="603"/>
                    </a:cubicBezTo>
                    <a:lnTo>
                      <a:pt x="1062" y="682"/>
                    </a:lnTo>
                    <a:lnTo>
                      <a:pt x="1057" y="679"/>
                    </a:lnTo>
                    <a:lnTo>
                      <a:pt x="1165" y="689"/>
                    </a:lnTo>
                    <a:cubicBezTo>
                      <a:pt x="1168" y="689"/>
                      <a:pt x="1170" y="691"/>
                      <a:pt x="1171" y="694"/>
                    </a:cubicBezTo>
                    <a:cubicBezTo>
                      <a:pt x="1172" y="696"/>
                      <a:pt x="1172" y="700"/>
                      <a:pt x="1170" y="702"/>
                    </a:cubicBezTo>
                    <a:lnTo>
                      <a:pt x="1115" y="770"/>
                    </a:lnTo>
                    <a:lnTo>
                      <a:pt x="1116" y="762"/>
                    </a:lnTo>
                    <a:lnTo>
                      <a:pt x="1146" y="817"/>
                    </a:lnTo>
                    <a:lnTo>
                      <a:pt x="1132" y="817"/>
                    </a:lnTo>
                    <a:lnTo>
                      <a:pt x="1154" y="775"/>
                    </a:lnTo>
                    <a:cubicBezTo>
                      <a:pt x="1156" y="772"/>
                      <a:pt x="1159" y="770"/>
                      <a:pt x="1162" y="771"/>
                    </a:cubicBezTo>
                    <a:cubicBezTo>
                      <a:pt x="1165" y="771"/>
                      <a:pt x="1168" y="774"/>
                      <a:pt x="1169" y="777"/>
                    </a:cubicBezTo>
                    <a:lnTo>
                      <a:pt x="1194" y="889"/>
                    </a:lnTo>
                    <a:lnTo>
                      <a:pt x="1179" y="887"/>
                    </a:lnTo>
                    <a:lnTo>
                      <a:pt x="1304" y="607"/>
                    </a:lnTo>
                    <a:cubicBezTo>
                      <a:pt x="1305" y="605"/>
                      <a:pt x="1306" y="604"/>
                      <a:pt x="1308" y="603"/>
                    </a:cubicBezTo>
                    <a:lnTo>
                      <a:pt x="1392" y="564"/>
                    </a:lnTo>
                    <a:lnTo>
                      <a:pt x="1388" y="569"/>
                    </a:lnTo>
                    <a:lnTo>
                      <a:pt x="1409" y="507"/>
                    </a:lnTo>
                    <a:lnTo>
                      <a:pt x="1413" y="517"/>
                    </a:lnTo>
                    <a:lnTo>
                      <a:pt x="1362" y="494"/>
                    </a:lnTo>
                    <a:cubicBezTo>
                      <a:pt x="1360" y="493"/>
                      <a:pt x="1358" y="491"/>
                      <a:pt x="1358" y="488"/>
                    </a:cubicBezTo>
                    <a:lnTo>
                      <a:pt x="1342" y="426"/>
                    </a:lnTo>
                    <a:lnTo>
                      <a:pt x="1354" y="432"/>
                    </a:lnTo>
                    <a:lnTo>
                      <a:pt x="1148" y="535"/>
                    </a:lnTo>
                    <a:lnTo>
                      <a:pt x="1152" y="527"/>
                    </a:lnTo>
                    <a:lnTo>
                      <a:pt x="1161" y="580"/>
                    </a:lnTo>
                    <a:cubicBezTo>
                      <a:pt x="1161" y="583"/>
                      <a:pt x="1161" y="585"/>
                      <a:pt x="1159" y="586"/>
                    </a:cubicBezTo>
                    <a:cubicBezTo>
                      <a:pt x="1158" y="588"/>
                      <a:pt x="1156" y="589"/>
                      <a:pt x="1154" y="590"/>
                    </a:cubicBezTo>
                    <a:lnTo>
                      <a:pt x="1027" y="606"/>
                    </a:lnTo>
                    <a:cubicBezTo>
                      <a:pt x="1023" y="607"/>
                      <a:pt x="1020" y="605"/>
                      <a:pt x="1019" y="602"/>
                    </a:cubicBezTo>
                    <a:lnTo>
                      <a:pt x="1001" y="563"/>
                    </a:lnTo>
                    <a:cubicBezTo>
                      <a:pt x="1000" y="563"/>
                      <a:pt x="1000" y="562"/>
                      <a:pt x="1000" y="561"/>
                    </a:cubicBezTo>
                    <a:lnTo>
                      <a:pt x="993" y="518"/>
                    </a:lnTo>
                    <a:lnTo>
                      <a:pt x="1003" y="524"/>
                    </a:lnTo>
                    <a:lnTo>
                      <a:pt x="972" y="534"/>
                    </a:lnTo>
                    <a:lnTo>
                      <a:pt x="977" y="527"/>
                    </a:lnTo>
                    <a:lnTo>
                      <a:pt x="972" y="616"/>
                    </a:lnTo>
                    <a:cubicBezTo>
                      <a:pt x="972" y="618"/>
                      <a:pt x="970" y="620"/>
                      <a:pt x="968" y="621"/>
                    </a:cubicBezTo>
                    <a:cubicBezTo>
                      <a:pt x="967" y="623"/>
                      <a:pt x="964" y="623"/>
                      <a:pt x="962" y="623"/>
                    </a:cubicBezTo>
                    <a:lnTo>
                      <a:pt x="712" y="566"/>
                    </a:lnTo>
                    <a:cubicBezTo>
                      <a:pt x="711" y="566"/>
                      <a:pt x="710" y="565"/>
                      <a:pt x="709" y="565"/>
                    </a:cubicBezTo>
                    <a:lnTo>
                      <a:pt x="581" y="476"/>
                    </a:lnTo>
                    <a:cubicBezTo>
                      <a:pt x="578" y="474"/>
                      <a:pt x="577" y="470"/>
                      <a:pt x="578" y="466"/>
                    </a:cubicBezTo>
                    <a:lnTo>
                      <a:pt x="625" y="372"/>
                    </a:lnTo>
                    <a:lnTo>
                      <a:pt x="629" y="383"/>
                    </a:lnTo>
                    <a:lnTo>
                      <a:pt x="530" y="340"/>
                    </a:lnTo>
                    <a:cubicBezTo>
                      <a:pt x="527" y="339"/>
                      <a:pt x="526" y="337"/>
                      <a:pt x="525" y="334"/>
                    </a:cubicBezTo>
                    <a:lnTo>
                      <a:pt x="502" y="234"/>
                    </a:lnTo>
                    <a:cubicBezTo>
                      <a:pt x="501" y="232"/>
                      <a:pt x="502" y="230"/>
                      <a:pt x="503" y="228"/>
                    </a:cubicBezTo>
                    <a:cubicBezTo>
                      <a:pt x="504" y="226"/>
                      <a:pt x="506" y="225"/>
                      <a:pt x="508" y="225"/>
                    </a:cubicBezTo>
                    <a:lnTo>
                      <a:pt x="560" y="213"/>
                    </a:lnTo>
                    <a:lnTo>
                      <a:pt x="555" y="224"/>
                    </a:lnTo>
                    <a:lnTo>
                      <a:pt x="523" y="143"/>
                    </a:lnTo>
                    <a:cubicBezTo>
                      <a:pt x="522" y="141"/>
                      <a:pt x="522" y="138"/>
                      <a:pt x="524" y="136"/>
                    </a:cubicBezTo>
                    <a:lnTo>
                      <a:pt x="591" y="37"/>
                    </a:lnTo>
                    <a:lnTo>
                      <a:pt x="594" y="49"/>
                    </a:lnTo>
                    <a:lnTo>
                      <a:pt x="541" y="15"/>
                    </a:lnTo>
                    <a:lnTo>
                      <a:pt x="549" y="16"/>
                    </a:lnTo>
                    <a:lnTo>
                      <a:pt x="474" y="52"/>
                    </a:lnTo>
                    <a:lnTo>
                      <a:pt x="477" y="51"/>
                    </a:lnTo>
                    <a:lnTo>
                      <a:pt x="435" y="96"/>
                    </a:lnTo>
                    <a:cubicBezTo>
                      <a:pt x="434" y="97"/>
                      <a:pt x="432" y="98"/>
                      <a:pt x="429" y="98"/>
                    </a:cubicBezTo>
                    <a:lnTo>
                      <a:pt x="293" y="98"/>
                    </a:lnTo>
                    <a:lnTo>
                      <a:pt x="301" y="90"/>
                    </a:lnTo>
                    <a:lnTo>
                      <a:pt x="304" y="185"/>
                    </a:lnTo>
                    <a:lnTo>
                      <a:pt x="301" y="180"/>
                    </a:lnTo>
                    <a:lnTo>
                      <a:pt x="363" y="238"/>
                    </a:lnTo>
                    <a:cubicBezTo>
                      <a:pt x="365" y="240"/>
                      <a:pt x="366" y="242"/>
                      <a:pt x="366" y="244"/>
                    </a:cubicBezTo>
                    <a:cubicBezTo>
                      <a:pt x="366" y="247"/>
                      <a:pt x="365" y="249"/>
                      <a:pt x="363" y="250"/>
                    </a:cubicBezTo>
                    <a:lnTo>
                      <a:pt x="326" y="282"/>
                    </a:lnTo>
                    <a:lnTo>
                      <a:pt x="328" y="274"/>
                    </a:lnTo>
                    <a:lnTo>
                      <a:pt x="338" y="328"/>
                    </a:lnTo>
                    <a:cubicBezTo>
                      <a:pt x="338" y="330"/>
                      <a:pt x="338" y="332"/>
                      <a:pt x="337" y="334"/>
                    </a:cubicBezTo>
                    <a:lnTo>
                      <a:pt x="196" y="528"/>
                    </a:lnTo>
                    <a:cubicBezTo>
                      <a:pt x="194" y="530"/>
                      <a:pt x="191" y="531"/>
                      <a:pt x="188" y="531"/>
                    </a:cubicBezTo>
                    <a:lnTo>
                      <a:pt x="124" y="524"/>
                    </a:lnTo>
                    <a:lnTo>
                      <a:pt x="130" y="522"/>
                    </a:lnTo>
                    <a:lnTo>
                      <a:pt x="88" y="570"/>
                    </a:lnTo>
                    <a:lnTo>
                      <a:pt x="89" y="562"/>
                    </a:lnTo>
                    <a:lnTo>
                      <a:pt x="164" y="739"/>
                    </a:lnTo>
                    <a:cubicBezTo>
                      <a:pt x="165" y="741"/>
                      <a:pt x="164" y="744"/>
                      <a:pt x="163" y="746"/>
                    </a:cubicBezTo>
                    <a:cubicBezTo>
                      <a:pt x="161" y="749"/>
                      <a:pt x="159" y="750"/>
                      <a:pt x="156" y="750"/>
                    </a:cubicBezTo>
                    <a:lnTo>
                      <a:pt x="48" y="750"/>
                    </a:lnTo>
                    <a:lnTo>
                      <a:pt x="54" y="748"/>
                    </a:lnTo>
                    <a:lnTo>
                      <a:pt x="14" y="786"/>
                    </a:lnTo>
                    <a:lnTo>
                      <a:pt x="15" y="775"/>
                    </a:lnTo>
                    <a:lnTo>
                      <a:pt x="58" y="829"/>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10" name="Freeform 166"/>
              <p:cNvSpPr>
                <a:spLocks/>
              </p:cNvSpPr>
              <p:nvPr/>
            </p:nvSpPr>
            <p:spPr bwMode="auto">
              <a:xfrm>
                <a:off x="4073" y="2047"/>
                <a:ext cx="153" cy="154"/>
              </a:xfrm>
              <a:custGeom>
                <a:avLst/>
                <a:gdLst/>
                <a:ahLst/>
                <a:cxnLst>
                  <a:cxn ang="0">
                    <a:pos x="0" y="0"/>
                  </a:cxn>
                  <a:cxn ang="0">
                    <a:pos x="34" y="7"/>
                  </a:cxn>
                  <a:cxn ang="0">
                    <a:pos x="77" y="47"/>
                  </a:cxn>
                  <a:cxn ang="0">
                    <a:pos x="111" y="62"/>
                  </a:cxn>
                  <a:cxn ang="0">
                    <a:pos x="107" y="72"/>
                  </a:cxn>
                  <a:cxn ang="0">
                    <a:pos x="120" y="72"/>
                  </a:cxn>
                  <a:cxn ang="0">
                    <a:pos x="118" y="86"/>
                  </a:cxn>
                  <a:cxn ang="0">
                    <a:pos x="153" y="115"/>
                  </a:cxn>
                  <a:cxn ang="0">
                    <a:pos x="149" y="154"/>
                  </a:cxn>
                  <a:cxn ang="0">
                    <a:pos x="134" y="154"/>
                  </a:cxn>
                  <a:cxn ang="0">
                    <a:pos x="103" y="132"/>
                  </a:cxn>
                  <a:cxn ang="0">
                    <a:pos x="53" y="55"/>
                  </a:cxn>
                  <a:cxn ang="0">
                    <a:pos x="0" y="0"/>
                  </a:cxn>
                </a:cxnLst>
                <a:rect l="0" t="0" r="r" b="b"/>
                <a:pathLst>
                  <a:path w="153" h="154">
                    <a:moveTo>
                      <a:pt x="0" y="0"/>
                    </a:moveTo>
                    <a:lnTo>
                      <a:pt x="34" y="7"/>
                    </a:lnTo>
                    <a:lnTo>
                      <a:pt x="77" y="47"/>
                    </a:lnTo>
                    <a:lnTo>
                      <a:pt x="111" y="62"/>
                    </a:lnTo>
                    <a:lnTo>
                      <a:pt x="107" y="72"/>
                    </a:lnTo>
                    <a:lnTo>
                      <a:pt x="120" y="72"/>
                    </a:lnTo>
                    <a:lnTo>
                      <a:pt x="118" y="86"/>
                    </a:lnTo>
                    <a:lnTo>
                      <a:pt x="153" y="115"/>
                    </a:lnTo>
                    <a:lnTo>
                      <a:pt x="149" y="154"/>
                    </a:lnTo>
                    <a:lnTo>
                      <a:pt x="134" y="154"/>
                    </a:lnTo>
                    <a:lnTo>
                      <a:pt x="103" y="132"/>
                    </a:lnTo>
                    <a:lnTo>
                      <a:pt x="53" y="55"/>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11" name="Freeform 167"/>
              <p:cNvSpPr>
                <a:spLocks noEditPoints="1"/>
              </p:cNvSpPr>
              <p:nvPr/>
            </p:nvSpPr>
            <p:spPr bwMode="auto">
              <a:xfrm>
                <a:off x="4071" y="2045"/>
                <a:ext cx="158" cy="158"/>
              </a:xfrm>
              <a:custGeom>
                <a:avLst/>
                <a:gdLst/>
                <a:ahLst/>
                <a:cxnLst>
                  <a:cxn ang="0">
                    <a:pos x="2" y="13"/>
                  </a:cxn>
                  <a:cxn ang="0">
                    <a:pos x="2" y="4"/>
                  </a:cxn>
                  <a:cxn ang="0">
                    <a:pos x="10" y="1"/>
                  </a:cxn>
                  <a:cxn ang="0">
                    <a:pos x="127" y="28"/>
                  </a:cxn>
                  <a:cxn ang="0">
                    <a:pos x="131" y="31"/>
                  </a:cxn>
                  <a:cxn ang="0">
                    <a:pos x="278" y="206"/>
                  </a:cxn>
                  <a:cxn ang="0">
                    <a:pos x="276" y="204"/>
                  </a:cxn>
                  <a:cxn ang="0">
                    <a:pos x="396" y="269"/>
                  </a:cxn>
                  <a:cxn ang="0">
                    <a:pos x="400" y="278"/>
                  </a:cxn>
                  <a:cxn ang="0">
                    <a:pos x="386" y="326"/>
                  </a:cxn>
                  <a:cxn ang="0">
                    <a:pos x="378" y="316"/>
                  </a:cxn>
                  <a:cxn ang="0">
                    <a:pos x="421" y="313"/>
                  </a:cxn>
                  <a:cxn ang="0">
                    <a:pos x="427" y="315"/>
                  </a:cxn>
                  <a:cxn ang="0">
                    <a:pos x="430" y="321"/>
                  </a:cxn>
                  <a:cxn ang="0">
                    <a:pos x="423" y="386"/>
                  </a:cxn>
                  <a:cxn ang="0">
                    <a:pos x="420" y="380"/>
                  </a:cxn>
                  <a:cxn ang="0">
                    <a:pos x="542" y="504"/>
                  </a:cxn>
                  <a:cxn ang="0">
                    <a:pos x="544" y="511"/>
                  </a:cxn>
                  <a:cxn ang="0">
                    <a:pos x="530" y="679"/>
                  </a:cxn>
                  <a:cxn ang="0">
                    <a:pos x="523" y="687"/>
                  </a:cxn>
                  <a:cxn ang="0">
                    <a:pos x="471" y="688"/>
                  </a:cxn>
                  <a:cxn ang="0">
                    <a:pos x="465" y="686"/>
                  </a:cxn>
                  <a:cxn ang="0">
                    <a:pos x="357" y="589"/>
                  </a:cxn>
                  <a:cxn ang="0">
                    <a:pos x="356" y="587"/>
                  </a:cxn>
                  <a:cxn ang="0">
                    <a:pos x="182" y="249"/>
                  </a:cxn>
                  <a:cxn ang="0">
                    <a:pos x="183" y="250"/>
                  </a:cxn>
                  <a:cxn ang="0">
                    <a:pos x="2" y="13"/>
                  </a:cxn>
                  <a:cxn ang="0">
                    <a:pos x="196" y="241"/>
                  </a:cxn>
                  <a:cxn ang="0">
                    <a:pos x="196" y="242"/>
                  </a:cxn>
                  <a:cxn ang="0">
                    <a:pos x="370" y="580"/>
                  </a:cxn>
                  <a:cxn ang="0">
                    <a:pos x="368" y="577"/>
                  </a:cxn>
                  <a:cxn ang="0">
                    <a:pos x="476" y="675"/>
                  </a:cxn>
                  <a:cxn ang="0">
                    <a:pos x="470" y="672"/>
                  </a:cxn>
                  <a:cxn ang="0">
                    <a:pos x="522" y="671"/>
                  </a:cxn>
                  <a:cxn ang="0">
                    <a:pos x="514" y="678"/>
                  </a:cxn>
                  <a:cxn ang="0">
                    <a:pos x="528" y="509"/>
                  </a:cxn>
                  <a:cxn ang="0">
                    <a:pos x="531" y="516"/>
                  </a:cxn>
                  <a:cxn ang="0">
                    <a:pos x="409" y="391"/>
                  </a:cxn>
                  <a:cxn ang="0">
                    <a:pos x="407" y="385"/>
                  </a:cxn>
                  <a:cxn ang="0">
                    <a:pos x="414" y="320"/>
                  </a:cxn>
                  <a:cxn ang="0">
                    <a:pos x="422" y="329"/>
                  </a:cxn>
                  <a:cxn ang="0">
                    <a:pos x="379" y="332"/>
                  </a:cxn>
                  <a:cxn ang="0">
                    <a:pos x="372" y="329"/>
                  </a:cxn>
                  <a:cxn ang="0">
                    <a:pos x="371" y="322"/>
                  </a:cxn>
                  <a:cxn ang="0">
                    <a:pos x="385" y="274"/>
                  </a:cxn>
                  <a:cxn ang="0">
                    <a:pos x="388" y="283"/>
                  </a:cxn>
                  <a:cxn ang="0">
                    <a:pos x="268" y="218"/>
                  </a:cxn>
                  <a:cxn ang="0">
                    <a:pos x="266" y="217"/>
                  </a:cxn>
                  <a:cxn ang="0">
                    <a:pos x="119" y="41"/>
                  </a:cxn>
                  <a:cxn ang="0">
                    <a:pos x="123" y="44"/>
                  </a:cxn>
                  <a:cxn ang="0">
                    <a:pos x="7" y="16"/>
                  </a:cxn>
                  <a:cxn ang="0">
                    <a:pos x="15" y="4"/>
                  </a:cxn>
                  <a:cxn ang="0">
                    <a:pos x="196" y="241"/>
                  </a:cxn>
                </a:cxnLst>
                <a:rect l="0" t="0" r="r" b="b"/>
                <a:pathLst>
                  <a:path w="545" h="689">
                    <a:moveTo>
                      <a:pt x="2" y="13"/>
                    </a:moveTo>
                    <a:cubicBezTo>
                      <a:pt x="0" y="11"/>
                      <a:pt x="0" y="7"/>
                      <a:pt x="2" y="4"/>
                    </a:cubicBezTo>
                    <a:cubicBezTo>
                      <a:pt x="4" y="1"/>
                      <a:pt x="7" y="0"/>
                      <a:pt x="10" y="1"/>
                    </a:cubicBezTo>
                    <a:lnTo>
                      <a:pt x="127" y="28"/>
                    </a:lnTo>
                    <a:cubicBezTo>
                      <a:pt x="128" y="28"/>
                      <a:pt x="130" y="29"/>
                      <a:pt x="131" y="31"/>
                    </a:cubicBezTo>
                    <a:lnTo>
                      <a:pt x="278" y="206"/>
                    </a:lnTo>
                    <a:lnTo>
                      <a:pt x="276" y="204"/>
                    </a:lnTo>
                    <a:lnTo>
                      <a:pt x="396" y="269"/>
                    </a:lnTo>
                    <a:cubicBezTo>
                      <a:pt x="399" y="271"/>
                      <a:pt x="401" y="275"/>
                      <a:pt x="400" y="278"/>
                    </a:cubicBezTo>
                    <a:lnTo>
                      <a:pt x="386" y="326"/>
                    </a:lnTo>
                    <a:lnTo>
                      <a:pt x="378" y="316"/>
                    </a:lnTo>
                    <a:lnTo>
                      <a:pt x="421" y="313"/>
                    </a:lnTo>
                    <a:cubicBezTo>
                      <a:pt x="423" y="312"/>
                      <a:pt x="426" y="313"/>
                      <a:pt x="427" y="315"/>
                    </a:cubicBezTo>
                    <a:cubicBezTo>
                      <a:pt x="429" y="317"/>
                      <a:pt x="430" y="319"/>
                      <a:pt x="430" y="321"/>
                    </a:cubicBezTo>
                    <a:lnTo>
                      <a:pt x="423" y="386"/>
                    </a:lnTo>
                    <a:lnTo>
                      <a:pt x="420" y="380"/>
                    </a:lnTo>
                    <a:lnTo>
                      <a:pt x="542" y="504"/>
                    </a:lnTo>
                    <a:cubicBezTo>
                      <a:pt x="544" y="506"/>
                      <a:pt x="545" y="508"/>
                      <a:pt x="544" y="511"/>
                    </a:cubicBezTo>
                    <a:lnTo>
                      <a:pt x="530" y="679"/>
                    </a:lnTo>
                    <a:cubicBezTo>
                      <a:pt x="530" y="683"/>
                      <a:pt x="527" y="687"/>
                      <a:pt x="523" y="687"/>
                    </a:cubicBezTo>
                    <a:lnTo>
                      <a:pt x="471" y="688"/>
                    </a:lnTo>
                    <a:cubicBezTo>
                      <a:pt x="469" y="689"/>
                      <a:pt x="467" y="688"/>
                      <a:pt x="465" y="686"/>
                    </a:cubicBezTo>
                    <a:lnTo>
                      <a:pt x="357" y="589"/>
                    </a:lnTo>
                    <a:cubicBezTo>
                      <a:pt x="357" y="589"/>
                      <a:pt x="356" y="588"/>
                      <a:pt x="356" y="587"/>
                    </a:cubicBezTo>
                    <a:lnTo>
                      <a:pt x="182" y="249"/>
                    </a:lnTo>
                    <a:lnTo>
                      <a:pt x="183" y="250"/>
                    </a:lnTo>
                    <a:lnTo>
                      <a:pt x="2" y="13"/>
                    </a:lnTo>
                    <a:close/>
                    <a:moveTo>
                      <a:pt x="196" y="241"/>
                    </a:moveTo>
                    <a:cubicBezTo>
                      <a:pt x="196" y="241"/>
                      <a:pt x="196" y="241"/>
                      <a:pt x="196" y="242"/>
                    </a:cubicBezTo>
                    <a:lnTo>
                      <a:pt x="370" y="580"/>
                    </a:lnTo>
                    <a:lnTo>
                      <a:pt x="368" y="577"/>
                    </a:lnTo>
                    <a:lnTo>
                      <a:pt x="476" y="675"/>
                    </a:lnTo>
                    <a:lnTo>
                      <a:pt x="470" y="672"/>
                    </a:lnTo>
                    <a:lnTo>
                      <a:pt x="522" y="671"/>
                    </a:lnTo>
                    <a:lnTo>
                      <a:pt x="514" y="678"/>
                    </a:lnTo>
                    <a:lnTo>
                      <a:pt x="528" y="509"/>
                    </a:lnTo>
                    <a:lnTo>
                      <a:pt x="531" y="516"/>
                    </a:lnTo>
                    <a:lnTo>
                      <a:pt x="409" y="391"/>
                    </a:lnTo>
                    <a:cubicBezTo>
                      <a:pt x="407" y="389"/>
                      <a:pt x="406" y="387"/>
                      <a:pt x="407" y="385"/>
                    </a:cubicBezTo>
                    <a:lnTo>
                      <a:pt x="414" y="320"/>
                    </a:lnTo>
                    <a:lnTo>
                      <a:pt x="422" y="329"/>
                    </a:lnTo>
                    <a:lnTo>
                      <a:pt x="379" y="332"/>
                    </a:lnTo>
                    <a:cubicBezTo>
                      <a:pt x="376" y="332"/>
                      <a:pt x="374" y="331"/>
                      <a:pt x="372" y="329"/>
                    </a:cubicBezTo>
                    <a:cubicBezTo>
                      <a:pt x="370" y="327"/>
                      <a:pt x="370" y="324"/>
                      <a:pt x="371" y="322"/>
                    </a:cubicBezTo>
                    <a:lnTo>
                      <a:pt x="385" y="274"/>
                    </a:lnTo>
                    <a:lnTo>
                      <a:pt x="388" y="283"/>
                    </a:lnTo>
                    <a:lnTo>
                      <a:pt x="268" y="218"/>
                    </a:lnTo>
                    <a:cubicBezTo>
                      <a:pt x="267" y="218"/>
                      <a:pt x="266" y="217"/>
                      <a:pt x="266" y="217"/>
                    </a:cubicBezTo>
                    <a:lnTo>
                      <a:pt x="119" y="41"/>
                    </a:lnTo>
                    <a:lnTo>
                      <a:pt x="123" y="44"/>
                    </a:lnTo>
                    <a:lnTo>
                      <a:pt x="7" y="16"/>
                    </a:lnTo>
                    <a:lnTo>
                      <a:pt x="15" y="4"/>
                    </a:lnTo>
                    <a:lnTo>
                      <a:pt x="196" y="24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12" name="Freeform 168"/>
              <p:cNvSpPr>
                <a:spLocks/>
              </p:cNvSpPr>
              <p:nvPr/>
            </p:nvSpPr>
            <p:spPr bwMode="auto">
              <a:xfrm>
                <a:off x="4217" y="2201"/>
                <a:ext cx="125" cy="36"/>
              </a:xfrm>
              <a:custGeom>
                <a:avLst/>
                <a:gdLst/>
                <a:ahLst/>
                <a:cxnLst>
                  <a:cxn ang="0">
                    <a:pos x="0" y="10"/>
                  </a:cxn>
                  <a:cxn ang="0">
                    <a:pos x="8" y="0"/>
                  </a:cxn>
                  <a:cxn ang="0">
                    <a:pos x="96" y="12"/>
                  </a:cxn>
                  <a:cxn ang="0">
                    <a:pos x="105" y="21"/>
                  </a:cxn>
                  <a:cxn ang="0">
                    <a:pos x="123" y="24"/>
                  </a:cxn>
                  <a:cxn ang="0">
                    <a:pos x="125" y="36"/>
                  </a:cxn>
                  <a:cxn ang="0">
                    <a:pos x="22" y="19"/>
                  </a:cxn>
                  <a:cxn ang="0">
                    <a:pos x="0" y="10"/>
                  </a:cxn>
                </a:cxnLst>
                <a:rect l="0" t="0" r="r" b="b"/>
                <a:pathLst>
                  <a:path w="125" h="36">
                    <a:moveTo>
                      <a:pt x="0" y="10"/>
                    </a:moveTo>
                    <a:lnTo>
                      <a:pt x="8" y="0"/>
                    </a:lnTo>
                    <a:lnTo>
                      <a:pt x="96" y="12"/>
                    </a:lnTo>
                    <a:lnTo>
                      <a:pt x="105" y="21"/>
                    </a:lnTo>
                    <a:lnTo>
                      <a:pt x="123" y="24"/>
                    </a:lnTo>
                    <a:lnTo>
                      <a:pt x="125" y="36"/>
                    </a:lnTo>
                    <a:lnTo>
                      <a:pt x="22" y="19"/>
                    </a:lnTo>
                    <a:lnTo>
                      <a:pt x="0" y="1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13" name="Freeform 169"/>
              <p:cNvSpPr>
                <a:spLocks noEditPoints="1"/>
              </p:cNvSpPr>
              <p:nvPr/>
            </p:nvSpPr>
            <p:spPr bwMode="auto">
              <a:xfrm>
                <a:off x="4215" y="2199"/>
                <a:ext cx="130" cy="41"/>
              </a:xfrm>
              <a:custGeom>
                <a:avLst/>
                <a:gdLst/>
                <a:ahLst/>
                <a:cxnLst>
                  <a:cxn ang="0">
                    <a:pos x="5" y="61"/>
                  </a:cxn>
                  <a:cxn ang="0">
                    <a:pos x="1" y="56"/>
                  </a:cxn>
                  <a:cxn ang="0">
                    <a:pos x="2" y="49"/>
                  </a:cxn>
                  <a:cxn ang="0">
                    <a:pos x="31" y="4"/>
                  </a:cxn>
                  <a:cxn ang="0">
                    <a:pos x="39" y="1"/>
                  </a:cxn>
                  <a:cxn ang="0">
                    <a:pos x="342" y="51"/>
                  </a:cxn>
                  <a:cxn ang="0">
                    <a:pos x="347" y="54"/>
                  </a:cxn>
                  <a:cxn ang="0">
                    <a:pos x="377" y="94"/>
                  </a:cxn>
                  <a:cxn ang="0">
                    <a:pos x="372" y="91"/>
                  </a:cxn>
                  <a:cxn ang="0">
                    <a:pos x="434" y="106"/>
                  </a:cxn>
                  <a:cxn ang="0">
                    <a:pos x="440" y="112"/>
                  </a:cxn>
                  <a:cxn ang="0">
                    <a:pos x="448" y="167"/>
                  </a:cxn>
                  <a:cxn ang="0">
                    <a:pos x="446" y="174"/>
                  </a:cxn>
                  <a:cxn ang="0">
                    <a:pos x="439" y="176"/>
                  </a:cxn>
                  <a:cxn ang="0">
                    <a:pos x="82" y="99"/>
                  </a:cxn>
                  <a:cxn ang="0">
                    <a:pos x="80" y="98"/>
                  </a:cxn>
                  <a:cxn ang="0">
                    <a:pos x="5" y="61"/>
                  </a:cxn>
                  <a:cxn ang="0">
                    <a:pos x="87" y="84"/>
                  </a:cxn>
                  <a:cxn ang="0">
                    <a:pos x="86" y="83"/>
                  </a:cxn>
                  <a:cxn ang="0">
                    <a:pos x="442" y="161"/>
                  </a:cxn>
                  <a:cxn ang="0">
                    <a:pos x="433" y="170"/>
                  </a:cxn>
                  <a:cxn ang="0">
                    <a:pos x="424" y="115"/>
                  </a:cxn>
                  <a:cxn ang="0">
                    <a:pos x="430" y="121"/>
                  </a:cxn>
                  <a:cxn ang="0">
                    <a:pos x="369" y="107"/>
                  </a:cxn>
                  <a:cxn ang="0">
                    <a:pos x="364" y="104"/>
                  </a:cxn>
                  <a:cxn ang="0">
                    <a:pos x="334" y="63"/>
                  </a:cxn>
                  <a:cxn ang="0">
                    <a:pos x="339" y="66"/>
                  </a:cxn>
                  <a:cxn ang="0">
                    <a:pos x="36" y="16"/>
                  </a:cxn>
                  <a:cxn ang="0">
                    <a:pos x="44" y="13"/>
                  </a:cxn>
                  <a:cxn ang="0">
                    <a:pos x="15" y="58"/>
                  </a:cxn>
                  <a:cxn ang="0">
                    <a:pos x="12" y="47"/>
                  </a:cxn>
                  <a:cxn ang="0">
                    <a:pos x="87" y="84"/>
                  </a:cxn>
                </a:cxnLst>
                <a:rect l="0" t="0" r="r" b="b"/>
                <a:pathLst>
                  <a:path w="449" h="177">
                    <a:moveTo>
                      <a:pt x="5" y="61"/>
                    </a:moveTo>
                    <a:cubicBezTo>
                      <a:pt x="3" y="60"/>
                      <a:pt x="1" y="58"/>
                      <a:pt x="1" y="56"/>
                    </a:cubicBezTo>
                    <a:cubicBezTo>
                      <a:pt x="0" y="54"/>
                      <a:pt x="0" y="51"/>
                      <a:pt x="2" y="49"/>
                    </a:cubicBezTo>
                    <a:lnTo>
                      <a:pt x="31" y="4"/>
                    </a:lnTo>
                    <a:cubicBezTo>
                      <a:pt x="32" y="1"/>
                      <a:pt x="35" y="0"/>
                      <a:pt x="39" y="1"/>
                    </a:cubicBezTo>
                    <a:lnTo>
                      <a:pt x="342" y="51"/>
                    </a:lnTo>
                    <a:cubicBezTo>
                      <a:pt x="344" y="51"/>
                      <a:pt x="346" y="52"/>
                      <a:pt x="347" y="54"/>
                    </a:cubicBezTo>
                    <a:lnTo>
                      <a:pt x="377" y="94"/>
                    </a:lnTo>
                    <a:lnTo>
                      <a:pt x="372" y="91"/>
                    </a:lnTo>
                    <a:lnTo>
                      <a:pt x="434" y="106"/>
                    </a:lnTo>
                    <a:cubicBezTo>
                      <a:pt x="437" y="106"/>
                      <a:pt x="440" y="109"/>
                      <a:pt x="440" y="112"/>
                    </a:cubicBezTo>
                    <a:lnTo>
                      <a:pt x="448" y="167"/>
                    </a:lnTo>
                    <a:cubicBezTo>
                      <a:pt x="449" y="170"/>
                      <a:pt x="448" y="173"/>
                      <a:pt x="446" y="174"/>
                    </a:cubicBezTo>
                    <a:cubicBezTo>
                      <a:pt x="444" y="176"/>
                      <a:pt x="441" y="177"/>
                      <a:pt x="439" y="176"/>
                    </a:cubicBezTo>
                    <a:lnTo>
                      <a:pt x="82" y="99"/>
                    </a:lnTo>
                    <a:cubicBezTo>
                      <a:pt x="82" y="99"/>
                      <a:pt x="81" y="98"/>
                      <a:pt x="80" y="98"/>
                    </a:cubicBezTo>
                    <a:lnTo>
                      <a:pt x="5" y="61"/>
                    </a:lnTo>
                    <a:close/>
                    <a:moveTo>
                      <a:pt x="87" y="84"/>
                    </a:moveTo>
                    <a:lnTo>
                      <a:pt x="86" y="83"/>
                    </a:lnTo>
                    <a:lnTo>
                      <a:pt x="442" y="161"/>
                    </a:lnTo>
                    <a:lnTo>
                      <a:pt x="433" y="170"/>
                    </a:lnTo>
                    <a:lnTo>
                      <a:pt x="424" y="115"/>
                    </a:lnTo>
                    <a:lnTo>
                      <a:pt x="430" y="121"/>
                    </a:lnTo>
                    <a:lnTo>
                      <a:pt x="369" y="107"/>
                    </a:lnTo>
                    <a:cubicBezTo>
                      <a:pt x="367" y="106"/>
                      <a:pt x="365" y="105"/>
                      <a:pt x="364" y="104"/>
                    </a:cubicBezTo>
                    <a:lnTo>
                      <a:pt x="334" y="63"/>
                    </a:lnTo>
                    <a:lnTo>
                      <a:pt x="339" y="66"/>
                    </a:lnTo>
                    <a:lnTo>
                      <a:pt x="36" y="16"/>
                    </a:lnTo>
                    <a:lnTo>
                      <a:pt x="44" y="13"/>
                    </a:lnTo>
                    <a:lnTo>
                      <a:pt x="15" y="58"/>
                    </a:lnTo>
                    <a:lnTo>
                      <a:pt x="12" y="47"/>
                    </a:lnTo>
                    <a:lnTo>
                      <a:pt x="87" y="84"/>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14" name="Freeform 170"/>
              <p:cNvSpPr>
                <a:spLocks/>
              </p:cNvSpPr>
              <p:nvPr/>
            </p:nvSpPr>
            <p:spPr bwMode="auto">
              <a:xfrm>
                <a:off x="4268" y="2066"/>
                <a:ext cx="139" cy="113"/>
              </a:xfrm>
              <a:custGeom>
                <a:avLst/>
                <a:gdLst/>
                <a:ahLst/>
                <a:cxnLst>
                  <a:cxn ang="0">
                    <a:pos x="0" y="51"/>
                  </a:cxn>
                  <a:cxn ang="0">
                    <a:pos x="9" y="36"/>
                  </a:cxn>
                  <a:cxn ang="0">
                    <a:pos x="21" y="45"/>
                  </a:cxn>
                  <a:cxn ang="0">
                    <a:pos x="63" y="41"/>
                  </a:cxn>
                  <a:cxn ang="0">
                    <a:pos x="77" y="37"/>
                  </a:cxn>
                  <a:cxn ang="0">
                    <a:pos x="96" y="0"/>
                  </a:cxn>
                  <a:cxn ang="0">
                    <a:pos x="121" y="1"/>
                  </a:cxn>
                  <a:cxn ang="0">
                    <a:pos x="115" y="11"/>
                  </a:cxn>
                  <a:cxn ang="0">
                    <a:pos x="139" y="45"/>
                  </a:cxn>
                  <a:cxn ang="0">
                    <a:pos x="126" y="43"/>
                  </a:cxn>
                  <a:cxn ang="0">
                    <a:pos x="102" y="81"/>
                  </a:cxn>
                  <a:cxn ang="0">
                    <a:pos x="99" y="106"/>
                  </a:cxn>
                  <a:cxn ang="0">
                    <a:pos x="83" y="113"/>
                  </a:cxn>
                  <a:cxn ang="0">
                    <a:pos x="57" y="99"/>
                  </a:cxn>
                  <a:cxn ang="0">
                    <a:pos x="41" y="105"/>
                  </a:cxn>
                  <a:cxn ang="0">
                    <a:pos x="39" y="94"/>
                  </a:cxn>
                  <a:cxn ang="0">
                    <a:pos x="17" y="96"/>
                  </a:cxn>
                  <a:cxn ang="0">
                    <a:pos x="0" y="51"/>
                  </a:cxn>
                </a:cxnLst>
                <a:rect l="0" t="0" r="r" b="b"/>
                <a:pathLst>
                  <a:path w="139" h="113">
                    <a:moveTo>
                      <a:pt x="0" y="51"/>
                    </a:moveTo>
                    <a:lnTo>
                      <a:pt x="9" y="36"/>
                    </a:lnTo>
                    <a:lnTo>
                      <a:pt x="21" y="45"/>
                    </a:lnTo>
                    <a:lnTo>
                      <a:pt x="63" y="41"/>
                    </a:lnTo>
                    <a:lnTo>
                      <a:pt x="77" y="37"/>
                    </a:lnTo>
                    <a:lnTo>
                      <a:pt x="96" y="0"/>
                    </a:lnTo>
                    <a:lnTo>
                      <a:pt x="121" y="1"/>
                    </a:lnTo>
                    <a:lnTo>
                      <a:pt x="115" y="11"/>
                    </a:lnTo>
                    <a:lnTo>
                      <a:pt x="139" y="45"/>
                    </a:lnTo>
                    <a:lnTo>
                      <a:pt x="126" y="43"/>
                    </a:lnTo>
                    <a:lnTo>
                      <a:pt x="102" y="81"/>
                    </a:lnTo>
                    <a:lnTo>
                      <a:pt x="99" y="106"/>
                    </a:lnTo>
                    <a:lnTo>
                      <a:pt x="83" y="113"/>
                    </a:lnTo>
                    <a:lnTo>
                      <a:pt x="57" y="99"/>
                    </a:lnTo>
                    <a:lnTo>
                      <a:pt x="41" y="105"/>
                    </a:lnTo>
                    <a:lnTo>
                      <a:pt x="39" y="94"/>
                    </a:lnTo>
                    <a:lnTo>
                      <a:pt x="17" y="96"/>
                    </a:lnTo>
                    <a:lnTo>
                      <a:pt x="0" y="5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15" name="Freeform 171"/>
              <p:cNvSpPr>
                <a:spLocks noEditPoints="1"/>
              </p:cNvSpPr>
              <p:nvPr/>
            </p:nvSpPr>
            <p:spPr bwMode="auto">
              <a:xfrm>
                <a:off x="4266" y="2064"/>
                <a:ext cx="144" cy="117"/>
              </a:xfrm>
              <a:custGeom>
                <a:avLst/>
                <a:gdLst/>
                <a:ahLst/>
                <a:cxnLst>
                  <a:cxn ang="0">
                    <a:pos x="1" y="228"/>
                  </a:cxn>
                  <a:cxn ang="0">
                    <a:pos x="39" y="159"/>
                  </a:cxn>
                  <a:cxn ang="0">
                    <a:pos x="86" y="201"/>
                  </a:cxn>
                  <a:cxn ang="0">
                    <a:pos x="227" y="183"/>
                  </a:cxn>
                  <a:cxn ang="0">
                    <a:pos x="272" y="163"/>
                  </a:cxn>
                  <a:cxn ang="0">
                    <a:pos x="332" y="5"/>
                  </a:cxn>
                  <a:cxn ang="0">
                    <a:pos x="424" y="6"/>
                  </a:cxn>
                  <a:cxn ang="0">
                    <a:pos x="431" y="17"/>
                  </a:cxn>
                  <a:cxn ang="0">
                    <a:pos x="413" y="52"/>
                  </a:cxn>
                  <a:cxn ang="0">
                    <a:pos x="495" y="211"/>
                  </a:cxn>
                  <a:cxn ang="0">
                    <a:pos x="440" y="204"/>
                  </a:cxn>
                  <a:cxn ang="0">
                    <a:pos x="367" y="368"/>
                  </a:cxn>
                  <a:cxn ang="0">
                    <a:pos x="356" y="473"/>
                  </a:cxn>
                  <a:cxn ang="0">
                    <a:pos x="299" y="511"/>
                  </a:cxn>
                  <a:cxn ang="0">
                    <a:pos x="199" y="448"/>
                  </a:cxn>
                  <a:cxn ang="0">
                    <a:pos x="153" y="477"/>
                  </a:cxn>
                  <a:cxn ang="0">
                    <a:pos x="141" y="471"/>
                  </a:cxn>
                  <a:cxn ang="0">
                    <a:pos x="143" y="427"/>
                  </a:cxn>
                  <a:cxn ang="0">
                    <a:pos x="58" y="432"/>
                  </a:cxn>
                  <a:cxn ang="0">
                    <a:pos x="74" y="427"/>
                  </a:cxn>
                  <a:cxn ang="0">
                    <a:pos x="141" y="411"/>
                  </a:cxn>
                  <a:cxn ang="0">
                    <a:pos x="157" y="469"/>
                  </a:cxn>
                  <a:cxn ang="0">
                    <a:pos x="200" y="434"/>
                  </a:cxn>
                  <a:cxn ang="0">
                    <a:pos x="299" y="498"/>
                  </a:cxn>
                  <a:cxn ang="0">
                    <a:pos x="344" y="465"/>
                  </a:cxn>
                  <a:cxn ang="0">
                    <a:pos x="351" y="364"/>
                  </a:cxn>
                  <a:cxn ang="0">
                    <a:pos x="435" y="192"/>
                  </a:cxn>
                  <a:cxn ang="0">
                    <a:pos x="490" y="198"/>
                  </a:cxn>
                  <a:cxn ang="0">
                    <a:pos x="399" y="60"/>
                  </a:cxn>
                  <a:cxn ang="0">
                    <a:pos x="417" y="10"/>
                  </a:cxn>
                  <a:cxn ang="0">
                    <a:pos x="339" y="16"/>
                  </a:cxn>
                  <a:cxn ang="0">
                    <a:pos x="283" y="173"/>
                  </a:cxn>
                  <a:cxn ang="0">
                    <a:pos x="231" y="198"/>
                  </a:cxn>
                  <a:cxn ang="0">
                    <a:pos x="81" y="214"/>
                  </a:cxn>
                  <a:cxn ang="0">
                    <a:pos x="35" y="173"/>
                  </a:cxn>
                  <a:cxn ang="0">
                    <a:pos x="16" y="235"/>
                  </a:cxn>
                  <a:cxn ang="0">
                    <a:pos x="74" y="427"/>
                  </a:cxn>
                </a:cxnLst>
                <a:rect l="0" t="0" r="r" b="b"/>
                <a:pathLst>
                  <a:path w="497" h="513">
                    <a:moveTo>
                      <a:pt x="1" y="234"/>
                    </a:moveTo>
                    <a:cubicBezTo>
                      <a:pt x="0" y="232"/>
                      <a:pt x="0" y="230"/>
                      <a:pt x="1" y="228"/>
                    </a:cubicBezTo>
                    <a:lnTo>
                      <a:pt x="34" y="163"/>
                    </a:lnTo>
                    <a:cubicBezTo>
                      <a:pt x="35" y="161"/>
                      <a:pt x="37" y="159"/>
                      <a:pt x="39" y="159"/>
                    </a:cubicBezTo>
                    <a:cubicBezTo>
                      <a:pt x="42" y="159"/>
                      <a:pt x="45" y="159"/>
                      <a:pt x="46" y="161"/>
                    </a:cubicBezTo>
                    <a:lnTo>
                      <a:pt x="86" y="201"/>
                    </a:lnTo>
                    <a:lnTo>
                      <a:pt x="79" y="198"/>
                    </a:lnTo>
                    <a:lnTo>
                      <a:pt x="227" y="183"/>
                    </a:lnTo>
                    <a:lnTo>
                      <a:pt x="224" y="183"/>
                    </a:lnTo>
                    <a:lnTo>
                      <a:pt x="272" y="163"/>
                    </a:lnTo>
                    <a:lnTo>
                      <a:pt x="268" y="167"/>
                    </a:lnTo>
                    <a:lnTo>
                      <a:pt x="332" y="5"/>
                    </a:lnTo>
                    <a:cubicBezTo>
                      <a:pt x="334" y="2"/>
                      <a:pt x="337" y="0"/>
                      <a:pt x="340" y="0"/>
                    </a:cubicBezTo>
                    <a:lnTo>
                      <a:pt x="424" y="6"/>
                    </a:lnTo>
                    <a:cubicBezTo>
                      <a:pt x="427" y="6"/>
                      <a:pt x="429" y="7"/>
                      <a:pt x="431" y="9"/>
                    </a:cubicBezTo>
                    <a:cubicBezTo>
                      <a:pt x="432" y="12"/>
                      <a:pt x="432" y="14"/>
                      <a:pt x="431" y="17"/>
                    </a:cubicBezTo>
                    <a:lnTo>
                      <a:pt x="413" y="59"/>
                    </a:lnTo>
                    <a:lnTo>
                      <a:pt x="413" y="52"/>
                    </a:lnTo>
                    <a:lnTo>
                      <a:pt x="495" y="202"/>
                    </a:lnTo>
                    <a:cubicBezTo>
                      <a:pt x="497" y="205"/>
                      <a:pt x="497" y="208"/>
                      <a:pt x="495" y="211"/>
                    </a:cubicBezTo>
                    <a:cubicBezTo>
                      <a:pt x="493" y="213"/>
                      <a:pt x="490" y="215"/>
                      <a:pt x="487" y="214"/>
                    </a:cubicBezTo>
                    <a:lnTo>
                      <a:pt x="440" y="204"/>
                    </a:lnTo>
                    <a:lnTo>
                      <a:pt x="449" y="199"/>
                    </a:lnTo>
                    <a:lnTo>
                      <a:pt x="367" y="368"/>
                    </a:lnTo>
                    <a:lnTo>
                      <a:pt x="367" y="366"/>
                    </a:lnTo>
                    <a:lnTo>
                      <a:pt x="356" y="473"/>
                    </a:lnTo>
                    <a:cubicBezTo>
                      <a:pt x="356" y="475"/>
                      <a:pt x="354" y="478"/>
                      <a:pt x="352" y="479"/>
                    </a:cubicBezTo>
                    <a:lnTo>
                      <a:pt x="299" y="511"/>
                    </a:lnTo>
                    <a:cubicBezTo>
                      <a:pt x="296" y="513"/>
                      <a:pt x="293" y="513"/>
                      <a:pt x="290" y="511"/>
                    </a:cubicBezTo>
                    <a:lnTo>
                      <a:pt x="199" y="448"/>
                    </a:lnTo>
                    <a:lnTo>
                      <a:pt x="207" y="448"/>
                    </a:lnTo>
                    <a:lnTo>
                      <a:pt x="153" y="477"/>
                    </a:lnTo>
                    <a:cubicBezTo>
                      <a:pt x="150" y="479"/>
                      <a:pt x="147" y="479"/>
                      <a:pt x="145" y="478"/>
                    </a:cubicBezTo>
                    <a:cubicBezTo>
                      <a:pt x="143" y="476"/>
                      <a:pt x="141" y="474"/>
                      <a:pt x="141" y="471"/>
                    </a:cubicBezTo>
                    <a:lnTo>
                      <a:pt x="134" y="420"/>
                    </a:lnTo>
                    <a:lnTo>
                      <a:pt x="143" y="427"/>
                    </a:lnTo>
                    <a:lnTo>
                      <a:pt x="67" y="437"/>
                    </a:lnTo>
                    <a:cubicBezTo>
                      <a:pt x="63" y="438"/>
                      <a:pt x="59" y="436"/>
                      <a:pt x="58" y="432"/>
                    </a:cubicBezTo>
                    <a:lnTo>
                      <a:pt x="1" y="234"/>
                    </a:lnTo>
                    <a:close/>
                    <a:moveTo>
                      <a:pt x="74" y="427"/>
                    </a:moveTo>
                    <a:lnTo>
                      <a:pt x="65" y="422"/>
                    </a:lnTo>
                    <a:lnTo>
                      <a:pt x="141" y="411"/>
                    </a:lnTo>
                    <a:cubicBezTo>
                      <a:pt x="145" y="411"/>
                      <a:pt x="149" y="414"/>
                      <a:pt x="150" y="418"/>
                    </a:cubicBezTo>
                    <a:lnTo>
                      <a:pt x="157" y="469"/>
                    </a:lnTo>
                    <a:lnTo>
                      <a:pt x="145" y="463"/>
                    </a:lnTo>
                    <a:lnTo>
                      <a:pt x="200" y="434"/>
                    </a:lnTo>
                    <a:cubicBezTo>
                      <a:pt x="202" y="433"/>
                      <a:pt x="206" y="433"/>
                      <a:pt x="208" y="435"/>
                    </a:cubicBezTo>
                    <a:lnTo>
                      <a:pt x="299" y="498"/>
                    </a:lnTo>
                    <a:lnTo>
                      <a:pt x="291" y="498"/>
                    </a:lnTo>
                    <a:lnTo>
                      <a:pt x="344" y="465"/>
                    </a:lnTo>
                    <a:lnTo>
                      <a:pt x="340" y="471"/>
                    </a:lnTo>
                    <a:lnTo>
                      <a:pt x="351" y="364"/>
                    </a:lnTo>
                    <a:cubicBezTo>
                      <a:pt x="351" y="363"/>
                      <a:pt x="352" y="362"/>
                      <a:pt x="352" y="361"/>
                    </a:cubicBezTo>
                    <a:lnTo>
                      <a:pt x="435" y="192"/>
                    </a:lnTo>
                    <a:cubicBezTo>
                      <a:pt x="437" y="189"/>
                      <a:pt x="440" y="187"/>
                      <a:pt x="444" y="188"/>
                    </a:cubicBezTo>
                    <a:lnTo>
                      <a:pt x="490" y="198"/>
                    </a:lnTo>
                    <a:lnTo>
                      <a:pt x="481" y="210"/>
                    </a:lnTo>
                    <a:lnTo>
                      <a:pt x="399" y="60"/>
                    </a:lnTo>
                    <a:cubicBezTo>
                      <a:pt x="397" y="58"/>
                      <a:pt x="397" y="55"/>
                      <a:pt x="398" y="53"/>
                    </a:cubicBezTo>
                    <a:lnTo>
                      <a:pt x="417" y="10"/>
                    </a:lnTo>
                    <a:lnTo>
                      <a:pt x="423" y="22"/>
                    </a:lnTo>
                    <a:lnTo>
                      <a:pt x="339" y="16"/>
                    </a:lnTo>
                    <a:lnTo>
                      <a:pt x="347" y="11"/>
                    </a:lnTo>
                    <a:lnTo>
                      <a:pt x="283" y="173"/>
                    </a:lnTo>
                    <a:cubicBezTo>
                      <a:pt x="282" y="175"/>
                      <a:pt x="280" y="177"/>
                      <a:pt x="278" y="178"/>
                    </a:cubicBezTo>
                    <a:lnTo>
                      <a:pt x="231" y="198"/>
                    </a:lnTo>
                    <a:cubicBezTo>
                      <a:pt x="230" y="199"/>
                      <a:pt x="229" y="199"/>
                      <a:pt x="228" y="199"/>
                    </a:cubicBezTo>
                    <a:lnTo>
                      <a:pt x="81" y="214"/>
                    </a:lnTo>
                    <a:cubicBezTo>
                      <a:pt x="78" y="214"/>
                      <a:pt x="76" y="214"/>
                      <a:pt x="74" y="212"/>
                    </a:cubicBezTo>
                    <a:lnTo>
                      <a:pt x="35" y="173"/>
                    </a:lnTo>
                    <a:lnTo>
                      <a:pt x="48" y="171"/>
                    </a:lnTo>
                    <a:lnTo>
                      <a:pt x="16" y="235"/>
                    </a:lnTo>
                    <a:lnTo>
                      <a:pt x="16" y="230"/>
                    </a:lnTo>
                    <a:lnTo>
                      <a:pt x="74" y="427"/>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16" name="Freeform 172"/>
              <p:cNvSpPr>
                <a:spLocks/>
              </p:cNvSpPr>
              <p:nvPr/>
            </p:nvSpPr>
            <p:spPr bwMode="auto">
              <a:xfrm>
                <a:off x="4375" y="2234"/>
                <a:ext cx="32" cy="7"/>
              </a:xfrm>
              <a:custGeom>
                <a:avLst/>
                <a:gdLst/>
                <a:ahLst/>
                <a:cxnLst>
                  <a:cxn ang="0">
                    <a:pos x="0" y="1"/>
                  </a:cxn>
                  <a:cxn ang="0">
                    <a:pos x="3" y="7"/>
                  </a:cxn>
                  <a:cxn ang="0">
                    <a:pos x="32" y="2"/>
                  </a:cxn>
                  <a:cxn ang="0">
                    <a:pos x="10" y="0"/>
                  </a:cxn>
                  <a:cxn ang="0">
                    <a:pos x="0" y="1"/>
                  </a:cxn>
                </a:cxnLst>
                <a:rect l="0" t="0" r="r" b="b"/>
                <a:pathLst>
                  <a:path w="32" h="7">
                    <a:moveTo>
                      <a:pt x="0" y="1"/>
                    </a:moveTo>
                    <a:lnTo>
                      <a:pt x="3" y="7"/>
                    </a:lnTo>
                    <a:lnTo>
                      <a:pt x="32" y="2"/>
                    </a:lnTo>
                    <a:lnTo>
                      <a:pt x="10" y="0"/>
                    </a:lnTo>
                    <a:lnTo>
                      <a:pt x="0" y="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17" name="Freeform 173"/>
              <p:cNvSpPr>
                <a:spLocks noEditPoints="1"/>
              </p:cNvSpPr>
              <p:nvPr/>
            </p:nvSpPr>
            <p:spPr bwMode="auto">
              <a:xfrm>
                <a:off x="4372" y="2232"/>
                <a:ext cx="38" cy="11"/>
              </a:xfrm>
              <a:custGeom>
                <a:avLst/>
                <a:gdLst/>
                <a:ahLst/>
                <a:cxnLst>
                  <a:cxn ang="0">
                    <a:pos x="10" y="22"/>
                  </a:cxn>
                  <a:cxn ang="0">
                    <a:pos x="16" y="11"/>
                  </a:cxn>
                  <a:cxn ang="0">
                    <a:pos x="28" y="37"/>
                  </a:cxn>
                  <a:cxn ang="0">
                    <a:pos x="19" y="33"/>
                  </a:cxn>
                  <a:cxn ang="0">
                    <a:pos x="119" y="10"/>
                  </a:cxn>
                  <a:cxn ang="0">
                    <a:pos x="120" y="26"/>
                  </a:cxn>
                  <a:cxn ang="0">
                    <a:pos x="44" y="16"/>
                  </a:cxn>
                  <a:cxn ang="0">
                    <a:pos x="46" y="16"/>
                  </a:cxn>
                  <a:cxn ang="0">
                    <a:pos x="10" y="22"/>
                  </a:cxn>
                  <a:cxn ang="0">
                    <a:pos x="43" y="1"/>
                  </a:cxn>
                  <a:cxn ang="0">
                    <a:pos x="45" y="1"/>
                  </a:cxn>
                  <a:cxn ang="0">
                    <a:pos x="121" y="10"/>
                  </a:cxn>
                  <a:cxn ang="0">
                    <a:pos x="128" y="17"/>
                  </a:cxn>
                  <a:cxn ang="0">
                    <a:pos x="122" y="25"/>
                  </a:cxn>
                  <a:cxn ang="0">
                    <a:pos x="22" y="48"/>
                  </a:cxn>
                  <a:cxn ang="0">
                    <a:pos x="13" y="44"/>
                  </a:cxn>
                  <a:cxn ang="0">
                    <a:pos x="1" y="18"/>
                  </a:cxn>
                  <a:cxn ang="0">
                    <a:pos x="1" y="11"/>
                  </a:cxn>
                  <a:cxn ang="0">
                    <a:pos x="7" y="7"/>
                  </a:cxn>
                  <a:cxn ang="0">
                    <a:pos x="43" y="1"/>
                  </a:cxn>
                </a:cxnLst>
                <a:rect l="0" t="0" r="r" b="b"/>
                <a:pathLst>
                  <a:path w="129" h="49">
                    <a:moveTo>
                      <a:pt x="10" y="22"/>
                    </a:moveTo>
                    <a:lnTo>
                      <a:pt x="16" y="11"/>
                    </a:lnTo>
                    <a:lnTo>
                      <a:pt x="28" y="37"/>
                    </a:lnTo>
                    <a:lnTo>
                      <a:pt x="19" y="33"/>
                    </a:lnTo>
                    <a:lnTo>
                      <a:pt x="119" y="10"/>
                    </a:lnTo>
                    <a:lnTo>
                      <a:pt x="120" y="26"/>
                    </a:lnTo>
                    <a:lnTo>
                      <a:pt x="44" y="16"/>
                    </a:lnTo>
                    <a:lnTo>
                      <a:pt x="46" y="16"/>
                    </a:lnTo>
                    <a:lnTo>
                      <a:pt x="10" y="22"/>
                    </a:lnTo>
                    <a:close/>
                    <a:moveTo>
                      <a:pt x="43" y="1"/>
                    </a:moveTo>
                    <a:cubicBezTo>
                      <a:pt x="44" y="0"/>
                      <a:pt x="45" y="0"/>
                      <a:pt x="45" y="1"/>
                    </a:cubicBezTo>
                    <a:lnTo>
                      <a:pt x="121" y="10"/>
                    </a:lnTo>
                    <a:cubicBezTo>
                      <a:pt x="125" y="10"/>
                      <a:pt x="128" y="13"/>
                      <a:pt x="128" y="17"/>
                    </a:cubicBezTo>
                    <a:cubicBezTo>
                      <a:pt x="129" y="21"/>
                      <a:pt x="126" y="25"/>
                      <a:pt x="122" y="25"/>
                    </a:cubicBezTo>
                    <a:lnTo>
                      <a:pt x="22" y="48"/>
                    </a:lnTo>
                    <a:cubicBezTo>
                      <a:pt x="19" y="49"/>
                      <a:pt x="15" y="47"/>
                      <a:pt x="13" y="44"/>
                    </a:cubicBezTo>
                    <a:lnTo>
                      <a:pt x="1" y="18"/>
                    </a:lnTo>
                    <a:cubicBezTo>
                      <a:pt x="0" y="16"/>
                      <a:pt x="0" y="13"/>
                      <a:pt x="1" y="11"/>
                    </a:cubicBezTo>
                    <a:cubicBezTo>
                      <a:pt x="3" y="9"/>
                      <a:pt x="5" y="7"/>
                      <a:pt x="7" y="7"/>
                    </a:cubicBezTo>
                    <a:lnTo>
                      <a:pt x="43" y="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18" name="Freeform 174"/>
              <p:cNvSpPr>
                <a:spLocks/>
              </p:cNvSpPr>
              <p:nvPr/>
            </p:nvSpPr>
            <p:spPr bwMode="auto">
              <a:xfrm>
                <a:off x="4407" y="2098"/>
                <a:ext cx="84" cy="99"/>
              </a:xfrm>
              <a:custGeom>
                <a:avLst/>
                <a:gdLst/>
                <a:ahLst/>
                <a:cxnLst>
                  <a:cxn ang="0">
                    <a:pos x="0" y="59"/>
                  </a:cxn>
                  <a:cxn ang="0">
                    <a:pos x="11" y="78"/>
                  </a:cxn>
                  <a:cxn ang="0">
                    <a:pos x="7" y="95"/>
                  </a:cxn>
                  <a:cxn ang="0">
                    <a:pos x="21" y="99"/>
                  </a:cxn>
                  <a:cxn ang="0">
                    <a:pos x="20" y="63"/>
                  </a:cxn>
                  <a:cxn ang="0">
                    <a:pos x="28" y="59"/>
                  </a:cxn>
                  <a:cxn ang="0">
                    <a:pos x="30" y="73"/>
                  </a:cxn>
                  <a:cxn ang="0">
                    <a:pos x="37" y="89"/>
                  </a:cxn>
                  <a:cxn ang="0">
                    <a:pos x="52" y="82"/>
                  </a:cxn>
                  <a:cxn ang="0">
                    <a:pos x="34" y="48"/>
                  </a:cxn>
                  <a:cxn ang="0">
                    <a:pos x="62" y="33"/>
                  </a:cxn>
                  <a:cxn ang="0">
                    <a:pos x="25" y="43"/>
                  </a:cxn>
                  <a:cxn ang="0">
                    <a:pos x="19" y="21"/>
                  </a:cxn>
                  <a:cxn ang="0">
                    <a:pos x="74" y="19"/>
                  </a:cxn>
                  <a:cxn ang="0">
                    <a:pos x="84" y="0"/>
                  </a:cxn>
                  <a:cxn ang="0">
                    <a:pos x="67" y="12"/>
                  </a:cxn>
                  <a:cxn ang="0">
                    <a:pos x="28" y="6"/>
                  </a:cxn>
                  <a:cxn ang="0">
                    <a:pos x="15" y="14"/>
                  </a:cxn>
                  <a:cxn ang="0">
                    <a:pos x="0" y="59"/>
                  </a:cxn>
                </a:cxnLst>
                <a:rect l="0" t="0" r="r" b="b"/>
                <a:pathLst>
                  <a:path w="84" h="99">
                    <a:moveTo>
                      <a:pt x="0" y="59"/>
                    </a:moveTo>
                    <a:lnTo>
                      <a:pt x="11" y="78"/>
                    </a:lnTo>
                    <a:lnTo>
                      <a:pt x="7" y="95"/>
                    </a:lnTo>
                    <a:lnTo>
                      <a:pt x="21" y="99"/>
                    </a:lnTo>
                    <a:lnTo>
                      <a:pt x="20" y="63"/>
                    </a:lnTo>
                    <a:lnTo>
                      <a:pt x="28" y="59"/>
                    </a:lnTo>
                    <a:lnTo>
                      <a:pt x="30" y="73"/>
                    </a:lnTo>
                    <a:lnTo>
                      <a:pt x="37" y="89"/>
                    </a:lnTo>
                    <a:lnTo>
                      <a:pt x="52" y="82"/>
                    </a:lnTo>
                    <a:lnTo>
                      <a:pt x="34" y="48"/>
                    </a:lnTo>
                    <a:lnTo>
                      <a:pt x="62" y="33"/>
                    </a:lnTo>
                    <a:lnTo>
                      <a:pt x="25" y="43"/>
                    </a:lnTo>
                    <a:lnTo>
                      <a:pt x="19" y="21"/>
                    </a:lnTo>
                    <a:lnTo>
                      <a:pt x="74" y="19"/>
                    </a:lnTo>
                    <a:lnTo>
                      <a:pt x="84" y="0"/>
                    </a:lnTo>
                    <a:lnTo>
                      <a:pt x="67" y="12"/>
                    </a:lnTo>
                    <a:lnTo>
                      <a:pt x="28" y="6"/>
                    </a:lnTo>
                    <a:lnTo>
                      <a:pt x="15" y="14"/>
                    </a:lnTo>
                    <a:lnTo>
                      <a:pt x="0" y="59"/>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19" name="Freeform 175"/>
              <p:cNvSpPr>
                <a:spLocks noEditPoints="1"/>
              </p:cNvSpPr>
              <p:nvPr/>
            </p:nvSpPr>
            <p:spPr bwMode="auto">
              <a:xfrm>
                <a:off x="4405" y="2097"/>
                <a:ext cx="88" cy="102"/>
              </a:xfrm>
              <a:custGeom>
                <a:avLst/>
                <a:gdLst/>
                <a:ahLst/>
                <a:cxnLst>
                  <a:cxn ang="0">
                    <a:pos x="16" y="262"/>
                  </a:cxn>
                  <a:cxn ang="0">
                    <a:pos x="53" y="346"/>
                  </a:cxn>
                  <a:cxn ang="0">
                    <a:pos x="35" y="416"/>
                  </a:cxn>
                  <a:cxn ang="0">
                    <a:pos x="72" y="441"/>
                  </a:cxn>
                  <a:cxn ang="0">
                    <a:pos x="72" y="273"/>
                  </a:cxn>
                  <a:cxn ang="0">
                    <a:pos x="109" y="258"/>
                  </a:cxn>
                  <a:cxn ang="0">
                    <a:pos x="119" y="326"/>
                  </a:cxn>
                  <a:cxn ang="0">
                    <a:pos x="144" y="393"/>
                  </a:cxn>
                  <a:cxn ang="0">
                    <a:pos x="183" y="359"/>
                  </a:cxn>
                  <a:cxn ang="0">
                    <a:pos x="118" y="219"/>
                  </a:cxn>
                  <a:cxn ang="0">
                    <a:pos x="217" y="145"/>
                  </a:cxn>
                  <a:cxn ang="0">
                    <a:pos x="94" y="200"/>
                  </a:cxn>
                  <a:cxn ang="0">
                    <a:pos x="84" y="194"/>
                  </a:cxn>
                  <a:cxn ang="0">
                    <a:pos x="67" y="92"/>
                  </a:cxn>
                  <a:cxn ang="0">
                    <a:pos x="261" y="79"/>
                  </a:cxn>
                  <a:cxn ang="0">
                    <a:pos x="289" y="5"/>
                  </a:cxn>
                  <a:cxn ang="0">
                    <a:pos x="245" y="64"/>
                  </a:cxn>
                  <a:cxn ang="0">
                    <a:pos x="104" y="40"/>
                  </a:cxn>
                  <a:cxn ang="0">
                    <a:pos x="65" y="74"/>
                  </a:cxn>
                  <a:cxn ang="0">
                    <a:pos x="16" y="267"/>
                  </a:cxn>
                  <a:cxn ang="0">
                    <a:pos x="55" y="62"/>
                  </a:cxn>
                  <a:cxn ang="0">
                    <a:pos x="107" y="24"/>
                  </a:cxn>
                  <a:cxn ang="0">
                    <a:pos x="235" y="52"/>
                  </a:cxn>
                  <a:cxn ang="0">
                    <a:pos x="301" y="2"/>
                  </a:cxn>
                  <a:cxn ang="0">
                    <a:pos x="269" y="90"/>
                  </a:cxn>
                  <a:cxn ang="0">
                    <a:pos x="73" y="105"/>
                  </a:cxn>
                  <a:cxn ang="0">
                    <a:pos x="100" y="191"/>
                  </a:cxn>
                  <a:cxn ang="0">
                    <a:pos x="219" y="144"/>
                  </a:cxn>
                  <a:cxn ang="0">
                    <a:pos x="226" y="158"/>
                  </a:cxn>
                  <a:cxn ang="0">
                    <a:pos x="133" y="213"/>
                  </a:cxn>
                  <a:cxn ang="0">
                    <a:pos x="192" y="373"/>
                  </a:cxn>
                  <a:cxn ang="0">
                    <a:pos x="134" y="404"/>
                  </a:cxn>
                  <a:cxn ang="0">
                    <a:pos x="103" y="329"/>
                  </a:cxn>
                  <a:cxn ang="0">
                    <a:pos x="97" y="266"/>
                  </a:cxn>
                  <a:cxn ang="0">
                    <a:pos x="79" y="288"/>
                  </a:cxn>
                  <a:cxn ang="0">
                    <a:pos x="88" y="440"/>
                  </a:cxn>
                  <a:cxn ang="0">
                    <a:pos x="77" y="448"/>
                  </a:cxn>
                  <a:cxn ang="0">
                    <a:pos x="25" y="422"/>
                  </a:cxn>
                  <a:cxn ang="0">
                    <a:pos x="38" y="349"/>
                  </a:cxn>
                  <a:cxn ang="0">
                    <a:pos x="1" y="263"/>
                  </a:cxn>
                </a:cxnLst>
                <a:rect l="0" t="0" r="r" b="b"/>
                <a:pathLst>
                  <a:path w="305" h="449">
                    <a:moveTo>
                      <a:pt x="16" y="267"/>
                    </a:moveTo>
                    <a:lnTo>
                      <a:pt x="16" y="262"/>
                    </a:lnTo>
                    <a:lnTo>
                      <a:pt x="52" y="342"/>
                    </a:lnTo>
                    <a:cubicBezTo>
                      <a:pt x="53" y="343"/>
                      <a:pt x="53" y="345"/>
                      <a:pt x="53" y="346"/>
                    </a:cubicBezTo>
                    <a:lnTo>
                      <a:pt x="41" y="425"/>
                    </a:lnTo>
                    <a:lnTo>
                      <a:pt x="35" y="416"/>
                    </a:lnTo>
                    <a:lnTo>
                      <a:pt x="83" y="433"/>
                    </a:lnTo>
                    <a:lnTo>
                      <a:pt x="72" y="441"/>
                    </a:lnTo>
                    <a:lnTo>
                      <a:pt x="68" y="281"/>
                    </a:lnTo>
                    <a:cubicBezTo>
                      <a:pt x="68" y="278"/>
                      <a:pt x="69" y="275"/>
                      <a:pt x="72" y="273"/>
                    </a:cubicBezTo>
                    <a:lnTo>
                      <a:pt x="102" y="258"/>
                    </a:lnTo>
                    <a:cubicBezTo>
                      <a:pt x="104" y="257"/>
                      <a:pt x="107" y="257"/>
                      <a:pt x="109" y="258"/>
                    </a:cubicBezTo>
                    <a:cubicBezTo>
                      <a:pt x="112" y="260"/>
                      <a:pt x="113" y="262"/>
                      <a:pt x="113" y="265"/>
                    </a:cubicBezTo>
                    <a:lnTo>
                      <a:pt x="119" y="326"/>
                    </a:lnTo>
                    <a:lnTo>
                      <a:pt x="118" y="324"/>
                    </a:lnTo>
                    <a:lnTo>
                      <a:pt x="144" y="393"/>
                    </a:lnTo>
                    <a:lnTo>
                      <a:pt x="132" y="389"/>
                    </a:lnTo>
                    <a:lnTo>
                      <a:pt x="183" y="359"/>
                    </a:lnTo>
                    <a:lnTo>
                      <a:pt x="180" y="369"/>
                    </a:lnTo>
                    <a:lnTo>
                      <a:pt x="118" y="219"/>
                    </a:lnTo>
                    <a:cubicBezTo>
                      <a:pt x="117" y="216"/>
                      <a:pt x="118" y="211"/>
                      <a:pt x="121" y="209"/>
                    </a:cubicBezTo>
                    <a:lnTo>
                      <a:pt x="217" y="145"/>
                    </a:lnTo>
                    <a:lnTo>
                      <a:pt x="224" y="159"/>
                    </a:lnTo>
                    <a:lnTo>
                      <a:pt x="94" y="200"/>
                    </a:lnTo>
                    <a:cubicBezTo>
                      <a:pt x="92" y="200"/>
                      <a:pt x="90" y="200"/>
                      <a:pt x="88" y="199"/>
                    </a:cubicBezTo>
                    <a:cubicBezTo>
                      <a:pt x="86" y="198"/>
                      <a:pt x="84" y="196"/>
                      <a:pt x="84" y="194"/>
                    </a:cubicBezTo>
                    <a:lnTo>
                      <a:pt x="65" y="98"/>
                    </a:lnTo>
                    <a:cubicBezTo>
                      <a:pt x="65" y="96"/>
                      <a:pt x="65" y="94"/>
                      <a:pt x="67" y="92"/>
                    </a:cubicBezTo>
                    <a:cubicBezTo>
                      <a:pt x="68" y="90"/>
                      <a:pt x="70" y="89"/>
                      <a:pt x="73" y="89"/>
                    </a:cubicBezTo>
                    <a:lnTo>
                      <a:pt x="261" y="79"/>
                    </a:lnTo>
                    <a:lnTo>
                      <a:pt x="254" y="83"/>
                    </a:lnTo>
                    <a:lnTo>
                      <a:pt x="289" y="5"/>
                    </a:lnTo>
                    <a:lnTo>
                      <a:pt x="302" y="14"/>
                    </a:lnTo>
                    <a:lnTo>
                      <a:pt x="245" y="64"/>
                    </a:lnTo>
                    <a:cubicBezTo>
                      <a:pt x="243" y="65"/>
                      <a:pt x="241" y="66"/>
                      <a:pt x="238" y="66"/>
                    </a:cubicBezTo>
                    <a:lnTo>
                      <a:pt x="104" y="40"/>
                    </a:lnTo>
                    <a:lnTo>
                      <a:pt x="110" y="39"/>
                    </a:lnTo>
                    <a:lnTo>
                      <a:pt x="65" y="74"/>
                    </a:lnTo>
                    <a:lnTo>
                      <a:pt x="67" y="70"/>
                    </a:lnTo>
                    <a:lnTo>
                      <a:pt x="16" y="267"/>
                    </a:lnTo>
                    <a:close/>
                    <a:moveTo>
                      <a:pt x="52" y="66"/>
                    </a:moveTo>
                    <a:cubicBezTo>
                      <a:pt x="52" y="64"/>
                      <a:pt x="53" y="63"/>
                      <a:pt x="55" y="62"/>
                    </a:cubicBezTo>
                    <a:lnTo>
                      <a:pt x="100" y="26"/>
                    </a:lnTo>
                    <a:cubicBezTo>
                      <a:pt x="102" y="25"/>
                      <a:pt x="105" y="24"/>
                      <a:pt x="107" y="24"/>
                    </a:cubicBezTo>
                    <a:lnTo>
                      <a:pt x="241" y="50"/>
                    </a:lnTo>
                    <a:lnTo>
                      <a:pt x="235" y="52"/>
                    </a:lnTo>
                    <a:lnTo>
                      <a:pt x="291" y="2"/>
                    </a:lnTo>
                    <a:cubicBezTo>
                      <a:pt x="294" y="0"/>
                      <a:pt x="298" y="0"/>
                      <a:pt x="301" y="2"/>
                    </a:cubicBezTo>
                    <a:cubicBezTo>
                      <a:pt x="304" y="4"/>
                      <a:pt x="305" y="8"/>
                      <a:pt x="304" y="12"/>
                    </a:cubicBezTo>
                    <a:lnTo>
                      <a:pt x="269" y="90"/>
                    </a:lnTo>
                    <a:cubicBezTo>
                      <a:pt x="268" y="93"/>
                      <a:pt x="265" y="95"/>
                      <a:pt x="262" y="95"/>
                    </a:cubicBezTo>
                    <a:lnTo>
                      <a:pt x="73" y="105"/>
                    </a:lnTo>
                    <a:lnTo>
                      <a:pt x="81" y="95"/>
                    </a:lnTo>
                    <a:lnTo>
                      <a:pt x="100" y="191"/>
                    </a:lnTo>
                    <a:lnTo>
                      <a:pt x="89" y="185"/>
                    </a:lnTo>
                    <a:lnTo>
                      <a:pt x="219" y="144"/>
                    </a:lnTo>
                    <a:cubicBezTo>
                      <a:pt x="222" y="142"/>
                      <a:pt x="227" y="144"/>
                      <a:pt x="228" y="148"/>
                    </a:cubicBezTo>
                    <a:cubicBezTo>
                      <a:pt x="230" y="151"/>
                      <a:pt x="229" y="156"/>
                      <a:pt x="226" y="158"/>
                    </a:cubicBezTo>
                    <a:lnTo>
                      <a:pt x="130" y="223"/>
                    </a:lnTo>
                    <a:lnTo>
                      <a:pt x="133" y="213"/>
                    </a:lnTo>
                    <a:lnTo>
                      <a:pt x="195" y="363"/>
                    </a:lnTo>
                    <a:cubicBezTo>
                      <a:pt x="196" y="366"/>
                      <a:pt x="195" y="370"/>
                      <a:pt x="192" y="373"/>
                    </a:cubicBezTo>
                    <a:lnTo>
                      <a:pt x="140" y="403"/>
                    </a:lnTo>
                    <a:cubicBezTo>
                      <a:pt x="138" y="404"/>
                      <a:pt x="136" y="405"/>
                      <a:pt x="134" y="404"/>
                    </a:cubicBezTo>
                    <a:cubicBezTo>
                      <a:pt x="131" y="403"/>
                      <a:pt x="130" y="401"/>
                      <a:pt x="129" y="399"/>
                    </a:cubicBezTo>
                    <a:lnTo>
                      <a:pt x="103" y="329"/>
                    </a:lnTo>
                    <a:cubicBezTo>
                      <a:pt x="103" y="329"/>
                      <a:pt x="103" y="328"/>
                      <a:pt x="103" y="327"/>
                    </a:cubicBezTo>
                    <a:lnTo>
                      <a:pt x="97" y="266"/>
                    </a:lnTo>
                    <a:lnTo>
                      <a:pt x="109" y="272"/>
                    </a:lnTo>
                    <a:lnTo>
                      <a:pt x="79" y="288"/>
                    </a:lnTo>
                    <a:lnTo>
                      <a:pt x="84" y="280"/>
                    </a:lnTo>
                    <a:lnTo>
                      <a:pt x="88" y="440"/>
                    </a:lnTo>
                    <a:cubicBezTo>
                      <a:pt x="88" y="443"/>
                      <a:pt x="87" y="445"/>
                      <a:pt x="84" y="447"/>
                    </a:cubicBezTo>
                    <a:cubicBezTo>
                      <a:pt x="82" y="449"/>
                      <a:pt x="80" y="449"/>
                      <a:pt x="77" y="448"/>
                    </a:cubicBezTo>
                    <a:lnTo>
                      <a:pt x="30" y="431"/>
                    </a:lnTo>
                    <a:cubicBezTo>
                      <a:pt x="26" y="430"/>
                      <a:pt x="24" y="426"/>
                      <a:pt x="25" y="422"/>
                    </a:cubicBezTo>
                    <a:lnTo>
                      <a:pt x="37" y="344"/>
                    </a:lnTo>
                    <a:lnTo>
                      <a:pt x="38" y="349"/>
                    </a:lnTo>
                    <a:lnTo>
                      <a:pt x="1" y="269"/>
                    </a:lnTo>
                    <a:cubicBezTo>
                      <a:pt x="0" y="267"/>
                      <a:pt x="0" y="265"/>
                      <a:pt x="1" y="263"/>
                    </a:cubicBezTo>
                    <a:lnTo>
                      <a:pt x="52" y="66"/>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20" name="Freeform 176"/>
              <p:cNvSpPr>
                <a:spLocks/>
              </p:cNvSpPr>
              <p:nvPr/>
            </p:nvSpPr>
            <p:spPr bwMode="auto">
              <a:xfrm>
                <a:off x="4472" y="2234"/>
                <a:ext cx="47" cy="25"/>
              </a:xfrm>
              <a:custGeom>
                <a:avLst/>
                <a:gdLst/>
                <a:ahLst/>
                <a:cxnLst>
                  <a:cxn ang="0">
                    <a:pos x="0" y="15"/>
                  </a:cxn>
                  <a:cxn ang="0">
                    <a:pos x="2" y="25"/>
                  </a:cxn>
                  <a:cxn ang="0">
                    <a:pos x="47" y="0"/>
                  </a:cxn>
                  <a:cxn ang="0">
                    <a:pos x="13" y="8"/>
                  </a:cxn>
                  <a:cxn ang="0">
                    <a:pos x="0" y="15"/>
                  </a:cxn>
                </a:cxnLst>
                <a:rect l="0" t="0" r="r" b="b"/>
                <a:pathLst>
                  <a:path w="47" h="25">
                    <a:moveTo>
                      <a:pt x="0" y="15"/>
                    </a:moveTo>
                    <a:lnTo>
                      <a:pt x="2" y="25"/>
                    </a:lnTo>
                    <a:lnTo>
                      <a:pt x="47" y="0"/>
                    </a:lnTo>
                    <a:lnTo>
                      <a:pt x="13" y="8"/>
                    </a:lnTo>
                    <a:lnTo>
                      <a:pt x="0" y="15"/>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21" name="Freeform 177"/>
              <p:cNvSpPr>
                <a:spLocks noEditPoints="1"/>
              </p:cNvSpPr>
              <p:nvPr/>
            </p:nvSpPr>
            <p:spPr bwMode="auto">
              <a:xfrm>
                <a:off x="4470" y="2232"/>
                <a:ext cx="51" cy="29"/>
              </a:xfrm>
              <a:custGeom>
                <a:avLst/>
                <a:gdLst/>
                <a:ahLst/>
                <a:cxnLst>
                  <a:cxn ang="0">
                    <a:pos x="13" y="81"/>
                  </a:cxn>
                  <a:cxn ang="0">
                    <a:pos x="16" y="73"/>
                  </a:cxn>
                  <a:cxn ang="0">
                    <a:pos x="23" y="119"/>
                  </a:cxn>
                  <a:cxn ang="0">
                    <a:pos x="10" y="114"/>
                  </a:cxn>
                  <a:cxn ang="0">
                    <a:pos x="164" y="2"/>
                  </a:cxn>
                  <a:cxn ang="0">
                    <a:pos x="171" y="16"/>
                  </a:cxn>
                  <a:cxn ang="0">
                    <a:pos x="56" y="51"/>
                  </a:cxn>
                  <a:cxn ang="0">
                    <a:pos x="58" y="50"/>
                  </a:cxn>
                  <a:cxn ang="0">
                    <a:pos x="13" y="81"/>
                  </a:cxn>
                  <a:cxn ang="0">
                    <a:pos x="49" y="36"/>
                  </a:cxn>
                  <a:cxn ang="0">
                    <a:pos x="51" y="35"/>
                  </a:cxn>
                  <a:cxn ang="0">
                    <a:pos x="166" y="1"/>
                  </a:cxn>
                  <a:cxn ang="0">
                    <a:pos x="176" y="5"/>
                  </a:cxn>
                  <a:cxn ang="0">
                    <a:pos x="173" y="15"/>
                  </a:cxn>
                  <a:cxn ang="0">
                    <a:pos x="20" y="127"/>
                  </a:cxn>
                  <a:cxn ang="0">
                    <a:pos x="12" y="128"/>
                  </a:cxn>
                  <a:cxn ang="0">
                    <a:pos x="7" y="122"/>
                  </a:cxn>
                  <a:cxn ang="0">
                    <a:pos x="1" y="75"/>
                  </a:cxn>
                  <a:cxn ang="0">
                    <a:pos x="4" y="67"/>
                  </a:cxn>
                  <a:cxn ang="0">
                    <a:pos x="49" y="36"/>
                  </a:cxn>
                </a:cxnLst>
                <a:rect l="0" t="0" r="r" b="b"/>
                <a:pathLst>
                  <a:path w="177" h="129">
                    <a:moveTo>
                      <a:pt x="13" y="81"/>
                    </a:moveTo>
                    <a:lnTo>
                      <a:pt x="16" y="73"/>
                    </a:lnTo>
                    <a:lnTo>
                      <a:pt x="23" y="119"/>
                    </a:lnTo>
                    <a:lnTo>
                      <a:pt x="10" y="114"/>
                    </a:lnTo>
                    <a:lnTo>
                      <a:pt x="164" y="2"/>
                    </a:lnTo>
                    <a:lnTo>
                      <a:pt x="171" y="16"/>
                    </a:lnTo>
                    <a:lnTo>
                      <a:pt x="56" y="51"/>
                    </a:lnTo>
                    <a:lnTo>
                      <a:pt x="58" y="50"/>
                    </a:lnTo>
                    <a:lnTo>
                      <a:pt x="13" y="81"/>
                    </a:lnTo>
                    <a:close/>
                    <a:moveTo>
                      <a:pt x="49" y="36"/>
                    </a:moveTo>
                    <a:cubicBezTo>
                      <a:pt x="50" y="36"/>
                      <a:pt x="51" y="35"/>
                      <a:pt x="51" y="35"/>
                    </a:cubicBezTo>
                    <a:lnTo>
                      <a:pt x="166" y="1"/>
                    </a:lnTo>
                    <a:cubicBezTo>
                      <a:pt x="170" y="0"/>
                      <a:pt x="174" y="1"/>
                      <a:pt x="176" y="5"/>
                    </a:cubicBezTo>
                    <a:cubicBezTo>
                      <a:pt x="177" y="8"/>
                      <a:pt x="176" y="13"/>
                      <a:pt x="173" y="15"/>
                    </a:cubicBezTo>
                    <a:lnTo>
                      <a:pt x="20" y="127"/>
                    </a:lnTo>
                    <a:cubicBezTo>
                      <a:pt x="18" y="129"/>
                      <a:pt x="15" y="129"/>
                      <a:pt x="12" y="128"/>
                    </a:cubicBezTo>
                    <a:cubicBezTo>
                      <a:pt x="9" y="127"/>
                      <a:pt x="8" y="124"/>
                      <a:pt x="7" y="122"/>
                    </a:cubicBezTo>
                    <a:lnTo>
                      <a:pt x="1" y="75"/>
                    </a:lnTo>
                    <a:cubicBezTo>
                      <a:pt x="0" y="72"/>
                      <a:pt x="1" y="69"/>
                      <a:pt x="4" y="67"/>
                    </a:cubicBezTo>
                    <a:lnTo>
                      <a:pt x="49" y="36"/>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22" name="Freeform 178"/>
              <p:cNvSpPr>
                <a:spLocks/>
              </p:cNvSpPr>
              <p:nvPr/>
            </p:nvSpPr>
            <p:spPr bwMode="auto">
              <a:xfrm>
                <a:off x="4523" y="2095"/>
                <a:ext cx="14" cy="40"/>
              </a:xfrm>
              <a:custGeom>
                <a:avLst/>
                <a:gdLst/>
                <a:ahLst/>
                <a:cxnLst>
                  <a:cxn ang="0">
                    <a:pos x="0" y="14"/>
                  </a:cxn>
                  <a:cxn ang="0">
                    <a:pos x="3" y="32"/>
                  </a:cxn>
                  <a:cxn ang="0">
                    <a:pos x="11" y="40"/>
                  </a:cxn>
                  <a:cxn ang="0">
                    <a:pos x="6" y="23"/>
                  </a:cxn>
                  <a:cxn ang="0">
                    <a:pos x="14" y="21"/>
                  </a:cxn>
                  <a:cxn ang="0">
                    <a:pos x="14" y="8"/>
                  </a:cxn>
                  <a:cxn ang="0">
                    <a:pos x="3" y="16"/>
                  </a:cxn>
                  <a:cxn ang="0">
                    <a:pos x="8" y="0"/>
                  </a:cxn>
                  <a:cxn ang="0">
                    <a:pos x="0" y="14"/>
                  </a:cxn>
                </a:cxnLst>
                <a:rect l="0" t="0" r="r" b="b"/>
                <a:pathLst>
                  <a:path w="14" h="40">
                    <a:moveTo>
                      <a:pt x="0" y="14"/>
                    </a:moveTo>
                    <a:lnTo>
                      <a:pt x="3" y="32"/>
                    </a:lnTo>
                    <a:lnTo>
                      <a:pt x="11" y="40"/>
                    </a:lnTo>
                    <a:lnTo>
                      <a:pt x="6" y="23"/>
                    </a:lnTo>
                    <a:lnTo>
                      <a:pt x="14" y="21"/>
                    </a:lnTo>
                    <a:lnTo>
                      <a:pt x="14" y="8"/>
                    </a:lnTo>
                    <a:lnTo>
                      <a:pt x="3" y="16"/>
                    </a:lnTo>
                    <a:lnTo>
                      <a:pt x="8" y="0"/>
                    </a:lnTo>
                    <a:lnTo>
                      <a:pt x="0" y="14"/>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23" name="Freeform 179"/>
              <p:cNvSpPr>
                <a:spLocks noEditPoints="1"/>
              </p:cNvSpPr>
              <p:nvPr/>
            </p:nvSpPr>
            <p:spPr bwMode="auto">
              <a:xfrm>
                <a:off x="4521" y="2093"/>
                <a:ext cx="19" cy="44"/>
              </a:xfrm>
              <a:custGeom>
                <a:avLst/>
                <a:gdLst/>
                <a:ahLst/>
                <a:cxnLst>
                  <a:cxn ang="0">
                    <a:pos x="16" y="74"/>
                  </a:cxn>
                  <a:cxn ang="0">
                    <a:pos x="16" y="70"/>
                  </a:cxn>
                  <a:cxn ang="0">
                    <a:pos x="27" y="148"/>
                  </a:cxn>
                  <a:cxn ang="0">
                    <a:pos x="26" y="144"/>
                  </a:cxn>
                  <a:cxn ang="0">
                    <a:pos x="53" y="180"/>
                  </a:cxn>
                  <a:cxn ang="0">
                    <a:pos x="39" y="186"/>
                  </a:cxn>
                  <a:cxn ang="0">
                    <a:pos x="21" y="112"/>
                  </a:cxn>
                  <a:cxn ang="0">
                    <a:pos x="27" y="102"/>
                  </a:cxn>
                  <a:cxn ang="0">
                    <a:pos x="54" y="94"/>
                  </a:cxn>
                  <a:cxn ang="0">
                    <a:pos x="48" y="102"/>
                  </a:cxn>
                  <a:cxn ang="0">
                    <a:pos x="46" y="46"/>
                  </a:cxn>
                  <a:cxn ang="0">
                    <a:pos x="60" y="51"/>
                  </a:cxn>
                  <a:cxn ang="0">
                    <a:pos x="25" y="87"/>
                  </a:cxn>
                  <a:cxn ang="0">
                    <a:pos x="16" y="88"/>
                  </a:cxn>
                  <a:cxn ang="0">
                    <a:pos x="11" y="80"/>
                  </a:cxn>
                  <a:cxn ang="0">
                    <a:pos x="26" y="7"/>
                  </a:cxn>
                  <a:cxn ang="0">
                    <a:pos x="41" y="11"/>
                  </a:cxn>
                  <a:cxn ang="0">
                    <a:pos x="16" y="74"/>
                  </a:cxn>
                  <a:cxn ang="0">
                    <a:pos x="26" y="5"/>
                  </a:cxn>
                  <a:cxn ang="0">
                    <a:pos x="36" y="1"/>
                  </a:cxn>
                  <a:cxn ang="0">
                    <a:pos x="42" y="10"/>
                  </a:cxn>
                  <a:cxn ang="0">
                    <a:pos x="27" y="83"/>
                  </a:cxn>
                  <a:cxn ang="0">
                    <a:pos x="14" y="76"/>
                  </a:cxn>
                  <a:cxn ang="0">
                    <a:pos x="48" y="40"/>
                  </a:cxn>
                  <a:cxn ang="0">
                    <a:pos x="57" y="38"/>
                  </a:cxn>
                  <a:cxn ang="0">
                    <a:pos x="62" y="45"/>
                  </a:cxn>
                  <a:cxn ang="0">
                    <a:pos x="64" y="101"/>
                  </a:cxn>
                  <a:cxn ang="0">
                    <a:pos x="59" y="109"/>
                  </a:cxn>
                  <a:cxn ang="0">
                    <a:pos x="31" y="118"/>
                  </a:cxn>
                  <a:cxn ang="0">
                    <a:pos x="37" y="108"/>
                  </a:cxn>
                  <a:cxn ang="0">
                    <a:pos x="55" y="183"/>
                  </a:cxn>
                  <a:cxn ang="0">
                    <a:pos x="50" y="192"/>
                  </a:cxn>
                  <a:cxn ang="0">
                    <a:pos x="41" y="189"/>
                  </a:cxn>
                  <a:cxn ang="0">
                    <a:pos x="13" y="154"/>
                  </a:cxn>
                  <a:cxn ang="0">
                    <a:pos x="11" y="150"/>
                  </a:cxn>
                  <a:cxn ang="0">
                    <a:pos x="1" y="72"/>
                  </a:cxn>
                  <a:cxn ang="0">
                    <a:pos x="1" y="68"/>
                  </a:cxn>
                  <a:cxn ang="0">
                    <a:pos x="26" y="5"/>
                  </a:cxn>
                </a:cxnLst>
                <a:rect l="0" t="0" r="r" b="b"/>
                <a:pathLst>
                  <a:path w="65" h="193">
                    <a:moveTo>
                      <a:pt x="16" y="74"/>
                    </a:moveTo>
                    <a:lnTo>
                      <a:pt x="16" y="70"/>
                    </a:lnTo>
                    <a:lnTo>
                      <a:pt x="27" y="148"/>
                    </a:lnTo>
                    <a:lnTo>
                      <a:pt x="26" y="144"/>
                    </a:lnTo>
                    <a:lnTo>
                      <a:pt x="53" y="180"/>
                    </a:lnTo>
                    <a:lnTo>
                      <a:pt x="39" y="186"/>
                    </a:lnTo>
                    <a:lnTo>
                      <a:pt x="21" y="112"/>
                    </a:lnTo>
                    <a:cubicBezTo>
                      <a:pt x="20" y="108"/>
                      <a:pt x="22" y="104"/>
                      <a:pt x="27" y="102"/>
                    </a:cubicBezTo>
                    <a:lnTo>
                      <a:pt x="54" y="94"/>
                    </a:lnTo>
                    <a:lnTo>
                      <a:pt x="48" y="102"/>
                    </a:lnTo>
                    <a:lnTo>
                      <a:pt x="46" y="46"/>
                    </a:lnTo>
                    <a:lnTo>
                      <a:pt x="60" y="51"/>
                    </a:lnTo>
                    <a:lnTo>
                      <a:pt x="25" y="87"/>
                    </a:lnTo>
                    <a:cubicBezTo>
                      <a:pt x="23" y="89"/>
                      <a:pt x="19" y="90"/>
                      <a:pt x="16" y="88"/>
                    </a:cubicBezTo>
                    <a:cubicBezTo>
                      <a:pt x="12" y="87"/>
                      <a:pt x="11" y="83"/>
                      <a:pt x="11" y="80"/>
                    </a:cubicBezTo>
                    <a:lnTo>
                      <a:pt x="26" y="7"/>
                    </a:lnTo>
                    <a:lnTo>
                      <a:pt x="41" y="11"/>
                    </a:lnTo>
                    <a:lnTo>
                      <a:pt x="16" y="74"/>
                    </a:lnTo>
                    <a:close/>
                    <a:moveTo>
                      <a:pt x="26" y="5"/>
                    </a:moveTo>
                    <a:cubicBezTo>
                      <a:pt x="28" y="2"/>
                      <a:pt x="32" y="0"/>
                      <a:pt x="36" y="1"/>
                    </a:cubicBezTo>
                    <a:cubicBezTo>
                      <a:pt x="40" y="2"/>
                      <a:pt x="42" y="6"/>
                      <a:pt x="42" y="10"/>
                    </a:cubicBezTo>
                    <a:lnTo>
                      <a:pt x="27" y="83"/>
                    </a:lnTo>
                    <a:lnTo>
                      <a:pt x="14" y="76"/>
                    </a:lnTo>
                    <a:lnTo>
                      <a:pt x="48" y="40"/>
                    </a:lnTo>
                    <a:cubicBezTo>
                      <a:pt x="51" y="38"/>
                      <a:pt x="54" y="37"/>
                      <a:pt x="57" y="38"/>
                    </a:cubicBezTo>
                    <a:cubicBezTo>
                      <a:pt x="60" y="39"/>
                      <a:pt x="62" y="42"/>
                      <a:pt x="62" y="45"/>
                    </a:cubicBezTo>
                    <a:lnTo>
                      <a:pt x="64" y="101"/>
                    </a:lnTo>
                    <a:cubicBezTo>
                      <a:pt x="65" y="105"/>
                      <a:pt x="62" y="108"/>
                      <a:pt x="59" y="109"/>
                    </a:cubicBezTo>
                    <a:lnTo>
                      <a:pt x="31" y="118"/>
                    </a:lnTo>
                    <a:lnTo>
                      <a:pt x="37" y="108"/>
                    </a:lnTo>
                    <a:lnTo>
                      <a:pt x="55" y="183"/>
                    </a:lnTo>
                    <a:cubicBezTo>
                      <a:pt x="56" y="186"/>
                      <a:pt x="54" y="190"/>
                      <a:pt x="50" y="192"/>
                    </a:cubicBezTo>
                    <a:cubicBezTo>
                      <a:pt x="47" y="193"/>
                      <a:pt x="43" y="192"/>
                      <a:pt x="41" y="189"/>
                    </a:cubicBezTo>
                    <a:lnTo>
                      <a:pt x="13" y="154"/>
                    </a:lnTo>
                    <a:cubicBezTo>
                      <a:pt x="12" y="153"/>
                      <a:pt x="12" y="151"/>
                      <a:pt x="11" y="150"/>
                    </a:cubicBezTo>
                    <a:lnTo>
                      <a:pt x="1" y="72"/>
                    </a:lnTo>
                    <a:cubicBezTo>
                      <a:pt x="0" y="71"/>
                      <a:pt x="1" y="69"/>
                      <a:pt x="1" y="68"/>
                    </a:cubicBezTo>
                    <a:lnTo>
                      <a:pt x="26" y="5"/>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24" name="Freeform 180"/>
              <p:cNvSpPr>
                <a:spLocks/>
              </p:cNvSpPr>
              <p:nvPr/>
            </p:nvSpPr>
            <p:spPr bwMode="auto">
              <a:xfrm>
                <a:off x="4528" y="2161"/>
                <a:ext cx="42" cy="11"/>
              </a:xfrm>
              <a:custGeom>
                <a:avLst/>
                <a:gdLst/>
                <a:ahLst/>
                <a:cxnLst>
                  <a:cxn ang="0">
                    <a:pos x="0" y="4"/>
                  </a:cxn>
                  <a:cxn ang="0">
                    <a:pos x="23" y="0"/>
                  </a:cxn>
                  <a:cxn ang="0">
                    <a:pos x="42" y="11"/>
                  </a:cxn>
                  <a:cxn ang="0">
                    <a:pos x="0" y="4"/>
                  </a:cxn>
                </a:cxnLst>
                <a:rect l="0" t="0" r="r" b="b"/>
                <a:pathLst>
                  <a:path w="42" h="11">
                    <a:moveTo>
                      <a:pt x="0" y="4"/>
                    </a:moveTo>
                    <a:lnTo>
                      <a:pt x="23" y="0"/>
                    </a:lnTo>
                    <a:lnTo>
                      <a:pt x="42" y="11"/>
                    </a:lnTo>
                    <a:lnTo>
                      <a:pt x="0" y="4"/>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25" name="Freeform 181"/>
              <p:cNvSpPr>
                <a:spLocks noEditPoints="1"/>
              </p:cNvSpPr>
              <p:nvPr/>
            </p:nvSpPr>
            <p:spPr bwMode="auto">
              <a:xfrm>
                <a:off x="4525" y="2159"/>
                <a:ext cx="47" cy="15"/>
              </a:xfrm>
              <a:custGeom>
                <a:avLst/>
                <a:gdLst/>
                <a:ahLst/>
                <a:cxnLst>
                  <a:cxn ang="0">
                    <a:pos x="7" y="35"/>
                  </a:cxn>
                  <a:cxn ang="0">
                    <a:pos x="0" y="28"/>
                  </a:cxn>
                  <a:cxn ang="0">
                    <a:pos x="7" y="20"/>
                  </a:cxn>
                  <a:cxn ang="0">
                    <a:pos x="87" y="1"/>
                  </a:cxn>
                  <a:cxn ang="0">
                    <a:pos x="93" y="2"/>
                  </a:cxn>
                  <a:cxn ang="0">
                    <a:pos x="157" y="50"/>
                  </a:cxn>
                  <a:cxn ang="0">
                    <a:pos x="160" y="60"/>
                  </a:cxn>
                  <a:cxn ang="0">
                    <a:pos x="151" y="64"/>
                  </a:cxn>
                  <a:cxn ang="0">
                    <a:pos x="7" y="35"/>
                  </a:cxn>
                  <a:cxn ang="0">
                    <a:pos x="154" y="49"/>
                  </a:cxn>
                  <a:cxn ang="0">
                    <a:pos x="148" y="63"/>
                  </a:cxn>
                  <a:cxn ang="0">
                    <a:pos x="84" y="15"/>
                  </a:cxn>
                  <a:cxn ang="0">
                    <a:pos x="90" y="16"/>
                  </a:cxn>
                  <a:cxn ang="0">
                    <a:pos x="10" y="35"/>
                  </a:cxn>
                  <a:cxn ang="0">
                    <a:pos x="10" y="20"/>
                  </a:cxn>
                  <a:cxn ang="0">
                    <a:pos x="154" y="49"/>
                  </a:cxn>
                </a:cxnLst>
                <a:rect l="0" t="0" r="r" b="b"/>
                <a:pathLst>
                  <a:path w="161" h="65">
                    <a:moveTo>
                      <a:pt x="7" y="35"/>
                    </a:moveTo>
                    <a:cubicBezTo>
                      <a:pt x="3" y="34"/>
                      <a:pt x="1" y="31"/>
                      <a:pt x="0" y="28"/>
                    </a:cubicBezTo>
                    <a:cubicBezTo>
                      <a:pt x="0" y="24"/>
                      <a:pt x="3" y="20"/>
                      <a:pt x="7" y="20"/>
                    </a:cubicBezTo>
                    <a:lnTo>
                      <a:pt x="87" y="1"/>
                    </a:lnTo>
                    <a:cubicBezTo>
                      <a:pt x="89" y="0"/>
                      <a:pt x="91" y="1"/>
                      <a:pt x="93" y="2"/>
                    </a:cubicBezTo>
                    <a:lnTo>
                      <a:pt x="157" y="50"/>
                    </a:lnTo>
                    <a:cubicBezTo>
                      <a:pt x="160" y="52"/>
                      <a:pt x="161" y="56"/>
                      <a:pt x="160" y="60"/>
                    </a:cubicBezTo>
                    <a:cubicBezTo>
                      <a:pt x="158" y="63"/>
                      <a:pt x="155" y="65"/>
                      <a:pt x="151" y="64"/>
                    </a:cubicBezTo>
                    <a:lnTo>
                      <a:pt x="7" y="35"/>
                    </a:lnTo>
                    <a:close/>
                    <a:moveTo>
                      <a:pt x="154" y="49"/>
                    </a:moveTo>
                    <a:lnTo>
                      <a:pt x="148" y="63"/>
                    </a:lnTo>
                    <a:lnTo>
                      <a:pt x="84" y="15"/>
                    </a:lnTo>
                    <a:lnTo>
                      <a:pt x="90" y="16"/>
                    </a:lnTo>
                    <a:lnTo>
                      <a:pt x="10" y="35"/>
                    </a:lnTo>
                    <a:lnTo>
                      <a:pt x="10" y="20"/>
                    </a:lnTo>
                    <a:lnTo>
                      <a:pt x="154" y="49"/>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26" name="Freeform 182"/>
              <p:cNvSpPr>
                <a:spLocks/>
              </p:cNvSpPr>
              <p:nvPr/>
            </p:nvSpPr>
            <p:spPr bwMode="auto">
              <a:xfrm>
                <a:off x="4570" y="2128"/>
                <a:ext cx="148" cy="113"/>
              </a:xfrm>
              <a:custGeom>
                <a:avLst/>
                <a:gdLst/>
                <a:ahLst/>
                <a:cxnLst>
                  <a:cxn ang="0">
                    <a:pos x="0" y="14"/>
                  </a:cxn>
                  <a:cxn ang="0">
                    <a:pos x="21" y="24"/>
                  </a:cxn>
                  <a:cxn ang="0">
                    <a:pos x="43" y="22"/>
                  </a:cxn>
                  <a:cxn ang="0">
                    <a:pos x="15" y="30"/>
                  </a:cxn>
                  <a:cxn ang="0">
                    <a:pos x="29" y="49"/>
                  </a:cxn>
                  <a:cxn ang="0">
                    <a:pos x="42" y="33"/>
                  </a:cxn>
                  <a:cxn ang="0">
                    <a:pos x="50" y="49"/>
                  </a:cxn>
                  <a:cxn ang="0">
                    <a:pos x="104" y="66"/>
                  </a:cxn>
                  <a:cxn ang="0">
                    <a:pos x="117" y="93"/>
                  </a:cxn>
                  <a:cxn ang="0">
                    <a:pos x="106" y="92"/>
                  </a:cxn>
                  <a:cxn ang="0">
                    <a:pos x="98" y="105"/>
                  </a:cxn>
                  <a:cxn ang="0">
                    <a:pos x="131" y="99"/>
                  </a:cxn>
                  <a:cxn ang="0">
                    <a:pos x="148" y="113"/>
                  </a:cxn>
                  <a:cxn ang="0">
                    <a:pos x="146" y="29"/>
                  </a:cxn>
                  <a:cxn ang="0">
                    <a:pos x="100" y="14"/>
                  </a:cxn>
                  <a:cxn ang="0">
                    <a:pos x="63" y="39"/>
                  </a:cxn>
                  <a:cxn ang="0">
                    <a:pos x="48" y="26"/>
                  </a:cxn>
                  <a:cxn ang="0">
                    <a:pos x="43" y="5"/>
                  </a:cxn>
                  <a:cxn ang="0">
                    <a:pos x="21" y="0"/>
                  </a:cxn>
                  <a:cxn ang="0">
                    <a:pos x="0" y="14"/>
                  </a:cxn>
                </a:cxnLst>
                <a:rect l="0" t="0" r="r" b="b"/>
                <a:pathLst>
                  <a:path w="148" h="113">
                    <a:moveTo>
                      <a:pt x="0" y="14"/>
                    </a:moveTo>
                    <a:lnTo>
                      <a:pt x="21" y="24"/>
                    </a:lnTo>
                    <a:lnTo>
                      <a:pt x="43" y="22"/>
                    </a:lnTo>
                    <a:lnTo>
                      <a:pt x="15" y="30"/>
                    </a:lnTo>
                    <a:lnTo>
                      <a:pt x="29" y="49"/>
                    </a:lnTo>
                    <a:lnTo>
                      <a:pt x="42" y="33"/>
                    </a:lnTo>
                    <a:lnTo>
                      <a:pt x="50" y="49"/>
                    </a:lnTo>
                    <a:lnTo>
                      <a:pt x="104" y="66"/>
                    </a:lnTo>
                    <a:lnTo>
                      <a:pt x="117" y="93"/>
                    </a:lnTo>
                    <a:lnTo>
                      <a:pt x="106" y="92"/>
                    </a:lnTo>
                    <a:lnTo>
                      <a:pt x="98" y="105"/>
                    </a:lnTo>
                    <a:lnTo>
                      <a:pt x="131" y="99"/>
                    </a:lnTo>
                    <a:lnTo>
                      <a:pt x="148" y="113"/>
                    </a:lnTo>
                    <a:lnTo>
                      <a:pt x="146" y="29"/>
                    </a:lnTo>
                    <a:lnTo>
                      <a:pt x="100" y="14"/>
                    </a:lnTo>
                    <a:lnTo>
                      <a:pt x="63" y="39"/>
                    </a:lnTo>
                    <a:lnTo>
                      <a:pt x="48" y="26"/>
                    </a:lnTo>
                    <a:lnTo>
                      <a:pt x="43" y="5"/>
                    </a:lnTo>
                    <a:lnTo>
                      <a:pt x="21" y="0"/>
                    </a:lnTo>
                    <a:lnTo>
                      <a:pt x="0" y="14"/>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27" name="Freeform 183"/>
              <p:cNvSpPr>
                <a:spLocks noEditPoints="1"/>
              </p:cNvSpPr>
              <p:nvPr/>
            </p:nvSpPr>
            <p:spPr bwMode="auto">
              <a:xfrm>
                <a:off x="4567" y="2126"/>
                <a:ext cx="154" cy="117"/>
              </a:xfrm>
              <a:custGeom>
                <a:avLst/>
                <a:gdLst/>
                <a:ahLst/>
                <a:cxnLst>
                  <a:cxn ang="0">
                    <a:pos x="13" y="63"/>
                  </a:cxn>
                  <a:cxn ang="0">
                    <a:pos x="81" y="108"/>
                  </a:cxn>
                  <a:cxn ang="0">
                    <a:pos x="165" y="104"/>
                  </a:cxn>
                  <a:cxn ang="0">
                    <a:pos x="65" y="148"/>
                  </a:cxn>
                  <a:cxn ang="0">
                    <a:pos x="116" y="218"/>
                  </a:cxn>
                  <a:cxn ang="0">
                    <a:pos x="146" y="148"/>
                  </a:cxn>
                  <a:cxn ang="0">
                    <a:pos x="160" y="149"/>
                  </a:cxn>
                  <a:cxn ang="0">
                    <a:pos x="185" y="214"/>
                  </a:cxn>
                  <a:cxn ang="0">
                    <a:pos x="375" y="293"/>
                  </a:cxn>
                  <a:cxn ang="0">
                    <a:pos x="418" y="422"/>
                  </a:cxn>
                  <a:cxn ang="0">
                    <a:pos x="375" y="418"/>
                  </a:cxn>
                  <a:cxn ang="0">
                    <a:pos x="357" y="473"/>
                  </a:cxn>
                  <a:cxn ang="0">
                    <a:pos x="458" y="436"/>
                  </a:cxn>
                  <a:cxn ang="0">
                    <a:pos x="526" y="499"/>
                  </a:cxn>
                  <a:cxn ang="0">
                    <a:pos x="505" y="134"/>
                  </a:cxn>
                  <a:cxn ang="0">
                    <a:pos x="351" y="77"/>
                  </a:cxn>
                  <a:cxn ang="0">
                    <a:pos x="231" y="185"/>
                  </a:cxn>
                  <a:cxn ang="0">
                    <a:pos x="168" y="128"/>
                  </a:cxn>
                  <a:cxn ang="0">
                    <a:pos x="150" y="33"/>
                  </a:cxn>
                  <a:cxn ang="0">
                    <a:pos x="80" y="16"/>
                  </a:cxn>
                  <a:cxn ang="0">
                    <a:pos x="14" y="76"/>
                  </a:cxn>
                  <a:cxn ang="0">
                    <a:pos x="84" y="1"/>
                  </a:cxn>
                  <a:cxn ang="0">
                    <a:pos x="166" y="30"/>
                  </a:cxn>
                  <a:cxn ang="0">
                    <a:pos x="180" y="117"/>
                  </a:cxn>
                  <a:cxn ang="0">
                    <a:pos x="221" y="173"/>
                  </a:cxn>
                  <a:cxn ang="0">
                    <a:pos x="357" y="62"/>
                  </a:cxn>
                  <a:cxn ang="0">
                    <a:pos x="521" y="134"/>
                  </a:cxn>
                  <a:cxn ang="0">
                    <a:pos x="524" y="512"/>
                  </a:cxn>
                  <a:cxn ang="0">
                    <a:pos x="454" y="449"/>
                  </a:cxn>
                  <a:cxn ang="0">
                    <a:pos x="351" y="478"/>
                  </a:cxn>
                  <a:cxn ang="0">
                    <a:pos x="342" y="466"/>
                  </a:cxn>
                  <a:cxn ang="0">
                    <a:pos x="378" y="402"/>
                  </a:cxn>
                  <a:cxn ang="0">
                    <a:pos x="404" y="420"/>
                  </a:cxn>
                  <a:cxn ang="0">
                    <a:pos x="365" y="304"/>
                  </a:cxn>
                  <a:cxn ang="0">
                    <a:pos x="175" y="225"/>
                  </a:cxn>
                  <a:cxn ang="0">
                    <a:pos x="160" y="157"/>
                  </a:cxn>
                  <a:cxn ang="0">
                    <a:pos x="109" y="230"/>
                  </a:cxn>
                  <a:cxn ang="0">
                    <a:pos x="55" y="145"/>
                  </a:cxn>
                  <a:cxn ang="0">
                    <a:pos x="59" y="133"/>
                  </a:cxn>
                  <a:cxn ang="0">
                    <a:pos x="158" y="114"/>
                  </a:cxn>
                  <a:cxn ang="0">
                    <a:pos x="78" y="123"/>
                  </a:cxn>
                  <a:cxn ang="0">
                    <a:pos x="0" y="70"/>
                  </a:cxn>
                  <a:cxn ang="0">
                    <a:pos x="77" y="2"/>
                  </a:cxn>
                </a:cxnLst>
                <a:rect l="0" t="0" r="r" b="b"/>
                <a:pathLst>
                  <a:path w="529" h="513">
                    <a:moveTo>
                      <a:pt x="14" y="76"/>
                    </a:moveTo>
                    <a:lnTo>
                      <a:pt x="13" y="63"/>
                    </a:lnTo>
                    <a:lnTo>
                      <a:pt x="86" y="109"/>
                    </a:lnTo>
                    <a:lnTo>
                      <a:pt x="81" y="108"/>
                    </a:lnTo>
                    <a:lnTo>
                      <a:pt x="156" y="98"/>
                    </a:lnTo>
                    <a:cubicBezTo>
                      <a:pt x="160" y="98"/>
                      <a:pt x="164" y="100"/>
                      <a:pt x="165" y="104"/>
                    </a:cubicBezTo>
                    <a:cubicBezTo>
                      <a:pt x="166" y="108"/>
                      <a:pt x="164" y="112"/>
                      <a:pt x="160" y="114"/>
                    </a:cubicBezTo>
                    <a:lnTo>
                      <a:pt x="65" y="148"/>
                    </a:lnTo>
                    <a:lnTo>
                      <a:pt x="69" y="137"/>
                    </a:lnTo>
                    <a:lnTo>
                      <a:pt x="116" y="218"/>
                    </a:lnTo>
                    <a:lnTo>
                      <a:pt x="102" y="217"/>
                    </a:lnTo>
                    <a:lnTo>
                      <a:pt x="146" y="148"/>
                    </a:lnTo>
                    <a:cubicBezTo>
                      <a:pt x="148" y="146"/>
                      <a:pt x="150" y="144"/>
                      <a:pt x="153" y="144"/>
                    </a:cubicBezTo>
                    <a:cubicBezTo>
                      <a:pt x="156" y="145"/>
                      <a:pt x="159" y="146"/>
                      <a:pt x="160" y="149"/>
                    </a:cubicBezTo>
                    <a:lnTo>
                      <a:pt x="190" y="219"/>
                    </a:lnTo>
                    <a:lnTo>
                      <a:pt x="185" y="214"/>
                    </a:lnTo>
                    <a:lnTo>
                      <a:pt x="371" y="289"/>
                    </a:lnTo>
                    <a:cubicBezTo>
                      <a:pt x="373" y="290"/>
                      <a:pt x="374" y="291"/>
                      <a:pt x="375" y="293"/>
                    </a:cubicBezTo>
                    <a:lnTo>
                      <a:pt x="419" y="414"/>
                    </a:lnTo>
                    <a:cubicBezTo>
                      <a:pt x="420" y="417"/>
                      <a:pt x="420" y="420"/>
                      <a:pt x="418" y="422"/>
                    </a:cubicBezTo>
                    <a:cubicBezTo>
                      <a:pt x="416" y="424"/>
                      <a:pt x="413" y="425"/>
                      <a:pt x="410" y="425"/>
                    </a:cubicBezTo>
                    <a:lnTo>
                      <a:pt x="375" y="418"/>
                    </a:lnTo>
                    <a:lnTo>
                      <a:pt x="383" y="414"/>
                    </a:lnTo>
                    <a:lnTo>
                      <a:pt x="357" y="473"/>
                    </a:lnTo>
                    <a:lnTo>
                      <a:pt x="347" y="462"/>
                    </a:lnTo>
                    <a:lnTo>
                      <a:pt x="458" y="436"/>
                    </a:lnTo>
                    <a:cubicBezTo>
                      <a:pt x="460" y="435"/>
                      <a:pt x="463" y="436"/>
                      <a:pt x="465" y="438"/>
                    </a:cubicBezTo>
                    <a:lnTo>
                      <a:pt x="526" y="499"/>
                    </a:lnTo>
                    <a:lnTo>
                      <a:pt x="512" y="505"/>
                    </a:lnTo>
                    <a:lnTo>
                      <a:pt x="505" y="134"/>
                    </a:lnTo>
                    <a:lnTo>
                      <a:pt x="510" y="142"/>
                    </a:lnTo>
                    <a:lnTo>
                      <a:pt x="351" y="77"/>
                    </a:lnTo>
                    <a:lnTo>
                      <a:pt x="359" y="76"/>
                    </a:lnTo>
                    <a:lnTo>
                      <a:pt x="231" y="185"/>
                    </a:lnTo>
                    <a:cubicBezTo>
                      <a:pt x="228" y="188"/>
                      <a:pt x="223" y="187"/>
                      <a:pt x="220" y="184"/>
                    </a:cubicBezTo>
                    <a:lnTo>
                      <a:pt x="168" y="128"/>
                    </a:lnTo>
                    <a:cubicBezTo>
                      <a:pt x="167" y="127"/>
                      <a:pt x="166" y="125"/>
                      <a:pt x="166" y="124"/>
                    </a:cubicBezTo>
                    <a:lnTo>
                      <a:pt x="150" y="33"/>
                    </a:lnTo>
                    <a:lnTo>
                      <a:pt x="156" y="39"/>
                    </a:lnTo>
                    <a:lnTo>
                      <a:pt x="80" y="16"/>
                    </a:lnTo>
                    <a:lnTo>
                      <a:pt x="87" y="15"/>
                    </a:lnTo>
                    <a:lnTo>
                      <a:pt x="14" y="76"/>
                    </a:lnTo>
                    <a:close/>
                    <a:moveTo>
                      <a:pt x="77" y="2"/>
                    </a:moveTo>
                    <a:cubicBezTo>
                      <a:pt x="79" y="1"/>
                      <a:pt x="82" y="0"/>
                      <a:pt x="84" y="1"/>
                    </a:cubicBezTo>
                    <a:lnTo>
                      <a:pt x="161" y="24"/>
                    </a:lnTo>
                    <a:cubicBezTo>
                      <a:pt x="164" y="25"/>
                      <a:pt x="166" y="27"/>
                      <a:pt x="166" y="30"/>
                    </a:cubicBezTo>
                    <a:lnTo>
                      <a:pt x="182" y="121"/>
                    </a:lnTo>
                    <a:lnTo>
                      <a:pt x="180" y="117"/>
                    </a:lnTo>
                    <a:lnTo>
                      <a:pt x="232" y="173"/>
                    </a:lnTo>
                    <a:lnTo>
                      <a:pt x="221" y="173"/>
                    </a:lnTo>
                    <a:lnTo>
                      <a:pt x="348" y="64"/>
                    </a:lnTo>
                    <a:cubicBezTo>
                      <a:pt x="351" y="62"/>
                      <a:pt x="354" y="61"/>
                      <a:pt x="357" y="62"/>
                    </a:cubicBezTo>
                    <a:lnTo>
                      <a:pt x="516" y="127"/>
                    </a:lnTo>
                    <a:cubicBezTo>
                      <a:pt x="519" y="128"/>
                      <a:pt x="521" y="131"/>
                      <a:pt x="521" y="134"/>
                    </a:cubicBezTo>
                    <a:lnTo>
                      <a:pt x="528" y="504"/>
                    </a:lnTo>
                    <a:cubicBezTo>
                      <a:pt x="529" y="508"/>
                      <a:pt x="527" y="511"/>
                      <a:pt x="524" y="512"/>
                    </a:cubicBezTo>
                    <a:cubicBezTo>
                      <a:pt x="521" y="513"/>
                      <a:pt x="517" y="512"/>
                      <a:pt x="515" y="510"/>
                    </a:cubicBezTo>
                    <a:lnTo>
                      <a:pt x="454" y="449"/>
                    </a:lnTo>
                    <a:lnTo>
                      <a:pt x="462" y="451"/>
                    </a:lnTo>
                    <a:lnTo>
                      <a:pt x="351" y="478"/>
                    </a:lnTo>
                    <a:cubicBezTo>
                      <a:pt x="348" y="478"/>
                      <a:pt x="345" y="477"/>
                      <a:pt x="343" y="475"/>
                    </a:cubicBezTo>
                    <a:cubicBezTo>
                      <a:pt x="341" y="472"/>
                      <a:pt x="341" y="469"/>
                      <a:pt x="342" y="466"/>
                    </a:cubicBezTo>
                    <a:lnTo>
                      <a:pt x="369" y="407"/>
                    </a:lnTo>
                    <a:cubicBezTo>
                      <a:pt x="370" y="404"/>
                      <a:pt x="374" y="402"/>
                      <a:pt x="378" y="402"/>
                    </a:cubicBezTo>
                    <a:lnTo>
                      <a:pt x="413" y="409"/>
                    </a:lnTo>
                    <a:lnTo>
                      <a:pt x="404" y="420"/>
                    </a:lnTo>
                    <a:lnTo>
                      <a:pt x="360" y="299"/>
                    </a:lnTo>
                    <a:lnTo>
                      <a:pt x="365" y="304"/>
                    </a:lnTo>
                    <a:lnTo>
                      <a:pt x="179" y="229"/>
                    </a:lnTo>
                    <a:cubicBezTo>
                      <a:pt x="177" y="228"/>
                      <a:pt x="176" y="227"/>
                      <a:pt x="175" y="225"/>
                    </a:cubicBezTo>
                    <a:lnTo>
                      <a:pt x="145" y="155"/>
                    </a:lnTo>
                    <a:lnTo>
                      <a:pt x="160" y="157"/>
                    </a:lnTo>
                    <a:lnTo>
                      <a:pt x="116" y="226"/>
                    </a:lnTo>
                    <a:cubicBezTo>
                      <a:pt x="114" y="228"/>
                      <a:pt x="112" y="230"/>
                      <a:pt x="109" y="230"/>
                    </a:cubicBezTo>
                    <a:cubicBezTo>
                      <a:pt x="106" y="230"/>
                      <a:pt x="103" y="228"/>
                      <a:pt x="102" y="226"/>
                    </a:cubicBezTo>
                    <a:lnTo>
                      <a:pt x="55" y="145"/>
                    </a:lnTo>
                    <a:cubicBezTo>
                      <a:pt x="54" y="143"/>
                      <a:pt x="54" y="140"/>
                      <a:pt x="55" y="138"/>
                    </a:cubicBezTo>
                    <a:cubicBezTo>
                      <a:pt x="55" y="136"/>
                      <a:pt x="57" y="134"/>
                      <a:pt x="59" y="133"/>
                    </a:cubicBezTo>
                    <a:lnTo>
                      <a:pt x="154" y="98"/>
                    </a:lnTo>
                    <a:lnTo>
                      <a:pt x="158" y="114"/>
                    </a:lnTo>
                    <a:lnTo>
                      <a:pt x="83" y="124"/>
                    </a:lnTo>
                    <a:cubicBezTo>
                      <a:pt x="81" y="124"/>
                      <a:pt x="79" y="124"/>
                      <a:pt x="78" y="123"/>
                    </a:cubicBezTo>
                    <a:lnTo>
                      <a:pt x="4" y="76"/>
                    </a:lnTo>
                    <a:cubicBezTo>
                      <a:pt x="2" y="75"/>
                      <a:pt x="1" y="73"/>
                      <a:pt x="0" y="70"/>
                    </a:cubicBezTo>
                    <a:cubicBezTo>
                      <a:pt x="0" y="68"/>
                      <a:pt x="1" y="65"/>
                      <a:pt x="3" y="63"/>
                    </a:cubicBezTo>
                    <a:lnTo>
                      <a:pt x="77" y="2"/>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28" name="Freeform 184"/>
              <p:cNvSpPr>
                <a:spLocks/>
              </p:cNvSpPr>
              <p:nvPr/>
            </p:nvSpPr>
            <p:spPr bwMode="auto">
              <a:xfrm>
                <a:off x="4574" y="2216"/>
                <a:ext cx="9" cy="10"/>
              </a:xfrm>
              <a:custGeom>
                <a:avLst/>
                <a:gdLst/>
                <a:ahLst/>
                <a:cxnLst>
                  <a:cxn ang="0">
                    <a:pos x="0" y="10"/>
                  </a:cxn>
                  <a:cxn ang="0">
                    <a:pos x="6" y="0"/>
                  </a:cxn>
                  <a:cxn ang="0">
                    <a:pos x="9" y="6"/>
                  </a:cxn>
                  <a:cxn ang="0">
                    <a:pos x="0" y="10"/>
                  </a:cxn>
                </a:cxnLst>
                <a:rect l="0" t="0" r="r" b="b"/>
                <a:pathLst>
                  <a:path w="9" h="10">
                    <a:moveTo>
                      <a:pt x="0" y="10"/>
                    </a:moveTo>
                    <a:lnTo>
                      <a:pt x="6" y="0"/>
                    </a:lnTo>
                    <a:lnTo>
                      <a:pt x="9" y="6"/>
                    </a:lnTo>
                    <a:lnTo>
                      <a:pt x="0" y="1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29" name="Freeform 185"/>
              <p:cNvSpPr>
                <a:spLocks noEditPoints="1"/>
              </p:cNvSpPr>
              <p:nvPr/>
            </p:nvSpPr>
            <p:spPr bwMode="auto">
              <a:xfrm>
                <a:off x="4572" y="2214"/>
                <a:ext cx="14" cy="15"/>
              </a:xfrm>
              <a:custGeom>
                <a:avLst/>
                <a:gdLst/>
                <a:ahLst/>
                <a:cxnLst>
                  <a:cxn ang="0">
                    <a:pos x="13" y="63"/>
                  </a:cxn>
                  <a:cxn ang="0">
                    <a:pos x="3" y="63"/>
                  </a:cxn>
                  <a:cxn ang="0">
                    <a:pos x="1" y="53"/>
                  </a:cxn>
                  <a:cxn ang="0">
                    <a:pos x="21" y="5"/>
                  </a:cxn>
                  <a:cxn ang="0">
                    <a:pos x="28" y="0"/>
                  </a:cxn>
                  <a:cxn ang="0">
                    <a:pos x="36" y="5"/>
                  </a:cxn>
                  <a:cxn ang="0">
                    <a:pos x="48" y="33"/>
                  </a:cxn>
                  <a:cxn ang="0">
                    <a:pos x="45" y="43"/>
                  </a:cxn>
                  <a:cxn ang="0">
                    <a:pos x="13" y="63"/>
                  </a:cxn>
                  <a:cxn ang="0">
                    <a:pos x="36" y="29"/>
                  </a:cxn>
                  <a:cxn ang="0">
                    <a:pos x="33" y="39"/>
                  </a:cxn>
                  <a:cxn ang="0">
                    <a:pos x="21" y="12"/>
                  </a:cxn>
                  <a:cxn ang="0">
                    <a:pos x="36" y="12"/>
                  </a:cxn>
                  <a:cxn ang="0">
                    <a:pos x="16" y="60"/>
                  </a:cxn>
                  <a:cxn ang="0">
                    <a:pos x="4" y="50"/>
                  </a:cxn>
                  <a:cxn ang="0">
                    <a:pos x="36" y="29"/>
                  </a:cxn>
                </a:cxnLst>
                <a:rect l="0" t="0" r="r" b="b"/>
                <a:pathLst>
                  <a:path w="49" h="65">
                    <a:moveTo>
                      <a:pt x="13" y="63"/>
                    </a:moveTo>
                    <a:cubicBezTo>
                      <a:pt x="10" y="65"/>
                      <a:pt x="6" y="65"/>
                      <a:pt x="3" y="63"/>
                    </a:cubicBezTo>
                    <a:cubicBezTo>
                      <a:pt x="1" y="60"/>
                      <a:pt x="0" y="57"/>
                      <a:pt x="1" y="53"/>
                    </a:cubicBezTo>
                    <a:lnTo>
                      <a:pt x="21" y="5"/>
                    </a:lnTo>
                    <a:cubicBezTo>
                      <a:pt x="22" y="2"/>
                      <a:pt x="25" y="0"/>
                      <a:pt x="28" y="0"/>
                    </a:cubicBezTo>
                    <a:cubicBezTo>
                      <a:pt x="32" y="0"/>
                      <a:pt x="35" y="2"/>
                      <a:pt x="36" y="5"/>
                    </a:cubicBezTo>
                    <a:lnTo>
                      <a:pt x="48" y="33"/>
                    </a:lnTo>
                    <a:cubicBezTo>
                      <a:pt x="49" y="37"/>
                      <a:pt x="48" y="41"/>
                      <a:pt x="45" y="43"/>
                    </a:cubicBezTo>
                    <a:lnTo>
                      <a:pt x="13" y="63"/>
                    </a:lnTo>
                    <a:close/>
                    <a:moveTo>
                      <a:pt x="36" y="29"/>
                    </a:moveTo>
                    <a:lnTo>
                      <a:pt x="33" y="39"/>
                    </a:lnTo>
                    <a:lnTo>
                      <a:pt x="21" y="12"/>
                    </a:lnTo>
                    <a:lnTo>
                      <a:pt x="36" y="12"/>
                    </a:lnTo>
                    <a:lnTo>
                      <a:pt x="16" y="60"/>
                    </a:lnTo>
                    <a:lnTo>
                      <a:pt x="4" y="50"/>
                    </a:lnTo>
                    <a:lnTo>
                      <a:pt x="36" y="29"/>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30" name="Freeform 186"/>
              <p:cNvSpPr>
                <a:spLocks/>
              </p:cNvSpPr>
              <p:nvPr/>
            </p:nvSpPr>
            <p:spPr bwMode="auto">
              <a:xfrm>
                <a:off x="3358" y="1568"/>
                <a:ext cx="270" cy="216"/>
              </a:xfrm>
              <a:custGeom>
                <a:avLst/>
                <a:gdLst/>
                <a:ahLst/>
                <a:cxnLst>
                  <a:cxn ang="0">
                    <a:pos x="0" y="7"/>
                  </a:cxn>
                  <a:cxn ang="0">
                    <a:pos x="8" y="0"/>
                  </a:cxn>
                  <a:cxn ang="0">
                    <a:pos x="28" y="16"/>
                  </a:cxn>
                  <a:cxn ang="0">
                    <a:pos x="53" y="3"/>
                  </a:cxn>
                  <a:cxn ang="0">
                    <a:pos x="56" y="16"/>
                  </a:cxn>
                  <a:cxn ang="0">
                    <a:pos x="68" y="20"/>
                  </a:cxn>
                  <a:cxn ang="0">
                    <a:pos x="71" y="35"/>
                  </a:cxn>
                  <a:cxn ang="0">
                    <a:pos x="108" y="50"/>
                  </a:cxn>
                  <a:cxn ang="0">
                    <a:pos x="142" y="46"/>
                  </a:cxn>
                  <a:cxn ang="0">
                    <a:pos x="139" y="37"/>
                  </a:cxn>
                  <a:cxn ang="0">
                    <a:pos x="182" y="23"/>
                  </a:cxn>
                  <a:cxn ang="0">
                    <a:pos x="240" y="48"/>
                  </a:cxn>
                  <a:cxn ang="0">
                    <a:pos x="242" y="61"/>
                  </a:cxn>
                  <a:cxn ang="0">
                    <a:pos x="232" y="86"/>
                  </a:cxn>
                  <a:cxn ang="0">
                    <a:pos x="233" y="121"/>
                  </a:cxn>
                  <a:cxn ang="0">
                    <a:pos x="248" y="131"/>
                  </a:cxn>
                  <a:cxn ang="0">
                    <a:pos x="236" y="149"/>
                  </a:cxn>
                  <a:cxn ang="0">
                    <a:pos x="270" y="188"/>
                  </a:cxn>
                  <a:cxn ang="0">
                    <a:pos x="248" y="216"/>
                  </a:cxn>
                  <a:cxn ang="0">
                    <a:pos x="187" y="207"/>
                  </a:cxn>
                  <a:cxn ang="0">
                    <a:pos x="174" y="189"/>
                  </a:cxn>
                  <a:cxn ang="0">
                    <a:pos x="133" y="195"/>
                  </a:cxn>
                  <a:cxn ang="0">
                    <a:pos x="102" y="178"/>
                  </a:cxn>
                  <a:cxn ang="0">
                    <a:pos x="82" y="145"/>
                  </a:cxn>
                  <a:cxn ang="0">
                    <a:pos x="67" y="139"/>
                  </a:cxn>
                  <a:cxn ang="0">
                    <a:pos x="63" y="146"/>
                  </a:cxn>
                  <a:cxn ang="0">
                    <a:pos x="44" y="113"/>
                  </a:cxn>
                  <a:cxn ang="0">
                    <a:pos x="18" y="93"/>
                  </a:cxn>
                  <a:cxn ang="0">
                    <a:pos x="31" y="61"/>
                  </a:cxn>
                  <a:cxn ang="0">
                    <a:pos x="19" y="57"/>
                  </a:cxn>
                  <a:cxn ang="0">
                    <a:pos x="9" y="40"/>
                  </a:cxn>
                  <a:cxn ang="0">
                    <a:pos x="0" y="7"/>
                  </a:cxn>
                </a:cxnLst>
                <a:rect l="0" t="0" r="r" b="b"/>
                <a:pathLst>
                  <a:path w="270" h="216">
                    <a:moveTo>
                      <a:pt x="0" y="7"/>
                    </a:moveTo>
                    <a:lnTo>
                      <a:pt x="8" y="0"/>
                    </a:lnTo>
                    <a:lnTo>
                      <a:pt x="28" y="16"/>
                    </a:lnTo>
                    <a:lnTo>
                      <a:pt x="53" y="3"/>
                    </a:lnTo>
                    <a:lnTo>
                      <a:pt x="56" y="16"/>
                    </a:lnTo>
                    <a:lnTo>
                      <a:pt x="68" y="20"/>
                    </a:lnTo>
                    <a:lnTo>
                      <a:pt x="71" y="35"/>
                    </a:lnTo>
                    <a:lnTo>
                      <a:pt x="108" y="50"/>
                    </a:lnTo>
                    <a:lnTo>
                      <a:pt x="142" y="46"/>
                    </a:lnTo>
                    <a:lnTo>
                      <a:pt x="139" y="37"/>
                    </a:lnTo>
                    <a:lnTo>
                      <a:pt x="182" y="23"/>
                    </a:lnTo>
                    <a:lnTo>
                      <a:pt x="240" y="48"/>
                    </a:lnTo>
                    <a:lnTo>
                      <a:pt x="242" y="61"/>
                    </a:lnTo>
                    <a:lnTo>
                      <a:pt x="232" y="86"/>
                    </a:lnTo>
                    <a:lnTo>
                      <a:pt x="233" y="121"/>
                    </a:lnTo>
                    <a:lnTo>
                      <a:pt x="248" y="131"/>
                    </a:lnTo>
                    <a:lnTo>
                      <a:pt x="236" y="149"/>
                    </a:lnTo>
                    <a:lnTo>
                      <a:pt x="270" y="188"/>
                    </a:lnTo>
                    <a:lnTo>
                      <a:pt x="248" y="216"/>
                    </a:lnTo>
                    <a:lnTo>
                      <a:pt x="187" y="207"/>
                    </a:lnTo>
                    <a:lnTo>
                      <a:pt x="174" y="189"/>
                    </a:lnTo>
                    <a:lnTo>
                      <a:pt x="133" y="195"/>
                    </a:lnTo>
                    <a:lnTo>
                      <a:pt x="102" y="178"/>
                    </a:lnTo>
                    <a:lnTo>
                      <a:pt x="82" y="145"/>
                    </a:lnTo>
                    <a:lnTo>
                      <a:pt x="67" y="139"/>
                    </a:lnTo>
                    <a:lnTo>
                      <a:pt x="63" y="146"/>
                    </a:lnTo>
                    <a:lnTo>
                      <a:pt x="44" y="113"/>
                    </a:lnTo>
                    <a:lnTo>
                      <a:pt x="18" y="93"/>
                    </a:lnTo>
                    <a:lnTo>
                      <a:pt x="31" y="61"/>
                    </a:lnTo>
                    <a:lnTo>
                      <a:pt x="19" y="57"/>
                    </a:lnTo>
                    <a:lnTo>
                      <a:pt x="9" y="40"/>
                    </a:lnTo>
                    <a:lnTo>
                      <a:pt x="0" y="7"/>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31" name="Freeform 187"/>
              <p:cNvSpPr>
                <a:spLocks noEditPoints="1"/>
              </p:cNvSpPr>
              <p:nvPr/>
            </p:nvSpPr>
            <p:spPr bwMode="auto">
              <a:xfrm>
                <a:off x="3356" y="1566"/>
                <a:ext cx="274" cy="220"/>
              </a:xfrm>
              <a:custGeom>
                <a:avLst/>
                <a:gdLst/>
                <a:ahLst/>
                <a:cxnLst>
                  <a:cxn ang="0">
                    <a:pos x="27" y="3"/>
                  </a:cxn>
                  <a:cxn ang="0">
                    <a:pos x="110" y="74"/>
                  </a:cxn>
                  <a:cxn ang="0">
                    <a:pos x="195" y="16"/>
                  </a:cxn>
                  <a:cxn ang="0">
                    <a:pos x="203" y="71"/>
                  </a:cxn>
                  <a:cxn ang="0">
                    <a:pos x="258" y="159"/>
                  </a:cxn>
                  <a:cxn ang="0">
                    <a:pos x="377" y="217"/>
                  </a:cxn>
                  <a:cxn ang="0">
                    <a:pos x="478" y="172"/>
                  </a:cxn>
                  <a:cxn ang="0">
                    <a:pos x="640" y="101"/>
                  </a:cxn>
                  <a:cxn ang="0">
                    <a:pos x="848" y="274"/>
                  </a:cxn>
                  <a:cxn ang="0">
                    <a:pos x="815" y="385"/>
                  </a:cxn>
                  <a:cxn ang="0">
                    <a:pos x="868" y="577"/>
                  </a:cxn>
                  <a:cxn ang="0">
                    <a:pos x="829" y="655"/>
                  </a:cxn>
                  <a:cxn ang="0">
                    <a:pos x="868" y="957"/>
                  </a:cxn>
                  <a:cxn ang="0">
                    <a:pos x="646" y="917"/>
                  </a:cxn>
                  <a:cxn ang="0">
                    <a:pos x="466" y="867"/>
                  </a:cxn>
                  <a:cxn ang="0">
                    <a:pos x="353" y="789"/>
                  </a:cxn>
                  <a:cxn ang="0">
                    <a:pos x="234" y="625"/>
                  </a:cxn>
                  <a:cxn ang="0">
                    <a:pos x="225" y="656"/>
                  </a:cxn>
                  <a:cxn ang="0">
                    <a:pos x="154" y="507"/>
                  </a:cxn>
                  <a:cxn ang="0">
                    <a:pos x="104" y="273"/>
                  </a:cxn>
                  <a:cxn ang="0">
                    <a:pos x="67" y="262"/>
                  </a:cxn>
                  <a:cxn ang="0">
                    <a:pos x="1" y="40"/>
                  </a:cxn>
                  <a:cxn ang="0">
                    <a:pos x="81" y="255"/>
                  </a:cxn>
                  <a:cxn ang="0">
                    <a:pos x="119" y="277"/>
                  </a:cxn>
                  <a:cxn ang="0">
                    <a:pos x="165" y="496"/>
                  </a:cxn>
                  <a:cxn ang="0">
                    <a:pos x="217" y="645"/>
                  </a:cxn>
                  <a:cxn ang="0">
                    <a:pos x="241" y="610"/>
                  </a:cxn>
                  <a:cxn ang="0">
                    <a:pos x="367" y="783"/>
                  </a:cxn>
                  <a:cxn ang="0">
                    <a:pos x="463" y="851"/>
                  </a:cxn>
                  <a:cxn ang="0">
                    <a:pos x="660" y="908"/>
                  </a:cxn>
                  <a:cxn ang="0">
                    <a:pos x="854" y="948"/>
                  </a:cxn>
                  <a:cxn ang="0">
                    <a:pos x="815" y="664"/>
                  </a:cxn>
                  <a:cxn ang="0">
                    <a:pos x="857" y="589"/>
                  </a:cxn>
                  <a:cxn ang="0">
                    <a:pos x="799" y="385"/>
                  </a:cxn>
                  <a:cxn ang="0">
                    <a:pos x="832" y="276"/>
                  </a:cxn>
                  <a:cxn ang="0">
                    <a:pos x="633" y="115"/>
                  </a:cxn>
                  <a:cxn ang="0">
                    <a:pos x="493" y="168"/>
                  </a:cxn>
                  <a:cxn ang="0">
                    <a:pos x="497" y="215"/>
                  </a:cxn>
                  <a:cxn ang="0">
                    <a:pos x="246" y="167"/>
                  </a:cxn>
                  <a:cxn ang="0">
                    <a:pos x="237" y="104"/>
                  </a:cxn>
                  <a:cxn ang="0">
                    <a:pos x="183" y="25"/>
                  </a:cxn>
                  <a:cxn ang="0">
                    <a:pos x="99" y="86"/>
                  </a:cxn>
                  <a:cxn ang="0">
                    <a:pos x="15" y="44"/>
                  </a:cxn>
                </a:cxnLst>
                <a:rect l="0" t="0" r="r" b="b"/>
                <a:pathLst>
                  <a:path w="945" h="961">
                    <a:moveTo>
                      <a:pt x="1" y="40"/>
                    </a:moveTo>
                    <a:cubicBezTo>
                      <a:pt x="0" y="38"/>
                      <a:pt x="1" y="35"/>
                      <a:pt x="2" y="33"/>
                    </a:cubicBezTo>
                    <a:lnTo>
                      <a:pt x="27" y="3"/>
                    </a:lnTo>
                    <a:cubicBezTo>
                      <a:pt x="29" y="2"/>
                      <a:pt x="31" y="1"/>
                      <a:pt x="33" y="0"/>
                    </a:cubicBezTo>
                    <a:cubicBezTo>
                      <a:pt x="35" y="0"/>
                      <a:pt x="38" y="1"/>
                      <a:pt x="39" y="3"/>
                    </a:cubicBezTo>
                    <a:lnTo>
                      <a:pt x="110" y="74"/>
                    </a:lnTo>
                    <a:lnTo>
                      <a:pt x="100" y="73"/>
                    </a:lnTo>
                    <a:lnTo>
                      <a:pt x="187" y="17"/>
                    </a:lnTo>
                    <a:cubicBezTo>
                      <a:pt x="189" y="15"/>
                      <a:pt x="192" y="15"/>
                      <a:pt x="195" y="16"/>
                    </a:cubicBezTo>
                    <a:cubicBezTo>
                      <a:pt x="197" y="17"/>
                      <a:pt x="199" y="20"/>
                      <a:pt x="199" y="22"/>
                    </a:cubicBezTo>
                    <a:lnTo>
                      <a:pt x="208" y="77"/>
                    </a:lnTo>
                    <a:lnTo>
                      <a:pt x="203" y="71"/>
                    </a:lnTo>
                    <a:lnTo>
                      <a:pt x="243" y="89"/>
                    </a:lnTo>
                    <a:cubicBezTo>
                      <a:pt x="246" y="91"/>
                      <a:pt x="248" y="93"/>
                      <a:pt x="248" y="95"/>
                    </a:cubicBezTo>
                    <a:lnTo>
                      <a:pt x="258" y="159"/>
                    </a:lnTo>
                    <a:lnTo>
                      <a:pt x="253" y="153"/>
                    </a:lnTo>
                    <a:lnTo>
                      <a:pt x="382" y="218"/>
                    </a:lnTo>
                    <a:lnTo>
                      <a:pt x="377" y="217"/>
                    </a:lnTo>
                    <a:lnTo>
                      <a:pt x="494" y="199"/>
                    </a:lnTo>
                    <a:lnTo>
                      <a:pt x="488" y="209"/>
                    </a:lnTo>
                    <a:lnTo>
                      <a:pt x="478" y="172"/>
                    </a:lnTo>
                    <a:cubicBezTo>
                      <a:pt x="477" y="168"/>
                      <a:pt x="479" y="164"/>
                      <a:pt x="483" y="163"/>
                    </a:cubicBezTo>
                    <a:lnTo>
                      <a:pt x="633" y="101"/>
                    </a:lnTo>
                    <a:cubicBezTo>
                      <a:pt x="636" y="100"/>
                      <a:pt x="638" y="100"/>
                      <a:pt x="640" y="101"/>
                    </a:cubicBezTo>
                    <a:lnTo>
                      <a:pt x="837" y="210"/>
                    </a:lnTo>
                    <a:cubicBezTo>
                      <a:pt x="839" y="211"/>
                      <a:pt x="841" y="213"/>
                      <a:pt x="841" y="216"/>
                    </a:cubicBezTo>
                    <a:lnTo>
                      <a:pt x="848" y="274"/>
                    </a:lnTo>
                    <a:cubicBezTo>
                      <a:pt x="848" y="275"/>
                      <a:pt x="848" y="276"/>
                      <a:pt x="848" y="277"/>
                    </a:cubicBezTo>
                    <a:lnTo>
                      <a:pt x="814" y="387"/>
                    </a:lnTo>
                    <a:lnTo>
                      <a:pt x="815" y="385"/>
                    </a:lnTo>
                    <a:lnTo>
                      <a:pt x="819" y="536"/>
                    </a:lnTo>
                    <a:lnTo>
                      <a:pt x="816" y="530"/>
                    </a:lnTo>
                    <a:lnTo>
                      <a:pt x="868" y="577"/>
                    </a:lnTo>
                    <a:cubicBezTo>
                      <a:pt x="871" y="579"/>
                      <a:pt x="871" y="583"/>
                      <a:pt x="870" y="587"/>
                    </a:cubicBezTo>
                    <a:lnTo>
                      <a:pt x="829" y="663"/>
                    </a:lnTo>
                    <a:lnTo>
                      <a:pt x="829" y="655"/>
                    </a:lnTo>
                    <a:lnTo>
                      <a:pt x="943" y="826"/>
                    </a:lnTo>
                    <a:cubicBezTo>
                      <a:pt x="945" y="829"/>
                      <a:pt x="945" y="832"/>
                      <a:pt x="943" y="835"/>
                    </a:cubicBezTo>
                    <a:lnTo>
                      <a:pt x="868" y="957"/>
                    </a:lnTo>
                    <a:cubicBezTo>
                      <a:pt x="866" y="960"/>
                      <a:pt x="863" y="961"/>
                      <a:pt x="860" y="960"/>
                    </a:cubicBezTo>
                    <a:lnTo>
                      <a:pt x="652" y="920"/>
                    </a:lnTo>
                    <a:cubicBezTo>
                      <a:pt x="649" y="920"/>
                      <a:pt x="647" y="919"/>
                      <a:pt x="646" y="917"/>
                    </a:cubicBezTo>
                    <a:lnTo>
                      <a:pt x="599" y="837"/>
                    </a:lnTo>
                    <a:lnTo>
                      <a:pt x="607" y="840"/>
                    </a:lnTo>
                    <a:lnTo>
                      <a:pt x="466" y="867"/>
                    </a:lnTo>
                    <a:cubicBezTo>
                      <a:pt x="464" y="868"/>
                      <a:pt x="462" y="867"/>
                      <a:pt x="460" y="866"/>
                    </a:cubicBezTo>
                    <a:lnTo>
                      <a:pt x="356" y="793"/>
                    </a:lnTo>
                    <a:cubicBezTo>
                      <a:pt x="354" y="792"/>
                      <a:pt x="354" y="791"/>
                      <a:pt x="353" y="789"/>
                    </a:cubicBezTo>
                    <a:lnTo>
                      <a:pt x="283" y="645"/>
                    </a:lnTo>
                    <a:lnTo>
                      <a:pt x="287" y="648"/>
                    </a:lnTo>
                    <a:lnTo>
                      <a:pt x="234" y="625"/>
                    </a:lnTo>
                    <a:lnTo>
                      <a:pt x="245" y="621"/>
                    </a:lnTo>
                    <a:lnTo>
                      <a:pt x="232" y="651"/>
                    </a:lnTo>
                    <a:cubicBezTo>
                      <a:pt x="231" y="654"/>
                      <a:pt x="228" y="656"/>
                      <a:pt x="225" y="656"/>
                    </a:cubicBezTo>
                    <a:cubicBezTo>
                      <a:pt x="222" y="656"/>
                      <a:pt x="219" y="654"/>
                      <a:pt x="217" y="651"/>
                    </a:cubicBezTo>
                    <a:lnTo>
                      <a:pt x="152" y="505"/>
                    </a:lnTo>
                    <a:lnTo>
                      <a:pt x="154" y="507"/>
                    </a:lnTo>
                    <a:lnTo>
                      <a:pt x="64" y="419"/>
                    </a:lnTo>
                    <a:cubicBezTo>
                      <a:pt x="62" y="417"/>
                      <a:pt x="61" y="414"/>
                      <a:pt x="62" y="411"/>
                    </a:cubicBezTo>
                    <a:lnTo>
                      <a:pt x="104" y="273"/>
                    </a:lnTo>
                    <a:lnTo>
                      <a:pt x="108" y="282"/>
                    </a:lnTo>
                    <a:lnTo>
                      <a:pt x="71" y="266"/>
                    </a:lnTo>
                    <a:cubicBezTo>
                      <a:pt x="69" y="265"/>
                      <a:pt x="68" y="263"/>
                      <a:pt x="67" y="262"/>
                    </a:cubicBezTo>
                    <a:lnTo>
                      <a:pt x="32" y="187"/>
                    </a:lnTo>
                    <a:cubicBezTo>
                      <a:pt x="32" y="186"/>
                      <a:pt x="31" y="186"/>
                      <a:pt x="31" y="185"/>
                    </a:cubicBezTo>
                    <a:lnTo>
                      <a:pt x="1" y="40"/>
                    </a:lnTo>
                    <a:close/>
                    <a:moveTo>
                      <a:pt x="47" y="182"/>
                    </a:moveTo>
                    <a:lnTo>
                      <a:pt x="46" y="180"/>
                    </a:lnTo>
                    <a:lnTo>
                      <a:pt x="81" y="255"/>
                    </a:lnTo>
                    <a:lnTo>
                      <a:pt x="77" y="251"/>
                    </a:lnTo>
                    <a:lnTo>
                      <a:pt x="115" y="268"/>
                    </a:lnTo>
                    <a:cubicBezTo>
                      <a:pt x="119" y="269"/>
                      <a:pt x="121" y="273"/>
                      <a:pt x="119" y="277"/>
                    </a:cubicBezTo>
                    <a:lnTo>
                      <a:pt x="78" y="415"/>
                    </a:lnTo>
                    <a:lnTo>
                      <a:pt x="75" y="407"/>
                    </a:lnTo>
                    <a:lnTo>
                      <a:pt x="165" y="496"/>
                    </a:lnTo>
                    <a:cubicBezTo>
                      <a:pt x="166" y="496"/>
                      <a:pt x="166" y="497"/>
                      <a:pt x="166" y="498"/>
                    </a:cubicBezTo>
                    <a:lnTo>
                      <a:pt x="232" y="645"/>
                    </a:lnTo>
                    <a:lnTo>
                      <a:pt x="217" y="645"/>
                    </a:lnTo>
                    <a:lnTo>
                      <a:pt x="230" y="615"/>
                    </a:lnTo>
                    <a:cubicBezTo>
                      <a:pt x="231" y="613"/>
                      <a:pt x="232" y="611"/>
                      <a:pt x="234" y="610"/>
                    </a:cubicBezTo>
                    <a:cubicBezTo>
                      <a:pt x="236" y="610"/>
                      <a:pt x="239" y="610"/>
                      <a:pt x="241" y="610"/>
                    </a:cubicBezTo>
                    <a:lnTo>
                      <a:pt x="294" y="634"/>
                    </a:lnTo>
                    <a:cubicBezTo>
                      <a:pt x="295" y="635"/>
                      <a:pt x="297" y="636"/>
                      <a:pt x="298" y="638"/>
                    </a:cubicBezTo>
                    <a:lnTo>
                      <a:pt x="367" y="783"/>
                    </a:lnTo>
                    <a:lnTo>
                      <a:pt x="365" y="779"/>
                    </a:lnTo>
                    <a:lnTo>
                      <a:pt x="469" y="853"/>
                    </a:lnTo>
                    <a:lnTo>
                      <a:pt x="463" y="851"/>
                    </a:lnTo>
                    <a:lnTo>
                      <a:pt x="604" y="825"/>
                    </a:lnTo>
                    <a:cubicBezTo>
                      <a:pt x="608" y="824"/>
                      <a:pt x="611" y="826"/>
                      <a:pt x="613" y="829"/>
                    </a:cubicBezTo>
                    <a:lnTo>
                      <a:pt x="660" y="908"/>
                    </a:lnTo>
                    <a:lnTo>
                      <a:pt x="655" y="905"/>
                    </a:lnTo>
                    <a:lnTo>
                      <a:pt x="863" y="945"/>
                    </a:lnTo>
                    <a:lnTo>
                      <a:pt x="854" y="948"/>
                    </a:lnTo>
                    <a:lnTo>
                      <a:pt x="930" y="827"/>
                    </a:lnTo>
                    <a:lnTo>
                      <a:pt x="930" y="835"/>
                    </a:lnTo>
                    <a:lnTo>
                      <a:pt x="815" y="664"/>
                    </a:lnTo>
                    <a:cubicBezTo>
                      <a:pt x="814" y="661"/>
                      <a:pt x="814" y="658"/>
                      <a:pt x="815" y="656"/>
                    </a:cubicBezTo>
                    <a:lnTo>
                      <a:pt x="855" y="579"/>
                    </a:lnTo>
                    <a:lnTo>
                      <a:pt x="857" y="589"/>
                    </a:lnTo>
                    <a:lnTo>
                      <a:pt x="806" y="542"/>
                    </a:lnTo>
                    <a:cubicBezTo>
                      <a:pt x="804" y="541"/>
                      <a:pt x="803" y="539"/>
                      <a:pt x="803" y="536"/>
                    </a:cubicBezTo>
                    <a:lnTo>
                      <a:pt x="799" y="385"/>
                    </a:lnTo>
                    <a:cubicBezTo>
                      <a:pt x="799" y="384"/>
                      <a:pt x="799" y="383"/>
                      <a:pt x="799" y="382"/>
                    </a:cubicBezTo>
                    <a:lnTo>
                      <a:pt x="833" y="273"/>
                    </a:lnTo>
                    <a:lnTo>
                      <a:pt x="832" y="276"/>
                    </a:lnTo>
                    <a:lnTo>
                      <a:pt x="825" y="218"/>
                    </a:lnTo>
                    <a:lnTo>
                      <a:pt x="829" y="224"/>
                    </a:lnTo>
                    <a:lnTo>
                      <a:pt x="633" y="115"/>
                    </a:lnTo>
                    <a:lnTo>
                      <a:pt x="639" y="116"/>
                    </a:lnTo>
                    <a:lnTo>
                      <a:pt x="489" y="177"/>
                    </a:lnTo>
                    <a:lnTo>
                      <a:pt x="493" y="168"/>
                    </a:lnTo>
                    <a:lnTo>
                      <a:pt x="503" y="205"/>
                    </a:lnTo>
                    <a:cubicBezTo>
                      <a:pt x="504" y="207"/>
                      <a:pt x="503" y="209"/>
                      <a:pt x="502" y="211"/>
                    </a:cubicBezTo>
                    <a:cubicBezTo>
                      <a:pt x="501" y="213"/>
                      <a:pt x="499" y="214"/>
                      <a:pt x="497" y="215"/>
                    </a:cubicBezTo>
                    <a:lnTo>
                      <a:pt x="380" y="233"/>
                    </a:lnTo>
                    <a:cubicBezTo>
                      <a:pt x="378" y="233"/>
                      <a:pt x="376" y="233"/>
                      <a:pt x="375" y="232"/>
                    </a:cubicBezTo>
                    <a:lnTo>
                      <a:pt x="246" y="167"/>
                    </a:lnTo>
                    <a:cubicBezTo>
                      <a:pt x="244" y="166"/>
                      <a:pt x="242" y="164"/>
                      <a:pt x="242" y="161"/>
                    </a:cubicBezTo>
                    <a:lnTo>
                      <a:pt x="232" y="98"/>
                    </a:lnTo>
                    <a:lnTo>
                      <a:pt x="237" y="104"/>
                    </a:lnTo>
                    <a:lnTo>
                      <a:pt x="196" y="86"/>
                    </a:lnTo>
                    <a:cubicBezTo>
                      <a:pt x="194" y="85"/>
                      <a:pt x="192" y="82"/>
                      <a:pt x="192" y="80"/>
                    </a:cubicBezTo>
                    <a:lnTo>
                      <a:pt x="183" y="25"/>
                    </a:lnTo>
                    <a:lnTo>
                      <a:pt x="196" y="30"/>
                    </a:lnTo>
                    <a:lnTo>
                      <a:pt x="109" y="87"/>
                    </a:lnTo>
                    <a:cubicBezTo>
                      <a:pt x="106" y="89"/>
                      <a:pt x="102" y="88"/>
                      <a:pt x="99" y="86"/>
                    </a:cubicBezTo>
                    <a:lnTo>
                      <a:pt x="28" y="14"/>
                    </a:lnTo>
                    <a:lnTo>
                      <a:pt x="40" y="14"/>
                    </a:lnTo>
                    <a:lnTo>
                      <a:pt x="15" y="44"/>
                    </a:lnTo>
                    <a:lnTo>
                      <a:pt x="16" y="37"/>
                    </a:lnTo>
                    <a:lnTo>
                      <a:pt x="47" y="182"/>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32" name="Freeform 188"/>
              <p:cNvSpPr>
                <a:spLocks/>
              </p:cNvSpPr>
              <p:nvPr/>
            </p:nvSpPr>
            <p:spPr bwMode="auto">
              <a:xfrm>
                <a:off x="3284" y="1608"/>
                <a:ext cx="139" cy="121"/>
              </a:xfrm>
              <a:custGeom>
                <a:avLst/>
                <a:gdLst/>
                <a:ahLst/>
                <a:cxnLst>
                  <a:cxn ang="0">
                    <a:pos x="0" y="59"/>
                  </a:cxn>
                  <a:cxn ang="0">
                    <a:pos x="7" y="76"/>
                  </a:cxn>
                  <a:cxn ang="0">
                    <a:pos x="70" y="103"/>
                  </a:cxn>
                  <a:cxn ang="0">
                    <a:pos x="71" y="113"/>
                  </a:cxn>
                  <a:cxn ang="0">
                    <a:pos x="85" y="120"/>
                  </a:cxn>
                  <a:cxn ang="0">
                    <a:pos x="111" y="121"/>
                  </a:cxn>
                  <a:cxn ang="0">
                    <a:pos x="132" y="109"/>
                  </a:cxn>
                  <a:cxn ang="0">
                    <a:pos x="139" y="107"/>
                  </a:cxn>
                  <a:cxn ang="0">
                    <a:pos x="120" y="74"/>
                  </a:cxn>
                  <a:cxn ang="0">
                    <a:pos x="95" y="53"/>
                  </a:cxn>
                  <a:cxn ang="0">
                    <a:pos x="107" y="22"/>
                  </a:cxn>
                  <a:cxn ang="0">
                    <a:pos x="96" y="18"/>
                  </a:cxn>
                  <a:cxn ang="0">
                    <a:pos x="86" y="0"/>
                  </a:cxn>
                  <a:cxn ang="0">
                    <a:pos x="55" y="2"/>
                  </a:cxn>
                  <a:cxn ang="0">
                    <a:pos x="39" y="13"/>
                  </a:cxn>
                  <a:cxn ang="0">
                    <a:pos x="34" y="42"/>
                  </a:cxn>
                  <a:cxn ang="0">
                    <a:pos x="0" y="59"/>
                  </a:cxn>
                </a:cxnLst>
                <a:rect l="0" t="0" r="r" b="b"/>
                <a:pathLst>
                  <a:path w="139" h="121">
                    <a:moveTo>
                      <a:pt x="0" y="59"/>
                    </a:moveTo>
                    <a:lnTo>
                      <a:pt x="7" y="76"/>
                    </a:lnTo>
                    <a:lnTo>
                      <a:pt x="70" y="103"/>
                    </a:lnTo>
                    <a:lnTo>
                      <a:pt x="71" y="113"/>
                    </a:lnTo>
                    <a:lnTo>
                      <a:pt x="85" y="120"/>
                    </a:lnTo>
                    <a:lnTo>
                      <a:pt x="111" y="121"/>
                    </a:lnTo>
                    <a:lnTo>
                      <a:pt x="132" y="109"/>
                    </a:lnTo>
                    <a:lnTo>
                      <a:pt x="139" y="107"/>
                    </a:lnTo>
                    <a:lnTo>
                      <a:pt x="120" y="74"/>
                    </a:lnTo>
                    <a:lnTo>
                      <a:pt x="95" y="53"/>
                    </a:lnTo>
                    <a:lnTo>
                      <a:pt x="107" y="22"/>
                    </a:lnTo>
                    <a:lnTo>
                      <a:pt x="96" y="18"/>
                    </a:lnTo>
                    <a:lnTo>
                      <a:pt x="86" y="0"/>
                    </a:lnTo>
                    <a:lnTo>
                      <a:pt x="55" y="2"/>
                    </a:lnTo>
                    <a:lnTo>
                      <a:pt x="39" y="13"/>
                    </a:lnTo>
                    <a:lnTo>
                      <a:pt x="34" y="42"/>
                    </a:lnTo>
                    <a:lnTo>
                      <a:pt x="0" y="59"/>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33" name="Freeform 189"/>
              <p:cNvSpPr>
                <a:spLocks noEditPoints="1"/>
              </p:cNvSpPr>
              <p:nvPr/>
            </p:nvSpPr>
            <p:spPr bwMode="auto">
              <a:xfrm>
                <a:off x="3282" y="1606"/>
                <a:ext cx="144" cy="125"/>
              </a:xfrm>
              <a:custGeom>
                <a:avLst/>
                <a:gdLst/>
                <a:ahLst/>
                <a:cxnLst>
                  <a:cxn ang="0">
                    <a:pos x="16" y="263"/>
                  </a:cxn>
                  <a:cxn ang="0">
                    <a:pos x="36" y="333"/>
                  </a:cxn>
                  <a:cxn ang="0">
                    <a:pos x="257" y="457"/>
                  </a:cxn>
                  <a:cxn ang="0">
                    <a:pos x="256" y="494"/>
                  </a:cxn>
                  <a:cxn ang="0">
                    <a:pos x="303" y="522"/>
                  </a:cxn>
                  <a:cxn ang="0">
                    <a:pos x="386" y="530"/>
                  </a:cxn>
                  <a:cxn ang="0">
                    <a:pos x="460" y="475"/>
                  </a:cxn>
                  <a:cxn ang="0">
                    <a:pos x="481" y="479"/>
                  </a:cxn>
                  <a:cxn ang="0">
                    <a:pos x="417" y="334"/>
                  </a:cxn>
                  <a:cxn ang="0">
                    <a:pos x="326" y="237"/>
                  </a:cxn>
                  <a:cxn ang="0">
                    <a:pos x="373" y="108"/>
                  </a:cxn>
                  <a:cxn ang="0">
                    <a:pos x="331" y="87"/>
                  </a:cxn>
                  <a:cxn ang="0">
                    <a:pos x="304" y="16"/>
                  </a:cxn>
                  <a:cxn ang="0">
                    <a:pos x="202" y="21"/>
                  </a:cxn>
                  <a:cxn ang="0">
                    <a:pos x="151" y="63"/>
                  </a:cxn>
                  <a:cxn ang="0">
                    <a:pos x="130" y="196"/>
                  </a:cxn>
                  <a:cxn ang="0">
                    <a:pos x="121" y="183"/>
                  </a:cxn>
                  <a:cxn ang="0">
                    <a:pos x="135" y="61"/>
                  </a:cxn>
                  <a:cxn ang="0">
                    <a:pos x="191" y="9"/>
                  </a:cxn>
                  <a:cxn ang="0">
                    <a:pos x="303" y="0"/>
                  </a:cxn>
                  <a:cxn ang="0">
                    <a:pos x="345" y="81"/>
                  </a:cxn>
                  <a:cxn ang="0">
                    <a:pos x="379" y="93"/>
                  </a:cxn>
                  <a:cxn ang="0">
                    <a:pos x="342" y="242"/>
                  </a:cxn>
                  <a:cxn ang="0">
                    <a:pos x="429" y="323"/>
                  </a:cxn>
                  <a:cxn ang="0">
                    <a:pos x="496" y="473"/>
                  </a:cxn>
                  <a:cxn ang="0">
                    <a:pos x="490" y="484"/>
                  </a:cxn>
                  <a:cxn ang="0">
                    <a:pos x="467" y="489"/>
                  </a:cxn>
                  <a:cxn ang="0">
                    <a:pos x="390" y="544"/>
                  </a:cxn>
                  <a:cxn ang="0">
                    <a:pos x="298" y="537"/>
                  </a:cxn>
                  <a:cxn ang="0">
                    <a:pos x="244" y="502"/>
                  </a:cxn>
                  <a:cxn ang="0">
                    <a:pos x="245" y="465"/>
                  </a:cxn>
                  <a:cxn ang="0">
                    <a:pos x="24" y="343"/>
                  </a:cxn>
                  <a:cxn ang="0">
                    <a:pos x="4" y="258"/>
                  </a:cxn>
                </a:cxnLst>
                <a:rect l="0" t="0" r="r" b="b"/>
                <a:pathLst>
                  <a:path w="497" h="545">
                    <a:moveTo>
                      <a:pt x="13" y="272"/>
                    </a:moveTo>
                    <a:lnTo>
                      <a:pt x="16" y="263"/>
                    </a:lnTo>
                    <a:lnTo>
                      <a:pt x="40" y="338"/>
                    </a:lnTo>
                    <a:lnTo>
                      <a:pt x="36" y="333"/>
                    </a:lnTo>
                    <a:lnTo>
                      <a:pt x="253" y="451"/>
                    </a:lnTo>
                    <a:cubicBezTo>
                      <a:pt x="255" y="452"/>
                      <a:pt x="257" y="454"/>
                      <a:pt x="257" y="457"/>
                    </a:cubicBezTo>
                    <a:lnTo>
                      <a:pt x="260" y="501"/>
                    </a:lnTo>
                    <a:lnTo>
                      <a:pt x="256" y="494"/>
                    </a:lnTo>
                    <a:lnTo>
                      <a:pt x="306" y="523"/>
                    </a:lnTo>
                    <a:lnTo>
                      <a:pt x="303" y="522"/>
                    </a:lnTo>
                    <a:lnTo>
                      <a:pt x="392" y="528"/>
                    </a:lnTo>
                    <a:lnTo>
                      <a:pt x="386" y="530"/>
                    </a:lnTo>
                    <a:lnTo>
                      <a:pt x="457" y="476"/>
                    </a:lnTo>
                    <a:cubicBezTo>
                      <a:pt x="458" y="476"/>
                      <a:pt x="459" y="475"/>
                      <a:pt x="460" y="475"/>
                    </a:cubicBezTo>
                    <a:lnTo>
                      <a:pt x="486" y="468"/>
                    </a:lnTo>
                    <a:lnTo>
                      <a:pt x="481" y="479"/>
                    </a:lnTo>
                    <a:lnTo>
                      <a:pt x="416" y="332"/>
                    </a:lnTo>
                    <a:lnTo>
                      <a:pt x="417" y="334"/>
                    </a:lnTo>
                    <a:lnTo>
                      <a:pt x="328" y="245"/>
                    </a:lnTo>
                    <a:cubicBezTo>
                      <a:pt x="326" y="243"/>
                      <a:pt x="326" y="240"/>
                      <a:pt x="326" y="237"/>
                    </a:cubicBezTo>
                    <a:lnTo>
                      <a:pt x="368" y="98"/>
                    </a:lnTo>
                    <a:lnTo>
                      <a:pt x="373" y="108"/>
                    </a:lnTo>
                    <a:lnTo>
                      <a:pt x="335" y="91"/>
                    </a:lnTo>
                    <a:cubicBezTo>
                      <a:pt x="333" y="90"/>
                      <a:pt x="332" y="89"/>
                      <a:pt x="331" y="87"/>
                    </a:cubicBezTo>
                    <a:lnTo>
                      <a:pt x="296" y="12"/>
                    </a:lnTo>
                    <a:lnTo>
                      <a:pt x="304" y="16"/>
                    </a:lnTo>
                    <a:lnTo>
                      <a:pt x="197" y="23"/>
                    </a:lnTo>
                    <a:lnTo>
                      <a:pt x="202" y="21"/>
                    </a:lnTo>
                    <a:lnTo>
                      <a:pt x="149" y="68"/>
                    </a:lnTo>
                    <a:lnTo>
                      <a:pt x="151" y="63"/>
                    </a:lnTo>
                    <a:lnTo>
                      <a:pt x="133" y="191"/>
                    </a:lnTo>
                    <a:cubicBezTo>
                      <a:pt x="133" y="193"/>
                      <a:pt x="132" y="195"/>
                      <a:pt x="130" y="196"/>
                    </a:cubicBezTo>
                    <a:lnTo>
                      <a:pt x="13" y="272"/>
                    </a:lnTo>
                    <a:close/>
                    <a:moveTo>
                      <a:pt x="121" y="183"/>
                    </a:moveTo>
                    <a:lnTo>
                      <a:pt x="117" y="188"/>
                    </a:lnTo>
                    <a:lnTo>
                      <a:pt x="135" y="61"/>
                    </a:lnTo>
                    <a:cubicBezTo>
                      <a:pt x="136" y="59"/>
                      <a:pt x="137" y="57"/>
                      <a:pt x="138" y="56"/>
                    </a:cubicBezTo>
                    <a:lnTo>
                      <a:pt x="191" y="9"/>
                    </a:lnTo>
                    <a:cubicBezTo>
                      <a:pt x="192" y="8"/>
                      <a:pt x="194" y="7"/>
                      <a:pt x="196" y="7"/>
                    </a:cubicBezTo>
                    <a:lnTo>
                      <a:pt x="303" y="0"/>
                    </a:lnTo>
                    <a:cubicBezTo>
                      <a:pt x="306" y="0"/>
                      <a:pt x="309" y="2"/>
                      <a:pt x="311" y="5"/>
                    </a:cubicBezTo>
                    <a:lnTo>
                      <a:pt x="345" y="81"/>
                    </a:lnTo>
                    <a:lnTo>
                      <a:pt x="341" y="77"/>
                    </a:lnTo>
                    <a:lnTo>
                      <a:pt x="379" y="93"/>
                    </a:lnTo>
                    <a:cubicBezTo>
                      <a:pt x="383" y="95"/>
                      <a:pt x="385" y="99"/>
                      <a:pt x="383" y="103"/>
                    </a:cubicBezTo>
                    <a:lnTo>
                      <a:pt x="342" y="242"/>
                    </a:lnTo>
                    <a:lnTo>
                      <a:pt x="340" y="234"/>
                    </a:lnTo>
                    <a:lnTo>
                      <a:pt x="429" y="323"/>
                    </a:lnTo>
                    <a:cubicBezTo>
                      <a:pt x="429" y="324"/>
                      <a:pt x="430" y="324"/>
                      <a:pt x="430" y="325"/>
                    </a:cubicBezTo>
                    <a:lnTo>
                      <a:pt x="496" y="473"/>
                    </a:lnTo>
                    <a:cubicBezTo>
                      <a:pt x="497" y="475"/>
                      <a:pt x="497" y="478"/>
                      <a:pt x="496" y="480"/>
                    </a:cubicBezTo>
                    <a:cubicBezTo>
                      <a:pt x="495" y="482"/>
                      <a:pt x="493" y="483"/>
                      <a:pt x="490" y="484"/>
                    </a:cubicBezTo>
                    <a:lnTo>
                      <a:pt x="464" y="491"/>
                    </a:lnTo>
                    <a:lnTo>
                      <a:pt x="467" y="489"/>
                    </a:lnTo>
                    <a:lnTo>
                      <a:pt x="396" y="543"/>
                    </a:lnTo>
                    <a:cubicBezTo>
                      <a:pt x="394" y="544"/>
                      <a:pt x="392" y="545"/>
                      <a:pt x="390" y="544"/>
                    </a:cubicBezTo>
                    <a:lnTo>
                      <a:pt x="301" y="538"/>
                    </a:lnTo>
                    <a:cubicBezTo>
                      <a:pt x="300" y="538"/>
                      <a:pt x="299" y="537"/>
                      <a:pt x="298" y="537"/>
                    </a:cubicBezTo>
                    <a:lnTo>
                      <a:pt x="248" y="508"/>
                    </a:lnTo>
                    <a:cubicBezTo>
                      <a:pt x="246" y="507"/>
                      <a:pt x="244" y="504"/>
                      <a:pt x="244" y="502"/>
                    </a:cubicBezTo>
                    <a:lnTo>
                      <a:pt x="241" y="458"/>
                    </a:lnTo>
                    <a:lnTo>
                      <a:pt x="245" y="465"/>
                    </a:lnTo>
                    <a:lnTo>
                      <a:pt x="28" y="347"/>
                    </a:lnTo>
                    <a:cubicBezTo>
                      <a:pt x="26" y="346"/>
                      <a:pt x="25" y="345"/>
                      <a:pt x="24" y="343"/>
                    </a:cubicBezTo>
                    <a:lnTo>
                      <a:pt x="1" y="267"/>
                    </a:lnTo>
                    <a:cubicBezTo>
                      <a:pt x="0" y="264"/>
                      <a:pt x="1" y="260"/>
                      <a:pt x="4" y="258"/>
                    </a:cubicBezTo>
                    <a:lnTo>
                      <a:pt x="121" y="183"/>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34" name="Freeform 190"/>
              <p:cNvSpPr>
                <a:spLocks/>
              </p:cNvSpPr>
              <p:nvPr/>
            </p:nvSpPr>
            <p:spPr bwMode="auto">
              <a:xfrm>
                <a:off x="2834" y="1455"/>
                <a:ext cx="167" cy="146"/>
              </a:xfrm>
              <a:custGeom>
                <a:avLst/>
                <a:gdLst/>
                <a:ahLst/>
                <a:cxnLst>
                  <a:cxn ang="0">
                    <a:pos x="0" y="36"/>
                  </a:cxn>
                  <a:cxn ang="0">
                    <a:pos x="5" y="19"/>
                  </a:cxn>
                  <a:cxn ang="0">
                    <a:pos x="24" y="11"/>
                  </a:cxn>
                  <a:cxn ang="0">
                    <a:pos x="33" y="19"/>
                  </a:cxn>
                  <a:cxn ang="0">
                    <a:pos x="53" y="4"/>
                  </a:cxn>
                  <a:cxn ang="0">
                    <a:pos x="75" y="0"/>
                  </a:cxn>
                  <a:cxn ang="0">
                    <a:pos x="99" y="10"/>
                  </a:cxn>
                  <a:cxn ang="0">
                    <a:pos x="99" y="26"/>
                  </a:cxn>
                  <a:cxn ang="0">
                    <a:pos x="80" y="29"/>
                  </a:cxn>
                  <a:cxn ang="0">
                    <a:pos x="82" y="49"/>
                  </a:cxn>
                  <a:cxn ang="0">
                    <a:pos x="114" y="81"/>
                  </a:cxn>
                  <a:cxn ang="0">
                    <a:pos x="134" y="84"/>
                  </a:cxn>
                  <a:cxn ang="0">
                    <a:pos x="132" y="91"/>
                  </a:cxn>
                  <a:cxn ang="0">
                    <a:pos x="167" y="112"/>
                  </a:cxn>
                  <a:cxn ang="0">
                    <a:pos x="143" y="109"/>
                  </a:cxn>
                  <a:cxn ang="0">
                    <a:pos x="148" y="130"/>
                  </a:cxn>
                  <a:cxn ang="0">
                    <a:pos x="134" y="146"/>
                  </a:cxn>
                  <a:cxn ang="0">
                    <a:pos x="127" y="113"/>
                  </a:cxn>
                  <a:cxn ang="0">
                    <a:pos x="64" y="76"/>
                  </a:cxn>
                  <a:cxn ang="0">
                    <a:pos x="50" y="52"/>
                  </a:cxn>
                  <a:cxn ang="0">
                    <a:pos x="30" y="44"/>
                  </a:cxn>
                  <a:cxn ang="0">
                    <a:pos x="12" y="54"/>
                  </a:cxn>
                  <a:cxn ang="0">
                    <a:pos x="0" y="36"/>
                  </a:cxn>
                </a:cxnLst>
                <a:rect l="0" t="0" r="r" b="b"/>
                <a:pathLst>
                  <a:path w="167" h="146">
                    <a:moveTo>
                      <a:pt x="0" y="36"/>
                    </a:moveTo>
                    <a:lnTo>
                      <a:pt x="5" y="19"/>
                    </a:lnTo>
                    <a:lnTo>
                      <a:pt x="24" y="11"/>
                    </a:lnTo>
                    <a:lnTo>
                      <a:pt x="33" y="19"/>
                    </a:lnTo>
                    <a:lnTo>
                      <a:pt x="53" y="4"/>
                    </a:lnTo>
                    <a:lnTo>
                      <a:pt x="75" y="0"/>
                    </a:lnTo>
                    <a:lnTo>
                      <a:pt x="99" y="10"/>
                    </a:lnTo>
                    <a:lnTo>
                      <a:pt x="99" y="26"/>
                    </a:lnTo>
                    <a:lnTo>
                      <a:pt x="80" y="29"/>
                    </a:lnTo>
                    <a:lnTo>
                      <a:pt x="82" y="49"/>
                    </a:lnTo>
                    <a:lnTo>
                      <a:pt x="114" y="81"/>
                    </a:lnTo>
                    <a:lnTo>
                      <a:pt x="134" y="84"/>
                    </a:lnTo>
                    <a:lnTo>
                      <a:pt x="132" y="91"/>
                    </a:lnTo>
                    <a:lnTo>
                      <a:pt x="167" y="112"/>
                    </a:lnTo>
                    <a:lnTo>
                      <a:pt x="143" y="109"/>
                    </a:lnTo>
                    <a:lnTo>
                      <a:pt x="148" y="130"/>
                    </a:lnTo>
                    <a:lnTo>
                      <a:pt x="134" y="146"/>
                    </a:lnTo>
                    <a:lnTo>
                      <a:pt x="127" y="113"/>
                    </a:lnTo>
                    <a:lnTo>
                      <a:pt x="64" y="76"/>
                    </a:lnTo>
                    <a:lnTo>
                      <a:pt x="50" y="52"/>
                    </a:lnTo>
                    <a:lnTo>
                      <a:pt x="30" y="44"/>
                    </a:lnTo>
                    <a:lnTo>
                      <a:pt x="12" y="54"/>
                    </a:lnTo>
                    <a:lnTo>
                      <a:pt x="0" y="36"/>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35" name="Freeform 191"/>
              <p:cNvSpPr>
                <a:spLocks noEditPoints="1"/>
              </p:cNvSpPr>
              <p:nvPr/>
            </p:nvSpPr>
            <p:spPr bwMode="auto">
              <a:xfrm>
                <a:off x="2832" y="1453"/>
                <a:ext cx="172" cy="150"/>
              </a:xfrm>
              <a:custGeom>
                <a:avLst/>
                <a:gdLst/>
                <a:ahLst/>
                <a:cxnLst>
                  <a:cxn ang="0">
                    <a:pos x="1" y="166"/>
                  </a:cxn>
                  <a:cxn ang="0">
                    <a:pos x="20" y="87"/>
                  </a:cxn>
                  <a:cxn ang="0">
                    <a:pos x="98" y="53"/>
                  </a:cxn>
                  <a:cxn ang="0">
                    <a:pos x="117" y="87"/>
                  </a:cxn>
                  <a:cxn ang="0">
                    <a:pos x="190" y="17"/>
                  </a:cxn>
                  <a:cxn ang="0">
                    <a:pos x="272" y="1"/>
                  </a:cxn>
                  <a:cxn ang="0">
                    <a:pos x="358" y="54"/>
                  </a:cxn>
                  <a:cxn ang="0">
                    <a:pos x="352" y="131"/>
                  </a:cxn>
                  <a:cxn ang="0">
                    <a:pos x="292" y="135"/>
                  </a:cxn>
                  <a:cxn ang="0">
                    <a:pos x="297" y="217"/>
                  </a:cxn>
                  <a:cxn ang="0">
                    <a:pos x="401" y="358"/>
                  </a:cxn>
                  <a:cxn ang="0">
                    <a:pos x="475" y="372"/>
                  </a:cxn>
                  <a:cxn ang="0">
                    <a:pos x="469" y="408"/>
                  </a:cxn>
                  <a:cxn ang="0">
                    <a:pos x="589" y="494"/>
                  </a:cxn>
                  <a:cxn ang="0">
                    <a:pos x="583" y="509"/>
                  </a:cxn>
                  <a:cxn ang="0">
                    <a:pos x="508" y="486"/>
                  </a:cxn>
                  <a:cxn ang="0">
                    <a:pos x="525" y="583"/>
                  </a:cxn>
                  <a:cxn ang="0">
                    <a:pos x="467" y="656"/>
                  </a:cxn>
                  <a:cxn ang="0">
                    <a:pos x="438" y="504"/>
                  </a:cxn>
                  <a:cxn ang="0">
                    <a:pos x="225" y="349"/>
                  </a:cxn>
                  <a:cxn ang="0">
                    <a:pos x="172" y="240"/>
                  </a:cxn>
                  <a:cxn ang="0">
                    <a:pos x="106" y="209"/>
                  </a:cxn>
                  <a:cxn ang="0">
                    <a:pos x="53" y="253"/>
                  </a:cxn>
                  <a:cxn ang="0">
                    <a:pos x="41" y="251"/>
                  </a:cxn>
                  <a:cxn ang="0">
                    <a:pos x="55" y="243"/>
                  </a:cxn>
                  <a:cxn ang="0">
                    <a:pos x="105" y="195"/>
                  </a:cxn>
                  <a:cxn ang="0">
                    <a:pos x="183" y="230"/>
                  </a:cxn>
                  <a:cxn ang="0">
                    <a:pos x="237" y="339"/>
                  </a:cxn>
                  <a:cxn ang="0">
                    <a:pos x="451" y="496"/>
                  </a:cxn>
                  <a:cxn ang="0">
                    <a:pos x="477" y="647"/>
                  </a:cxn>
                  <a:cxn ang="0">
                    <a:pos x="512" y="573"/>
                  </a:cxn>
                  <a:cxn ang="0">
                    <a:pos x="492" y="489"/>
                  </a:cxn>
                  <a:cxn ang="0">
                    <a:pos x="501" y="479"/>
                  </a:cxn>
                  <a:cxn ang="0">
                    <a:pos x="580" y="507"/>
                  </a:cxn>
                  <a:cxn ang="0">
                    <a:pos x="454" y="405"/>
                  </a:cxn>
                  <a:cxn ang="0">
                    <a:pos x="468" y="384"/>
                  </a:cxn>
                  <a:cxn ang="0">
                    <a:pos x="393" y="371"/>
                  </a:cxn>
                  <a:cxn ang="0">
                    <a:pos x="283" y="222"/>
                  </a:cxn>
                  <a:cxn ang="0">
                    <a:pos x="282" y="128"/>
                  </a:cxn>
                  <a:cxn ang="0">
                    <a:pos x="342" y="123"/>
                  </a:cxn>
                  <a:cxn ang="0">
                    <a:pos x="346" y="61"/>
                  </a:cxn>
                  <a:cxn ang="0">
                    <a:pos x="270" y="16"/>
                  </a:cxn>
                  <a:cxn ang="0">
                    <a:pos x="198" y="31"/>
                  </a:cxn>
                  <a:cxn ang="0">
                    <a:pos x="123" y="100"/>
                  </a:cxn>
                  <a:cxn ang="0">
                    <a:pos x="86" y="64"/>
                  </a:cxn>
                  <a:cxn ang="0">
                    <a:pos x="28" y="101"/>
                  </a:cxn>
                  <a:cxn ang="0">
                    <a:pos x="16" y="170"/>
                  </a:cxn>
                  <a:cxn ang="0">
                    <a:pos x="55" y="243"/>
                  </a:cxn>
                </a:cxnLst>
                <a:rect l="0" t="0" r="r" b="b"/>
                <a:pathLst>
                  <a:path w="593" h="657">
                    <a:moveTo>
                      <a:pt x="1" y="172"/>
                    </a:moveTo>
                    <a:cubicBezTo>
                      <a:pt x="0" y="170"/>
                      <a:pt x="0" y="168"/>
                      <a:pt x="1" y="166"/>
                    </a:cubicBezTo>
                    <a:lnTo>
                      <a:pt x="16" y="92"/>
                    </a:lnTo>
                    <a:cubicBezTo>
                      <a:pt x="17" y="90"/>
                      <a:pt x="18" y="88"/>
                      <a:pt x="20" y="87"/>
                    </a:cubicBezTo>
                    <a:lnTo>
                      <a:pt x="88" y="52"/>
                    </a:lnTo>
                    <a:cubicBezTo>
                      <a:pt x="91" y="50"/>
                      <a:pt x="95" y="51"/>
                      <a:pt x="98" y="53"/>
                    </a:cubicBezTo>
                    <a:lnTo>
                      <a:pt x="129" y="87"/>
                    </a:lnTo>
                    <a:lnTo>
                      <a:pt x="117" y="87"/>
                    </a:lnTo>
                    <a:lnTo>
                      <a:pt x="186" y="20"/>
                    </a:lnTo>
                    <a:cubicBezTo>
                      <a:pt x="187" y="18"/>
                      <a:pt x="189" y="18"/>
                      <a:pt x="190" y="17"/>
                    </a:cubicBezTo>
                    <a:lnTo>
                      <a:pt x="267" y="1"/>
                    </a:lnTo>
                    <a:cubicBezTo>
                      <a:pt x="268" y="0"/>
                      <a:pt x="270" y="1"/>
                      <a:pt x="272" y="1"/>
                    </a:cubicBezTo>
                    <a:lnTo>
                      <a:pt x="354" y="47"/>
                    </a:lnTo>
                    <a:cubicBezTo>
                      <a:pt x="357" y="48"/>
                      <a:pt x="358" y="51"/>
                      <a:pt x="358" y="54"/>
                    </a:cubicBezTo>
                    <a:lnTo>
                      <a:pt x="358" y="123"/>
                    </a:lnTo>
                    <a:cubicBezTo>
                      <a:pt x="358" y="127"/>
                      <a:pt x="355" y="130"/>
                      <a:pt x="352" y="131"/>
                    </a:cubicBezTo>
                    <a:lnTo>
                      <a:pt x="285" y="144"/>
                    </a:lnTo>
                    <a:lnTo>
                      <a:pt x="292" y="135"/>
                    </a:lnTo>
                    <a:lnTo>
                      <a:pt x="299" y="221"/>
                    </a:lnTo>
                    <a:lnTo>
                      <a:pt x="297" y="217"/>
                    </a:lnTo>
                    <a:lnTo>
                      <a:pt x="406" y="361"/>
                    </a:lnTo>
                    <a:lnTo>
                      <a:pt x="401" y="358"/>
                    </a:lnTo>
                    <a:lnTo>
                      <a:pt x="470" y="368"/>
                    </a:lnTo>
                    <a:cubicBezTo>
                      <a:pt x="472" y="369"/>
                      <a:pt x="474" y="370"/>
                      <a:pt x="475" y="372"/>
                    </a:cubicBezTo>
                    <a:cubicBezTo>
                      <a:pt x="477" y="374"/>
                      <a:pt x="477" y="376"/>
                      <a:pt x="476" y="378"/>
                    </a:cubicBezTo>
                    <a:lnTo>
                      <a:pt x="469" y="408"/>
                    </a:lnTo>
                    <a:lnTo>
                      <a:pt x="467" y="400"/>
                    </a:lnTo>
                    <a:lnTo>
                      <a:pt x="589" y="494"/>
                    </a:lnTo>
                    <a:cubicBezTo>
                      <a:pt x="592" y="497"/>
                      <a:pt x="593" y="500"/>
                      <a:pt x="592" y="504"/>
                    </a:cubicBezTo>
                    <a:cubicBezTo>
                      <a:pt x="590" y="507"/>
                      <a:pt x="587" y="509"/>
                      <a:pt x="583" y="509"/>
                    </a:cubicBezTo>
                    <a:lnTo>
                      <a:pt x="499" y="495"/>
                    </a:lnTo>
                    <a:lnTo>
                      <a:pt x="508" y="486"/>
                    </a:lnTo>
                    <a:lnTo>
                      <a:pt x="526" y="576"/>
                    </a:lnTo>
                    <a:cubicBezTo>
                      <a:pt x="526" y="578"/>
                      <a:pt x="526" y="581"/>
                      <a:pt x="525" y="583"/>
                    </a:cubicBezTo>
                    <a:lnTo>
                      <a:pt x="475" y="653"/>
                    </a:lnTo>
                    <a:cubicBezTo>
                      <a:pt x="473" y="656"/>
                      <a:pt x="470" y="657"/>
                      <a:pt x="467" y="656"/>
                    </a:cubicBezTo>
                    <a:cubicBezTo>
                      <a:pt x="464" y="656"/>
                      <a:pt x="461" y="653"/>
                      <a:pt x="461" y="650"/>
                    </a:cubicBezTo>
                    <a:lnTo>
                      <a:pt x="438" y="504"/>
                    </a:lnTo>
                    <a:lnTo>
                      <a:pt x="441" y="509"/>
                    </a:lnTo>
                    <a:lnTo>
                      <a:pt x="225" y="349"/>
                    </a:lnTo>
                    <a:cubicBezTo>
                      <a:pt x="224" y="348"/>
                      <a:pt x="223" y="347"/>
                      <a:pt x="223" y="346"/>
                    </a:cubicBezTo>
                    <a:lnTo>
                      <a:pt x="172" y="240"/>
                    </a:lnTo>
                    <a:lnTo>
                      <a:pt x="176" y="244"/>
                    </a:lnTo>
                    <a:lnTo>
                      <a:pt x="106" y="209"/>
                    </a:lnTo>
                    <a:lnTo>
                      <a:pt x="115" y="208"/>
                    </a:lnTo>
                    <a:lnTo>
                      <a:pt x="53" y="253"/>
                    </a:lnTo>
                    <a:cubicBezTo>
                      <a:pt x="51" y="255"/>
                      <a:pt x="48" y="255"/>
                      <a:pt x="46" y="255"/>
                    </a:cubicBezTo>
                    <a:cubicBezTo>
                      <a:pt x="44" y="254"/>
                      <a:pt x="42" y="253"/>
                      <a:pt x="41" y="251"/>
                    </a:cubicBezTo>
                    <a:lnTo>
                      <a:pt x="1" y="172"/>
                    </a:lnTo>
                    <a:close/>
                    <a:moveTo>
                      <a:pt x="55" y="243"/>
                    </a:moveTo>
                    <a:lnTo>
                      <a:pt x="43" y="241"/>
                    </a:lnTo>
                    <a:lnTo>
                      <a:pt x="105" y="195"/>
                    </a:lnTo>
                    <a:cubicBezTo>
                      <a:pt x="108" y="193"/>
                      <a:pt x="111" y="193"/>
                      <a:pt x="114" y="195"/>
                    </a:cubicBezTo>
                    <a:lnTo>
                      <a:pt x="183" y="230"/>
                    </a:lnTo>
                    <a:cubicBezTo>
                      <a:pt x="184" y="231"/>
                      <a:pt x="186" y="232"/>
                      <a:pt x="187" y="233"/>
                    </a:cubicBezTo>
                    <a:lnTo>
                      <a:pt x="237" y="339"/>
                    </a:lnTo>
                    <a:lnTo>
                      <a:pt x="235" y="336"/>
                    </a:lnTo>
                    <a:lnTo>
                      <a:pt x="451" y="496"/>
                    </a:lnTo>
                    <a:cubicBezTo>
                      <a:pt x="453" y="497"/>
                      <a:pt x="454" y="499"/>
                      <a:pt x="454" y="501"/>
                    </a:cubicBezTo>
                    <a:lnTo>
                      <a:pt x="477" y="647"/>
                    </a:lnTo>
                    <a:lnTo>
                      <a:pt x="462" y="644"/>
                    </a:lnTo>
                    <a:lnTo>
                      <a:pt x="512" y="573"/>
                    </a:lnTo>
                    <a:lnTo>
                      <a:pt x="510" y="580"/>
                    </a:lnTo>
                    <a:lnTo>
                      <a:pt x="492" y="489"/>
                    </a:lnTo>
                    <a:cubicBezTo>
                      <a:pt x="491" y="486"/>
                      <a:pt x="492" y="484"/>
                      <a:pt x="494" y="482"/>
                    </a:cubicBezTo>
                    <a:cubicBezTo>
                      <a:pt x="496" y="480"/>
                      <a:pt x="498" y="479"/>
                      <a:pt x="501" y="479"/>
                    </a:cubicBezTo>
                    <a:lnTo>
                      <a:pt x="586" y="493"/>
                    </a:lnTo>
                    <a:lnTo>
                      <a:pt x="580" y="507"/>
                    </a:lnTo>
                    <a:lnTo>
                      <a:pt x="457" y="413"/>
                    </a:lnTo>
                    <a:cubicBezTo>
                      <a:pt x="454" y="411"/>
                      <a:pt x="453" y="408"/>
                      <a:pt x="454" y="405"/>
                    </a:cubicBezTo>
                    <a:lnTo>
                      <a:pt x="461" y="375"/>
                    </a:lnTo>
                    <a:lnTo>
                      <a:pt x="468" y="384"/>
                    </a:lnTo>
                    <a:lnTo>
                      <a:pt x="398" y="374"/>
                    </a:lnTo>
                    <a:cubicBezTo>
                      <a:pt x="396" y="374"/>
                      <a:pt x="394" y="373"/>
                      <a:pt x="393" y="371"/>
                    </a:cubicBezTo>
                    <a:lnTo>
                      <a:pt x="284" y="227"/>
                    </a:lnTo>
                    <a:cubicBezTo>
                      <a:pt x="284" y="225"/>
                      <a:pt x="283" y="224"/>
                      <a:pt x="283" y="222"/>
                    </a:cubicBezTo>
                    <a:lnTo>
                      <a:pt x="276" y="137"/>
                    </a:lnTo>
                    <a:cubicBezTo>
                      <a:pt x="275" y="133"/>
                      <a:pt x="278" y="129"/>
                      <a:pt x="282" y="128"/>
                    </a:cubicBezTo>
                    <a:lnTo>
                      <a:pt x="349" y="115"/>
                    </a:lnTo>
                    <a:lnTo>
                      <a:pt x="342" y="123"/>
                    </a:lnTo>
                    <a:lnTo>
                      <a:pt x="342" y="54"/>
                    </a:lnTo>
                    <a:lnTo>
                      <a:pt x="346" y="61"/>
                    </a:lnTo>
                    <a:lnTo>
                      <a:pt x="264" y="15"/>
                    </a:lnTo>
                    <a:lnTo>
                      <a:pt x="270" y="16"/>
                    </a:lnTo>
                    <a:lnTo>
                      <a:pt x="194" y="33"/>
                    </a:lnTo>
                    <a:lnTo>
                      <a:pt x="198" y="31"/>
                    </a:lnTo>
                    <a:lnTo>
                      <a:pt x="128" y="98"/>
                    </a:lnTo>
                    <a:cubicBezTo>
                      <a:pt x="127" y="100"/>
                      <a:pt x="125" y="101"/>
                      <a:pt x="123" y="100"/>
                    </a:cubicBezTo>
                    <a:cubicBezTo>
                      <a:pt x="120" y="100"/>
                      <a:pt x="118" y="99"/>
                      <a:pt x="117" y="98"/>
                    </a:cubicBezTo>
                    <a:lnTo>
                      <a:pt x="86" y="64"/>
                    </a:lnTo>
                    <a:lnTo>
                      <a:pt x="95" y="66"/>
                    </a:lnTo>
                    <a:lnTo>
                      <a:pt x="28" y="101"/>
                    </a:lnTo>
                    <a:lnTo>
                      <a:pt x="32" y="96"/>
                    </a:lnTo>
                    <a:lnTo>
                      <a:pt x="16" y="170"/>
                    </a:lnTo>
                    <a:lnTo>
                      <a:pt x="16" y="164"/>
                    </a:lnTo>
                    <a:lnTo>
                      <a:pt x="55" y="243"/>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36" name="Freeform 192"/>
              <p:cNvSpPr>
                <a:spLocks/>
              </p:cNvSpPr>
              <p:nvPr/>
            </p:nvSpPr>
            <p:spPr bwMode="auto">
              <a:xfrm>
                <a:off x="2857" y="1546"/>
                <a:ext cx="19" cy="37"/>
              </a:xfrm>
              <a:custGeom>
                <a:avLst/>
                <a:gdLst/>
                <a:ahLst/>
                <a:cxnLst>
                  <a:cxn ang="0">
                    <a:pos x="0" y="6"/>
                  </a:cxn>
                  <a:cxn ang="0">
                    <a:pos x="4" y="34"/>
                  </a:cxn>
                  <a:cxn ang="0">
                    <a:pos x="11" y="37"/>
                  </a:cxn>
                  <a:cxn ang="0">
                    <a:pos x="19" y="15"/>
                  </a:cxn>
                  <a:cxn ang="0">
                    <a:pos x="12" y="0"/>
                  </a:cxn>
                  <a:cxn ang="0">
                    <a:pos x="0" y="6"/>
                  </a:cxn>
                </a:cxnLst>
                <a:rect l="0" t="0" r="r" b="b"/>
                <a:pathLst>
                  <a:path w="19" h="37">
                    <a:moveTo>
                      <a:pt x="0" y="6"/>
                    </a:moveTo>
                    <a:lnTo>
                      <a:pt x="4" y="34"/>
                    </a:lnTo>
                    <a:lnTo>
                      <a:pt x="11" y="37"/>
                    </a:lnTo>
                    <a:lnTo>
                      <a:pt x="19" y="15"/>
                    </a:lnTo>
                    <a:lnTo>
                      <a:pt x="12" y="0"/>
                    </a:lnTo>
                    <a:lnTo>
                      <a:pt x="0" y="6"/>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37" name="Freeform 193"/>
              <p:cNvSpPr>
                <a:spLocks noEditPoints="1"/>
              </p:cNvSpPr>
              <p:nvPr/>
            </p:nvSpPr>
            <p:spPr bwMode="auto">
              <a:xfrm>
                <a:off x="2855" y="1544"/>
                <a:ext cx="23" cy="41"/>
              </a:xfrm>
              <a:custGeom>
                <a:avLst/>
                <a:gdLst/>
                <a:ahLst/>
                <a:cxnLst>
                  <a:cxn ang="0">
                    <a:pos x="13" y="39"/>
                  </a:cxn>
                  <a:cxn ang="0">
                    <a:pos x="16" y="32"/>
                  </a:cxn>
                  <a:cxn ang="0">
                    <a:pos x="28" y="154"/>
                  </a:cxn>
                  <a:cxn ang="0">
                    <a:pos x="24" y="148"/>
                  </a:cxn>
                  <a:cxn ang="0">
                    <a:pos x="49" y="161"/>
                  </a:cxn>
                  <a:cxn ang="0">
                    <a:pos x="38" y="166"/>
                  </a:cxn>
                  <a:cxn ang="0">
                    <a:pos x="65" y="70"/>
                  </a:cxn>
                  <a:cxn ang="0">
                    <a:pos x="65" y="75"/>
                  </a:cxn>
                  <a:cxn ang="0">
                    <a:pos x="41" y="11"/>
                  </a:cxn>
                  <a:cxn ang="0">
                    <a:pos x="52" y="15"/>
                  </a:cxn>
                  <a:cxn ang="0">
                    <a:pos x="13" y="39"/>
                  </a:cxn>
                  <a:cxn ang="0">
                    <a:pos x="44" y="2"/>
                  </a:cxn>
                  <a:cxn ang="0">
                    <a:pos x="51" y="1"/>
                  </a:cxn>
                  <a:cxn ang="0">
                    <a:pos x="56" y="6"/>
                  </a:cxn>
                  <a:cxn ang="0">
                    <a:pos x="80" y="69"/>
                  </a:cxn>
                  <a:cxn ang="0">
                    <a:pos x="80" y="74"/>
                  </a:cxn>
                  <a:cxn ang="0">
                    <a:pos x="53" y="171"/>
                  </a:cxn>
                  <a:cxn ang="0">
                    <a:pos x="49" y="176"/>
                  </a:cxn>
                  <a:cxn ang="0">
                    <a:pos x="42" y="176"/>
                  </a:cxn>
                  <a:cxn ang="0">
                    <a:pos x="16" y="162"/>
                  </a:cxn>
                  <a:cxn ang="0">
                    <a:pos x="12" y="155"/>
                  </a:cxn>
                  <a:cxn ang="0">
                    <a:pos x="0" y="33"/>
                  </a:cxn>
                  <a:cxn ang="0">
                    <a:pos x="4" y="26"/>
                  </a:cxn>
                  <a:cxn ang="0">
                    <a:pos x="44" y="2"/>
                  </a:cxn>
                </a:cxnLst>
                <a:rect l="0" t="0" r="r" b="b"/>
                <a:pathLst>
                  <a:path w="81" h="177">
                    <a:moveTo>
                      <a:pt x="13" y="39"/>
                    </a:moveTo>
                    <a:lnTo>
                      <a:pt x="16" y="32"/>
                    </a:lnTo>
                    <a:lnTo>
                      <a:pt x="28" y="154"/>
                    </a:lnTo>
                    <a:lnTo>
                      <a:pt x="24" y="148"/>
                    </a:lnTo>
                    <a:lnTo>
                      <a:pt x="49" y="161"/>
                    </a:lnTo>
                    <a:lnTo>
                      <a:pt x="38" y="166"/>
                    </a:lnTo>
                    <a:lnTo>
                      <a:pt x="65" y="70"/>
                    </a:lnTo>
                    <a:lnTo>
                      <a:pt x="65" y="75"/>
                    </a:lnTo>
                    <a:lnTo>
                      <a:pt x="41" y="11"/>
                    </a:lnTo>
                    <a:lnTo>
                      <a:pt x="52" y="15"/>
                    </a:lnTo>
                    <a:lnTo>
                      <a:pt x="13" y="39"/>
                    </a:lnTo>
                    <a:close/>
                    <a:moveTo>
                      <a:pt x="44" y="2"/>
                    </a:moveTo>
                    <a:cubicBezTo>
                      <a:pt x="46" y="0"/>
                      <a:pt x="48" y="0"/>
                      <a:pt x="51" y="1"/>
                    </a:cubicBezTo>
                    <a:cubicBezTo>
                      <a:pt x="53" y="2"/>
                      <a:pt x="55" y="3"/>
                      <a:pt x="56" y="6"/>
                    </a:cubicBezTo>
                    <a:lnTo>
                      <a:pt x="80" y="69"/>
                    </a:lnTo>
                    <a:cubicBezTo>
                      <a:pt x="81" y="71"/>
                      <a:pt x="81" y="73"/>
                      <a:pt x="80" y="74"/>
                    </a:cubicBezTo>
                    <a:lnTo>
                      <a:pt x="53" y="171"/>
                    </a:lnTo>
                    <a:cubicBezTo>
                      <a:pt x="53" y="173"/>
                      <a:pt x="51" y="175"/>
                      <a:pt x="49" y="176"/>
                    </a:cubicBezTo>
                    <a:cubicBezTo>
                      <a:pt x="46" y="177"/>
                      <a:pt x="44" y="177"/>
                      <a:pt x="42" y="176"/>
                    </a:cubicBezTo>
                    <a:lnTo>
                      <a:pt x="16" y="162"/>
                    </a:lnTo>
                    <a:cubicBezTo>
                      <a:pt x="14" y="160"/>
                      <a:pt x="12" y="158"/>
                      <a:pt x="12" y="155"/>
                    </a:cubicBezTo>
                    <a:lnTo>
                      <a:pt x="0" y="33"/>
                    </a:lnTo>
                    <a:cubicBezTo>
                      <a:pt x="0" y="30"/>
                      <a:pt x="2" y="27"/>
                      <a:pt x="4" y="26"/>
                    </a:cubicBezTo>
                    <a:lnTo>
                      <a:pt x="44" y="2"/>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38" name="Freeform 194"/>
              <p:cNvSpPr>
                <a:spLocks/>
              </p:cNvSpPr>
              <p:nvPr/>
            </p:nvSpPr>
            <p:spPr bwMode="auto">
              <a:xfrm>
                <a:off x="2917" y="1594"/>
                <a:ext cx="42" cy="22"/>
              </a:xfrm>
              <a:custGeom>
                <a:avLst/>
                <a:gdLst/>
                <a:ahLst/>
                <a:cxnLst>
                  <a:cxn ang="0">
                    <a:pos x="0" y="5"/>
                  </a:cxn>
                  <a:cxn ang="0">
                    <a:pos x="36" y="22"/>
                  </a:cxn>
                  <a:cxn ang="0">
                    <a:pos x="42" y="0"/>
                  </a:cxn>
                  <a:cxn ang="0">
                    <a:pos x="0" y="5"/>
                  </a:cxn>
                </a:cxnLst>
                <a:rect l="0" t="0" r="r" b="b"/>
                <a:pathLst>
                  <a:path w="42" h="22">
                    <a:moveTo>
                      <a:pt x="0" y="5"/>
                    </a:moveTo>
                    <a:lnTo>
                      <a:pt x="36" y="22"/>
                    </a:lnTo>
                    <a:lnTo>
                      <a:pt x="42" y="0"/>
                    </a:lnTo>
                    <a:lnTo>
                      <a:pt x="0" y="5"/>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39" name="Freeform 195"/>
              <p:cNvSpPr>
                <a:spLocks noEditPoints="1"/>
              </p:cNvSpPr>
              <p:nvPr/>
            </p:nvSpPr>
            <p:spPr bwMode="auto">
              <a:xfrm>
                <a:off x="2915" y="1592"/>
                <a:ext cx="47" cy="26"/>
              </a:xfrm>
              <a:custGeom>
                <a:avLst/>
                <a:gdLst/>
                <a:ahLst/>
                <a:cxnLst>
                  <a:cxn ang="0">
                    <a:pos x="10" y="38"/>
                  </a:cxn>
                  <a:cxn ang="0">
                    <a:pos x="13" y="24"/>
                  </a:cxn>
                  <a:cxn ang="0">
                    <a:pos x="134" y="98"/>
                  </a:cxn>
                  <a:cxn ang="0">
                    <a:pos x="122" y="103"/>
                  </a:cxn>
                  <a:cxn ang="0">
                    <a:pos x="145" y="7"/>
                  </a:cxn>
                  <a:cxn ang="0">
                    <a:pos x="154" y="16"/>
                  </a:cxn>
                  <a:cxn ang="0">
                    <a:pos x="10" y="38"/>
                  </a:cxn>
                  <a:cxn ang="0">
                    <a:pos x="151" y="1"/>
                  </a:cxn>
                  <a:cxn ang="0">
                    <a:pos x="158" y="3"/>
                  </a:cxn>
                  <a:cxn ang="0">
                    <a:pos x="160" y="10"/>
                  </a:cxn>
                  <a:cxn ang="0">
                    <a:pos x="138" y="106"/>
                  </a:cxn>
                  <a:cxn ang="0">
                    <a:pos x="133" y="112"/>
                  </a:cxn>
                  <a:cxn ang="0">
                    <a:pos x="126" y="111"/>
                  </a:cxn>
                  <a:cxn ang="0">
                    <a:pos x="4" y="37"/>
                  </a:cxn>
                  <a:cxn ang="0">
                    <a:pos x="1" y="29"/>
                  </a:cxn>
                  <a:cxn ang="0">
                    <a:pos x="7" y="23"/>
                  </a:cxn>
                  <a:cxn ang="0">
                    <a:pos x="151" y="1"/>
                  </a:cxn>
                </a:cxnLst>
                <a:rect l="0" t="0" r="r" b="b"/>
                <a:pathLst>
                  <a:path w="161" h="113">
                    <a:moveTo>
                      <a:pt x="10" y="38"/>
                    </a:moveTo>
                    <a:lnTo>
                      <a:pt x="13" y="24"/>
                    </a:lnTo>
                    <a:lnTo>
                      <a:pt x="134" y="98"/>
                    </a:lnTo>
                    <a:lnTo>
                      <a:pt x="122" y="103"/>
                    </a:lnTo>
                    <a:lnTo>
                      <a:pt x="145" y="7"/>
                    </a:lnTo>
                    <a:lnTo>
                      <a:pt x="154" y="16"/>
                    </a:lnTo>
                    <a:lnTo>
                      <a:pt x="10" y="38"/>
                    </a:lnTo>
                    <a:close/>
                    <a:moveTo>
                      <a:pt x="151" y="1"/>
                    </a:moveTo>
                    <a:cubicBezTo>
                      <a:pt x="154" y="0"/>
                      <a:pt x="157" y="1"/>
                      <a:pt x="158" y="3"/>
                    </a:cubicBezTo>
                    <a:cubicBezTo>
                      <a:pt x="160" y="5"/>
                      <a:pt x="161" y="8"/>
                      <a:pt x="160" y="10"/>
                    </a:cubicBezTo>
                    <a:lnTo>
                      <a:pt x="138" y="106"/>
                    </a:lnTo>
                    <a:cubicBezTo>
                      <a:pt x="137" y="109"/>
                      <a:pt x="135" y="111"/>
                      <a:pt x="133" y="112"/>
                    </a:cubicBezTo>
                    <a:cubicBezTo>
                      <a:pt x="131" y="113"/>
                      <a:pt x="128" y="113"/>
                      <a:pt x="126" y="111"/>
                    </a:cubicBezTo>
                    <a:lnTo>
                      <a:pt x="4" y="37"/>
                    </a:lnTo>
                    <a:cubicBezTo>
                      <a:pt x="1" y="36"/>
                      <a:pt x="0" y="32"/>
                      <a:pt x="1" y="29"/>
                    </a:cubicBezTo>
                    <a:cubicBezTo>
                      <a:pt x="1" y="26"/>
                      <a:pt x="4" y="23"/>
                      <a:pt x="7" y="23"/>
                    </a:cubicBezTo>
                    <a:lnTo>
                      <a:pt x="151" y="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40" name="Freeform 196"/>
              <p:cNvSpPr>
                <a:spLocks/>
              </p:cNvSpPr>
              <p:nvPr/>
            </p:nvSpPr>
            <p:spPr bwMode="auto">
              <a:xfrm>
                <a:off x="4556" y="1663"/>
                <a:ext cx="32" cy="37"/>
              </a:xfrm>
              <a:custGeom>
                <a:avLst/>
                <a:gdLst/>
                <a:ahLst/>
                <a:cxnLst>
                  <a:cxn ang="0">
                    <a:pos x="0" y="10"/>
                  </a:cxn>
                  <a:cxn ang="0">
                    <a:pos x="1" y="19"/>
                  </a:cxn>
                  <a:cxn ang="0">
                    <a:pos x="8" y="10"/>
                  </a:cxn>
                  <a:cxn ang="0">
                    <a:pos x="12" y="15"/>
                  </a:cxn>
                  <a:cxn ang="0">
                    <a:pos x="8" y="37"/>
                  </a:cxn>
                  <a:cxn ang="0">
                    <a:pos x="23" y="36"/>
                  </a:cxn>
                  <a:cxn ang="0">
                    <a:pos x="32" y="15"/>
                  </a:cxn>
                  <a:cxn ang="0">
                    <a:pos x="27" y="2"/>
                  </a:cxn>
                  <a:cxn ang="0">
                    <a:pos x="13" y="0"/>
                  </a:cxn>
                  <a:cxn ang="0">
                    <a:pos x="0" y="10"/>
                  </a:cxn>
                </a:cxnLst>
                <a:rect l="0" t="0" r="r" b="b"/>
                <a:pathLst>
                  <a:path w="32" h="37">
                    <a:moveTo>
                      <a:pt x="0" y="10"/>
                    </a:moveTo>
                    <a:lnTo>
                      <a:pt x="1" y="19"/>
                    </a:lnTo>
                    <a:lnTo>
                      <a:pt x="8" y="10"/>
                    </a:lnTo>
                    <a:lnTo>
                      <a:pt x="12" y="15"/>
                    </a:lnTo>
                    <a:lnTo>
                      <a:pt x="8" y="37"/>
                    </a:lnTo>
                    <a:lnTo>
                      <a:pt x="23" y="36"/>
                    </a:lnTo>
                    <a:lnTo>
                      <a:pt x="32" y="15"/>
                    </a:lnTo>
                    <a:lnTo>
                      <a:pt x="27" y="2"/>
                    </a:lnTo>
                    <a:lnTo>
                      <a:pt x="13" y="0"/>
                    </a:lnTo>
                    <a:lnTo>
                      <a:pt x="0" y="1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41" name="Freeform 197"/>
              <p:cNvSpPr>
                <a:spLocks noEditPoints="1"/>
              </p:cNvSpPr>
              <p:nvPr/>
            </p:nvSpPr>
            <p:spPr bwMode="auto">
              <a:xfrm>
                <a:off x="4553" y="1661"/>
                <a:ext cx="38" cy="41"/>
              </a:xfrm>
              <a:custGeom>
                <a:avLst/>
                <a:gdLst/>
                <a:ahLst/>
                <a:cxnLst>
                  <a:cxn ang="0">
                    <a:pos x="14" y="57"/>
                  </a:cxn>
                  <a:cxn ang="0">
                    <a:pos x="16" y="51"/>
                  </a:cxn>
                  <a:cxn ang="0">
                    <a:pos x="21" y="90"/>
                  </a:cxn>
                  <a:cxn ang="0">
                    <a:pos x="6" y="87"/>
                  </a:cxn>
                  <a:cxn ang="0">
                    <a:pos x="31" y="47"/>
                  </a:cxn>
                  <a:cxn ang="0">
                    <a:pos x="38" y="43"/>
                  </a:cxn>
                  <a:cxn ang="0">
                    <a:pos x="45" y="48"/>
                  </a:cxn>
                  <a:cxn ang="0">
                    <a:pos x="57" y="71"/>
                  </a:cxn>
                  <a:cxn ang="0">
                    <a:pos x="58" y="76"/>
                  </a:cxn>
                  <a:cxn ang="0">
                    <a:pos x="44" y="170"/>
                  </a:cxn>
                  <a:cxn ang="0">
                    <a:pos x="36" y="160"/>
                  </a:cxn>
                  <a:cxn ang="0">
                    <a:pos x="90" y="157"/>
                  </a:cxn>
                  <a:cxn ang="0">
                    <a:pos x="82" y="163"/>
                  </a:cxn>
                  <a:cxn ang="0">
                    <a:pos x="113" y="69"/>
                  </a:cxn>
                  <a:cxn ang="0">
                    <a:pos x="113" y="73"/>
                  </a:cxn>
                  <a:cxn ang="0">
                    <a:pos x="96" y="19"/>
                  </a:cxn>
                  <a:cxn ang="0">
                    <a:pos x="103" y="25"/>
                  </a:cxn>
                  <a:cxn ang="0">
                    <a:pos x="51" y="16"/>
                  </a:cxn>
                  <a:cxn ang="0">
                    <a:pos x="58" y="14"/>
                  </a:cxn>
                  <a:cxn ang="0">
                    <a:pos x="14" y="57"/>
                  </a:cxn>
                  <a:cxn ang="0">
                    <a:pos x="47" y="3"/>
                  </a:cxn>
                  <a:cxn ang="0">
                    <a:pos x="54" y="1"/>
                  </a:cxn>
                  <a:cxn ang="0">
                    <a:pos x="105" y="9"/>
                  </a:cxn>
                  <a:cxn ang="0">
                    <a:pos x="112" y="14"/>
                  </a:cxn>
                  <a:cxn ang="0">
                    <a:pos x="128" y="69"/>
                  </a:cxn>
                  <a:cxn ang="0">
                    <a:pos x="128" y="74"/>
                  </a:cxn>
                  <a:cxn ang="0">
                    <a:pos x="98" y="168"/>
                  </a:cxn>
                  <a:cxn ang="0">
                    <a:pos x="91" y="173"/>
                  </a:cxn>
                  <a:cxn ang="0">
                    <a:pos x="37" y="176"/>
                  </a:cxn>
                  <a:cxn ang="0">
                    <a:pos x="30" y="174"/>
                  </a:cxn>
                  <a:cxn ang="0">
                    <a:pos x="28" y="167"/>
                  </a:cxn>
                  <a:cxn ang="0">
                    <a:pos x="42" y="73"/>
                  </a:cxn>
                  <a:cxn ang="0">
                    <a:pos x="43" y="78"/>
                  </a:cxn>
                  <a:cxn ang="0">
                    <a:pos x="30" y="55"/>
                  </a:cxn>
                  <a:cxn ang="0">
                    <a:pos x="44" y="56"/>
                  </a:cxn>
                  <a:cxn ang="0">
                    <a:pos x="19" y="95"/>
                  </a:cxn>
                  <a:cxn ang="0">
                    <a:pos x="11" y="99"/>
                  </a:cxn>
                  <a:cxn ang="0">
                    <a:pos x="5" y="92"/>
                  </a:cxn>
                  <a:cxn ang="0">
                    <a:pos x="0" y="52"/>
                  </a:cxn>
                  <a:cxn ang="0">
                    <a:pos x="3" y="46"/>
                  </a:cxn>
                  <a:cxn ang="0">
                    <a:pos x="47" y="3"/>
                  </a:cxn>
                </a:cxnLst>
                <a:rect l="0" t="0" r="r" b="b"/>
                <a:pathLst>
                  <a:path w="129" h="177">
                    <a:moveTo>
                      <a:pt x="14" y="57"/>
                    </a:moveTo>
                    <a:lnTo>
                      <a:pt x="16" y="51"/>
                    </a:lnTo>
                    <a:lnTo>
                      <a:pt x="21" y="90"/>
                    </a:lnTo>
                    <a:lnTo>
                      <a:pt x="6" y="87"/>
                    </a:lnTo>
                    <a:lnTo>
                      <a:pt x="31" y="47"/>
                    </a:lnTo>
                    <a:cubicBezTo>
                      <a:pt x="32" y="45"/>
                      <a:pt x="35" y="43"/>
                      <a:pt x="38" y="43"/>
                    </a:cubicBezTo>
                    <a:cubicBezTo>
                      <a:pt x="41" y="43"/>
                      <a:pt x="43" y="45"/>
                      <a:pt x="45" y="48"/>
                    </a:cubicBezTo>
                    <a:lnTo>
                      <a:pt x="57" y="71"/>
                    </a:lnTo>
                    <a:cubicBezTo>
                      <a:pt x="58" y="72"/>
                      <a:pt x="58" y="74"/>
                      <a:pt x="58" y="76"/>
                    </a:cubicBezTo>
                    <a:lnTo>
                      <a:pt x="44" y="170"/>
                    </a:lnTo>
                    <a:lnTo>
                      <a:pt x="36" y="160"/>
                    </a:lnTo>
                    <a:lnTo>
                      <a:pt x="90" y="157"/>
                    </a:lnTo>
                    <a:lnTo>
                      <a:pt x="82" y="163"/>
                    </a:lnTo>
                    <a:lnTo>
                      <a:pt x="113" y="69"/>
                    </a:lnTo>
                    <a:lnTo>
                      <a:pt x="113" y="73"/>
                    </a:lnTo>
                    <a:lnTo>
                      <a:pt x="96" y="19"/>
                    </a:lnTo>
                    <a:lnTo>
                      <a:pt x="103" y="25"/>
                    </a:lnTo>
                    <a:lnTo>
                      <a:pt x="51" y="16"/>
                    </a:lnTo>
                    <a:lnTo>
                      <a:pt x="58" y="14"/>
                    </a:lnTo>
                    <a:lnTo>
                      <a:pt x="14" y="57"/>
                    </a:lnTo>
                    <a:close/>
                    <a:moveTo>
                      <a:pt x="47" y="3"/>
                    </a:moveTo>
                    <a:cubicBezTo>
                      <a:pt x="49" y="1"/>
                      <a:pt x="51" y="0"/>
                      <a:pt x="54" y="1"/>
                    </a:cubicBezTo>
                    <a:lnTo>
                      <a:pt x="105" y="9"/>
                    </a:lnTo>
                    <a:cubicBezTo>
                      <a:pt x="108" y="9"/>
                      <a:pt x="111" y="11"/>
                      <a:pt x="112" y="14"/>
                    </a:cubicBezTo>
                    <a:lnTo>
                      <a:pt x="128" y="69"/>
                    </a:lnTo>
                    <a:cubicBezTo>
                      <a:pt x="129" y="70"/>
                      <a:pt x="129" y="72"/>
                      <a:pt x="128" y="74"/>
                    </a:cubicBezTo>
                    <a:lnTo>
                      <a:pt x="98" y="168"/>
                    </a:lnTo>
                    <a:cubicBezTo>
                      <a:pt x="97" y="171"/>
                      <a:pt x="94" y="173"/>
                      <a:pt x="91" y="173"/>
                    </a:cubicBezTo>
                    <a:lnTo>
                      <a:pt x="37" y="176"/>
                    </a:lnTo>
                    <a:cubicBezTo>
                      <a:pt x="34" y="177"/>
                      <a:pt x="32" y="176"/>
                      <a:pt x="30" y="174"/>
                    </a:cubicBezTo>
                    <a:cubicBezTo>
                      <a:pt x="29" y="172"/>
                      <a:pt x="28" y="170"/>
                      <a:pt x="28" y="167"/>
                    </a:cubicBezTo>
                    <a:lnTo>
                      <a:pt x="42" y="73"/>
                    </a:lnTo>
                    <a:lnTo>
                      <a:pt x="43" y="78"/>
                    </a:lnTo>
                    <a:lnTo>
                      <a:pt x="30" y="55"/>
                    </a:lnTo>
                    <a:lnTo>
                      <a:pt x="44" y="56"/>
                    </a:lnTo>
                    <a:lnTo>
                      <a:pt x="19" y="95"/>
                    </a:lnTo>
                    <a:cubicBezTo>
                      <a:pt x="18" y="98"/>
                      <a:pt x="14" y="100"/>
                      <a:pt x="11" y="99"/>
                    </a:cubicBezTo>
                    <a:cubicBezTo>
                      <a:pt x="7" y="98"/>
                      <a:pt x="5" y="95"/>
                      <a:pt x="5" y="92"/>
                    </a:cubicBezTo>
                    <a:lnTo>
                      <a:pt x="0" y="52"/>
                    </a:lnTo>
                    <a:cubicBezTo>
                      <a:pt x="0" y="50"/>
                      <a:pt x="1" y="47"/>
                      <a:pt x="3" y="46"/>
                    </a:cubicBezTo>
                    <a:lnTo>
                      <a:pt x="47" y="3"/>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42" name="Freeform 198"/>
              <p:cNvSpPr>
                <a:spLocks/>
              </p:cNvSpPr>
              <p:nvPr/>
            </p:nvSpPr>
            <p:spPr bwMode="auto">
              <a:xfrm>
                <a:off x="4570" y="1546"/>
                <a:ext cx="157" cy="121"/>
              </a:xfrm>
              <a:custGeom>
                <a:avLst/>
                <a:gdLst/>
                <a:ahLst/>
                <a:cxnLst>
                  <a:cxn ang="0">
                    <a:pos x="0" y="114"/>
                  </a:cxn>
                  <a:cxn ang="0">
                    <a:pos x="28" y="91"/>
                  </a:cxn>
                  <a:cxn ang="0">
                    <a:pos x="68" y="91"/>
                  </a:cxn>
                  <a:cxn ang="0">
                    <a:pos x="84" y="64"/>
                  </a:cxn>
                  <a:cxn ang="0">
                    <a:pos x="91" y="62"/>
                  </a:cxn>
                  <a:cxn ang="0">
                    <a:pos x="91" y="72"/>
                  </a:cxn>
                  <a:cxn ang="0">
                    <a:pos x="109" y="62"/>
                  </a:cxn>
                  <a:cxn ang="0">
                    <a:pos x="124" y="41"/>
                  </a:cxn>
                  <a:cxn ang="0">
                    <a:pos x="131" y="6"/>
                  </a:cxn>
                  <a:cxn ang="0">
                    <a:pos x="144" y="8"/>
                  </a:cxn>
                  <a:cxn ang="0">
                    <a:pos x="140" y="0"/>
                  </a:cxn>
                  <a:cxn ang="0">
                    <a:pos x="148" y="1"/>
                  </a:cxn>
                  <a:cxn ang="0">
                    <a:pos x="157" y="29"/>
                  </a:cxn>
                  <a:cxn ang="0">
                    <a:pos x="144" y="50"/>
                  </a:cxn>
                  <a:cxn ang="0">
                    <a:pos x="144" y="68"/>
                  </a:cxn>
                  <a:cxn ang="0">
                    <a:pos x="134" y="95"/>
                  </a:cxn>
                  <a:cxn ang="0">
                    <a:pos x="127" y="99"/>
                  </a:cxn>
                  <a:cxn ang="0">
                    <a:pos x="126" y="89"/>
                  </a:cxn>
                  <a:cxn ang="0">
                    <a:pos x="103" y="105"/>
                  </a:cxn>
                  <a:cxn ang="0">
                    <a:pos x="84" y="98"/>
                  </a:cxn>
                  <a:cxn ang="0">
                    <a:pos x="85" y="111"/>
                  </a:cxn>
                  <a:cxn ang="0">
                    <a:pos x="68" y="121"/>
                  </a:cxn>
                  <a:cxn ang="0">
                    <a:pos x="63" y="104"/>
                  </a:cxn>
                  <a:cxn ang="0">
                    <a:pos x="0" y="114"/>
                  </a:cxn>
                </a:cxnLst>
                <a:rect l="0" t="0" r="r" b="b"/>
                <a:pathLst>
                  <a:path w="157" h="121">
                    <a:moveTo>
                      <a:pt x="0" y="114"/>
                    </a:moveTo>
                    <a:lnTo>
                      <a:pt x="28" y="91"/>
                    </a:lnTo>
                    <a:lnTo>
                      <a:pt x="68" y="91"/>
                    </a:lnTo>
                    <a:lnTo>
                      <a:pt x="84" y="64"/>
                    </a:lnTo>
                    <a:lnTo>
                      <a:pt x="91" y="62"/>
                    </a:lnTo>
                    <a:lnTo>
                      <a:pt x="91" y="72"/>
                    </a:lnTo>
                    <a:lnTo>
                      <a:pt x="109" y="62"/>
                    </a:lnTo>
                    <a:lnTo>
                      <a:pt x="124" y="41"/>
                    </a:lnTo>
                    <a:lnTo>
                      <a:pt x="131" y="6"/>
                    </a:lnTo>
                    <a:lnTo>
                      <a:pt x="144" y="8"/>
                    </a:lnTo>
                    <a:lnTo>
                      <a:pt x="140" y="0"/>
                    </a:lnTo>
                    <a:lnTo>
                      <a:pt x="148" y="1"/>
                    </a:lnTo>
                    <a:lnTo>
                      <a:pt x="157" y="29"/>
                    </a:lnTo>
                    <a:lnTo>
                      <a:pt x="144" y="50"/>
                    </a:lnTo>
                    <a:lnTo>
                      <a:pt x="144" y="68"/>
                    </a:lnTo>
                    <a:lnTo>
                      <a:pt x="134" y="95"/>
                    </a:lnTo>
                    <a:lnTo>
                      <a:pt x="127" y="99"/>
                    </a:lnTo>
                    <a:lnTo>
                      <a:pt x="126" y="89"/>
                    </a:lnTo>
                    <a:lnTo>
                      <a:pt x="103" y="105"/>
                    </a:lnTo>
                    <a:lnTo>
                      <a:pt x="84" y="98"/>
                    </a:lnTo>
                    <a:lnTo>
                      <a:pt x="85" y="111"/>
                    </a:lnTo>
                    <a:lnTo>
                      <a:pt x="68" y="121"/>
                    </a:lnTo>
                    <a:lnTo>
                      <a:pt x="63" y="104"/>
                    </a:lnTo>
                    <a:lnTo>
                      <a:pt x="0" y="114"/>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43" name="Freeform 199"/>
              <p:cNvSpPr>
                <a:spLocks noEditPoints="1"/>
              </p:cNvSpPr>
              <p:nvPr/>
            </p:nvSpPr>
            <p:spPr bwMode="auto">
              <a:xfrm>
                <a:off x="4567" y="1544"/>
                <a:ext cx="163" cy="125"/>
              </a:xfrm>
              <a:custGeom>
                <a:avLst/>
                <a:gdLst/>
                <a:ahLst/>
                <a:cxnLst>
                  <a:cxn ang="0">
                    <a:pos x="1" y="510"/>
                  </a:cxn>
                  <a:cxn ang="0">
                    <a:pos x="100" y="401"/>
                  </a:cxn>
                  <a:cxn ang="0">
                    <a:pos x="244" y="399"/>
                  </a:cxn>
                  <a:cxn ang="0">
                    <a:pos x="291" y="283"/>
                  </a:cxn>
                  <a:cxn ang="0">
                    <a:pos x="319" y="270"/>
                  </a:cxn>
                  <a:cxn ang="0">
                    <a:pos x="330" y="277"/>
                  </a:cxn>
                  <a:cxn ang="0">
                    <a:pos x="318" y="316"/>
                  </a:cxn>
                  <a:cxn ang="0">
                    <a:pos x="379" y="274"/>
                  </a:cxn>
                  <a:cxn ang="0">
                    <a:pos x="430" y="184"/>
                  </a:cxn>
                  <a:cxn ang="0">
                    <a:pos x="463" y="27"/>
                  </a:cxn>
                  <a:cxn ang="0">
                    <a:pos x="498" y="45"/>
                  </a:cxn>
                  <a:cxn ang="0">
                    <a:pos x="485" y="4"/>
                  </a:cxn>
                  <a:cxn ang="0">
                    <a:pos x="520" y="2"/>
                  </a:cxn>
                  <a:cxn ang="0">
                    <a:pos x="560" y="134"/>
                  </a:cxn>
                  <a:cxn ang="0">
                    <a:pos x="512" y="229"/>
                  </a:cxn>
                  <a:cxn ang="0">
                    <a:pos x="513" y="306"/>
                  </a:cxn>
                  <a:cxn ang="0">
                    <a:pos x="479" y="428"/>
                  </a:cxn>
                  <a:cxn ang="0">
                    <a:pos x="451" y="449"/>
                  </a:cxn>
                  <a:cxn ang="0">
                    <a:pos x="439" y="443"/>
                  </a:cxn>
                  <a:cxn ang="0">
                    <a:pos x="451" y="403"/>
                  </a:cxn>
                  <a:cxn ang="0">
                    <a:pos x="363" y="473"/>
                  </a:cxn>
                  <a:cxn ang="0">
                    <a:pos x="306" y="435"/>
                  </a:cxn>
                  <a:cxn ang="0">
                    <a:pos x="307" y="499"/>
                  </a:cxn>
                  <a:cxn ang="0">
                    <a:pos x="242" y="544"/>
                  </a:cxn>
                  <a:cxn ang="0">
                    <a:pos x="220" y="463"/>
                  </a:cxn>
                  <a:cxn ang="0">
                    <a:pos x="10" y="514"/>
                  </a:cxn>
                  <a:cxn ang="0">
                    <a:pos x="236" y="459"/>
                  </a:cxn>
                  <a:cxn ang="0">
                    <a:pos x="240" y="530"/>
                  </a:cxn>
                  <a:cxn ang="0">
                    <a:pos x="294" y="493"/>
                  </a:cxn>
                  <a:cxn ang="0">
                    <a:pos x="293" y="429"/>
                  </a:cxn>
                  <a:cxn ang="0">
                    <a:pos x="369" y="459"/>
                  </a:cxn>
                  <a:cxn ang="0">
                    <a:pos x="440" y="391"/>
                  </a:cxn>
                  <a:cxn ang="0">
                    <a:pos x="453" y="397"/>
                  </a:cxn>
                  <a:cxn ang="0">
                    <a:pos x="442" y="436"/>
                  </a:cxn>
                  <a:cxn ang="0">
                    <a:pos x="464" y="423"/>
                  </a:cxn>
                  <a:cxn ang="0">
                    <a:pos x="497" y="306"/>
                  </a:cxn>
                  <a:cxn ang="0">
                    <a:pos x="498" y="222"/>
                  </a:cxn>
                  <a:cxn ang="0">
                    <a:pos x="545" y="138"/>
                  </a:cxn>
                  <a:cxn ang="0">
                    <a:pos x="519" y="18"/>
                  </a:cxn>
                  <a:cxn ang="0">
                    <a:pos x="499" y="5"/>
                  </a:cxn>
                  <a:cxn ang="0">
                    <a:pos x="511" y="47"/>
                  </a:cxn>
                  <a:cxn ang="0">
                    <a:pos x="461" y="43"/>
                  </a:cxn>
                  <a:cxn ang="0">
                    <a:pos x="446" y="186"/>
                  </a:cxn>
                  <a:cxn ang="0">
                    <a:pos x="392" y="281"/>
                  </a:cxn>
                  <a:cxn ang="0">
                    <a:pos x="328" y="329"/>
                  </a:cxn>
                  <a:cxn ang="0">
                    <a:pos x="315" y="323"/>
                  </a:cxn>
                  <a:cxn ang="0">
                    <a:pos x="324" y="285"/>
                  </a:cxn>
                  <a:cxn ang="0">
                    <a:pos x="305" y="289"/>
                  </a:cxn>
                  <a:cxn ang="0">
                    <a:pos x="244" y="415"/>
                  </a:cxn>
                  <a:cxn ang="0">
                    <a:pos x="112" y="413"/>
                  </a:cxn>
                  <a:cxn ang="0">
                    <a:pos x="7" y="498"/>
                  </a:cxn>
                </a:cxnLst>
                <a:rect l="0" t="0" r="r" b="b"/>
                <a:pathLst>
                  <a:path w="561" h="545">
                    <a:moveTo>
                      <a:pt x="10" y="514"/>
                    </a:moveTo>
                    <a:cubicBezTo>
                      <a:pt x="7" y="515"/>
                      <a:pt x="3" y="513"/>
                      <a:pt x="1" y="510"/>
                    </a:cubicBezTo>
                    <a:cubicBezTo>
                      <a:pt x="0" y="507"/>
                      <a:pt x="0" y="503"/>
                      <a:pt x="3" y="501"/>
                    </a:cubicBezTo>
                    <a:lnTo>
                      <a:pt x="100" y="401"/>
                    </a:lnTo>
                    <a:cubicBezTo>
                      <a:pt x="102" y="400"/>
                      <a:pt x="104" y="399"/>
                      <a:pt x="106" y="399"/>
                    </a:cubicBezTo>
                    <a:lnTo>
                      <a:pt x="244" y="399"/>
                    </a:lnTo>
                    <a:lnTo>
                      <a:pt x="236" y="404"/>
                    </a:lnTo>
                    <a:lnTo>
                      <a:pt x="291" y="283"/>
                    </a:lnTo>
                    <a:cubicBezTo>
                      <a:pt x="291" y="281"/>
                      <a:pt x="293" y="279"/>
                      <a:pt x="295" y="278"/>
                    </a:cubicBezTo>
                    <a:lnTo>
                      <a:pt x="319" y="270"/>
                    </a:lnTo>
                    <a:cubicBezTo>
                      <a:pt x="321" y="269"/>
                      <a:pt x="324" y="269"/>
                      <a:pt x="326" y="271"/>
                    </a:cubicBezTo>
                    <a:cubicBezTo>
                      <a:pt x="328" y="272"/>
                      <a:pt x="329" y="275"/>
                      <a:pt x="330" y="277"/>
                    </a:cubicBezTo>
                    <a:lnTo>
                      <a:pt x="331" y="323"/>
                    </a:lnTo>
                    <a:lnTo>
                      <a:pt x="318" y="316"/>
                    </a:lnTo>
                    <a:lnTo>
                      <a:pt x="381" y="271"/>
                    </a:lnTo>
                    <a:lnTo>
                      <a:pt x="379" y="274"/>
                    </a:lnTo>
                    <a:lnTo>
                      <a:pt x="431" y="181"/>
                    </a:lnTo>
                    <a:lnTo>
                      <a:pt x="430" y="184"/>
                    </a:lnTo>
                    <a:lnTo>
                      <a:pt x="454" y="34"/>
                    </a:lnTo>
                    <a:cubicBezTo>
                      <a:pt x="455" y="30"/>
                      <a:pt x="459" y="27"/>
                      <a:pt x="463" y="27"/>
                    </a:cubicBezTo>
                    <a:lnTo>
                      <a:pt x="506" y="34"/>
                    </a:lnTo>
                    <a:lnTo>
                      <a:pt x="498" y="45"/>
                    </a:lnTo>
                    <a:lnTo>
                      <a:pt x="484" y="12"/>
                    </a:lnTo>
                    <a:cubicBezTo>
                      <a:pt x="483" y="9"/>
                      <a:pt x="483" y="6"/>
                      <a:pt x="485" y="4"/>
                    </a:cubicBezTo>
                    <a:cubicBezTo>
                      <a:pt x="486" y="2"/>
                      <a:pt x="489" y="0"/>
                      <a:pt x="492" y="0"/>
                    </a:cubicBezTo>
                    <a:lnTo>
                      <a:pt x="520" y="2"/>
                    </a:lnTo>
                    <a:cubicBezTo>
                      <a:pt x="523" y="2"/>
                      <a:pt x="526" y="5"/>
                      <a:pt x="527" y="8"/>
                    </a:cubicBezTo>
                    <a:lnTo>
                      <a:pt x="560" y="134"/>
                    </a:lnTo>
                    <a:cubicBezTo>
                      <a:pt x="561" y="136"/>
                      <a:pt x="560" y="138"/>
                      <a:pt x="560" y="140"/>
                    </a:cubicBezTo>
                    <a:lnTo>
                      <a:pt x="512" y="229"/>
                    </a:lnTo>
                    <a:lnTo>
                      <a:pt x="513" y="225"/>
                    </a:lnTo>
                    <a:lnTo>
                      <a:pt x="513" y="306"/>
                    </a:lnTo>
                    <a:cubicBezTo>
                      <a:pt x="513" y="307"/>
                      <a:pt x="513" y="308"/>
                      <a:pt x="513" y="308"/>
                    </a:cubicBezTo>
                    <a:lnTo>
                      <a:pt x="479" y="428"/>
                    </a:lnTo>
                    <a:cubicBezTo>
                      <a:pt x="479" y="429"/>
                      <a:pt x="478" y="431"/>
                      <a:pt x="476" y="432"/>
                    </a:cubicBezTo>
                    <a:lnTo>
                      <a:pt x="451" y="449"/>
                    </a:lnTo>
                    <a:cubicBezTo>
                      <a:pt x="449" y="451"/>
                      <a:pt x="446" y="451"/>
                      <a:pt x="443" y="449"/>
                    </a:cubicBezTo>
                    <a:cubicBezTo>
                      <a:pt x="440" y="448"/>
                      <a:pt x="439" y="445"/>
                      <a:pt x="439" y="443"/>
                    </a:cubicBezTo>
                    <a:lnTo>
                      <a:pt x="437" y="397"/>
                    </a:lnTo>
                    <a:lnTo>
                      <a:pt x="451" y="403"/>
                    </a:lnTo>
                    <a:lnTo>
                      <a:pt x="371" y="472"/>
                    </a:lnTo>
                    <a:cubicBezTo>
                      <a:pt x="369" y="474"/>
                      <a:pt x="366" y="474"/>
                      <a:pt x="363" y="473"/>
                    </a:cubicBezTo>
                    <a:lnTo>
                      <a:pt x="295" y="443"/>
                    </a:lnTo>
                    <a:lnTo>
                      <a:pt x="306" y="435"/>
                    </a:lnTo>
                    <a:lnTo>
                      <a:pt x="310" y="492"/>
                    </a:lnTo>
                    <a:cubicBezTo>
                      <a:pt x="310" y="495"/>
                      <a:pt x="309" y="497"/>
                      <a:pt x="307" y="499"/>
                    </a:cubicBezTo>
                    <a:lnTo>
                      <a:pt x="250" y="543"/>
                    </a:lnTo>
                    <a:cubicBezTo>
                      <a:pt x="248" y="544"/>
                      <a:pt x="245" y="545"/>
                      <a:pt x="242" y="544"/>
                    </a:cubicBezTo>
                    <a:cubicBezTo>
                      <a:pt x="240" y="543"/>
                      <a:pt x="238" y="541"/>
                      <a:pt x="237" y="538"/>
                    </a:cubicBezTo>
                    <a:lnTo>
                      <a:pt x="220" y="463"/>
                    </a:lnTo>
                    <a:lnTo>
                      <a:pt x="230" y="469"/>
                    </a:lnTo>
                    <a:lnTo>
                      <a:pt x="10" y="514"/>
                    </a:lnTo>
                    <a:close/>
                    <a:moveTo>
                      <a:pt x="227" y="453"/>
                    </a:moveTo>
                    <a:cubicBezTo>
                      <a:pt x="231" y="452"/>
                      <a:pt x="235" y="455"/>
                      <a:pt x="236" y="459"/>
                    </a:cubicBezTo>
                    <a:lnTo>
                      <a:pt x="253" y="535"/>
                    </a:lnTo>
                    <a:lnTo>
                      <a:pt x="240" y="530"/>
                    </a:lnTo>
                    <a:lnTo>
                      <a:pt x="297" y="486"/>
                    </a:lnTo>
                    <a:lnTo>
                      <a:pt x="294" y="493"/>
                    </a:lnTo>
                    <a:lnTo>
                      <a:pt x="290" y="436"/>
                    </a:lnTo>
                    <a:cubicBezTo>
                      <a:pt x="290" y="433"/>
                      <a:pt x="291" y="431"/>
                      <a:pt x="293" y="429"/>
                    </a:cubicBezTo>
                    <a:cubicBezTo>
                      <a:pt x="296" y="427"/>
                      <a:pt x="299" y="427"/>
                      <a:pt x="301" y="428"/>
                    </a:cubicBezTo>
                    <a:lnTo>
                      <a:pt x="369" y="459"/>
                    </a:lnTo>
                    <a:lnTo>
                      <a:pt x="361" y="460"/>
                    </a:lnTo>
                    <a:lnTo>
                      <a:pt x="440" y="391"/>
                    </a:lnTo>
                    <a:cubicBezTo>
                      <a:pt x="442" y="389"/>
                      <a:pt x="446" y="388"/>
                      <a:pt x="449" y="390"/>
                    </a:cubicBezTo>
                    <a:cubicBezTo>
                      <a:pt x="451" y="391"/>
                      <a:pt x="453" y="394"/>
                      <a:pt x="453" y="397"/>
                    </a:cubicBezTo>
                    <a:lnTo>
                      <a:pt x="455" y="442"/>
                    </a:lnTo>
                    <a:lnTo>
                      <a:pt x="442" y="436"/>
                    </a:lnTo>
                    <a:lnTo>
                      <a:pt x="467" y="419"/>
                    </a:lnTo>
                    <a:lnTo>
                      <a:pt x="464" y="423"/>
                    </a:lnTo>
                    <a:lnTo>
                      <a:pt x="497" y="304"/>
                    </a:lnTo>
                    <a:lnTo>
                      <a:pt x="497" y="306"/>
                    </a:lnTo>
                    <a:lnTo>
                      <a:pt x="497" y="225"/>
                    </a:lnTo>
                    <a:cubicBezTo>
                      <a:pt x="497" y="224"/>
                      <a:pt x="497" y="223"/>
                      <a:pt x="498" y="222"/>
                    </a:cubicBezTo>
                    <a:lnTo>
                      <a:pt x="545" y="133"/>
                    </a:lnTo>
                    <a:lnTo>
                      <a:pt x="545" y="138"/>
                    </a:lnTo>
                    <a:lnTo>
                      <a:pt x="511" y="12"/>
                    </a:lnTo>
                    <a:lnTo>
                      <a:pt x="519" y="18"/>
                    </a:lnTo>
                    <a:lnTo>
                      <a:pt x="491" y="16"/>
                    </a:lnTo>
                    <a:lnTo>
                      <a:pt x="499" y="5"/>
                    </a:lnTo>
                    <a:lnTo>
                      <a:pt x="513" y="39"/>
                    </a:lnTo>
                    <a:cubicBezTo>
                      <a:pt x="514" y="42"/>
                      <a:pt x="513" y="45"/>
                      <a:pt x="511" y="47"/>
                    </a:cubicBezTo>
                    <a:cubicBezTo>
                      <a:pt x="510" y="49"/>
                      <a:pt x="507" y="50"/>
                      <a:pt x="504" y="50"/>
                    </a:cubicBezTo>
                    <a:lnTo>
                      <a:pt x="461" y="43"/>
                    </a:lnTo>
                    <a:lnTo>
                      <a:pt x="470" y="37"/>
                    </a:lnTo>
                    <a:lnTo>
                      <a:pt x="446" y="186"/>
                    </a:lnTo>
                    <a:cubicBezTo>
                      <a:pt x="446" y="187"/>
                      <a:pt x="446" y="188"/>
                      <a:pt x="445" y="189"/>
                    </a:cubicBezTo>
                    <a:lnTo>
                      <a:pt x="392" y="281"/>
                    </a:lnTo>
                    <a:cubicBezTo>
                      <a:pt x="392" y="282"/>
                      <a:pt x="391" y="283"/>
                      <a:pt x="390" y="284"/>
                    </a:cubicBezTo>
                    <a:lnTo>
                      <a:pt x="328" y="329"/>
                    </a:lnTo>
                    <a:cubicBezTo>
                      <a:pt x="325" y="331"/>
                      <a:pt x="322" y="331"/>
                      <a:pt x="319" y="330"/>
                    </a:cubicBezTo>
                    <a:cubicBezTo>
                      <a:pt x="317" y="329"/>
                      <a:pt x="315" y="326"/>
                      <a:pt x="315" y="323"/>
                    </a:cubicBezTo>
                    <a:lnTo>
                      <a:pt x="314" y="278"/>
                    </a:lnTo>
                    <a:lnTo>
                      <a:pt x="324" y="285"/>
                    </a:lnTo>
                    <a:lnTo>
                      <a:pt x="301" y="293"/>
                    </a:lnTo>
                    <a:lnTo>
                      <a:pt x="305" y="289"/>
                    </a:lnTo>
                    <a:lnTo>
                      <a:pt x="251" y="410"/>
                    </a:lnTo>
                    <a:cubicBezTo>
                      <a:pt x="250" y="413"/>
                      <a:pt x="247" y="415"/>
                      <a:pt x="244" y="415"/>
                    </a:cubicBezTo>
                    <a:lnTo>
                      <a:pt x="106" y="415"/>
                    </a:lnTo>
                    <a:lnTo>
                      <a:pt x="112" y="413"/>
                    </a:lnTo>
                    <a:lnTo>
                      <a:pt x="14" y="512"/>
                    </a:lnTo>
                    <a:lnTo>
                      <a:pt x="7" y="498"/>
                    </a:lnTo>
                    <a:lnTo>
                      <a:pt x="227" y="453"/>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44" name="Freeform 200"/>
              <p:cNvSpPr>
                <a:spLocks/>
              </p:cNvSpPr>
              <p:nvPr/>
            </p:nvSpPr>
            <p:spPr bwMode="auto">
              <a:xfrm>
                <a:off x="4588" y="1656"/>
                <a:ext cx="33" cy="22"/>
              </a:xfrm>
              <a:custGeom>
                <a:avLst/>
                <a:gdLst/>
                <a:ahLst/>
                <a:cxnLst>
                  <a:cxn ang="0">
                    <a:pos x="0" y="11"/>
                  </a:cxn>
                  <a:cxn ang="0">
                    <a:pos x="11" y="22"/>
                  </a:cxn>
                  <a:cxn ang="0">
                    <a:pos x="30" y="14"/>
                  </a:cxn>
                  <a:cxn ang="0">
                    <a:pos x="33" y="0"/>
                  </a:cxn>
                  <a:cxn ang="0">
                    <a:pos x="0" y="11"/>
                  </a:cxn>
                </a:cxnLst>
                <a:rect l="0" t="0" r="r" b="b"/>
                <a:pathLst>
                  <a:path w="33" h="22">
                    <a:moveTo>
                      <a:pt x="0" y="11"/>
                    </a:moveTo>
                    <a:lnTo>
                      <a:pt x="11" y="22"/>
                    </a:lnTo>
                    <a:lnTo>
                      <a:pt x="30" y="14"/>
                    </a:lnTo>
                    <a:lnTo>
                      <a:pt x="33" y="0"/>
                    </a:lnTo>
                    <a:lnTo>
                      <a:pt x="0" y="1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45" name="Freeform 201"/>
              <p:cNvSpPr>
                <a:spLocks noEditPoints="1"/>
              </p:cNvSpPr>
              <p:nvPr/>
            </p:nvSpPr>
            <p:spPr bwMode="auto">
              <a:xfrm>
                <a:off x="4586" y="1654"/>
                <a:ext cx="37" cy="26"/>
              </a:xfrm>
              <a:custGeom>
                <a:avLst/>
                <a:gdLst/>
                <a:ahLst/>
                <a:cxnLst>
                  <a:cxn ang="0">
                    <a:pos x="12" y="66"/>
                  </a:cxn>
                  <a:cxn ang="0">
                    <a:pos x="15" y="53"/>
                  </a:cxn>
                  <a:cxn ang="0">
                    <a:pos x="52" y="99"/>
                  </a:cxn>
                  <a:cxn ang="0">
                    <a:pos x="42" y="97"/>
                  </a:cxn>
                  <a:cxn ang="0">
                    <a:pos x="107" y="61"/>
                  </a:cxn>
                  <a:cxn ang="0">
                    <a:pos x="103" y="67"/>
                  </a:cxn>
                  <a:cxn ang="0">
                    <a:pos x="113" y="7"/>
                  </a:cxn>
                  <a:cxn ang="0">
                    <a:pos x="124" y="16"/>
                  </a:cxn>
                  <a:cxn ang="0">
                    <a:pos x="12" y="66"/>
                  </a:cxn>
                  <a:cxn ang="0">
                    <a:pos x="117" y="1"/>
                  </a:cxn>
                  <a:cxn ang="0">
                    <a:pos x="125" y="2"/>
                  </a:cxn>
                  <a:cxn ang="0">
                    <a:pos x="128" y="10"/>
                  </a:cxn>
                  <a:cxn ang="0">
                    <a:pos x="119" y="70"/>
                  </a:cxn>
                  <a:cxn ang="0">
                    <a:pos x="115" y="75"/>
                  </a:cxn>
                  <a:cxn ang="0">
                    <a:pos x="50" y="111"/>
                  </a:cxn>
                  <a:cxn ang="0">
                    <a:pos x="40" y="109"/>
                  </a:cxn>
                  <a:cxn ang="0">
                    <a:pos x="2" y="63"/>
                  </a:cxn>
                  <a:cxn ang="0">
                    <a:pos x="1" y="56"/>
                  </a:cxn>
                  <a:cxn ang="0">
                    <a:pos x="5" y="51"/>
                  </a:cxn>
                  <a:cxn ang="0">
                    <a:pos x="117" y="1"/>
                  </a:cxn>
                </a:cxnLst>
                <a:rect l="0" t="0" r="r" b="b"/>
                <a:pathLst>
                  <a:path w="129" h="113">
                    <a:moveTo>
                      <a:pt x="12" y="66"/>
                    </a:moveTo>
                    <a:lnTo>
                      <a:pt x="15" y="53"/>
                    </a:lnTo>
                    <a:lnTo>
                      <a:pt x="52" y="99"/>
                    </a:lnTo>
                    <a:lnTo>
                      <a:pt x="42" y="97"/>
                    </a:lnTo>
                    <a:lnTo>
                      <a:pt x="107" y="61"/>
                    </a:lnTo>
                    <a:lnTo>
                      <a:pt x="103" y="67"/>
                    </a:lnTo>
                    <a:lnTo>
                      <a:pt x="113" y="7"/>
                    </a:lnTo>
                    <a:lnTo>
                      <a:pt x="124" y="16"/>
                    </a:lnTo>
                    <a:lnTo>
                      <a:pt x="12" y="66"/>
                    </a:lnTo>
                    <a:close/>
                    <a:moveTo>
                      <a:pt x="117" y="1"/>
                    </a:moveTo>
                    <a:cubicBezTo>
                      <a:pt x="120" y="0"/>
                      <a:pt x="123" y="0"/>
                      <a:pt x="125" y="2"/>
                    </a:cubicBezTo>
                    <a:cubicBezTo>
                      <a:pt x="128" y="4"/>
                      <a:pt x="129" y="7"/>
                      <a:pt x="128" y="10"/>
                    </a:cubicBezTo>
                    <a:lnTo>
                      <a:pt x="119" y="70"/>
                    </a:lnTo>
                    <a:cubicBezTo>
                      <a:pt x="118" y="72"/>
                      <a:pt x="117" y="74"/>
                      <a:pt x="115" y="75"/>
                    </a:cubicBezTo>
                    <a:lnTo>
                      <a:pt x="50" y="111"/>
                    </a:lnTo>
                    <a:cubicBezTo>
                      <a:pt x="46" y="113"/>
                      <a:pt x="42" y="113"/>
                      <a:pt x="40" y="109"/>
                    </a:cubicBezTo>
                    <a:lnTo>
                      <a:pt x="2" y="63"/>
                    </a:lnTo>
                    <a:cubicBezTo>
                      <a:pt x="1" y="61"/>
                      <a:pt x="0" y="59"/>
                      <a:pt x="1" y="56"/>
                    </a:cubicBezTo>
                    <a:cubicBezTo>
                      <a:pt x="1" y="54"/>
                      <a:pt x="3" y="52"/>
                      <a:pt x="5" y="51"/>
                    </a:cubicBezTo>
                    <a:lnTo>
                      <a:pt x="117" y="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46" name="Freeform 202"/>
              <p:cNvSpPr>
                <a:spLocks/>
              </p:cNvSpPr>
              <p:nvPr/>
            </p:nvSpPr>
            <p:spPr bwMode="auto">
              <a:xfrm>
                <a:off x="4700" y="1480"/>
                <a:ext cx="78" cy="66"/>
              </a:xfrm>
              <a:custGeom>
                <a:avLst/>
                <a:gdLst/>
                <a:ahLst/>
                <a:cxnLst>
                  <a:cxn ang="0">
                    <a:pos x="0" y="47"/>
                  </a:cxn>
                  <a:cxn ang="0">
                    <a:pos x="3" y="66"/>
                  </a:cxn>
                  <a:cxn ang="0">
                    <a:pos x="17" y="59"/>
                  </a:cxn>
                  <a:cxn ang="0">
                    <a:pos x="7" y="48"/>
                  </a:cxn>
                  <a:cxn ang="0">
                    <a:pos x="46" y="58"/>
                  </a:cxn>
                  <a:cxn ang="0">
                    <a:pos x="54" y="43"/>
                  </a:cxn>
                  <a:cxn ang="0">
                    <a:pos x="78" y="37"/>
                  </a:cxn>
                  <a:cxn ang="0">
                    <a:pos x="70" y="27"/>
                  </a:cxn>
                  <a:cxn ang="0">
                    <a:pos x="73" y="18"/>
                  </a:cxn>
                  <a:cxn ang="0">
                    <a:pos x="52" y="20"/>
                  </a:cxn>
                  <a:cxn ang="0">
                    <a:pos x="27" y="0"/>
                  </a:cxn>
                  <a:cxn ang="0">
                    <a:pos x="18" y="38"/>
                  </a:cxn>
                  <a:cxn ang="0">
                    <a:pos x="7" y="36"/>
                  </a:cxn>
                  <a:cxn ang="0">
                    <a:pos x="0" y="47"/>
                  </a:cxn>
                </a:cxnLst>
                <a:rect l="0" t="0" r="r" b="b"/>
                <a:pathLst>
                  <a:path w="78" h="66">
                    <a:moveTo>
                      <a:pt x="0" y="47"/>
                    </a:moveTo>
                    <a:lnTo>
                      <a:pt x="3" y="66"/>
                    </a:lnTo>
                    <a:lnTo>
                      <a:pt x="17" y="59"/>
                    </a:lnTo>
                    <a:lnTo>
                      <a:pt x="7" y="48"/>
                    </a:lnTo>
                    <a:lnTo>
                      <a:pt x="46" y="58"/>
                    </a:lnTo>
                    <a:lnTo>
                      <a:pt x="54" y="43"/>
                    </a:lnTo>
                    <a:lnTo>
                      <a:pt x="78" y="37"/>
                    </a:lnTo>
                    <a:lnTo>
                      <a:pt x="70" y="27"/>
                    </a:lnTo>
                    <a:lnTo>
                      <a:pt x="73" y="18"/>
                    </a:lnTo>
                    <a:lnTo>
                      <a:pt x="52" y="20"/>
                    </a:lnTo>
                    <a:lnTo>
                      <a:pt x="27" y="0"/>
                    </a:lnTo>
                    <a:lnTo>
                      <a:pt x="18" y="38"/>
                    </a:lnTo>
                    <a:lnTo>
                      <a:pt x="7" y="36"/>
                    </a:lnTo>
                    <a:lnTo>
                      <a:pt x="0" y="47"/>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47" name="Freeform 203"/>
              <p:cNvSpPr>
                <a:spLocks noEditPoints="1"/>
              </p:cNvSpPr>
              <p:nvPr/>
            </p:nvSpPr>
            <p:spPr bwMode="auto">
              <a:xfrm>
                <a:off x="4697" y="1478"/>
                <a:ext cx="84" cy="70"/>
              </a:xfrm>
              <a:custGeom>
                <a:avLst/>
                <a:gdLst/>
                <a:ahLst/>
                <a:cxnLst>
                  <a:cxn ang="0">
                    <a:pos x="16" y="217"/>
                  </a:cxn>
                  <a:cxn ang="0">
                    <a:pos x="16" y="212"/>
                  </a:cxn>
                  <a:cxn ang="0">
                    <a:pos x="28" y="295"/>
                  </a:cxn>
                  <a:cxn ang="0">
                    <a:pos x="16" y="290"/>
                  </a:cxn>
                  <a:cxn ang="0">
                    <a:pos x="63" y="259"/>
                  </a:cxn>
                  <a:cxn ang="0">
                    <a:pos x="61" y="270"/>
                  </a:cxn>
                  <a:cxn ang="0">
                    <a:pos x="28" y="219"/>
                  </a:cxn>
                  <a:cxn ang="0">
                    <a:pos x="29" y="210"/>
                  </a:cxn>
                  <a:cxn ang="0">
                    <a:pos x="38" y="207"/>
                  </a:cxn>
                  <a:cxn ang="0">
                    <a:pos x="169" y="251"/>
                  </a:cxn>
                  <a:cxn ang="0">
                    <a:pos x="159" y="256"/>
                  </a:cxn>
                  <a:cxn ang="0">
                    <a:pos x="189" y="189"/>
                  </a:cxn>
                  <a:cxn ang="0">
                    <a:pos x="194" y="185"/>
                  </a:cxn>
                  <a:cxn ang="0">
                    <a:pos x="278" y="163"/>
                  </a:cxn>
                  <a:cxn ang="0">
                    <a:pos x="274" y="175"/>
                  </a:cxn>
                  <a:cxn ang="0">
                    <a:pos x="244" y="130"/>
                  </a:cxn>
                  <a:cxn ang="0">
                    <a:pos x="243" y="124"/>
                  </a:cxn>
                  <a:cxn ang="0">
                    <a:pos x="254" y="85"/>
                  </a:cxn>
                  <a:cxn ang="0">
                    <a:pos x="262" y="95"/>
                  </a:cxn>
                  <a:cxn ang="0">
                    <a:pos x="190" y="102"/>
                  </a:cxn>
                  <a:cxn ang="0">
                    <a:pos x="184" y="99"/>
                  </a:cxn>
                  <a:cxn ang="0">
                    <a:pos x="97" y="14"/>
                  </a:cxn>
                  <a:cxn ang="0">
                    <a:pos x="110" y="10"/>
                  </a:cxn>
                  <a:cxn ang="0">
                    <a:pos x="79" y="174"/>
                  </a:cxn>
                  <a:cxn ang="0">
                    <a:pos x="76" y="179"/>
                  </a:cxn>
                  <a:cxn ang="0">
                    <a:pos x="70" y="180"/>
                  </a:cxn>
                  <a:cxn ang="0">
                    <a:pos x="32" y="171"/>
                  </a:cxn>
                  <a:cxn ang="0">
                    <a:pos x="41" y="167"/>
                  </a:cxn>
                  <a:cxn ang="0">
                    <a:pos x="16" y="217"/>
                  </a:cxn>
                  <a:cxn ang="0">
                    <a:pos x="27" y="160"/>
                  </a:cxn>
                  <a:cxn ang="0">
                    <a:pos x="36" y="156"/>
                  </a:cxn>
                  <a:cxn ang="0">
                    <a:pos x="73" y="164"/>
                  </a:cxn>
                  <a:cxn ang="0">
                    <a:pos x="64" y="171"/>
                  </a:cxn>
                  <a:cxn ang="0">
                    <a:pos x="94" y="7"/>
                  </a:cxn>
                  <a:cxn ang="0">
                    <a:pos x="100" y="1"/>
                  </a:cxn>
                  <a:cxn ang="0">
                    <a:pos x="108" y="3"/>
                  </a:cxn>
                  <a:cxn ang="0">
                    <a:pos x="195" y="88"/>
                  </a:cxn>
                  <a:cxn ang="0">
                    <a:pos x="189" y="86"/>
                  </a:cxn>
                  <a:cxn ang="0">
                    <a:pos x="261" y="79"/>
                  </a:cxn>
                  <a:cxn ang="0">
                    <a:pos x="268" y="82"/>
                  </a:cxn>
                  <a:cxn ang="0">
                    <a:pos x="269" y="89"/>
                  </a:cxn>
                  <a:cxn ang="0">
                    <a:pos x="259" y="128"/>
                  </a:cxn>
                  <a:cxn ang="0">
                    <a:pos x="258" y="122"/>
                  </a:cxn>
                  <a:cxn ang="0">
                    <a:pos x="287" y="166"/>
                  </a:cxn>
                  <a:cxn ang="0">
                    <a:pos x="288" y="173"/>
                  </a:cxn>
                  <a:cxn ang="0">
                    <a:pos x="282" y="178"/>
                  </a:cxn>
                  <a:cxn ang="0">
                    <a:pos x="198" y="200"/>
                  </a:cxn>
                  <a:cxn ang="0">
                    <a:pos x="203" y="196"/>
                  </a:cxn>
                  <a:cxn ang="0">
                    <a:pos x="174" y="262"/>
                  </a:cxn>
                  <a:cxn ang="0">
                    <a:pos x="164" y="267"/>
                  </a:cxn>
                  <a:cxn ang="0">
                    <a:pos x="33" y="222"/>
                  </a:cxn>
                  <a:cxn ang="0">
                    <a:pos x="42" y="210"/>
                  </a:cxn>
                  <a:cxn ang="0">
                    <a:pos x="74" y="262"/>
                  </a:cxn>
                  <a:cxn ang="0">
                    <a:pos x="72" y="272"/>
                  </a:cxn>
                  <a:cxn ang="0">
                    <a:pos x="25" y="303"/>
                  </a:cxn>
                  <a:cxn ang="0">
                    <a:pos x="17" y="304"/>
                  </a:cxn>
                  <a:cxn ang="0">
                    <a:pos x="13" y="298"/>
                  </a:cxn>
                  <a:cxn ang="0">
                    <a:pos x="1" y="214"/>
                  </a:cxn>
                  <a:cxn ang="0">
                    <a:pos x="1" y="209"/>
                  </a:cxn>
                  <a:cxn ang="0">
                    <a:pos x="27" y="160"/>
                  </a:cxn>
                </a:cxnLst>
                <a:rect l="0" t="0" r="r" b="b"/>
                <a:pathLst>
                  <a:path w="289" h="305">
                    <a:moveTo>
                      <a:pt x="16" y="217"/>
                    </a:moveTo>
                    <a:lnTo>
                      <a:pt x="16" y="212"/>
                    </a:lnTo>
                    <a:lnTo>
                      <a:pt x="28" y="295"/>
                    </a:lnTo>
                    <a:lnTo>
                      <a:pt x="16" y="290"/>
                    </a:lnTo>
                    <a:lnTo>
                      <a:pt x="63" y="259"/>
                    </a:lnTo>
                    <a:lnTo>
                      <a:pt x="61" y="270"/>
                    </a:lnTo>
                    <a:lnTo>
                      <a:pt x="28" y="219"/>
                    </a:lnTo>
                    <a:cubicBezTo>
                      <a:pt x="27" y="216"/>
                      <a:pt x="27" y="212"/>
                      <a:pt x="29" y="210"/>
                    </a:cubicBezTo>
                    <a:cubicBezTo>
                      <a:pt x="31" y="207"/>
                      <a:pt x="35" y="206"/>
                      <a:pt x="38" y="207"/>
                    </a:cubicBezTo>
                    <a:lnTo>
                      <a:pt x="169" y="251"/>
                    </a:lnTo>
                    <a:lnTo>
                      <a:pt x="159" y="256"/>
                    </a:lnTo>
                    <a:lnTo>
                      <a:pt x="189" y="189"/>
                    </a:lnTo>
                    <a:cubicBezTo>
                      <a:pt x="190" y="187"/>
                      <a:pt x="192" y="185"/>
                      <a:pt x="194" y="185"/>
                    </a:cubicBezTo>
                    <a:lnTo>
                      <a:pt x="278" y="163"/>
                    </a:lnTo>
                    <a:lnTo>
                      <a:pt x="274" y="175"/>
                    </a:lnTo>
                    <a:lnTo>
                      <a:pt x="244" y="130"/>
                    </a:lnTo>
                    <a:cubicBezTo>
                      <a:pt x="243" y="129"/>
                      <a:pt x="243" y="126"/>
                      <a:pt x="243" y="124"/>
                    </a:cubicBezTo>
                    <a:lnTo>
                      <a:pt x="254" y="85"/>
                    </a:lnTo>
                    <a:lnTo>
                      <a:pt x="262" y="95"/>
                    </a:lnTo>
                    <a:lnTo>
                      <a:pt x="190" y="102"/>
                    </a:lnTo>
                    <a:cubicBezTo>
                      <a:pt x="188" y="102"/>
                      <a:pt x="185" y="101"/>
                      <a:pt x="184" y="99"/>
                    </a:cubicBezTo>
                    <a:lnTo>
                      <a:pt x="97" y="14"/>
                    </a:lnTo>
                    <a:lnTo>
                      <a:pt x="110" y="10"/>
                    </a:lnTo>
                    <a:lnTo>
                      <a:pt x="79" y="174"/>
                    </a:lnTo>
                    <a:cubicBezTo>
                      <a:pt x="79" y="176"/>
                      <a:pt x="78" y="178"/>
                      <a:pt x="76" y="179"/>
                    </a:cubicBezTo>
                    <a:cubicBezTo>
                      <a:pt x="74" y="180"/>
                      <a:pt x="72" y="180"/>
                      <a:pt x="70" y="180"/>
                    </a:cubicBezTo>
                    <a:lnTo>
                      <a:pt x="32" y="171"/>
                    </a:lnTo>
                    <a:lnTo>
                      <a:pt x="41" y="167"/>
                    </a:lnTo>
                    <a:lnTo>
                      <a:pt x="16" y="217"/>
                    </a:lnTo>
                    <a:close/>
                    <a:moveTo>
                      <a:pt x="27" y="160"/>
                    </a:moveTo>
                    <a:cubicBezTo>
                      <a:pt x="28" y="157"/>
                      <a:pt x="32" y="155"/>
                      <a:pt x="36" y="156"/>
                    </a:cubicBezTo>
                    <a:lnTo>
                      <a:pt x="73" y="164"/>
                    </a:lnTo>
                    <a:lnTo>
                      <a:pt x="64" y="171"/>
                    </a:lnTo>
                    <a:lnTo>
                      <a:pt x="94" y="7"/>
                    </a:lnTo>
                    <a:cubicBezTo>
                      <a:pt x="95" y="4"/>
                      <a:pt x="97" y="2"/>
                      <a:pt x="100" y="1"/>
                    </a:cubicBezTo>
                    <a:cubicBezTo>
                      <a:pt x="103" y="0"/>
                      <a:pt x="106" y="1"/>
                      <a:pt x="108" y="3"/>
                    </a:cubicBezTo>
                    <a:lnTo>
                      <a:pt x="195" y="88"/>
                    </a:lnTo>
                    <a:lnTo>
                      <a:pt x="189" y="86"/>
                    </a:lnTo>
                    <a:lnTo>
                      <a:pt x="261" y="79"/>
                    </a:lnTo>
                    <a:cubicBezTo>
                      <a:pt x="264" y="79"/>
                      <a:pt x="266" y="80"/>
                      <a:pt x="268" y="82"/>
                    </a:cubicBezTo>
                    <a:cubicBezTo>
                      <a:pt x="270" y="84"/>
                      <a:pt x="270" y="86"/>
                      <a:pt x="269" y="89"/>
                    </a:cubicBezTo>
                    <a:lnTo>
                      <a:pt x="259" y="128"/>
                    </a:lnTo>
                    <a:lnTo>
                      <a:pt x="258" y="122"/>
                    </a:lnTo>
                    <a:lnTo>
                      <a:pt x="287" y="166"/>
                    </a:lnTo>
                    <a:cubicBezTo>
                      <a:pt x="289" y="168"/>
                      <a:pt x="289" y="171"/>
                      <a:pt x="288" y="173"/>
                    </a:cubicBezTo>
                    <a:cubicBezTo>
                      <a:pt x="287" y="176"/>
                      <a:pt x="285" y="177"/>
                      <a:pt x="282" y="178"/>
                    </a:cubicBezTo>
                    <a:lnTo>
                      <a:pt x="198" y="200"/>
                    </a:lnTo>
                    <a:lnTo>
                      <a:pt x="203" y="196"/>
                    </a:lnTo>
                    <a:lnTo>
                      <a:pt x="174" y="262"/>
                    </a:lnTo>
                    <a:cubicBezTo>
                      <a:pt x="172" y="266"/>
                      <a:pt x="168" y="268"/>
                      <a:pt x="164" y="267"/>
                    </a:cubicBezTo>
                    <a:lnTo>
                      <a:pt x="33" y="222"/>
                    </a:lnTo>
                    <a:lnTo>
                      <a:pt x="42" y="210"/>
                    </a:lnTo>
                    <a:lnTo>
                      <a:pt x="74" y="262"/>
                    </a:lnTo>
                    <a:cubicBezTo>
                      <a:pt x="77" y="265"/>
                      <a:pt x="75" y="270"/>
                      <a:pt x="72" y="272"/>
                    </a:cubicBezTo>
                    <a:lnTo>
                      <a:pt x="25" y="303"/>
                    </a:lnTo>
                    <a:cubicBezTo>
                      <a:pt x="23" y="305"/>
                      <a:pt x="20" y="305"/>
                      <a:pt x="17" y="304"/>
                    </a:cubicBezTo>
                    <a:cubicBezTo>
                      <a:pt x="15" y="303"/>
                      <a:pt x="13" y="300"/>
                      <a:pt x="13" y="298"/>
                    </a:cubicBezTo>
                    <a:lnTo>
                      <a:pt x="1" y="214"/>
                    </a:lnTo>
                    <a:cubicBezTo>
                      <a:pt x="0" y="212"/>
                      <a:pt x="1" y="211"/>
                      <a:pt x="1" y="209"/>
                    </a:cubicBezTo>
                    <a:lnTo>
                      <a:pt x="27" y="160"/>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 name="Group 405"/>
            <p:cNvGrpSpPr>
              <a:grpSpLocks/>
            </p:cNvGrpSpPr>
            <p:nvPr/>
          </p:nvGrpSpPr>
          <p:grpSpPr bwMode="auto">
            <a:xfrm>
              <a:off x="576" y="699"/>
              <a:ext cx="4660" cy="2089"/>
              <a:chOff x="576" y="699"/>
              <a:chExt cx="4660" cy="2089"/>
            </a:xfrm>
          </p:grpSpPr>
          <p:sp>
            <p:nvSpPr>
              <p:cNvPr id="83149" name="Freeform 205"/>
              <p:cNvSpPr>
                <a:spLocks/>
              </p:cNvSpPr>
              <p:nvPr/>
            </p:nvSpPr>
            <p:spPr bwMode="auto">
              <a:xfrm>
                <a:off x="4481" y="1524"/>
                <a:ext cx="89" cy="81"/>
              </a:xfrm>
              <a:custGeom>
                <a:avLst/>
                <a:gdLst/>
                <a:ahLst/>
                <a:cxnLst>
                  <a:cxn ang="0">
                    <a:pos x="0" y="46"/>
                  </a:cxn>
                  <a:cxn ang="0">
                    <a:pos x="17" y="52"/>
                  </a:cxn>
                  <a:cxn ang="0">
                    <a:pos x="6" y="75"/>
                  </a:cxn>
                  <a:cxn ang="0">
                    <a:pos x="31" y="81"/>
                  </a:cxn>
                  <a:cxn ang="0">
                    <a:pos x="57" y="67"/>
                  </a:cxn>
                  <a:cxn ang="0">
                    <a:pos x="45" y="48"/>
                  </a:cxn>
                  <a:cxn ang="0">
                    <a:pos x="75" y="31"/>
                  </a:cxn>
                  <a:cxn ang="0">
                    <a:pos x="89" y="8"/>
                  </a:cxn>
                  <a:cxn ang="0">
                    <a:pos x="87" y="4"/>
                  </a:cxn>
                  <a:cxn ang="0">
                    <a:pos x="81" y="0"/>
                  </a:cxn>
                  <a:cxn ang="0">
                    <a:pos x="55" y="15"/>
                  </a:cxn>
                  <a:cxn ang="0">
                    <a:pos x="55" y="24"/>
                  </a:cxn>
                  <a:cxn ang="0">
                    <a:pos x="36" y="21"/>
                  </a:cxn>
                  <a:cxn ang="0">
                    <a:pos x="0" y="46"/>
                  </a:cxn>
                </a:cxnLst>
                <a:rect l="0" t="0" r="r" b="b"/>
                <a:pathLst>
                  <a:path w="89" h="81">
                    <a:moveTo>
                      <a:pt x="0" y="46"/>
                    </a:moveTo>
                    <a:lnTo>
                      <a:pt x="17" y="52"/>
                    </a:lnTo>
                    <a:lnTo>
                      <a:pt x="6" y="75"/>
                    </a:lnTo>
                    <a:lnTo>
                      <a:pt x="31" y="81"/>
                    </a:lnTo>
                    <a:lnTo>
                      <a:pt x="57" y="67"/>
                    </a:lnTo>
                    <a:lnTo>
                      <a:pt x="45" y="48"/>
                    </a:lnTo>
                    <a:lnTo>
                      <a:pt x="75" y="31"/>
                    </a:lnTo>
                    <a:lnTo>
                      <a:pt x="89" y="8"/>
                    </a:lnTo>
                    <a:lnTo>
                      <a:pt x="87" y="4"/>
                    </a:lnTo>
                    <a:lnTo>
                      <a:pt x="81" y="0"/>
                    </a:lnTo>
                    <a:lnTo>
                      <a:pt x="55" y="15"/>
                    </a:lnTo>
                    <a:lnTo>
                      <a:pt x="55" y="24"/>
                    </a:lnTo>
                    <a:lnTo>
                      <a:pt x="36" y="21"/>
                    </a:lnTo>
                    <a:lnTo>
                      <a:pt x="0" y="46"/>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50" name="Freeform 206"/>
              <p:cNvSpPr>
                <a:spLocks noEditPoints="1"/>
              </p:cNvSpPr>
              <p:nvPr/>
            </p:nvSpPr>
            <p:spPr bwMode="auto">
              <a:xfrm>
                <a:off x="4479" y="1522"/>
                <a:ext cx="93" cy="85"/>
              </a:xfrm>
              <a:custGeom>
                <a:avLst/>
                <a:gdLst/>
                <a:ahLst/>
                <a:cxnLst>
                  <a:cxn ang="0">
                    <a:pos x="14" y="214"/>
                  </a:cxn>
                  <a:cxn ang="0">
                    <a:pos x="12" y="201"/>
                  </a:cxn>
                  <a:cxn ang="0">
                    <a:pos x="68" y="229"/>
                  </a:cxn>
                  <a:cxn ang="0">
                    <a:pos x="72" y="239"/>
                  </a:cxn>
                  <a:cxn ang="0">
                    <a:pos x="37" y="340"/>
                  </a:cxn>
                  <a:cxn ang="0">
                    <a:pos x="31" y="329"/>
                  </a:cxn>
                  <a:cxn ang="0">
                    <a:pos x="116" y="353"/>
                  </a:cxn>
                  <a:cxn ang="0">
                    <a:pos x="110" y="354"/>
                  </a:cxn>
                  <a:cxn ang="0">
                    <a:pos x="199" y="292"/>
                  </a:cxn>
                  <a:cxn ang="0">
                    <a:pos x="197" y="303"/>
                  </a:cxn>
                  <a:cxn ang="0">
                    <a:pos x="155" y="220"/>
                  </a:cxn>
                  <a:cxn ang="0">
                    <a:pos x="158" y="210"/>
                  </a:cxn>
                  <a:cxn ang="0">
                    <a:pos x="260" y="136"/>
                  </a:cxn>
                  <a:cxn ang="0">
                    <a:pos x="257" y="140"/>
                  </a:cxn>
                  <a:cxn ang="0">
                    <a:pos x="305" y="38"/>
                  </a:cxn>
                  <a:cxn ang="0">
                    <a:pos x="305" y="45"/>
                  </a:cxn>
                  <a:cxn ang="0">
                    <a:pos x="298" y="30"/>
                  </a:cxn>
                  <a:cxn ang="0">
                    <a:pos x="300" y="33"/>
                  </a:cxn>
                  <a:cxn ang="0">
                    <a:pos x="281" y="14"/>
                  </a:cxn>
                  <a:cxn ang="0">
                    <a:pos x="291" y="15"/>
                  </a:cxn>
                  <a:cxn ang="0">
                    <a:pos x="200" y="80"/>
                  </a:cxn>
                  <a:cxn ang="0">
                    <a:pos x="204" y="73"/>
                  </a:cxn>
                  <a:cxn ang="0">
                    <a:pos x="204" y="111"/>
                  </a:cxn>
                  <a:cxn ang="0">
                    <a:pos x="201" y="118"/>
                  </a:cxn>
                  <a:cxn ang="0">
                    <a:pos x="194" y="119"/>
                  </a:cxn>
                  <a:cxn ang="0">
                    <a:pos x="128" y="108"/>
                  </a:cxn>
                  <a:cxn ang="0">
                    <a:pos x="135" y="106"/>
                  </a:cxn>
                  <a:cxn ang="0">
                    <a:pos x="14" y="214"/>
                  </a:cxn>
                  <a:cxn ang="0">
                    <a:pos x="124" y="94"/>
                  </a:cxn>
                  <a:cxn ang="0">
                    <a:pos x="131" y="92"/>
                  </a:cxn>
                  <a:cxn ang="0">
                    <a:pos x="197" y="104"/>
                  </a:cxn>
                  <a:cxn ang="0">
                    <a:pos x="188" y="111"/>
                  </a:cxn>
                  <a:cxn ang="0">
                    <a:pos x="188" y="73"/>
                  </a:cxn>
                  <a:cxn ang="0">
                    <a:pos x="191" y="67"/>
                  </a:cxn>
                  <a:cxn ang="0">
                    <a:pos x="282" y="2"/>
                  </a:cxn>
                  <a:cxn ang="0">
                    <a:pos x="292" y="3"/>
                  </a:cxn>
                  <a:cxn ang="0">
                    <a:pos x="311" y="21"/>
                  </a:cxn>
                  <a:cxn ang="0">
                    <a:pos x="313" y="23"/>
                  </a:cxn>
                  <a:cxn ang="0">
                    <a:pos x="320" y="38"/>
                  </a:cxn>
                  <a:cxn ang="0">
                    <a:pos x="320" y="45"/>
                  </a:cxn>
                  <a:cxn ang="0">
                    <a:pos x="272" y="146"/>
                  </a:cxn>
                  <a:cxn ang="0">
                    <a:pos x="269" y="149"/>
                  </a:cxn>
                  <a:cxn ang="0">
                    <a:pos x="167" y="223"/>
                  </a:cxn>
                  <a:cxn ang="0">
                    <a:pos x="170" y="212"/>
                  </a:cxn>
                  <a:cxn ang="0">
                    <a:pos x="211" y="295"/>
                  </a:cxn>
                  <a:cxn ang="0">
                    <a:pos x="208" y="306"/>
                  </a:cxn>
                  <a:cxn ang="0">
                    <a:pos x="119" y="367"/>
                  </a:cxn>
                  <a:cxn ang="0">
                    <a:pos x="112" y="368"/>
                  </a:cxn>
                  <a:cxn ang="0">
                    <a:pos x="27" y="345"/>
                  </a:cxn>
                  <a:cxn ang="0">
                    <a:pos x="22" y="341"/>
                  </a:cxn>
                  <a:cxn ang="0">
                    <a:pos x="22" y="335"/>
                  </a:cxn>
                  <a:cxn ang="0">
                    <a:pos x="57" y="233"/>
                  </a:cxn>
                  <a:cxn ang="0">
                    <a:pos x="61" y="243"/>
                  </a:cxn>
                  <a:cxn ang="0">
                    <a:pos x="5" y="215"/>
                  </a:cxn>
                  <a:cxn ang="0">
                    <a:pos x="1" y="209"/>
                  </a:cxn>
                  <a:cxn ang="0">
                    <a:pos x="3" y="202"/>
                  </a:cxn>
                  <a:cxn ang="0">
                    <a:pos x="124" y="94"/>
                  </a:cxn>
                </a:cxnLst>
                <a:rect l="0" t="0" r="r" b="b"/>
                <a:pathLst>
                  <a:path w="321" h="369">
                    <a:moveTo>
                      <a:pt x="14" y="214"/>
                    </a:moveTo>
                    <a:lnTo>
                      <a:pt x="12" y="201"/>
                    </a:lnTo>
                    <a:lnTo>
                      <a:pt x="68" y="229"/>
                    </a:lnTo>
                    <a:cubicBezTo>
                      <a:pt x="72" y="231"/>
                      <a:pt x="74" y="235"/>
                      <a:pt x="72" y="239"/>
                    </a:cubicBezTo>
                    <a:lnTo>
                      <a:pt x="37" y="340"/>
                    </a:lnTo>
                    <a:lnTo>
                      <a:pt x="31" y="329"/>
                    </a:lnTo>
                    <a:lnTo>
                      <a:pt x="116" y="353"/>
                    </a:lnTo>
                    <a:lnTo>
                      <a:pt x="110" y="354"/>
                    </a:lnTo>
                    <a:lnTo>
                      <a:pt x="199" y="292"/>
                    </a:lnTo>
                    <a:lnTo>
                      <a:pt x="197" y="303"/>
                    </a:lnTo>
                    <a:lnTo>
                      <a:pt x="155" y="220"/>
                    </a:lnTo>
                    <a:cubicBezTo>
                      <a:pt x="154" y="216"/>
                      <a:pt x="155" y="212"/>
                      <a:pt x="158" y="210"/>
                    </a:cubicBezTo>
                    <a:lnTo>
                      <a:pt x="260" y="136"/>
                    </a:lnTo>
                    <a:lnTo>
                      <a:pt x="257" y="140"/>
                    </a:lnTo>
                    <a:lnTo>
                      <a:pt x="305" y="38"/>
                    </a:lnTo>
                    <a:lnTo>
                      <a:pt x="305" y="45"/>
                    </a:lnTo>
                    <a:lnTo>
                      <a:pt x="298" y="30"/>
                    </a:lnTo>
                    <a:lnTo>
                      <a:pt x="300" y="33"/>
                    </a:lnTo>
                    <a:lnTo>
                      <a:pt x="281" y="14"/>
                    </a:lnTo>
                    <a:lnTo>
                      <a:pt x="291" y="15"/>
                    </a:lnTo>
                    <a:lnTo>
                      <a:pt x="200" y="80"/>
                    </a:lnTo>
                    <a:lnTo>
                      <a:pt x="204" y="73"/>
                    </a:lnTo>
                    <a:lnTo>
                      <a:pt x="204" y="111"/>
                    </a:lnTo>
                    <a:cubicBezTo>
                      <a:pt x="204" y="114"/>
                      <a:pt x="203" y="116"/>
                      <a:pt x="201" y="118"/>
                    </a:cubicBezTo>
                    <a:cubicBezTo>
                      <a:pt x="199" y="119"/>
                      <a:pt x="196" y="120"/>
                      <a:pt x="194" y="119"/>
                    </a:cubicBezTo>
                    <a:lnTo>
                      <a:pt x="128" y="108"/>
                    </a:lnTo>
                    <a:lnTo>
                      <a:pt x="135" y="106"/>
                    </a:lnTo>
                    <a:lnTo>
                      <a:pt x="14" y="214"/>
                    </a:lnTo>
                    <a:close/>
                    <a:moveTo>
                      <a:pt x="124" y="94"/>
                    </a:moveTo>
                    <a:cubicBezTo>
                      <a:pt x="126" y="92"/>
                      <a:pt x="128" y="91"/>
                      <a:pt x="131" y="92"/>
                    </a:cubicBezTo>
                    <a:lnTo>
                      <a:pt x="197" y="104"/>
                    </a:lnTo>
                    <a:lnTo>
                      <a:pt x="188" y="111"/>
                    </a:lnTo>
                    <a:lnTo>
                      <a:pt x="188" y="73"/>
                    </a:lnTo>
                    <a:cubicBezTo>
                      <a:pt x="188" y="71"/>
                      <a:pt x="189" y="68"/>
                      <a:pt x="191" y="67"/>
                    </a:cubicBezTo>
                    <a:lnTo>
                      <a:pt x="282" y="2"/>
                    </a:lnTo>
                    <a:cubicBezTo>
                      <a:pt x="285" y="0"/>
                      <a:pt x="289" y="0"/>
                      <a:pt x="292" y="3"/>
                    </a:cubicBezTo>
                    <a:lnTo>
                      <a:pt x="311" y="21"/>
                    </a:lnTo>
                    <a:cubicBezTo>
                      <a:pt x="312" y="22"/>
                      <a:pt x="312" y="22"/>
                      <a:pt x="313" y="23"/>
                    </a:cubicBezTo>
                    <a:lnTo>
                      <a:pt x="320" y="38"/>
                    </a:lnTo>
                    <a:cubicBezTo>
                      <a:pt x="321" y="40"/>
                      <a:pt x="321" y="43"/>
                      <a:pt x="320" y="45"/>
                    </a:cubicBezTo>
                    <a:lnTo>
                      <a:pt x="272" y="146"/>
                    </a:lnTo>
                    <a:cubicBezTo>
                      <a:pt x="271" y="148"/>
                      <a:pt x="270" y="149"/>
                      <a:pt x="269" y="149"/>
                    </a:cubicBezTo>
                    <a:lnTo>
                      <a:pt x="167" y="223"/>
                    </a:lnTo>
                    <a:lnTo>
                      <a:pt x="170" y="212"/>
                    </a:lnTo>
                    <a:lnTo>
                      <a:pt x="211" y="295"/>
                    </a:lnTo>
                    <a:cubicBezTo>
                      <a:pt x="213" y="299"/>
                      <a:pt x="212" y="303"/>
                      <a:pt x="208" y="306"/>
                    </a:cubicBezTo>
                    <a:lnTo>
                      <a:pt x="119" y="367"/>
                    </a:lnTo>
                    <a:cubicBezTo>
                      <a:pt x="117" y="368"/>
                      <a:pt x="115" y="369"/>
                      <a:pt x="112" y="368"/>
                    </a:cubicBezTo>
                    <a:lnTo>
                      <a:pt x="27" y="345"/>
                    </a:lnTo>
                    <a:cubicBezTo>
                      <a:pt x="25" y="344"/>
                      <a:pt x="23" y="343"/>
                      <a:pt x="22" y="341"/>
                    </a:cubicBezTo>
                    <a:cubicBezTo>
                      <a:pt x="21" y="339"/>
                      <a:pt x="21" y="337"/>
                      <a:pt x="22" y="335"/>
                    </a:cubicBezTo>
                    <a:lnTo>
                      <a:pt x="57" y="233"/>
                    </a:lnTo>
                    <a:lnTo>
                      <a:pt x="61" y="243"/>
                    </a:lnTo>
                    <a:lnTo>
                      <a:pt x="5" y="215"/>
                    </a:lnTo>
                    <a:cubicBezTo>
                      <a:pt x="3" y="214"/>
                      <a:pt x="1" y="211"/>
                      <a:pt x="1" y="209"/>
                    </a:cubicBezTo>
                    <a:cubicBezTo>
                      <a:pt x="0" y="206"/>
                      <a:pt x="1" y="204"/>
                      <a:pt x="3" y="202"/>
                    </a:cubicBezTo>
                    <a:lnTo>
                      <a:pt x="124" y="94"/>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51" name="Freeform 207"/>
              <p:cNvSpPr>
                <a:spLocks/>
              </p:cNvSpPr>
              <p:nvPr/>
            </p:nvSpPr>
            <p:spPr bwMode="auto">
              <a:xfrm>
                <a:off x="4505" y="1590"/>
                <a:ext cx="51" cy="62"/>
              </a:xfrm>
              <a:custGeom>
                <a:avLst/>
                <a:gdLst/>
                <a:ahLst/>
                <a:cxnLst>
                  <a:cxn ang="0">
                    <a:pos x="0" y="62"/>
                  </a:cxn>
                  <a:cxn ang="0">
                    <a:pos x="5" y="14"/>
                  </a:cxn>
                  <a:cxn ang="0">
                    <a:pos x="33" y="0"/>
                  </a:cxn>
                  <a:cxn ang="0">
                    <a:pos x="51" y="38"/>
                  </a:cxn>
                  <a:cxn ang="0">
                    <a:pos x="32" y="56"/>
                  </a:cxn>
                  <a:cxn ang="0">
                    <a:pos x="0" y="62"/>
                  </a:cxn>
                </a:cxnLst>
                <a:rect l="0" t="0" r="r" b="b"/>
                <a:pathLst>
                  <a:path w="51" h="62">
                    <a:moveTo>
                      <a:pt x="0" y="62"/>
                    </a:moveTo>
                    <a:lnTo>
                      <a:pt x="5" y="14"/>
                    </a:lnTo>
                    <a:lnTo>
                      <a:pt x="33" y="0"/>
                    </a:lnTo>
                    <a:lnTo>
                      <a:pt x="51" y="38"/>
                    </a:lnTo>
                    <a:lnTo>
                      <a:pt x="32" y="56"/>
                    </a:lnTo>
                    <a:lnTo>
                      <a:pt x="0" y="62"/>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52" name="Freeform 208"/>
              <p:cNvSpPr>
                <a:spLocks noEditPoints="1"/>
              </p:cNvSpPr>
              <p:nvPr/>
            </p:nvSpPr>
            <p:spPr bwMode="auto">
              <a:xfrm>
                <a:off x="4502" y="1588"/>
                <a:ext cx="56" cy="66"/>
              </a:xfrm>
              <a:custGeom>
                <a:avLst/>
                <a:gdLst/>
                <a:ahLst/>
                <a:cxnLst>
                  <a:cxn ang="0">
                    <a:pos x="10" y="288"/>
                  </a:cxn>
                  <a:cxn ang="0">
                    <a:pos x="3" y="287"/>
                  </a:cxn>
                  <a:cxn ang="0">
                    <a:pos x="0" y="280"/>
                  </a:cxn>
                  <a:cxn ang="0">
                    <a:pos x="19" y="68"/>
                  </a:cxn>
                  <a:cxn ang="0">
                    <a:pos x="23" y="62"/>
                  </a:cxn>
                  <a:cxn ang="0">
                    <a:pos x="118" y="2"/>
                  </a:cxn>
                  <a:cxn ang="0">
                    <a:pos x="124" y="1"/>
                  </a:cxn>
                  <a:cxn ang="0">
                    <a:pos x="129" y="6"/>
                  </a:cxn>
                  <a:cxn ang="0">
                    <a:pos x="192" y="171"/>
                  </a:cxn>
                  <a:cxn ang="0">
                    <a:pos x="191" y="179"/>
                  </a:cxn>
                  <a:cxn ang="0">
                    <a:pos x="125" y="258"/>
                  </a:cxn>
                  <a:cxn ang="0">
                    <a:pos x="121" y="260"/>
                  </a:cxn>
                  <a:cxn ang="0">
                    <a:pos x="10" y="288"/>
                  </a:cxn>
                  <a:cxn ang="0">
                    <a:pos x="117" y="245"/>
                  </a:cxn>
                  <a:cxn ang="0">
                    <a:pos x="113" y="247"/>
                  </a:cxn>
                  <a:cxn ang="0">
                    <a:pos x="178" y="169"/>
                  </a:cxn>
                  <a:cxn ang="0">
                    <a:pos x="177" y="177"/>
                  </a:cxn>
                  <a:cxn ang="0">
                    <a:pos x="114" y="11"/>
                  </a:cxn>
                  <a:cxn ang="0">
                    <a:pos x="126" y="15"/>
                  </a:cxn>
                  <a:cxn ang="0">
                    <a:pos x="32" y="76"/>
                  </a:cxn>
                  <a:cxn ang="0">
                    <a:pos x="35" y="70"/>
                  </a:cxn>
                  <a:cxn ang="0">
                    <a:pos x="16" y="281"/>
                  </a:cxn>
                  <a:cxn ang="0">
                    <a:pos x="7" y="273"/>
                  </a:cxn>
                  <a:cxn ang="0">
                    <a:pos x="117" y="245"/>
                  </a:cxn>
                </a:cxnLst>
                <a:rect l="0" t="0" r="r" b="b"/>
                <a:pathLst>
                  <a:path w="193" h="289">
                    <a:moveTo>
                      <a:pt x="10" y="288"/>
                    </a:moveTo>
                    <a:cubicBezTo>
                      <a:pt x="8" y="289"/>
                      <a:pt x="5" y="288"/>
                      <a:pt x="3" y="287"/>
                    </a:cubicBezTo>
                    <a:cubicBezTo>
                      <a:pt x="1" y="285"/>
                      <a:pt x="0" y="282"/>
                      <a:pt x="0" y="280"/>
                    </a:cubicBezTo>
                    <a:lnTo>
                      <a:pt x="19" y="68"/>
                    </a:lnTo>
                    <a:cubicBezTo>
                      <a:pt x="20" y="66"/>
                      <a:pt x="21" y="64"/>
                      <a:pt x="23" y="62"/>
                    </a:cubicBezTo>
                    <a:lnTo>
                      <a:pt x="118" y="2"/>
                    </a:lnTo>
                    <a:cubicBezTo>
                      <a:pt x="120" y="0"/>
                      <a:pt x="122" y="0"/>
                      <a:pt x="124" y="1"/>
                    </a:cubicBezTo>
                    <a:cubicBezTo>
                      <a:pt x="127" y="2"/>
                      <a:pt x="129" y="3"/>
                      <a:pt x="129" y="6"/>
                    </a:cubicBezTo>
                    <a:lnTo>
                      <a:pt x="192" y="171"/>
                    </a:lnTo>
                    <a:cubicBezTo>
                      <a:pt x="193" y="174"/>
                      <a:pt x="192" y="177"/>
                      <a:pt x="191" y="179"/>
                    </a:cubicBezTo>
                    <a:lnTo>
                      <a:pt x="125" y="258"/>
                    </a:lnTo>
                    <a:cubicBezTo>
                      <a:pt x="124" y="259"/>
                      <a:pt x="123" y="260"/>
                      <a:pt x="121" y="260"/>
                    </a:cubicBezTo>
                    <a:lnTo>
                      <a:pt x="10" y="288"/>
                    </a:lnTo>
                    <a:close/>
                    <a:moveTo>
                      <a:pt x="117" y="245"/>
                    </a:moveTo>
                    <a:lnTo>
                      <a:pt x="113" y="247"/>
                    </a:lnTo>
                    <a:lnTo>
                      <a:pt x="178" y="169"/>
                    </a:lnTo>
                    <a:lnTo>
                      <a:pt x="177" y="177"/>
                    </a:lnTo>
                    <a:lnTo>
                      <a:pt x="114" y="11"/>
                    </a:lnTo>
                    <a:lnTo>
                      <a:pt x="126" y="15"/>
                    </a:lnTo>
                    <a:lnTo>
                      <a:pt x="32" y="76"/>
                    </a:lnTo>
                    <a:lnTo>
                      <a:pt x="35" y="70"/>
                    </a:lnTo>
                    <a:lnTo>
                      <a:pt x="16" y="281"/>
                    </a:lnTo>
                    <a:lnTo>
                      <a:pt x="7" y="273"/>
                    </a:lnTo>
                    <a:lnTo>
                      <a:pt x="117" y="245"/>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53" name="Freeform 209"/>
              <p:cNvSpPr>
                <a:spLocks/>
              </p:cNvSpPr>
              <p:nvPr/>
            </p:nvSpPr>
            <p:spPr bwMode="auto">
              <a:xfrm>
                <a:off x="4143" y="1824"/>
                <a:ext cx="102" cy="110"/>
              </a:xfrm>
              <a:custGeom>
                <a:avLst/>
                <a:gdLst/>
                <a:ahLst/>
                <a:cxnLst>
                  <a:cxn ang="0">
                    <a:pos x="0" y="24"/>
                  </a:cxn>
                  <a:cxn ang="0">
                    <a:pos x="13" y="40"/>
                  </a:cxn>
                  <a:cxn ang="0">
                    <a:pos x="9" y="67"/>
                  </a:cxn>
                  <a:cxn ang="0">
                    <a:pos x="45" y="55"/>
                  </a:cxn>
                  <a:cxn ang="0">
                    <a:pos x="61" y="67"/>
                  </a:cxn>
                  <a:cxn ang="0">
                    <a:pos x="74" y="93"/>
                  </a:cxn>
                  <a:cxn ang="0">
                    <a:pos x="70" y="110"/>
                  </a:cxn>
                  <a:cxn ang="0">
                    <a:pos x="102" y="106"/>
                  </a:cxn>
                  <a:cxn ang="0">
                    <a:pos x="86" y="70"/>
                  </a:cxn>
                  <a:cxn ang="0">
                    <a:pos x="52" y="44"/>
                  </a:cxn>
                  <a:cxn ang="0">
                    <a:pos x="61" y="29"/>
                  </a:cxn>
                  <a:cxn ang="0">
                    <a:pos x="42" y="21"/>
                  </a:cxn>
                  <a:cxn ang="0">
                    <a:pos x="27" y="0"/>
                  </a:cxn>
                  <a:cxn ang="0">
                    <a:pos x="18" y="1"/>
                  </a:cxn>
                  <a:cxn ang="0">
                    <a:pos x="20" y="15"/>
                  </a:cxn>
                  <a:cxn ang="0">
                    <a:pos x="13" y="12"/>
                  </a:cxn>
                  <a:cxn ang="0">
                    <a:pos x="0" y="24"/>
                  </a:cxn>
                </a:cxnLst>
                <a:rect l="0" t="0" r="r" b="b"/>
                <a:pathLst>
                  <a:path w="102" h="110">
                    <a:moveTo>
                      <a:pt x="0" y="24"/>
                    </a:moveTo>
                    <a:lnTo>
                      <a:pt x="13" y="40"/>
                    </a:lnTo>
                    <a:lnTo>
                      <a:pt x="9" y="67"/>
                    </a:lnTo>
                    <a:lnTo>
                      <a:pt x="45" y="55"/>
                    </a:lnTo>
                    <a:lnTo>
                      <a:pt x="61" y="67"/>
                    </a:lnTo>
                    <a:lnTo>
                      <a:pt x="74" y="93"/>
                    </a:lnTo>
                    <a:lnTo>
                      <a:pt x="70" y="110"/>
                    </a:lnTo>
                    <a:lnTo>
                      <a:pt x="102" y="106"/>
                    </a:lnTo>
                    <a:lnTo>
                      <a:pt x="86" y="70"/>
                    </a:lnTo>
                    <a:lnTo>
                      <a:pt x="52" y="44"/>
                    </a:lnTo>
                    <a:lnTo>
                      <a:pt x="61" y="29"/>
                    </a:lnTo>
                    <a:lnTo>
                      <a:pt x="42" y="21"/>
                    </a:lnTo>
                    <a:lnTo>
                      <a:pt x="27" y="0"/>
                    </a:lnTo>
                    <a:lnTo>
                      <a:pt x="18" y="1"/>
                    </a:lnTo>
                    <a:lnTo>
                      <a:pt x="20" y="15"/>
                    </a:lnTo>
                    <a:lnTo>
                      <a:pt x="13" y="12"/>
                    </a:lnTo>
                    <a:lnTo>
                      <a:pt x="0" y="24"/>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54" name="Freeform 210"/>
              <p:cNvSpPr>
                <a:spLocks noEditPoints="1"/>
              </p:cNvSpPr>
              <p:nvPr/>
            </p:nvSpPr>
            <p:spPr bwMode="auto">
              <a:xfrm>
                <a:off x="4140" y="1822"/>
                <a:ext cx="107" cy="114"/>
              </a:xfrm>
              <a:custGeom>
                <a:avLst/>
                <a:gdLst/>
                <a:ahLst/>
                <a:cxnLst>
                  <a:cxn ang="0">
                    <a:pos x="15" y="110"/>
                  </a:cxn>
                  <a:cxn ang="0">
                    <a:pos x="63" y="183"/>
                  </a:cxn>
                  <a:cxn ang="0">
                    <a:pos x="38" y="292"/>
                  </a:cxn>
                  <a:cxn ang="0">
                    <a:pos x="171" y="241"/>
                  </a:cxn>
                  <a:cxn ang="0">
                    <a:pos x="227" y="297"/>
                  </a:cxn>
                  <a:cxn ang="0">
                    <a:pos x="274" y="417"/>
                  </a:cxn>
                  <a:cxn ang="0">
                    <a:pos x="247" y="481"/>
                  </a:cxn>
                  <a:cxn ang="0">
                    <a:pos x="353" y="471"/>
                  </a:cxn>
                  <a:cxn ang="0">
                    <a:pos x="301" y="320"/>
                  </a:cxn>
                  <a:cxn ang="0">
                    <a:pos x="181" y="197"/>
                  </a:cxn>
                  <a:cxn ang="0">
                    <a:pos x="217" y="141"/>
                  </a:cxn>
                  <a:cxn ang="0">
                    <a:pos x="147" y="103"/>
                  </a:cxn>
                  <a:cxn ang="0">
                    <a:pos x="104" y="16"/>
                  </a:cxn>
                  <a:cxn ang="0">
                    <a:pos x="81" y="10"/>
                  </a:cxn>
                  <a:cxn ang="0">
                    <a:pos x="82" y="82"/>
                  </a:cxn>
                  <a:cxn ang="0">
                    <a:pos x="51" y="66"/>
                  </a:cxn>
                  <a:cxn ang="0">
                    <a:pos x="15" y="120"/>
                  </a:cxn>
                  <a:cxn ang="0">
                    <a:pos x="60" y="53"/>
                  </a:cxn>
                  <a:cxn ang="0">
                    <a:pos x="70" y="75"/>
                  </a:cxn>
                  <a:cxn ang="0">
                    <a:pos x="67" y="5"/>
                  </a:cxn>
                  <a:cxn ang="0">
                    <a:pos x="103" y="0"/>
                  </a:cxn>
                  <a:cxn ang="0">
                    <a:pos x="161" y="96"/>
                  </a:cxn>
                  <a:cxn ang="0">
                    <a:pos x="224" y="127"/>
                  </a:cxn>
                  <a:cxn ang="0">
                    <a:pos x="195" y="204"/>
                  </a:cxn>
                  <a:cxn ang="0">
                    <a:pos x="312" y="309"/>
                  </a:cxn>
                  <a:cxn ang="0">
                    <a:pos x="368" y="466"/>
                  </a:cxn>
                  <a:cxn ang="0">
                    <a:pos x="362" y="476"/>
                  </a:cxn>
                  <a:cxn ang="0">
                    <a:pos x="243" y="494"/>
                  </a:cxn>
                  <a:cxn ang="0">
                    <a:pos x="258" y="414"/>
                  </a:cxn>
                  <a:cxn ang="0">
                    <a:pos x="212" y="303"/>
                  </a:cxn>
                  <a:cxn ang="0">
                    <a:pos x="160" y="253"/>
                  </a:cxn>
                  <a:cxn ang="0">
                    <a:pos x="44" y="307"/>
                  </a:cxn>
                  <a:cxn ang="0">
                    <a:pos x="33" y="299"/>
                  </a:cxn>
                  <a:cxn ang="0">
                    <a:pos x="49" y="187"/>
                  </a:cxn>
                  <a:cxn ang="0">
                    <a:pos x="2" y="109"/>
                  </a:cxn>
                </a:cxnLst>
                <a:rect l="0" t="0" r="r" b="b"/>
                <a:pathLst>
                  <a:path w="369" h="497">
                    <a:moveTo>
                      <a:pt x="15" y="120"/>
                    </a:moveTo>
                    <a:lnTo>
                      <a:pt x="15" y="110"/>
                    </a:lnTo>
                    <a:lnTo>
                      <a:pt x="62" y="178"/>
                    </a:lnTo>
                    <a:cubicBezTo>
                      <a:pt x="63" y="179"/>
                      <a:pt x="63" y="181"/>
                      <a:pt x="63" y="183"/>
                    </a:cubicBezTo>
                    <a:lnTo>
                      <a:pt x="49" y="301"/>
                    </a:lnTo>
                    <a:lnTo>
                      <a:pt x="38" y="292"/>
                    </a:lnTo>
                    <a:lnTo>
                      <a:pt x="162" y="239"/>
                    </a:lnTo>
                    <a:cubicBezTo>
                      <a:pt x="165" y="238"/>
                      <a:pt x="169" y="239"/>
                      <a:pt x="171" y="241"/>
                    </a:cubicBezTo>
                    <a:lnTo>
                      <a:pt x="225" y="294"/>
                    </a:lnTo>
                    <a:cubicBezTo>
                      <a:pt x="226" y="295"/>
                      <a:pt x="226" y="296"/>
                      <a:pt x="227" y="297"/>
                    </a:cubicBezTo>
                    <a:lnTo>
                      <a:pt x="273" y="413"/>
                    </a:lnTo>
                    <a:cubicBezTo>
                      <a:pt x="274" y="414"/>
                      <a:pt x="274" y="416"/>
                      <a:pt x="274" y="417"/>
                    </a:cubicBezTo>
                    <a:lnTo>
                      <a:pt x="257" y="490"/>
                    </a:lnTo>
                    <a:lnTo>
                      <a:pt x="247" y="481"/>
                    </a:lnTo>
                    <a:lnTo>
                      <a:pt x="359" y="461"/>
                    </a:lnTo>
                    <a:lnTo>
                      <a:pt x="353" y="471"/>
                    </a:lnTo>
                    <a:lnTo>
                      <a:pt x="299" y="317"/>
                    </a:lnTo>
                    <a:lnTo>
                      <a:pt x="301" y="320"/>
                    </a:lnTo>
                    <a:lnTo>
                      <a:pt x="182" y="206"/>
                    </a:lnTo>
                    <a:cubicBezTo>
                      <a:pt x="180" y="204"/>
                      <a:pt x="179" y="200"/>
                      <a:pt x="181" y="197"/>
                    </a:cubicBezTo>
                    <a:lnTo>
                      <a:pt x="213" y="131"/>
                    </a:lnTo>
                    <a:lnTo>
                      <a:pt x="217" y="141"/>
                    </a:lnTo>
                    <a:lnTo>
                      <a:pt x="150" y="107"/>
                    </a:lnTo>
                    <a:cubicBezTo>
                      <a:pt x="149" y="106"/>
                      <a:pt x="148" y="105"/>
                      <a:pt x="147" y="103"/>
                    </a:cubicBezTo>
                    <a:lnTo>
                      <a:pt x="96" y="12"/>
                    </a:lnTo>
                    <a:lnTo>
                      <a:pt x="104" y="16"/>
                    </a:lnTo>
                    <a:lnTo>
                      <a:pt x="74" y="18"/>
                    </a:lnTo>
                    <a:lnTo>
                      <a:pt x="81" y="10"/>
                    </a:lnTo>
                    <a:lnTo>
                      <a:pt x="86" y="74"/>
                    </a:lnTo>
                    <a:cubicBezTo>
                      <a:pt x="86" y="77"/>
                      <a:pt x="84" y="80"/>
                      <a:pt x="82" y="82"/>
                    </a:cubicBezTo>
                    <a:cubicBezTo>
                      <a:pt x="79" y="83"/>
                      <a:pt x="76" y="83"/>
                      <a:pt x="73" y="81"/>
                    </a:cubicBezTo>
                    <a:lnTo>
                      <a:pt x="51" y="66"/>
                    </a:lnTo>
                    <a:lnTo>
                      <a:pt x="61" y="65"/>
                    </a:lnTo>
                    <a:lnTo>
                      <a:pt x="15" y="120"/>
                    </a:lnTo>
                    <a:close/>
                    <a:moveTo>
                      <a:pt x="49" y="55"/>
                    </a:moveTo>
                    <a:cubicBezTo>
                      <a:pt x="52" y="52"/>
                      <a:pt x="56" y="51"/>
                      <a:pt x="60" y="53"/>
                    </a:cubicBezTo>
                    <a:lnTo>
                      <a:pt x="82" y="68"/>
                    </a:lnTo>
                    <a:lnTo>
                      <a:pt x="70" y="75"/>
                    </a:lnTo>
                    <a:lnTo>
                      <a:pt x="66" y="11"/>
                    </a:lnTo>
                    <a:cubicBezTo>
                      <a:pt x="65" y="9"/>
                      <a:pt x="66" y="6"/>
                      <a:pt x="67" y="5"/>
                    </a:cubicBezTo>
                    <a:cubicBezTo>
                      <a:pt x="69" y="3"/>
                      <a:pt x="71" y="2"/>
                      <a:pt x="73" y="2"/>
                    </a:cubicBezTo>
                    <a:lnTo>
                      <a:pt x="103" y="0"/>
                    </a:lnTo>
                    <a:cubicBezTo>
                      <a:pt x="106" y="0"/>
                      <a:pt x="109" y="2"/>
                      <a:pt x="110" y="5"/>
                    </a:cubicBezTo>
                    <a:lnTo>
                      <a:pt x="161" y="96"/>
                    </a:lnTo>
                    <a:lnTo>
                      <a:pt x="158" y="92"/>
                    </a:lnTo>
                    <a:lnTo>
                      <a:pt x="224" y="127"/>
                    </a:lnTo>
                    <a:cubicBezTo>
                      <a:pt x="228" y="129"/>
                      <a:pt x="230" y="134"/>
                      <a:pt x="228" y="138"/>
                    </a:cubicBezTo>
                    <a:lnTo>
                      <a:pt x="195" y="204"/>
                    </a:lnTo>
                    <a:lnTo>
                      <a:pt x="194" y="195"/>
                    </a:lnTo>
                    <a:lnTo>
                      <a:pt x="312" y="309"/>
                    </a:lnTo>
                    <a:cubicBezTo>
                      <a:pt x="313" y="310"/>
                      <a:pt x="314" y="311"/>
                      <a:pt x="314" y="312"/>
                    </a:cubicBezTo>
                    <a:lnTo>
                      <a:pt x="368" y="466"/>
                    </a:lnTo>
                    <a:cubicBezTo>
                      <a:pt x="369" y="468"/>
                      <a:pt x="369" y="471"/>
                      <a:pt x="367" y="473"/>
                    </a:cubicBezTo>
                    <a:cubicBezTo>
                      <a:pt x="366" y="475"/>
                      <a:pt x="364" y="476"/>
                      <a:pt x="362" y="476"/>
                    </a:cubicBezTo>
                    <a:lnTo>
                      <a:pt x="250" y="496"/>
                    </a:lnTo>
                    <a:cubicBezTo>
                      <a:pt x="248" y="497"/>
                      <a:pt x="245" y="496"/>
                      <a:pt x="243" y="494"/>
                    </a:cubicBezTo>
                    <a:cubicBezTo>
                      <a:pt x="241" y="492"/>
                      <a:pt x="240" y="489"/>
                      <a:pt x="241" y="487"/>
                    </a:cubicBezTo>
                    <a:lnTo>
                      <a:pt x="258" y="414"/>
                    </a:lnTo>
                    <a:lnTo>
                      <a:pt x="258" y="419"/>
                    </a:lnTo>
                    <a:lnTo>
                      <a:pt x="212" y="303"/>
                    </a:lnTo>
                    <a:lnTo>
                      <a:pt x="213" y="305"/>
                    </a:lnTo>
                    <a:lnTo>
                      <a:pt x="160" y="253"/>
                    </a:lnTo>
                    <a:lnTo>
                      <a:pt x="169" y="254"/>
                    </a:lnTo>
                    <a:lnTo>
                      <a:pt x="44" y="307"/>
                    </a:lnTo>
                    <a:cubicBezTo>
                      <a:pt x="41" y="308"/>
                      <a:pt x="38" y="308"/>
                      <a:pt x="36" y="306"/>
                    </a:cubicBezTo>
                    <a:cubicBezTo>
                      <a:pt x="34" y="304"/>
                      <a:pt x="33" y="302"/>
                      <a:pt x="33" y="299"/>
                    </a:cubicBezTo>
                    <a:lnTo>
                      <a:pt x="47" y="181"/>
                    </a:lnTo>
                    <a:lnTo>
                      <a:pt x="49" y="187"/>
                    </a:lnTo>
                    <a:lnTo>
                      <a:pt x="2" y="119"/>
                    </a:lnTo>
                    <a:cubicBezTo>
                      <a:pt x="0" y="116"/>
                      <a:pt x="0" y="112"/>
                      <a:pt x="2" y="109"/>
                    </a:cubicBezTo>
                    <a:lnTo>
                      <a:pt x="49" y="55"/>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55" name="Freeform 211"/>
              <p:cNvSpPr>
                <a:spLocks/>
              </p:cNvSpPr>
              <p:nvPr/>
            </p:nvSpPr>
            <p:spPr bwMode="auto">
              <a:xfrm>
                <a:off x="2820" y="1403"/>
                <a:ext cx="9" cy="11"/>
              </a:xfrm>
              <a:custGeom>
                <a:avLst/>
                <a:gdLst/>
                <a:ahLst/>
                <a:cxnLst>
                  <a:cxn ang="0">
                    <a:pos x="0" y="9"/>
                  </a:cxn>
                  <a:cxn ang="0">
                    <a:pos x="7" y="0"/>
                  </a:cxn>
                  <a:cxn ang="0">
                    <a:pos x="9" y="11"/>
                  </a:cxn>
                  <a:cxn ang="0">
                    <a:pos x="0" y="9"/>
                  </a:cxn>
                </a:cxnLst>
                <a:rect l="0" t="0" r="r" b="b"/>
                <a:pathLst>
                  <a:path w="9" h="11">
                    <a:moveTo>
                      <a:pt x="0" y="9"/>
                    </a:moveTo>
                    <a:lnTo>
                      <a:pt x="7" y="0"/>
                    </a:lnTo>
                    <a:lnTo>
                      <a:pt x="9" y="11"/>
                    </a:lnTo>
                    <a:lnTo>
                      <a:pt x="0" y="9"/>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56" name="Freeform 212"/>
              <p:cNvSpPr>
                <a:spLocks noEditPoints="1"/>
              </p:cNvSpPr>
              <p:nvPr/>
            </p:nvSpPr>
            <p:spPr bwMode="auto">
              <a:xfrm>
                <a:off x="2818" y="1402"/>
                <a:ext cx="14" cy="14"/>
              </a:xfrm>
              <a:custGeom>
                <a:avLst/>
                <a:gdLst/>
                <a:ahLst/>
                <a:cxnLst>
                  <a:cxn ang="0">
                    <a:pos x="6" y="53"/>
                  </a:cxn>
                  <a:cxn ang="0">
                    <a:pos x="1" y="48"/>
                  </a:cxn>
                  <a:cxn ang="0">
                    <a:pos x="2" y="41"/>
                  </a:cxn>
                  <a:cxn ang="0">
                    <a:pos x="26" y="4"/>
                  </a:cxn>
                  <a:cxn ang="0">
                    <a:pos x="35" y="1"/>
                  </a:cxn>
                  <a:cxn ang="0">
                    <a:pos x="41" y="7"/>
                  </a:cxn>
                  <a:cxn ang="0">
                    <a:pos x="48" y="55"/>
                  </a:cxn>
                  <a:cxn ang="0">
                    <a:pos x="46" y="63"/>
                  </a:cxn>
                  <a:cxn ang="0">
                    <a:pos x="38" y="64"/>
                  </a:cxn>
                  <a:cxn ang="0">
                    <a:pos x="6" y="53"/>
                  </a:cxn>
                  <a:cxn ang="0">
                    <a:pos x="43" y="49"/>
                  </a:cxn>
                  <a:cxn ang="0">
                    <a:pos x="33" y="58"/>
                  </a:cxn>
                  <a:cxn ang="0">
                    <a:pos x="25" y="10"/>
                  </a:cxn>
                  <a:cxn ang="0">
                    <a:pos x="40" y="13"/>
                  </a:cxn>
                  <a:cxn ang="0">
                    <a:pos x="15" y="50"/>
                  </a:cxn>
                  <a:cxn ang="0">
                    <a:pos x="11" y="38"/>
                  </a:cxn>
                  <a:cxn ang="0">
                    <a:pos x="43" y="49"/>
                  </a:cxn>
                </a:cxnLst>
                <a:rect l="0" t="0" r="r" b="b"/>
                <a:pathLst>
                  <a:path w="49" h="65">
                    <a:moveTo>
                      <a:pt x="6" y="53"/>
                    </a:moveTo>
                    <a:cubicBezTo>
                      <a:pt x="3" y="52"/>
                      <a:pt x="2" y="50"/>
                      <a:pt x="1" y="48"/>
                    </a:cubicBezTo>
                    <a:cubicBezTo>
                      <a:pt x="0" y="45"/>
                      <a:pt x="0" y="43"/>
                      <a:pt x="2" y="41"/>
                    </a:cubicBezTo>
                    <a:lnTo>
                      <a:pt x="26" y="4"/>
                    </a:lnTo>
                    <a:cubicBezTo>
                      <a:pt x="28" y="1"/>
                      <a:pt x="31" y="0"/>
                      <a:pt x="35" y="1"/>
                    </a:cubicBezTo>
                    <a:cubicBezTo>
                      <a:pt x="38" y="1"/>
                      <a:pt x="40" y="4"/>
                      <a:pt x="41" y="7"/>
                    </a:cubicBezTo>
                    <a:lnTo>
                      <a:pt x="48" y="55"/>
                    </a:lnTo>
                    <a:cubicBezTo>
                      <a:pt x="49" y="58"/>
                      <a:pt x="48" y="61"/>
                      <a:pt x="46" y="63"/>
                    </a:cubicBezTo>
                    <a:cubicBezTo>
                      <a:pt x="43" y="64"/>
                      <a:pt x="40" y="65"/>
                      <a:pt x="38" y="64"/>
                    </a:cubicBezTo>
                    <a:lnTo>
                      <a:pt x="6" y="53"/>
                    </a:lnTo>
                    <a:close/>
                    <a:moveTo>
                      <a:pt x="43" y="49"/>
                    </a:moveTo>
                    <a:lnTo>
                      <a:pt x="33" y="58"/>
                    </a:lnTo>
                    <a:lnTo>
                      <a:pt x="25" y="10"/>
                    </a:lnTo>
                    <a:lnTo>
                      <a:pt x="40" y="13"/>
                    </a:lnTo>
                    <a:lnTo>
                      <a:pt x="15" y="50"/>
                    </a:lnTo>
                    <a:lnTo>
                      <a:pt x="11" y="38"/>
                    </a:lnTo>
                    <a:lnTo>
                      <a:pt x="43" y="49"/>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57" name="Freeform 213"/>
              <p:cNvSpPr>
                <a:spLocks/>
              </p:cNvSpPr>
              <p:nvPr/>
            </p:nvSpPr>
            <p:spPr bwMode="auto">
              <a:xfrm>
                <a:off x="4143" y="2036"/>
                <a:ext cx="55" cy="66"/>
              </a:xfrm>
              <a:custGeom>
                <a:avLst/>
                <a:gdLst/>
                <a:ahLst/>
                <a:cxnLst>
                  <a:cxn ang="0">
                    <a:pos x="0" y="0"/>
                  </a:cxn>
                  <a:cxn ang="0">
                    <a:pos x="11" y="0"/>
                  </a:cxn>
                  <a:cxn ang="0">
                    <a:pos x="14" y="12"/>
                  </a:cxn>
                  <a:cxn ang="0">
                    <a:pos x="28" y="5"/>
                  </a:cxn>
                  <a:cxn ang="0">
                    <a:pos x="46" y="20"/>
                  </a:cxn>
                  <a:cxn ang="0">
                    <a:pos x="55" y="66"/>
                  </a:cxn>
                  <a:cxn ang="0">
                    <a:pos x="55" y="66"/>
                  </a:cxn>
                  <a:cxn ang="0">
                    <a:pos x="16" y="47"/>
                  </a:cxn>
                  <a:cxn ang="0">
                    <a:pos x="0" y="0"/>
                  </a:cxn>
                </a:cxnLst>
                <a:rect l="0" t="0" r="r" b="b"/>
                <a:pathLst>
                  <a:path w="55" h="66">
                    <a:moveTo>
                      <a:pt x="0" y="0"/>
                    </a:moveTo>
                    <a:lnTo>
                      <a:pt x="11" y="0"/>
                    </a:lnTo>
                    <a:lnTo>
                      <a:pt x="14" y="12"/>
                    </a:lnTo>
                    <a:lnTo>
                      <a:pt x="28" y="5"/>
                    </a:lnTo>
                    <a:lnTo>
                      <a:pt x="46" y="20"/>
                    </a:lnTo>
                    <a:lnTo>
                      <a:pt x="55" y="66"/>
                    </a:lnTo>
                    <a:lnTo>
                      <a:pt x="55" y="66"/>
                    </a:lnTo>
                    <a:lnTo>
                      <a:pt x="16" y="47"/>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58" name="Freeform 214"/>
              <p:cNvSpPr>
                <a:spLocks noEditPoints="1"/>
              </p:cNvSpPr>
              <p:nvPr/>
            </p:nvSpPr>
            <p:spPr bwMode="auto">
              <a:xfrm>
                <a:off x="4140" y="2034"/>
                <a:ext cx="61" cy="70"/>
              </a:xfrm>
              <a:custGeom>
                <a:avLst/>
                <a:gdLst/>
                <a:ahLst/>
                <a:cxnLst>
                  <a:cxn ang="0">
                    <a:pos x="1" y="11"/>
                  </a:cxn>
                  <a:cxn ang="0">
                    <a:pos x="2" y="4"/>
                  </a:cxn>
                  <a:cxn ang="0">
                    <a:pos x="8" y="0"/>
                  </a:cxn>
                  <a:cxn ang="0">
                    <a:pos x="47" y="0"/>
                  </a:cxn>
                  <a:cxn ang="0">
                    <a:pos x="55" y="7"/>
                  </a:cxn>
                  <a:cxn ang="0">
                    <a:pos x="66" y="57"/>
                  </a:cxn>
                  <a:cxn ang="0">
                    <a:pos x="54" y="52"/>
                  </a:cxn>
                  <a:cxn ang="0">
                    <a:pos x="101" y="20"/>
                  </a:cxn>
                  <a:cxn ang="0">
                    <a:pos x="112" y="21"/>
                  </a:cxn>
                  <a:cxn ang="0">
                    <a:pos x="175" y="88"/>
                  </a:cxn>
                  <a:cxn ang="0">
                    <a:pos x="177" y="93"/>
                  </a:cxn>
                  <a:cxn ang="0">
                    <a:pos x="208" y="295"/>
                  </a:cxn>
                  <a:cxn ang="0">
                    <a:pos x="207" y="302"/>
                  </a:cxn>
                  <a:cxn ang="0">
                    <a:pos x="200" y="304"/>
                  </a:cxn>
                  <a:cxn ang="0">
                    <a:pos x="199" y="304"/>
                  </a:cxn>
                  <a:cxn ang="0">
                    <a:pos x="195" y="303"/>
                  </a:cxn>
                  <a:cxn ang="0">
                    <a:pos x="62" y="218"/>
                  </a:cxn>
                  <a:cxn ang="0">
                    <a:pos x="58" y="213"/>
                  </a:cxn>
                  <a:cxn ang="0">
                    <a:pos x="1" y="11"/>
                  </a:cxn>
                  <a:cxn ang="0">
                    <a:pos x="74" y="209"/>
                  </a:cxn>
                  <a:cxn ang="0">
                    <a:pos x="70" y="204"/>
                  </a:cxn>
                  <a:cxn ang="0">
                    <a:pos x="203" y="290"/>
                  </a:cxn>
                  <a:cxn ang="0">
                    <a:pos x="199" y="288"/>
                  </a:cxn>
                  <a:cxn ang="0">
                    <a:pos x="200" y="288"/>
                  </a:cxn>
                  <a:cxn ang="0">
                    <a:pos x="193" y="298"/>
                  </a:cxn>
                  <a:cxn ang="0">
                    <a:pos x="162" y="95"/>
                  </a:cxn>
                  <a:cxn ang="0">
                    <a:pos x="164" y="99"/>
                  </a:cxn>
                  <a:cxn ang="0">
                    <a:pos x="100" y="32"/>
                  </a:cxn>
                  <a:cxn ang="0">
                    <a:pos x="110" y="34"/>
                  </a:cxn>
                  <a:cxn ang="0">
                    <a:pos x="63" y="65"/>
                  </a:cxn>
                  <a:cxn ang="0">
                    <a:pos x="56" y="66"/>
                  </a:cxn>
                  <a:cxn ang="0">
                    <a:pos x="51" y="61"/>
                  </a:cxn>
                  <a:cxn ang="0">
                    <a:pos x="39" y="10"/>
                  </a:cxn>
                  <a:cxn ang="0">
                    <a:pos x="47" y="16"/>
                  </a:cxn>
                  <a:cxn ang="0">
                    <a:pos x="8" y="16"/>
                  </a:cxn>
                  <a:cxn ang="0">
                    <a:pos x="16" y="6"/>
                  </a:cxn>
                  <a:cxn ang="0">
                    <a:pos x="74" y="209"/>
                  </a:cxn>
                </a:cxnLst>
                <a:rect l="0" t="0" r="r" b="b"/>
                <a:pathLst>
                  <a:path w="209" h="304">
                    <a:moveTo>
                      <a:pt x="1" y="11"/>
                    </a:moveTo>
                    <a:cubicBezTo>
                      <a:pt x="0" y="8"/>
                      <a:pt x="1" y="6"/>
                      <a:pt x="2" y="4"/>
                    </a:cubicBezTo>
                    <a:cubicBezTo>
                      <a:pt x="4" y="2"/>
                      <a:pt x="6" y="0"/>
                      <a:pt x="8" y="0"/>
                    </a:cubicBezTo>
                    <a:lnTo>
                      <a:pt x="47" y="0"/>
                    </a:lnTo>
                    <a:cubicBezTo>
                      <a:pt x="51" y="0"/>
                      <a:pt x="54" y="3"/>
                      <a:pt x="55" y="7"/>
                    </a:cubicBezTo>
                    <a:lnTo>
                      <a:pt x="66" y="57"/>
                    </a:lnTo>
                    <a:lnTo>
                      <a:pt x="54" y="52"/>
                    </a:lnTo>
                    <a:lnTo>
                      <a:pt x="101" y="20"/>
                    </a:lnTo>
                    <a:cubicBezTo>
                      <a:pt x="105" y="18"/>
                      <a:pt x="109" y="19"/>
                      <a:pt x="112" y="21"/>
                    </a:cubicBezTo>
                    <a:lnTo>
                      <a:pt x="175" y="88"/>
                    </a:lnTo>
                    <a:cubicBezTo>
                      <a:pt x="176" y="90"/>
                      <a:pt x="177" y="91"/>
                      <a:pt x="177" y="93"/>
                    </a:cubicBezTo>
                    <a:lnTo>
                      <a:pt x="208" y="295"/>
                    </a:lnTo>
                    <a:cubicBezTo>
                      <a:pt x="209" y="298"/>
                      <a:pt x="208" y="300"/>
                      <a:pt x="207" y="302"/>
                    </a:cubicBezTo>
                    <a:cubicBezTo>
                      <a:pt x="205" y="303"/>
                      <a:pt x="203" y="304"/>
                      <a:pt x="200" y="304"/>
                    </a:cubicBezTo>
                    <a:lnTo>
                      <a:pt x="199" y="304"/>
                    </a:lnTo>
                    <a:cubicBezTo>
                      <a:pt x="197" y="304"/>
                      <a:pt x="196" y="304"/>
                      <a:pt x="195" y="303"/>
                    </a:cubicBezTo>
                    <a:lnTo>
                      <a:pt x="62" y="218"/>
                    </a:lnTo>
                    <a:cubicBezTo>
                      <a:pt x="60" y="217"/>
                      <a:pt x="59" y="215"/>
                      <a:pt x="58" y="213"/>
                    </a:cubicBezTo>
                    <a:lnTo>
                      <a:pt x="1" y="11"/>
                    </a:lnTo>
                    <a:close/>
                    <a:moveTo>
                      <a:pt x="74" y="209"/>
                    </a:moveTo>
                    <a:lnTo>
                      <a:pt x="70" y="204"/>
                    </a:lnTo>
                    <a:lnTo>
                      <a:pt x="203" y="290"/>
                    </a:lnTo>
                    <a:lnTo>
                      <a:pt x="199" y="288"/>
                    </a:lnTo>
                    <a:lnTo>
                      <a:pt x="200" y="288"/>
                    </a:lnTo>
                    <a:lnTo>
                      <a:pt x="193" y="298"/>
                    </a:lnTo>
                    <a:lnTo>
                      <a:pt x="162" y="95"/>
                    </a:lnTo>
                    <a:lnTo>
                      <a:pt x="164" y="99"/>
                    </a:lnTo>
                    <a:lnTo>
                      <a:pt x="100" y="32"/>
                    </a:lnTo>
                    <a:lnTo>
                      <a:pt x="110" y="34"/>
                    </a:lnTo>
                    <a:lnTo>
                      <a:pt x="63" y="65"/>
                    </a:lnTo>
                    <a:cubicBezTo>
                      <a:pt x="61" y="67"/>
                      <a:pt x="58" y="67"/>
                      <a:pt x="56" y="66"/>
                    </a:cubicBezTo>
                    <a:cubicBezTo>
                      <a:pt x="53" y="65"/>
                      <a:pt x="51" y="63"/>
                      <a:pt x="51" y="61"/>
                    </a:cubicBezTo>
                    <a:lnTo>
                      <a:pt x="39" y="10"/>
                    </a:lnTo>
                    <a:lnTo>
                      <a:pt x="47" y="16"/>
                    </a:lnTo>
                    <a:lnTo>
                      <a:pt x="8" y="16"/>
                    </a:lnTo>
                    <a:lnTo>
                      <a:pt x="16" y="6"/>
                    </a:lnTo>
                    <a:lnTo>
                      <a:pt x="74" y="209"/>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59" name="Freeform 215"/>
              <p:cNvSpPr>
                <a:spLocks/>
              </p:cNvSpPr>
              <p:nvPr/>
            </p:nvSpPr>
            <p:spPr bwMode="auto">
              <a:xfrm>
                <a:off x="4277" y="2033"/>
                <a:ext cx="130" cy="80"/>
              </a:xfrm>
              <a:custGeom>
                <a:avLst/>
                <a:gdLst/>
                <a:ahLst/>
                <a:cxnLst>
                  <a:cxn ang="0">
                    <a:pos x="0" y="71"/>
                  </a:cxn>
                  <a:cxn ang="0">
                    <a:pos x="11" y="80"/>
                  </a:cxn>
                  <a:cxn ang="0">
                    <a:pos x="52" y="77"/>
                  </a:cxn>
                  <a:cxn ang="0">
                    <a:pos x="66" y="72"/>
                  </a:cxn>
                  <a:cxn ang="0">
                    <a:pos x="84" y="35"/>
                  </a:cxn>
                  <a:cxn ang="0">
                    <a:pos x="108" y="36"/>
                  </a:cxn>
                  <a:cxn ang="0">
                    <a:pos x="130" y="23"/>
                  </a:cxn>
                  <a:cxn ang="0">
                    <a:pos x="109" y="13"/>
                  </a:cxn>
                  <a:cxn ang="0">
                    <a:pos x="102" y="0"/>
                  </a:cxn>
                  <a:cxn ang="0">
                    <a:pos x="75" y="25"/>
                  </a:cxn>
                  <a:cxn ang="0">
                    <a:pos x="67" y="39"/>
                  </a:cxn>
                  <a:cxn ang="0">
                    <a:pos x="59" y="31"/>
                  </a:cxn>
                  <a:cxn ang="0">
                    <a:pos x="43" y="51"/>
                  </a:cxn>
                  <a:cxn ang="0">
                    <a:pos x="26" y="53"/>
                  </a:cxn>
                  <a:cxn ang="0">
                    <a:pos x="20" y="72"/>
                  </a:cxn>
                  <a:cxn ang="0">
                    <a:pos x="0" y="71"/>
                  </a:cxn>
                </a:cxnLst>
                <a:rect l="0" t="0" r="r" b="b"/>
                <a:pathLst>
                  <a:path w="130" h="80">
                    <a:moveTo>
                      <a:pt x="0" y="71"/>
                    </a:moveTo>
                    <a:lnTo>
                      <a:pt x="11" y="80"/>
                    </a:lnTo>
                    <a:lnTo>
                      <a:pt x="52" y="77"/>
                    </a:lnTo>
                    <a:lnTo>
                      <a:pt x="66" y="72"/>
                    </a:lnTo>
                    <a:lnTo>
                      <a:pt x="84" y="35"/>
                    </a:lnTo>
                    <a:lnTo>
                      <a:pt x="108" y="36"/>
                    </a:lnTo>
                    <a:lnTo>
                      <a:pt x="130" y="23"/>
                    </a:lnTo>
                    <a:lnTo>
                      <a:pt x="109" y="13"/>
                    </a:lnTo>
                    <a:lnTo>
                      <a:pt x="102" y="0"/>
                    </a:lnTo>
                    <a:lnTo>
                      <a:pt x="75" y="25"/>
                    </a:lnTo>
                    <a:lnTo>
                      <a:pt x="67" y="39"/>
                    </a:lnTo>
                    <a:lnTo>
                      <a:pt x="59" y="31"/>
                    </a:lnTo>
                    <a:lnTo>
                      <a:pt x="43" y="51"/>
                    </a:lnTo>
                    <a:lnTo>
                      <a:pt x="26" y="53"/>
                    </a:lnTo>
                    <a:lnTo>
                      <a:pt x="20" y="72"/>
                    </a:lnTo>
                    <a:lnTo>
                      <a:pt x="0" y="7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60" name="Freeform 216"/>
              <p:cNvSpPr>
                <a:spLocks noEditPoints="1"/>
              </p:cNvSpPr>
              <p:nvPr/>
            </p:nvSpPr>
            <p:spPr bwMode="auto">
              <a:xfrm>
                <a:off x="4275" y="2031"/>
                <a:ext cx="135" cy="84"/>
              </a:xfrm>
              <a:custGeom>
                <a:avLst/>
                <a:gdLst/>
                <a:ahLst/>
                <a:cxnLst>
                  <a:cxn ang="0">
                    <a:pos x="14" y="316"/>
                  </a:cxn>
                  <a:cxn ang="0">
                    <a:pos x="46" y="353"/>
                  </a:cxn>
                  <a:cxn ang="0">
                    <a:pos x="185" y="338"/>
                  </a:cxn>
                  <a:cxn ang="0">
                    <a:pos x="227" y="322"/>
                  </a:cxn>
                  <a:cxn ang="0">
                    <a:pos x="297" y="155"/>
                  </a:cxn>
                  <a:cxn ang="0">
                    <a:pos x="373" y="162"/>
                  </a:cxn>
                  <a:cxn ang="0">
                    <a:pos x="452" y="119"/>
                  </a:cxn>
                  <a:cxn ang="0">
                    <a:pos x="375" y="69"/>
                  </a:cxn>
                  <a:cxn ang="0">
                    <a:pos x="365" y="14"/>
                  </a:cxn>
                  <a:cxn ang="0">
                    <a:pos x="274" y="122"/>
                  </a:cxn>
                  <a:cxn ang="0">
                    <a:pos x="240" y="186"/>
                  </a:cxn>
                  <a:cxn ang="0">
                    <a:pos x="204" y="150"/>
                  </a:cxn>
                  <a:cxn ang="0">
                    <a:pos x="163" y="237"/>
                  </a:cxn>
                  <a:cxn ang="0">
                    <a:pos x="98" y="251"/>
                  </a:cxn>
                  <a:cxn ang="0">
                    <a:pos x="84" y="327"/>
                  </a:cxn>
                  <a:cxn ang="0">
                    <a:pos x="8" y="329"/>
                  </a:cxn>
                  <a:cxn ang="0">
                    <a:pos x="68" y="323"/>
                  </a:cxn>
                  <a:cxn ang="0">
                    <a:pos x="95" y="235"/>
                  </a:cxn>
                  <a:cxn ang="0">
                    <a:pos x="149" y="229"/>
                  </a:cxn>
                  <a:cxn ang="0">
                    <a:pos x="210" y="137"/>
                  </a:cxn>
                  <a:cxn ang="0">
                    <a:pos x="245" y="173"/>
                  </a:cxn>
                  <a:cxn ang="0">
                    <a:pos x="260" y="116"/>
                  </a:cxn>
                  <a:cxn ang="0">
                    <a:pos x="353" y="3"/>
                  </a:cxn>
                  <a:cxn ang="0">
                    <a:pos x="366" y="6"/>
                  </a:cxn>
                  <a:cxn ang="0">
                    <a:pos x="386" y="59"/>
                  </a:cxn>
                  <a:cxn ang="0">
                    <a:pos x="464" y="112"/>
                  </a:cxn>
                  <a:cxn ang="0">
                    <a:pos x="383" y="175"/>
                  </a:cxn>
                  <a:cxn ang="0">
                    <a:pos x="296" y="171"/>
                  </a:cxn>
                  <a:cxn ang="0">
                    <a:pos x="242" y="328"/>
                  </a:cxn>
                  <a:cxn ang="0">
                    <a:pos x="192" y="352"/>
                  </a:cxn>
                  <a:cxn ang="0">
                    <a:pos x="47" y="368"/>
                  </a:cxn>
                  <a:cxn ang="0">
                    <a:pos x="3" y="327"/>
                  </a:cxn>
                  <a:cxn ang="0">
                    <a:pos x="9" y="313"/>
                  </a:cxn>
                </a:cxnLst>
                <a:rect l="0" t="0" r="r" b="b"/>
                <a:pathLst>
                  <a:path w="465" h="369">
                    <a:moveTo>
                      <a:pt x="8" y="329"/>
                    </a:moveTo>
                    <a:lnTo>
                      <a:pt x="14" y="316"/>
                    </a:lnTo>
                    <a:lnTo>
                      <a:pt x="52" y="355"/>
                    </a:lnTo>
                    <a:lnTo>
                      <a:pt x="46" y="353"/>
                    </a:lnTo>
                    <a:lnTo>
                      <a:pt x="188" y="337"/>
                    </a:lnTo>
                    <a:lnTo>
                      <a:pt x="185" y="338"/>
                    </a:lnTo>
                    <a:lnTo>
                      <a:pt x="231" y="317"/>
                    </a:lnTo>
                    <a:lnTo>
                      <a:pt x="227" y="322"/>
                    </a:lnTo>
                    <a:lnTo>
                      <a:pt x="289" y="160"/>
                    </a:lnTo>
                    <a:cubicBezTo>
                      <a:pt x="291" y="157"/>
                      <a:pt x="294" y="155"/>
                      <a:pt x="297" y="155"/>
                    </a:cubicBezTo>
                    <a:lnTo>
                      <a:pt x="378" y="160"/>
                    </a:lnTo>
                    <a:lnTo>
                      <a:pt x="373" y="162"/>
                    </a:lnTo>
                    <a:lnTo>
                      <a:pt x="452" y="106"/>
                    </a:lnTo>
                    <a:lnTo>
                      <a:pt x="452" y="119"/>
                    </a:lnTo>
                    <a:lnTo>
                      <a:pt x="378" y="73"/>
                    </a:lnTo>
                    <a:cubicBezTo>
                      <a:pt x="376" y="72"/>
                      <a:pt x="375" y="71"/>
                      <a:pt x="375" y="69"/>
                    </a:cubicBezTo>
                    <a:lnTo>
                      <a:pt x="352" y="11"/>
                    </a:lnTo>
                    <a:lnTo>
                      <a:pt x="365" y="14"/>
                    </a:lnTo>
                    <a:lnTo>
                      <a:pt x="273" y="124"/>
                    </a:lnTo>
                    <a:lnTo>
                      <a:pt x="274" y="122"/>
                    </a:lnTo>
                    <a:lnTo>
                      <a:pt x="246" y="182"/>
                    </a:lnTo>
                    <a:cubicBezTo>
                      <a:pt x="245" y="184"/>
                      <a:pt x="242" y="186"/>
                      <a:pt x="240" y="186"/>
                    </a:cubicBezTo>
                    <a:cubicBezTo>
                      <a:pt x="237" y="187"/>
                      <a:pt x="234" y="186"/>
                      <a:pt x="232" y="184"/>
                    </a:cubicBezTo>
                    <a:lnTo>
                      <a:pt x="204" y="150"/>
                    </a:lnTo>
                    <a:lnTo>
                      <a:pt x="217" y="149"/>
                    </a:lnTo>
                    <a:lnTo>
                      <a:pt x="163" y="237"/>
                    </a:lnTo>
                    <a:cubicBezTo>
                      <a:pt x="162" y="239"/>
                      <a:pt x="160" y="240"/>
                      <a:pt x="157" y="241"/>
                    </a:cubicBezTo>
                    <a:lnTo>
                      <a:pt x="98" y="251"/>
                    </a:lnTo>
                    <a:lnTo>
                      <a:pt x="104" y="245"/>
                    </a:lnTo>
                    <a:lnTo>
                      <a:pt x="84" y="327"/>
                    </a:lnTo>
                    <a:cubicBezTo>
                      <a:pt x="83" y="330"/>
                      <a:pt x="80" y="333"/>
                      <a:pt x="76" y="333"/>
                    </a:cubicBezTo>
                    <a:lnTo>
                      <a:pt x="8" y="329"/>
                    </a:lnTo>
                    <a:close/>
                    <a:moveTo>
                      <a:pt x="77" y="317"/>
                    </a:moveTo>
                    <a:lnTo>
                      <a:pt x="68" y="323"/>
                    </a:lnTo>
                    <a:lnTo>
                      <a:pt x="89" y="241"/>
                    </a:lnTo>
                    <a:cubicBezTo>
                      <a:pt x="89" y="238"/>
                      <a:pt x="92" y="236"/>
                      <a:pt x="95" y="235"/>
                    </a:cubicBezTo>
                    <a:lnTo>
                      <a:pt x="155" y="225"/>
                    </a:lnTo>
                    <a:lnTo>
                      <a:pt x="149" y="229"/>
                    </a:lnTo>
                    <a:lnTo>
                      <a:pt x="203" y="140"/>
                    </a:lnTo>
                    <a:cubicBezTo>
                      <a:pt x="205" y="138"/>
                      <a:pt x="207" y="137"/>
                      <a:pt x="210" y="137"/>
                    </a:cubicBezTo>
                    <a:cubicBezTo>
                      <a:pt x="212" y="136"/>
                      <a:pt x="215" y="137"/>
                      <a:pt x="216" y="139"/>
                    </a:cubicBezTo>
                    <a:lnTo>
                      <a:pt x="245" y="173"/>
                    </a:lnTo>
                    <a:lnTo>
                      <a:pt x="231" y="175"/>
                    </a:lnTo>
                    <a:lnTo>
                      <a:pt x="260" y="116"/>
                    </a:lnTo>
                    <a:cubicBezTo>
                      <a:pt x="260" y="115"/>
                      <a:pt x="260" y="114"/>
                      <a:pt x="261" y="114"/>
                    </a:cubicBezTo>
                    <a:lnTo>
                      <a:pt x="353" y="3"/>
                    </a:lnTo>
                    <a:cubicBezTo>
                      <a:pt x="355" y="1"/>
                      <a:pt x="357" y="0"/>
                      <a:pt x="360" y="1"/>
                    </a:cubicBezTo>
                    <a:cubicBezTo>
                      <a:pt x="363" y="1"/>
                      <a:pt x="365" y="3"/>
                      <a:pt x="366" y="6"/>
                    </a:cubicBezTo>
                    <a:lnTo>
                      <a:pt x="389" y="63"/>
                    </a:lnTo>
                    <a:lnTo>
                      <a:pt x="386" y="59"/>
                    </a:lnTo>
                    <a:lnTo>
                      <a:pt x="461" y="105"/>
                    </a:lnTo>
                    <a:cubicBezTo>
                      <a:pt x="463" y="107"/>
                      <a:pt x="464" y="109"/>
                      <a:pt x="464" y="112"/>
                    </a:cubicBezTo>
                    <a:cubicBezTo>
                      <a:pt x="465" y="115"/>
                      <a:pt x="463" y="117"/>
                      <a:pt x="461" y="119"/>
                    </a:cubicBezTo>
                    <a:lnTo>
                      <a:pt x="383" y="175"/>
                    </a:lnTo>
                    <a:cubicBezTo>
                      <a:pt x="381" y="176"/>
                      <a:pt x="379" y="176"/>
                      <a:pt x="377" y="176"/>
                    </a:cubicBezTo>
                    <a:lnTo>
                      <a:pt x="296" y="171"/>
                    </a:lnTo>
                    <a:lnTo>
                      <a:pt x="304" y="166"/>
                    </a:lnTo>
                    <a:lnTo>
                      <a:pt x="242" y="328"/>
                    </a:lnTo>
                    <a:cubicBezTo>
                      <a:pt x="241" y="330"/>
                      <a:pt x="240" y="331"/>
                      <a:pt x="238" y="332"/>
                    </a:cubicBezTo>
                    <a:lnTo>
                      <a:pt x="192" y="352"/>
                    </a:lnTo>
                    <a:cubicBezTo>
                      <a:pt x="191" y="353"/>
                      <a:pt x="190" y="353"/>
                      <a:pt x="189" y="353"/>
                    </a:cubicBezTo>
                    <a:lnTo>
                      <a:pt x="47" y="368"/>
                    </a:lnTo>
                    <a:cubicBezTo>
                      <a:pt x="45" y="369"/>
                      <a:pt x="42" y="368"/>
                      <a:pt x="41" y="366"/>
                    </a:cubicBezTo>
                    <a:lnTo>
                      <a:pt x="3" y="327"/>
                    </a:lnTo>
                    <a:cubicBezTo>
                      <a:pt x="0" y="325"/>
                      <a:pt x="0" y="321"/>
                      <a:pt x="1" y="318"/>
                    </a:cubicBezTo>
                    <a:cubicBezTo>
                      <a:pt x="3" y="315"/>
                      <a:pt x="6" y="313"/>
                      <a:pt x="9" y="313"/>
                    </a:cubicBezTo>
                    <a:lnTo>
                      <a:pt x="77" y="317"/>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61" name="Freeform 217"/>
              <p:cNvSpPr>
                <a:spLocks/>
              </p:cNvSpPr>
              <p:nvPr/>
            </p:nvSpPr>
            <p:spPr bwMode="auto">
              <a:xfrm>
                <a:off x="1108" y="1678"/>
                <a:ext cx="422" cy="252"/>
              </a:xfrm>
              <a:custGeom>
                <a:avLst/>
                <a:gdLst/>
                <a:ahLst/>
                <a:cxnLst>
                  <a:cxn ang="0">
                    <a:pos x="0" y="2"/>
                  </a:cxn>
                  <a:cxn ang="0">
                    <a:pos x="20" y="42"/>
                  </a:cxn>
                  <a:cxn ang="0">
                    <a:pos x="44" y="60"/>
                  </a:cxn>
                  <a:cxn ang="0">
                    <a:pos x="42" y="71"/>
                  </a:cxn>
                  <a:cxn ang="0">
                    <a:pos x="29" y="73"/>
                  </a:cxn>
                  <a:cxn ang="0">
                    <a:pos x="56" y="81"/>
                  </a:cxn>
                  <a:cxn ang="0">
                    <a:pos x="71" y="99"/>
                  </a:cxn>
                  <a:cxn ang="0">
                    <a:pos x="69" y="114"/>
                  </a:cxn>
                  <a:cxn ang="0">
                    <a:pos x="100" y="139"/>
                  </a:cxn>
                  <a:cxn ang="0">
                    <a:pos x="107" y="131"/>
                  </a:cxn>
                  <a:cxn ang="0">
                    <a:pos x="35" y="36"/>
                  </a:cxn>
                  <a:cxn ang="0">
                    <a:pos x="31" y="10"/>
                  </a:cxn>
                  <a:cxn ang="0">
                    <a:pos x="47" y="17"/>
                  </a:cxn>
                  <a:cxn ang="0">
                    <a:pos x="73" y="58"/>
                  </a:cxn>
                  <a:cxn ang="0">
                    <a:pos x="110" y="89"/>
                  </a:cxn>
                  <a:cxn ang="0">
                    <a:pos x="109" y="101"/>
                  </a:cxn>
                  <a:cxn ang="0">
                    <a:pos x="161" y="144"/>
                  </a:cxn>
                  <a:cxn ang="0">
                    <a:pos x="167" y="162"/>
                  </a:cxn>
                  <a:cxn ang="0">
                    <a:pos x="161" y="173"/>
                  </a:cxn>
                  <a:cxn ang="0">
                    <a:pos x="173" y="190"/>
                  </a:cxn>
                  <a:cxn ang="0">
                    <a:pos x="273" y="234"/>
                  </a:cxn>
                  <a:cxn ang="0">
                    <a:pos x="317" y="231"/>
                  </a:cxn>
                  <a:cxn ang="0">
                    <a:pos x="345" y="252"/>
                  </a:cxn>
                  <a:cxn ang="0">
                    <a:pos x="358" y="231"/>
                  </a:cxn>
                  <a:cxn ang="0">
                    <a:pos x="372" y="231"/>
                  </a:cxn>
                  <a:cxn ang="0">
                    <a:pos x="356" y="213"/>
                  </a:cxn>
                  <a:cxn ang="0">
                    <a:pos x="389" y="206"/>
                  </a:cxn>
                  <a:cxn ang="0">
                    <a:pos x="400" y="198"/>
                  </a:cxn>
                  <a:cxn ang="0">
                    <a:pos x="404" y="194"/>
                  </a:cxn>
                  <a:cxn ang="0">
                    <a:pos x="408" y="204"/>
                  </a:cxn>
                  <a:cxn ang="0">
                    <a:pos x="422" y="162"/>
                  </a:cxn>
                  <a:cxn ang="0">
                    <a:pos x="404" y="156"/>
                  </a:cxn>
                  <a:cxn ang="0">
                    <a:pos x="372" y="162"/>
                  </a:cxn>
                  <a:cxn ang="0">
                    <a:pos x="355" y="198"/>
                  </a:cxn>
                  <a:cxn ang="0">
                    <a:pos x="315" y="202"/>
                  </a:cxn>
                  <a:cxn ang="0">
                    <a:pos x="298" y="193"/>
                  </a:cxn>
                  <a:cxn ang="0">
                    <a:pos x="271" y="149"/>
                  </a:cxn>
                  <a:cxn ang="0">
                    <a:pos x="270" y="114"/>
                  </a:cxn>
                  <a:cxn ang="0">
                    <a:pos x="279" y="97"/>
                  </a:cxn>
                  <a:cxn ang="0">
                    <a:pos x="252" y="89"/>
                  </a:cxn>
                  <a:cxn ang="0">
                    <a:pos x="216" y="41"/>
                  </a:cxn>
                  <a:cxn ang="0">
                    <a:pos x="187" y="52"/>
                  </a:cxn>
                  <a:cxn ang="0">
                    <a:pos x="148" y="12"/>
                  </a:cxn>
                  <a:cxn ang="0">
                    <a:pos x="85" y="21"/>
                  </a:cxn>
                  <a:cxn ang="0">
                    <a:pos x="32" y="0"/>
                  </a:cxn>
                  <a:cxn ang="0">
                    <a:pos x="0" y="2"/>
                  </a:cxn>
                </a:cxnLst>
                <a:rect l="0" t="0" r="r" b="b"/>
                <a:pathLst>
                  <a:path w="422" h="252">
                    <a:moveTo>
                      <a:pt x="0" y="2"/>
                    </a:moveTo>
                    <a:lnTo>
                      <a:pt x="20" y="42"/>
                    </a:lnTo>
                    <a:lnTo>
                      <a:pt x="44" y="60"/>
                    </a:lnTo>
                    <a:lnTo>
                      <a:pt x="42" y="71"/>
                    </a:lnTo>
                    <a:lnTo>
                      <a:pt x="29" y="73"/>
                    </a:lnTo>
                    <a:lnTo>
                      <a:pt x="56" y="81"/>
                    </a:lnTo>
                    <a:lnTo>
                      <a:pt x="71" y="99"/>
                    </a:lnTo>
                    <a:lnTo>
                      <a:pt x="69" y="114"/>
                    </a:lnTo>
                    <a:lnTo>
                      <a:pt x="100" y="139"/>
                    </a:lnTo>
                    <a:lnTo>
                      <a:pt x="107" y="131"/>
                    </a:lnTo>
                    <a:lnTo>
                      <a:pt x="35" y="36"/>
                    </a:lnTo>
                    <a:lnTo>
                      <a:pt x="31" y="10"/>
                    </a:lnTo>
                    <a:lnTo>
                      <a:pt x="47" y="17"/>
                    </a:lnTo>
                    <a:lnTo>
                      <a:pt x="73" y="58"/>
                    </a:lnTo>
                    <a:lnTo>
                      <a:pt x="110" y="89"/>
                    </a:lnTo>
                    <a:lnTo>
                      <a:pt x="109" y="101"/>
                    </a:lnTo>
                    <a:lnTo>
                      <a:pt x="161" y="144"/>
                    </a:lnTo>
                    <a:lnTo>
                      <a:pt x="167" y="162"/>
                    </a:lnTo>
                    <a:lnTo>
                      <a:pt x="161" y="173"/>
                    </a:lnTo>
                    <a:lnTo>
                      <a:pt x="173" y="190"/>
                    </a:lnTo>
                    <a:lnTo>
                      <a:pt x="273" y="234"/>
                    </a:lnTo>
                    <a:lnTo>
                      <a:pt x="317" y="231"/>
                    </a:lnTo>
                    <a:lnTo>
                      <a:pt x="345" y="252"/>
                    </a:lnTo>
                    <a:lnTo>
                      <a:pt x="358" y="231"/>
                    </a:lnTo>
                    <a:lnTo>
                      <a:pt x="372" y="231"/>
                    </a:lnTo>
                    <a:lnTo>
                      <a:pt x="356" y="213"/>
                    </a:lnTo>
                    <a:lnTo>
                      <a:pt x="389" y="206"/>
                    </a:lnTo>
                    <a:lnTo>
                      <a:pt x="400" y="198"/>
                    </a:lnTo>
                    <a:lnTo>
                      <a:pt x="404" y="194"/>
                    </a:lnTo>
                    <a:lnTo>
                      <a:pt x="408" y="204"/>
                    </a:lnTo>
                    <a:lnTo>
                      <a:pt x="422" y="162"/>
                    </a:lnTo>
                    <a:lnTo>
                      <a:pt x="404" y="156"/>
                    </a:lnTo>
                    <a:lnTo>
                      <a:pt x="372" y="162"/>
                    </a:lnTo>
                    <a:lnTo>
                      <a:pt x="355" y="198"/>
                    </a:lnTo>
                    <a:lnTo>
                      <a:pt x="315" y="202"/>
                    </a:lnTo>
                    <a:lnTo>
                      <a:pt x="298" y="193"/>
                    </a:lnTo>
                    <a:lnTo>
                      <a:pt x="271" y="149"/>
                    </a:lnTo>
                    <a:lnTo>
                      <a:pt x="270" y="114"/>
                    </a:lnTo>
                    <a:lnTo>
                      <a:pt x="279" y="97"/>
                    </a:lnTo>
                    <a:lnTo>
                      <a:pt x="252" y="89"/>
                    </a:lnTo>
                    <a:lnTo>
                      <a:pt x="216" y="41"/>
                    </a:lnTo>
                    <a:lnTo>
                      <a:pt x="187" y="52"/>
                    </a:lnTo>
                    <a:lnTo>
                      <a:pt x="148" y="12"/>
                    </a:lnTo>
                    <a:lnTo>
                      <a:pt x="85" y="21"/>
                    </a:lnTo>
                    <a:lnTo>
                      <a:pt x="32" y="0"/>
                    </a:lnTo>
                    <a:lnTo>
                      <a:pt x="0" y="2"/>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62" name="Freeform 218"/>
              <p:cNvSpPr>
                <a:spLocks noEditPoints="1"/>
              </p:cNvSpPr>
              <p:nvPr/>
            </p:nvSpPr>
            <p:spPr bwMode="auto">
              <a:xfrm>
                <a:off x="1105" y="1676"/>
                <a:ext cx="428" cy="256"/>
              </a:xfrm>
              <a:custGeom>
                <a:avLst/>
                <a:gdLst/>
                <a:ahLst/>
                <a:cxnLst>
                  <a:cxn ang="0">
                    <a:pos x="83" y="186"/>
                  </a:cxn>
                  <a:cxn ang="0">
                    <a:pos x="155" y="327"/>
                  </a:cxn>
                  <a:cxn ang="0">
                    <a:pos x="210" y="361"/>
                  </a:cxn>
                  <a:cxn ang="0">
                    <a:pos x="253" y="503"/>
                  </a:cxn>
                  <a:cxn ang="0">
                    <a:pos x="370" y="585"/>
                  </a:cxn>
                  <a:cxn ang="0">
                    <a:pos x="111" y="47"/>
                  </a:cxn>
                  <a:cxn ang="0">
                    <a:pos x="267" y="260"/>
                  </a:cxn>
                  <a:cxn ang="0">
                    <a:pos x="393" y="453"/>
                  </a:cxn>
                  <a:cxn ang="0">
                    <a:pos x="594" y="715"/>
                  </a:cxn>
                  <a:cxn ang="0">
                    <a:pos x="613" y="835"/>
                  </a:cxn>
                  <a:cxn ang="0">
                    <a:pos x="1101" y="1011"/>
                  </a:cxn>
                  <a:cxn ang="0">
                    <a:pos x="1235" y="1017"/>
                  </a:cxn>
                  <a:cxn ang="0">
                    <a:pos x="1231" y="947"/>
                  </a:cxn>
                  <a:cxn ang="0">
                    <a:pos x="1345" y="905"/>
                  </a:cxn>
                  <a:cxn ang="0">
                    <a:pos x="1405" y="851"/>
                  </a:cxn>
                  <a:cxn ang="0">
                    <a:pos x="1457" y="717"/>
                  </a:cxn>
                  <a:cxn ang="0">
                    <a:pos x="1294" y="727"/>
                  </a:cxn>
                  <a:cxn ang="0">
                    <a:pos x="1094" y="902"/>
                  </a:cxn>
                  <a:cxn ang="0">
                    <a:pos x="935" y="662"/>
                  </a:cxn>
                  <a:cxn ang="0">
                    <a:pos x="964" y="432"/>
                  </a:cxn>
                  <a:cxn ang="0">
                    <a:pos x="748" y="193"/>
                  </a:cxn>
                  <a:cxn ang="0">
                    <a:pos x="515" y="67"/>
                  </a:cxn>
                  <a:cxn ang="0">
                    <a:pos x="115" y="16"/>
                  </a:cxn>
                  <a:cxn ang="0">
                    <a:pos x="122" y="1"/>
                  </a:cxn>
                  <a:cxn ang="0">
                    <a:pos x="527" y="57"/>
                  </a:cxn>
                  <a:cxn ang="0">
                    <a:pos x="761" y="185"/>
                  </a:cxn>
                  <a:cxn ang="0">
                    <a:pos x="979" y="432"/>
                  </a:cxn>
                  <a:cxn ang="0">
                    <a:pos x="950" y="659"/>
                  </a:cxn>
                  <a:cxn ang="0">
                    <a:pos x="1098" y="887"/>
                  </a:cxn>
                  <a:cxn ang="0">
                    <a:pos x="1285" y="716"/>
                  </a:cxn>
                  <a:cxn ang="0">
                    <a:pos x="1468" y="712"/>
                  </a:cxn>
                  <a:cxn ang="0">
                    <a:pos x="1408" y="905"/>
                  </a:cxn>
                  <a:cxn ang="0">
                    <a:pos x="1395" y="883"/>
                  </a:cxn>
                  <a:cxn ang="0">
                    <a:pos x="1245" y="938"/>
                  </a:cxn>
                  <a:cxn ang="0">
                    <a:pos x="1242" y="1029"/>
                  </a:cxn>
                  <a:cxn ang="0">
                    <a:pos x="1195" y="1118"/>
                  </a:cxn>
                  <a:cxn ang="0">
                    <a:pos x="948" y="1039"/>
                  </a:cxn>
                  <a:cxn ang="0">
                    <a:pos x="557" y="764"/>
                  </a:cxn>
                  <a:cxn ang="0">
                    <a:pos x="558" y="643"/>
                  </a:cxn>
                  <a:cxn ang="0">
                    <a:pos x="383" y="404"/>
                  </a:cxn>
                  <a:cxn ang="0">
                    <a:pos x="166" y="89"/>
                  </a:cxn>
                  <a:cxn ang="0">
                    <a:pos x="138" y="161"/>
                  </a:cxn>
                  <a:cxn ang="0">
                    <a:pos x="354" y="625"/>
                  </a:cxn>
                  <a:cxn ang="0">
                    <a:pos x="245" y="443"/>
                  </a:cxn>
                  <a:cxn ang="0">
                    <a:pos x="108" y="334"/>
                  </a:cxn>
                  <a:cxn ang="0">
                    <a:pos x="145" y="318"/>
                  </a:cxn>
                  <a:cxn ang="0">
                    <a:pos x="70" y="195"/>
                  </a:cxn>
                  <a:cxn ang="0">
                    <a:pos x="117" y="0"/>
                  </a:cxn>
                </a:cxnLst>
                <a:rect l="0" t="0" r="r" b="b"/>
                <a:pathLst>
                  <a:path w="1473" h="1121">
                    <a:moveTo>
                      <a:pt x="9" y="26"/>
                    </a:moveTo>
                    <a:lnTo>
                      <a:pt x="16" y="15"/>
                    </a:lnTo>
                    <a:lnTo>
                      <a:pt x="85" y="189"/>
                    </a:lnTo>
                    <a:lnTo>
                      <a:pt x="83" y="186"/>
                    </a:lnTo>
                    <a:lnTo>
                      <a:pt x="165" y="265"/>
                    </a:lnTo>
                    <a:cubicBezTo>
                      <a:pt x="167" y="266"/>
                      <a:pt x="168" y="269"/>
                      <a:pt x="168" y="271"/>
                    </a:cubicBezTo>
                    <a:lnTo>
                      <a:pt x="161" y="320"/>
                    </a:lnTo>
                    <a:cubicBezTo>
                      <a:pt x="160" y="323"/>
                      <a:pt x="158" y="326"/>
                      <a:pt x="155" y="327"/>
                    </a:cubicBezTo>
                    <a:lnTo>
                      <a:pt x="113" y="335"/>
                    </a:lnTo>
                    <a:lnTo>
                      <a:pt x="114" y="320"/>
                    </a:lnTo>
                    <a:lnTo>
                      <a:pt x="206" y="358"/>
                    </a:lnTo>
                    <a:cubicBezTo>
                      <a:pt x="208" y="359"/>
                      <a:pt x="209" y="360"/>
                      <a:pt x="210" y="361"/>
                    </a:cubicBezTo>
                    <a:lnTo>
                      <a:pt x="260" y="439"/>
                    </a:lnTo>
                    <a:cubicBezTo>
                      <a:pt x="261" y="441"/>
                      <a:pt x="261" y="443"/>
                      <a:pt x="261" y="444"/>
                    </a:cubicBezTo>
                    <a:lnTo>
                      <a:pt x="255" y="509"/>
                    </a:lnTo>
                    <a:lnTo>
                      <a:pt x="253" y="503"/>
                    </a:lnTo>
                    <a:lnTo>
                      <a:pt x="359" y="612"/>
                    </a:lnTo>
                    <a:lnTo>
                      <a:pt x="346" y="613"/>
                    </a:lnTo>
                    <a:lnTo>
                      <a:pt x="370" y="576"/>
                    </a:lnTo>
                    <a:lnTo>
                      <a:pt x="370" y="585"/>
                    </a:lnTo>
                    <a:lnTo>
                      <a:pt x="124" y="169"/>
                    </a:lnTo>
                    <a:cubicBezTo>
                      <a:pt x="123" y="168"/>
                      <a:pt x="123" y="167"/>
                      <a:pt x="123" y="166"/>
                    </a:cubicBezTo>
                    <a:lnTo>
                      <a:pt x="108" y="55"/>
                    </a:lnTo>
                    <a:cubicBezTo>
                      <a:pt x="107" y="52"/>
                      <a:pt x="108" y="49"/>
                      <a:pt x="111" y="47"/>
                    </a:cubicBezTo>
                    <a:cubicBezTo>
                      <a:pt x="113" y="45"/>
                      <a:pt x="117" y="45"/>
                      <a:pt x="119" y="46"/>
                    </a:cubicBezTo>
                    <a:lnTo>
                      <a:pt x="173" y="75"/>
                    </a:lnTo>
                    <a:cubicBezTo>
                      <a:pt x="175" y="76"/>
                      <a:pt x="176" y="77"/>
                      <a:pt x="177" y="78"/>
                    </a:cubicBezTo>
                    <a:lnTo>
                      <a:pt x="267" y="260"/>
                    </a:lnTo>
                    <a:lnTo>
                      <a:pt x="266" y="258"/>
                    </a:lnTo>
                    <a:lnTo>
                      <a:pt x="395" y="393"/>
                    </a:lnTo>
                    <a:cubicBezTo>
                      <a:pt x="397" y="395"/>
                      <a:pt x="397" y="397"/>
                      <a:pt x="397" y="399"/>
                    </a:cubicBezTo>
                    <a:lnTo>
                      <a:pt x="393" y="453"/>
                    </a:lnTo>
                    <a:lnTo>
                      <a:pt x="391" y="446"/>
                    </a:lnTo>
                    <a:lnTo>
                      <a:pt x="570" y="632"/>
                    </a:lnTo>
                    <a:cubicBezTo>
                      <a:pt x="571" y="633"/>
                      <a:pt x="572" y="634"/>
                      <a:pt x="572" y="635"/>
                    </a:cubicBezTo>
                    <a:lnTo>
                      <a:pt x="594" y="715"/>
                    </a:lnTo>
                    <a:cubicBezTo>
                      <a:pt x="595" y="717"/>
                      <a:pt x="594" y="719"/>
                      <a:pt x="594" y="720"/>
                    </a:cubicBezTo>
                    <a:lnTo>
                      <a:pt x="572" y="771"/>
                    </a:lnTo>
                    <a:lnTo>
                      <a:pt x="571" y="763"/>
                    </a:lnTo>
                    <a:lnTo>
                      <a:pt x="613" y="835"/>
                    </a:lnTo>
                    <a:lnTo>
                      <a:pt x="610" y="832"/>
                    </a:lnTo>
                    <a:lnTo>
                      <a:pt x="956" y="1025"/>
                    </a:lnTo>
                    <a:lnTo>
                      <a:pt x="951" y="1024"/>
                    </a:lnTo>
                    <a:lnTo>
                      <a:pt x="1101" y="1011"/>
                    </a:lnTo>
                    <a:cubicBezTo>
                      <a:pt x="1103" y="1011"/>
                      <a:pt x="1106" y="1012"/>
                      <a:pt x="1107" y="1013"/>
                    </a:cubicBezTo>
                    <a:lnTo>
                      <a:pt x="1206" y="1107"/>
                    </a:lnTo>
                    <a:lnTo>
                      <a:pt x="1193" y="1109"/>
                    </a:lnTo>
                    <a:lnTo>
                      <a:pt x="1235" y="1017"/>
                    </a:lnTo>
                    <a:cubicBezTo>
                      <a:pt x="1236" y="1015"/>
                      <a:pt x="1239" y="1013"/>
                      <a:pt x="1242" y="1013"/>
                    </a:cubicBezTo>
                    <a:lnTo>
                      <a:pt x="1291" y="1011"/>
                    </a:lnTo>
                    <a:lnTo>
                      <a:pt x="1284" y="1024"/>
                    </a:lnTo>
                    <a:lnTo>
                      <a:pt x="1231" y="947"/>
                    </a:lnTo>
                    <a:cubicBezTo>
                      <a:pt x="1230" y="945"/>
                      <a:pt x="1230" y="942"/>
                      <a:pt x="1230" y="940"/>
                    </a:cubicBezTo>
                    <a:cubicBezTo>
                      <a:pt x="1231" y="937"/>
                      <a:pt x="1233" y="935"/>
                      <a:pt x="1236" y="935"/>
                    </a:cubicBezTo>
                    <a:lnTo>
                      <a:pt x="1348" y="903"/>
                    </a:lnTo>
                    <a:lnTo>
                      <a:pt x="1345" y="905"/>
                    </a:lnTo>
                    <a:lnTo>
                      <a:pt x="1384" y="871"/>
                    </a:lnTo>
                    <a:lnTo>
                      <a:pt x="1383" y="872"/>
                    </a:lnTo>
                    <a:lnTo>
                      <a:pt x="1397" y="854"/>
                    </a:lnTo>
                    <a:cubicBezTo>
                      <a:pt x="1399" y="852"/>
                      <a:pt x="1402" y="851"/>
                      <a:pt x="1405" y="851"/>
                    </a:cubicBezTo>
                    <a:cubicBezTo>
                      <a:pt x="1408" y="852"/>
                      <a:pt x="1410" y="854"/>
                      <a:pt x="1411" y="857"/>
                    </a:cubicBezTo>
                    <a:lnTo>
                      <a:pt x="1424" y="900"/>
                    </a:lnTo>
                    <a:lnTo>
                      <a:pt x="1408" y="900"/>
                    </a:lnTo>
                    <a:lnTo>
                      <a:pt x="1457" y="717"/>
                    </a:lnTo>
                    <a:lnTo>
                      <a:pt x="1461" y="726"/>
                    </a:lnTo>
                    <a:lnTo>
                      <a:pt x="1399" y="698"/>
                    </a:lnTo>
                    <a:lnTo>
                      <a:pt x="1404" y="698"/>
                    </a:lnTo>
                    <a:lnTo>
                      <a:pt x="1294" y="727"/>
                    </a:lnTo>
                    <a:lnTo>
                      <a:pt x="1300" y="722"/>
                    </a:lnTo>
                    <a:lnTo>
                      <a:pt x="1243" y="880"/>
                    </a:lnTo>
                    <a:cubicBezTo>
                      <a:pt x="1242" y="883"/>
                      <a:pt x="1239" y="885"/>
                      <a:pt x="1236" y="885"/>
                    </a:cubicBezTo>
                    <a:lnTo>
                      <a:pt x="1094" y="902"/>
                    </a:lnTo>
                    <a:cubicBezTo>
                      <a:pt x="1093" y="902"/>
                      <a:pt x="1091" y="902"/>
                      <a:pt x="1089" y="901"/>
                    </a:cubicBezTo>
                    <a:lnTo>
                      <a:pt x="1032" y="861"/>
                    </a:lnTo>
                    <a:cubicBezTo>
                      <a:pt x="1031" y="860"/>
                      <a:pt x="1030" y="859"/>
                      <a:pt x="1029" y="857"/>
                    </a:cubicBezTo>
                    <a:lnTo>
                      <a:pt x="935" y="662"/>
                    </a:lnTo>
                    <a:cubicBezTo>
                      <a:pt x="934" y="661"/>
                      <a:pt x="934" y="660"/>
                      <a:pt x="934" y="659"/>
                    </a:cubicBezTo>
                    <a:lnTo>
                      <a:pt x="931" y="509"/>
                    </a:lnTo>
                    <a:cubicBezTo>
                      <a:pt x="931" y="508"/>
                      <a:pt x="932" y="507"/>
                      <a:pt x="932" y="506"/>
                    </a:cubicBezTo>
                    <a:lnTo>
                      <a:pt x="964" y="432"/>
                    </a:lnTo>
                    <a:lnTo>
                      <a:pt x="968" y="443"/>
                    </a:lnTo>
                    <a:lnTo>
                      <a:pt x="874" y="404"/>
                    </a:lnTo>
                    <a:cubicBezTo>
                      <a:pt x="872" y="404"/>
                      <a:pt x="871" y="403"/>
                      <a:pt x="870" y="401"/>
                    </a:cubicBezTo>
                    <a:lnTo>
                      <a:pt x="748" y="193"/>
                    </a:lnTo>
                    <a:lnTo>
                      <a:pt x="758" y="196"/>
                    </a:lnTo>
                    <a:lnTo>
                      <a:pt x="658" y="243"/>
                    </a:lnTo>
                    <a:cubicBezTo>
                      <a:pt x="654" y="244"/>
                      <a:pt x="650" y="243"/>
                      <a:pt x="648" y="240"/>
                    </a:cubicBezTo>
                    <a:lnTo>
                      <a:pt x="515" y="67"/>
                    </a:lnTo>
                    <a:lnTo>
                      <a:pt x="522" y="70"/>
                    </a:lnTo>
                    <a:lnTo>
                      <a:pt x="303" y="106"/>
                    </a:lnTo>
                    <a:cubicBezTo>
                      <a:pt x="301" y="107"/>
                      <a:pt x="300" y="106"/>
                      <a:pt x="298" y="106"/>
                    </a:cubicBezTo>
                    <a:lnTo>
                      <a:pt x="115" y="16"/>
                    </a:lnTo>
                    <a:lnTo>
                      <a:pt x="119" y="16"/>
                    </a:lnTo>
                    <a:lnTo>
                      <a:pt x="9" y="26"/>
                    </a:lnTo>
                    <a:close/>
                    <a:moveTo>
                      <a:pt x="117" y="0"/>
                    </a:moveTo>
                    <a:cubicBezTo>
                      <a:pt x="119" y="0"/>
                      <a:pt x="120" y="1"/>
                      <a:pt x="122" y="1"/>
                    </a:cubicBezTo>
                    <a:lnTo>
                      <a:pt x="305" y="91"/>
                    </a:lnTo>
                    <a:lnTo>
                      <a:pt x="300" y="91"/>
                    </a:lnTo>
                    <a:lnTo>
                      <a:pt x="520" y="54"/>
                    </a:lnTo>
                    <a:cubicBezTo>
                      <a:pt x="523" y="53"/>
                      <a:pt x="526" y="55"/>
                      <a:pt x="527" y="57"/>
                    </a:cubicBezTo>
                    <a:lnTo>
                      <a:pt x="661" y="230"/>
                    </a:lnTo>
                    <a:lnTo>
                      <a:pt x="651" y="228"/>
                    </a:lnTo>
                    <a:lnTo>
                      <a:pt x="751" y="181"/>
                    </a:lnTo>
                    <a:cubicBezTo>
                      <a:pt x="755" y="180"/>
                      <a:pt x="759" y="181"/>
                      <a:pt x="761" y="185"/>
                    </a:cubicBezTo>
                    <a:lnTo>
                      <a:pt x="884" y="393"/>
                    </a:lnTo>
                    <a:lnTo>
                      <a:pt x="880" y="390"/>
                    </a:lnTo>
                    <a:lnTo>
                      <a:pt x="974" y="428"/>
                    </a:lnTo>
                    <a:cubicBezTo>
                      <a:pt x="976" y="429"/>
                      <a:pt x="978" y="430"/>
                      <a:pt x="979" y="432"/>
                    </a:cubicBezTo>
                    <a:cubicBezTo>
                      <a:pt x="979" y="434"/>
                      <a:pt x="979" y="437"/>
                      <a:pt x="979" y="439"/>
                    </a:cubicBezTo>
                    <a:lnTo>
                      <a:pt x="947" y="512"/>
                    </a:lnTo>
                    <a:lnTo>
                      <a:pt x="947" y="509"/>
                    </a:lnTo>
                    <a:lnTo>
                      <a:pt x="950" y="659"/>
                    </a:lnTo>
                    <a:lnTo>
                      <a:pt x="949" y="655"/>
                    </a:lnTo>
                    <a:lnTo>
                      <a:pt x="1044" y="850"/>
                    </a:lnTo>
                    <a:lnTo>
                      <a:pt x="1041" y="847"/>
                    </a:lnTo>
                    <a:lnTo>
                      <a:pt x="1098" y="887"/>
                    </a:lnTo>
                    <a:lnTo>
                      <a:pt x="1093" y="886"/>
                    </a:lnTo>
                    <a:lnTo>
                      <a:pt x="1234" y="869"/>
                    </a:lnTo>
                    <a:lnTo>
                      <a:pt x="1228" y="875"/>
                    </a:lnTo>
                    <a:lnTo>
                      <a:pt x="1285" y="716"/>
                    </a:lnTo>
                    <a:cubicBezTo>
                      <a:pt x="1286" y="714"/>
                      <a:pt x="1288" y="712"/>
                      <a:pt x="1290" y="711"/>
                    </a:cubicBezTo>
                    <a:lnTo>
                      <a:pt x="1400" y="683"/>
                    </a:lnTo>
                    <a:cubicBezTo>
                      <a:pt x="1402" y="682"/>
                      <a:pt x="1404" y="682"/>
                      <a:pt x="1405" y="683"/>
                    </a:cubicBezTo>
                    <a:lnTo>
                      <a:pt x="1468" y="712"/>
                    </a:lnTo>
                    <a:cubicBezTo>
                      <a:pt x="1471" y="713"/>
                      <a:pt x="1473" y="717"/>
                      <a:pt x="1472" y="721"/>
                    </a:cubicBezTo>
                    <a:lnTo>
                      <a:pt x="1424" y="904"/>
                    </a:lnTo>
                    <a:cubicBezTo>
                      <a:pt x="1423" y="908"/>
                      <a:pt x="1420" y="910"/>
                      <a:pt x="1416" y="910"/>
                    </a:cubicBezTo>
                    <a:cubicBezTo>
                      <a:pt x="1412" y="910"/>
                      <a:pt x="1409" y="908"/>
                      <a:pt x="1408" y="905"/>
                    </a:cubicBezTo>
                    <a:lnTo>
                      <a:pt x="1396" y="861"/>
                    </a:lnTo>
                    <a:lnTo>
                      <a:pt x="1410" y="864"/>
                    </a:lnTo>
                    <a:lnTo>
                      <a:pt x="1396" y="882"/>
                    </a:lnTo>
                    <a:cubicBezTo>
                      <a:pt x="1395" y="883"/>
                      <a:pt x="1395" y="883"/>
                      <a:pt x="1395" y="883"/>
                    </a:cubicBezTo>
                    <a:lnTo>
                      <a:pt x="1356" y="917"/>
                    </a:lnTo>
                    <a:cubicBezTo>
                      <a:pt x="1355" y="918"/>
                      <a:pt x="1354" y="918"/>
                      <a:pt x="1353" y="918"/>
                    </a:cubicBezTo>
                    <a:lnTo>
                      <a:pt x="1240" y="950"/>
                    </a:lnTo>
                    <a:lnTo>
                      <a:pt x="1245" y="938"/>
                    </a:lnTo>
                    <a:lnTo>
                      <a:pt x="1297" y="1015"/>
                    </a:lnTo>
                    <a:cubicBezTo>
                      <a:pt x="1299" y="1017"/>
                      <a:pt x="1299" y="1020"/>
                      <a:pt x="1298" y="1023"/>
                    </a:cubicBezTo>
                    <a:cubicBezTo>
                      <a:pt x="1297" y="1025"/>
                      <a:pt x="1294" y="1027"/>
                      <a:pt x="1291" y="1027"/>
                    </a:cubicBezTo>
                    <a:lnTo>
                      <a:pt x="1242" y="1029"/>
                    </a:lnTo>
                    <a:lnTo>
                      <a:pt x="1249" y="1024"/>
                    </a:lnTo>
                    <a:lnTo>
                      <a:pt x="1208" y="1116"/>
                    </a:lnTo>
                    <a:cubicBezTo>
                      <a:pt x="1207" y="1118"/>
                      <a:pt x="1205" y="1120"/>
                      <a:pt x="1202" y="1120"/>
                    </a:cubicBezTo>
                    <a:cubicBezTo>
                      <a:pt x="1199" y="1121"/>
                      <a:pt x="1197" y="1120"/>
                      <a:pt x="1195" y="1118"/>
                    </a:cubicBezTo>
                    <a:lnTo>
                      <a:pt x="1096" y="1025"/>
                    </a:lnTo>
                    <a:lnTo>
                      <a:pt x="1103" y="1027"/>
                    </a:lnTo>
                    <a:lnTo>
                      <a:pt x="953" y="1040"/>
                    </a:lnTo>
                    <a:cubicBezTo>
                      <a:pt x="951" y="1041"/>
                      <a:pt x="949" y="1040"/>
                      <a:pt x="948" y="1039"/>
                    </a:cubicBezTo>
                    <a:lnTo>
                      <a:pt x="602" y="846"/>
                    </a:lnTo>
                    <a:cubicBezTo>
                      <a:pt x="601" y="845"/>
                      <a:pt x="600" y="844"/>
                      <a:pt x="599" y="843"/>
                    </a:cubicBezTo>
                    <a:lnTo>
                      <a:pt x="557" y="771"/>
                    </a:lnTo>
                    <a:cubicBezTo>
                      <a:pt x="556" y="769"/>
                      <a:pt x="556" y="766"/>
                      <a:pt x="557" y="764"/>
                    </a:cubicBezTo>
                    <a:lnTo>
                      <a:pt x="579" y="714"/>
                    </a:lnTo>
                    <a:lnTo>
                      <a:pt x="579" y="719"/>
                    </a:lnTo>
                    <a:lnTo>
                      <a:pt x="556" y="639"/>
                    </a:lnTo>
                    <a:lnTo>
                      <a:pt x="558" y="643"/>
                    </a:lnTo>
                    <a:lnTo>
                      <a:pt x="379" y="458"/>
                    </a:lnTo>
                    <a:cubicBezTo>
                      <a:pt x="378" y="456"/>
                      <a:pt x="377" y="454"/>
                      <a:pt x="377" y="451"/>
                    </a:cubicBezTo>
                    <a:lnTo>
                      <a:pt x="381" y="398"/>
                    </a:lnTo>
                    <a:lnTo>
                      <a:pt x="383" y="404"/>
                    </a:lnTo>
                    <a:lnTo>
                      <a:pt x="254" y="269"/>
                    </a:lnTo>
                    <a:cubicBezTo>
                      <a:pt x="254" y="269"/>
                      <a:pt x="253" y="268"/>
                      <a:pt x="253" y="267"/>
                    </a:cubicBezTo>
                    <a:lnTo>
                      <a:pt x="162" y="85"/>
                    </a:lnTo>
                    <a:lnTo>
                      <a:pt x="166" y="89"/>
                    </a:lnTo>
                    <a:lnTo>
                      <a:pt x="112" y="61"/>
                    </a:lnTo>
                    <a:lnTo>
                      <a:pt x="123" y="52"/>
                    </a:lnTo>
                    <a:lnTo>
                      <a:pt x="139" y="164"/>
                    </a:lnTo>
                    <a:lnTo>
                      <a:pt x="138" y="161"/>
                    </a:lnTo>
                    <a:lnTo>
                      <a:pt x="384" y="576"/>
                    </a:lnTo>
                    <a:cubicBezTo>
                      <a:pt x="385" y="579"/>
                      <a:pt x="385" y="582"/>
                      <a:pt x="383" y="585"/>
                    </a:cubicBezTo>
                    <a:lnTo>
                      <a:pt x="360" y="622"/>
                    </a:lnTo>
                    <a:cubicBezTo>
                      <a:pt x="358" y="624"/>
                      <a:pt x="356" y="625"/>
                      <a:pt x="354" y="625"/>
                    </a:cubicBezTo>
                    <a:cubicBezTo>
                      <a:pt x="351" y="625"/>
                      <a:pt x="349" y="625"/>
                      <a:pt x="347" y="623"/>
                    </a:cubicBezTo>
                    <a:lnTo>
                      <a:pt x="242" y="514"/>
                    </a:lnTo>
                    <a:cubicBezTo>
                      <a:pt x="240" y="513"/>
                      <a:pt x="239" y="510"/>
                      <a:pt x="239" y="508"/>
                    </a:cubicBezTo>
                    <a:lnTo>
                      <a:pt x="245" y="443"/>
                    </a:lnTo>
                    <a:lnTo>
                      <a:pt x="246" y="448"/>
                    </a:lnTo>
                    <a:lnTo>
                      <a:pt x="196" y="370"/>
                    </a:lnTo>
                    <a:lnTo>
                      <a:pt x="200" y="373"/>
                    </a:lnTo>
                    <a:lnTo>
                      <a:pt x="108" y="334"/>
                    </a:lnTo>
                    <a:cubicBezTo>
                      <a:pt x="105" y="333"/>
                      <a:pt x="103" y="330"/>
                      <a:pt x="103" y="326"/>
                    </a:cubicBezTo>
                    <a:cubicBezTo>
                      <a:pt x="104" y="323"/>
                      <a:pt x="106" y="320"/>
                      <a:pt x="110" y="319"/>
                    </a:cubicBezTo>
                    <a:lnTo>
                      <a:pt x="151" y="311"/>
                    </a:lnTo>
                    <a:lnTo>
                      <a:pt x="145" y="318"/>
                    </a:lnTo>
                    <a:lnTo>
                      <a:pt x="152" y="269"/>
                    </a:lnTo>
                    <a:lnTo>
                      <a:pt x="154" y="276"/>
                    </a:lnTo>
                    <a:lnTo>
                      <a:pt x="72" y="198"/>
                    </a:lnTo>
                    <a:cubicBezTo>
                      <a:pt x="72" y="197"/>
                      <a:pt x="71" y="196"/>
                      <a:pt x="70" y="195"/>
                    </a:cubicBezTo>
                    <a:lnTo>
                      <a:pt x="1" y="21"/>
                    </a:lnTo>
                    <a:cubicBezTo>
                      <a:pt x="0" y="19"/>
                      <a:pt x="0" y="16"/>
                      <a:pt x="2" y="14"/>
                    </a:cubicBezTo>
                    <a:cubicBezTo>
                      <a:pt x="3" y="12"/>
                      <a:pt x="5" y="11"/>
                      <a:pt x="8" y="10"/>
                    </a:cubicBezTo>
                    <a:lnTo>
                      <a:pt x="117" y="0"/>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63" name="Freeform 219"/>
              <p:cNvSpPr>
                <a:spLocks/>
              </p:cNvSpPr>
              <p:nvPr/>
            </p:nvSpPr>
            <p:spPr bwMode="auto">
              <a:xfrm>
                <a:off x="3971" y="1367"/>
                <a:ext cx="441" cy="175"/>
              </a:xfrm>
              <a:custGeom>
                <a:avLst/>
                <a:gdLst/>
                <a:ahLst/>
                <a:cxnLst>
                  <a:cxn ang="0">
                    <a:pos x="0" y="55"/>
                  </a:cxn>
                  <a:cxn ang="0">
                    <a:pos x="14" y="73"/>
                  </a:cxn>
                  <a:cxn ang="0">
                    <a:pos x="34" y="79"/>
                  </a:cxn>
                  <a:cxn ang="0">
                    <a:pos x="42" y="117"/>
                  </a:cxn>
                  <a:cxn ang="0">
                    <a:pos x="103" y="131"/>
                  </a:cxn>
                  <a:cxn ang="0">
                    <a:pos x="129" y="157"/>
                  </a:cxn>
                  <a:cxn ang="0">
                    <a:pos x="179" y="156"/>
                  </a:cxn>
                  <a:cxn ang="0">
                    <a:pos x="237" y="175"/>
                  </a:cxn>
                  <a:cxn ang="0">
                    <a:pos x="312" y="157"/>
                  </a:cxn>
                  <a:cxn ang="0">
                    <a:pos x="336" y="142"/>
                  </a:cxn>
                  <a:cxn ang="0">
                    <a:pos x="336" y="122"/>
                  </a:cxn>
                  <a:cxn ang="0">
                    <a:pos x="357" y="124"/>
                  </a:cxn>
                  <a:cxn ang="0">
                    <a:pos x="404" y="95"/>
                  </a:cxn>
                  <a:cxn ang="0">
                    <a:pos x="441" y="93"/>
                  </a:cxn>
                  <a:cxn ang="0">
                    <a:pos x="423" y="71"/>
                  </a:cxn>
                  <a:cxn ang="0">
                    <a:pos x="387" y="77"/>
                  </a:cxn>
                  <a:cxn ang="0">
                    <a:pos x="387" y="52"/>
                  </a:cxn>
                  <a:cxn ang="0">
                    <a:pos x="396" y="39"/>
                  </a:cxn>
                  <a:cxn ang="0">
                    <a:pos x="371" y="35"/>
                  </a:cxn>
                  <a:cxn ang="0">
                    <a:pos x="305" y="50"/>
                  </a:cxn>
                  <a:cxn ang="0">
                    <a:pos x="247" y="28"/>
                  </a:cxn>
                  <a:cxn ang="0">
                    <a:pos x="210" y="31"/>
                  </a:cxn>
                  <a:cxn ang="0">
                    <a:pos x="196" y="12"/>
                  </a:cxn>
                  <a:cxn ang="0">
                    <a:pos x="160" y="0"/>
                  </a:cxn>
                  <a:cxn ang="0">
                    <a:pos x="141" y="13"/>
                  </a:cxn>
                  <a:cxn ang="0">
                    <a:pos x="139" y="38"/>
                  </a:cxn>
                  <a:cxn ang="0">
                    <a:pos x="56" y="27"/>
                  </a:cxn>
                  <a:cxn ang="0">
                    <a:pos x="0" y="55"/>
                  </a:cxn>
                </a:cxnLst>
                <a:rect l="0" t="0" r="r" b="b"/>
                <a:pathLst>
                  <a:path w="441" h="175">
                    <a:moveTo>
                      <a:pt x="0" y="55"/>
                    </a:moveTo>
                    <a:lnTo>
                      <a:pt x="14" y="73"/>
                    </a:lnTo>
                    <a:lnTo>
                      <a:pt x="34" y="79"/>
                    </a:lnTo>
                    <a:lnTo>
                      <a:pt x="42" y="117"/>
                    </a:lnTo>
                    <a:lnTo>
                      <a:pt x="103" y="131"/>
                    </a:lnTo>
                    <a:lnTo>
                      <a:pt x="129" y="157"/>
                    </a:lnTo>
                    <a:lnTo>
                      <a:pt x="179" y="156"/>
                    </a:lnTo>
                    <a:lnTo>
                      <a:pt x="237" y="175"/>
                    </a:lnTo>
                    <a:lnTo>
                      <a:pt x="312" y="157"/>
                    </a:lnTo>
                    <a:lnTo>
                      <a:pt x="336" y="142"/>
                    </a:lnTo>
                    <a:lnTo>
                      <a:pt x="336" y="122"/>
                    </a:lnTo>
                    <a:lnTo>
                      <a:pt x="357" y="124"/>
                    </a:lnTo>
                    <a:lnTo>
                      <a:pt x="404" y="95"/>
                    </a:lnTo>
                    <a:lnTo>
                      <a:pt x="441" y="93"/>
                    </a:lnTo>
                    <a:lnTo>
                      <a:pt x="423" y="71"/>
                    </a:lnTo>
                    <a:lnTo>
                      <a:pt x="387" y="77"/>
                    </a:lnTo>
                    <a:lnTo>
                      <a:pt x="387" y="52"/>
                    </a:lnTo>
                    <a:lnTo>
                      <a:pt x="396" y="39"/>
                    </a:lnTo>
                    <a:lnTo>
                      <a:pt x="371" y="35"/>
                    </a:lnTo>
                    <a:lnTo>
                      <a:pt x="305" y="50"/>
                    </a:lnTo>
                    <a:lnTo>
                      <a:pt x="247" y="28"/>
                    </a:lnTo>
                    <a:lnTo>
                      <a:pt x="210" y="31"/>
                    </a:lnTo>
                    <a:lnTo>
                      <a:pt x="196" y="12"/>
                    </a:lnTo>
                    <a:lnTo>
                      <a:pt x="160" y="0"/>
                    </a:lnTo>
                    <a:lnTo>
                      <a:pt x="141" y="13"/>
                    </a:lnTo>
                    <a:lnTo>
                      <a:pt x="139" y="38"/>
                    </a:lnTo>
                    <a:lnTo>
                      <a:pt x="56" y="27"/>
                    </a:lnTo>
                    <a:lnTo>
                      <a:pt x="0" y="55"/>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64" name="Freeform 220"/>
              <p:cNvSpPr>
                <a:spLocks noEditPoints="1"/>
              </p:cNvSpPr>
              <p:nvPr/>
            </p:nvSpPr>
            <p:spPr bwMode="auto">
              <a:xfrm>
                <a:off x="3969" y="1365"/>
                <a:ext cx="445" cy="179"/>
              </a:xfrm>
              <a:custGeom>
                <a:avLst/>
                <a:gdLst/>
                <a:ahLst/>
                <a:cxnLst>
                  <a:cxn ang="0">
                    <a:pos x="15" y="245"/>
                  </a:cxn>
                  <a:cxn ang="0">
                    <a:pos x="61" y="320"/>
                  </a:cxn>
                  <a:cxn ang="0">
                    <a:pos x="132" y="354"/>
                  </a:cxn>
                  <a:cxn ang="0">
                    <a:pos x="156" y="512"/>
                  </a:cxn>
                  <a:cxn ang="0">
                    <a:pos x="371" y="578"/>
                  </a:cxn>
                  <a:cxn ang="0">
                    <a:pos x="451" y="687"/>
                  </a:cxn>
                  <a:cxn ang="0">
                    <a:pos x="629" y="681"/>
                  </a:cxn>
                  <a:cxn ang="0">
                    <a:pos x="822" y="769"/>
                  </a:cxn>
                  <a:cxn ang="0">
                    <a:pos x="1080" y="689"/>
                  </a:cxn>
                  <a:cxn ang="0">
                    <a:pos x="1159" y="632"/>
                  </a:cxn>
                  <a:cxn ang="0">
                    <a:pos x="1161" y="537"/>
                  </a:cxn>
                  <a:cxn ang="0">
                    <a:pos x="1240" y="545"/>
                  </a:cxn>
                  <a:cxn ang="0">
                    <a:pos x="1395" y="419"/>
                  </a:cxn>
                  <a:cxn ang="0">
                    <a:pos x="1528" y="409"/>
                  </a:cxn>
                  <a:cxn ang="0">
                    <a:pos x="1461" y="323"/>
                  </a:cxn>
                  <a:cxn ang="0">
                    <a:pos x="1345" y="353"/>
                  </a:cxn>
                  <a:cxn ang="0">
                    <a:pos x="1335" y="345"/>
                  </a:cxn>
                  <a:cxn ang="0">
                    <a:pos x="1335" y="234"/>
                  </a:cxn>
                  <a:cxn ang="0">
                    <a:pos x="1372" y="186"/>
                  </a:cxn>
                  <a:cxn ang="0">
                    <a:pos x="1289" y="169"/>
                  </a:cxn>
                  <a:cxn ang="0">
                    <a:pos x="1057" y="235"/>
                  </a:cxn>
                  <a:cxn ang="0">
                    <a:pos x="861" y="139"/>
                  </a:cxn>
                  <a:cxn ang="0">
                    <a:pos x="726" y="149"/>
                  </a:cxn>
                  <a:cxn ang="0">
                    <a:pos x="682" y="71"/>
                  </a:cxn>
                  <a:cxn ang="0">
                    <a:pos x="565" y="14"/>
                  </a:cxn>
                  <a:cxn ang="0">
                    <a:pos x="501" y="67"/>
                  </a:cxn>
                  <a:cxn ang="0">
                    <a:pos x="493" y="182"/>
                  </a:cxn>
                  <a:cxn ang="0">
                    <a:pos x="199" y="136"/>
                  </a:cxn>
                  <a:cxn ang="0">
                    <a:pos x="13" y="256"/>
                  </a:cxn>
                  <a:cxn ang="0">
                    <a:pos x="202" y="120"/>
                  </a:cxn>
                  <a:cxn ang="0">
                    <a:pos x="480" y="176"/>
                  </a:cxn>
                  <a:cxn ang="0">
                    <a:pos x="488" y="60"/>
                  </a:cxn>
                  <a:cxn ang="0">
                    <a:pos x="563" y="1"/>
                  </a:cxn>
                  <a:cxn ang="0">
                    <a:pos x="692" y="59"/>
                  </a:cxn>
                  <a:cxn ang="0">
                    <a:pos x="732" y="137"/>
                  </a:cxn>
                  <a:cxn ang="0">
                    <a:pos x="864" y="124"/>
                  </a:cxn>
                  <a:cxn ang="0">
                    <a:pos x="1058" y="220"/>
                  </a:cxn>
                  <a:cxn ang="0">
                    <a:pos x="1288" y="153"/>
                  </a:cxn>
                  <a:cxn ang="0">
                    <a:pos x="1381" y="174"/>
                  </a:cxn>
                  <a:cxn ang="0">
                    <a:pos x="1349" y="241"/>
                  </a:cxn>
                  <a:cxn ang="0">
                    <a:pos x="1351" y="345"/>
                  </a:cxn>
                  <a:cxn ang="0">
                    <a:pos x="1466" y="311"/>
                  </a:cxn>
                  <a:cxn ang="0">
                    <a:pos x="1535" y="412"/>
                  </a:cxn>
                  <a:cxn ang="0">
                    <a:pos x="1529" y="425"/>
                  </a:cxn>
                  <a:cxn ang="0">
                    <a:pos x="1405" y="431"/>
                  </a:cxn>
                  <a:cxn ang="0">
                    <a:pos x="1237" y="560"/>
                  </a:cxn>
                  <a:cxn ang="0">
                    <a:pos x="1175" y="543"/>
                  </a:cxn>
                  <a:cxn ang="0">
                    <a:pos x="1172" y="638"/>
                  </a:cxn>
                  <a:cxn ang="0">
                    <a:pos x="1088" y="703"/>
                  </a:cxn>
                  <a:cxn ang="0">
                    <a:pos x="821" y="784"/>
                  </a:cxn>
                  <a:cxn ang="0">
                    <a:pos x="626" y="697"/>
                  </a:cxn>
                  <a:cxn ang="0">
                    <a:pos x="445" y="700"/>
                  </a:cxn>
                  <a:cxn ang="0">
                    <a:pos x="362" y="590"/>
                  </a:cxn>
                  <a:cxn ang="0">
                    <a:pos x="146" y="521"/>
                  </a:cxn>
                  <a:cxn ang="0">
                    <a:pos x="121" y="363"/>
                  </a:cxn>
                  <a:cxn ang="0">
                    <a:pos x="51" y="331"/>
                  </a:cxn>
                  <a:cxn ang="0">
                    <a:pos x="1" y="247"/>
                  </a:cxn>
                  <a:cxn ang="0">
                    <a:pos x="196" y="121"/>
                  </a:cxn>
                </a:cxnLst>
                <a:rect l="0" t="0" r="r" b="b"/>
                <a:pathLst>
                  <a:path w="1537" h="785">
                    <a:moveTo>
                      <a:pt x="13" y="256"/>
                    </a:moveTo>
                    <a:lnTo>
                      <a:pt x="15" y="245"/>
                    </a:lnTo>
                    <a:lnTo>
                      <a:pt x="65" y="323"/>
                    </a:lnTo>
                    <a:lnTo>
                      <a:pt x="61" y="320"/>
                    </a:lnTo>
                    <a:lnTo>
                      <a:pt x="128" y="348"/>
                    </a:lnTo>
                    <a:cubicBezTo>
                      <a:pt x="130" y="349"/>
                      <a:pt x="132" y="351"/>
                      <a:pt x="132" y="354"/>
                    </a:cubicBezTo>
                    <a:lnTo>
                      <a:pt x="161" y="518"/>
                    </a:lnTo>
                    <a:lnTo>
                      <a:pt x="156" y="512"/>
                    </a:lnTo>
                    <a:lnTo>
                      <a:pt x="367" y="575"/>
                    </a:lnTo>
                    <a:cubicBezTo>
                      <a:pt x="369" y="575"/>
                      <a:pt x="370" y="576"/>
                      <a:pt x="371" y="578"/>
                    </a:cubicBezTo>
                    <a:lnTo>
                      <a:pt x="458" y="690"/>
                    </a:lnTo>
                    <a:lnTo>
                      <a:pt x="451" y="687"/>
                    </a:lnTo>
                    <a:lnTo>
                      <a:pt x="625" y="681"/>
                    </a:lnTo>
                    <a:cubicBezTo>
                      <a:pt x="626" y="681"/>
                      <a:pt x="628" y="681"/>
                      <a:pt x="629" y="681"/>
                    </a:cubicBezTo>
                    <a:lnTo>
                      <a:pt x="828" y="769"/>
                    </a:lnTo>
                    <a:lnTo>
                      <a:pt x="822" y="769"/>
                    </a:lnTo>
                    <a:lnTo>
                      <a:pt x="1083" y="688"/>
                    </a:lnTo>
                    <a:lnTo>
                      <a:pt x="1080" y="689"/>
                    </a:lnTo>
                    <a:lnTo>
                      <a:pt x="1162" y="626"/>
                    </a:lnTo>
                    <a:lnTo>
                      <a:pt x="1159" y="632"/>
                    </a:lnTo>
                    <a:lnTo>
                      <a:pt x="1159" y="543"/>
                    </a:lnTo>
                    <a:cubicBezTo>
                      <a:pt x="1159" y="540"/>
                      <a:pt x="1160" y="538"/>
                      <a:pt x="1161" y="537"/>
                    </a:cubicBezTo>
                    <a:cubicBezTo>
                      <a:pt x="1163" y="535"/>
                      <a:pt x="1166" y="534"/>
                      <a:pt x="1168" y="535"/>
                    </a:cubicBezTo>
                    <a:lnTo>
                      <a:pt x="1240" y="545"/>
                    </a:lnTo>
                    <a:lnTo>
                      <a:pt x="1234" y="546"/>
                    </a:lnTo>
                    <a:lnTo>
                      <a:pt x="1395" y="419"/>
                    </a:lnTo>
                    <a:cubicBezTo>
                      <a:pt x="1396" y="418"/>
                      <a:pt x="1398" y="417"/>
                      <a:pt x="1400" y="417"/>
                    </a:cubicBezTo>
                    <a:lnTo>
                      <a:pt x="1528" y="409"/>
                    </a:lnTo>
                    <a:lnTo>
                      <a:pt x="1522" y="421"/>
                    </a:lnTo>
                    <a:lnTo>
                      <a:pt x="1461" y="323"/>
                    </a:lnTo>
                    <a:lnTo>
                      <a:pt x="1469" y="326"/>
                    </a:lnTo>
                    <a:lnTo>
                      <a:pt x="1345" y="353"/>
                    </a:lnTo>
                    <a:cubicBezTo>
                      <a:pt x="1343" y="354"/>
                      <a:pt x="1340" y="353"/>
                      <a:pt x="1338" y="351"/>
                    </a:cubicBezTo>
                    <a:cubicBezTo>
                      <a:pt x="1337" y="350"/>
                      <a:pt x="1335" y="348"/>
                      <a:pt x="1335" y="345"/>
                    </a:cubicBezTo>
                    <a:lnTo>
                      <a:pt x="1334" y="237"/>
                    </a:lnTo>
                    <a:cubicBezTo>
                      <a:pt x="1334" y="236"/>
                      <a:pt x="1334" y="235"/>
                      <a:pt x="1335" y="234"/>
                    </a:cubicBezTo>
                    <a:lnTo>
                      <a:pt x="1367" y="174"/>
                    </a:lnTo>
                    <a:lnTo>
                      <a:pt x="1372" y="186"/>
                    </a:lnTo>
                    <a:lnTo>
                      <a:pt x="1285" y="169"/>
                    </a:lnTo>
                    <a:lnTo>
                      <a:pt x="1289" y="169"/>
                    </a:lnTo>
                    <a:lnTo>
                      <a:pt x="1063" y="235"/>
                    </a:lnTo>
                    <a:cubicBezTo>
                      <a:pt x="1061" y="236"/>
                      <a:pt x="1059" y="235"/>
                      <a:pt x="1057" y="235"/>
                    </a:cubicBezTo>
                    <a:lnTo>
                      <a:pt x="857" y="138"/>
                    </a:lnTo>
                    <a:lnTo>
                      <a:pt x="861" y="139"/>
                    </a:lnTo>
                    <a:lnTo>
                      <a:pt x="734" y="152"/>
                    </a:lnTo>
                    <a:cubicBezTo>
                      <a:pt x="731" y="153"/>
                      <a:pt x="728" y="151"/>
                      <a:pt x="726" y="149"/>
                    </a:cubicBezTo>
                    <a:lnTo>
                      <a:pt x="678" y="67"/>
                    </a:lnTo>
                    <a:lnTo>
                      <a:pt x="682" y="71"/>
                    </a:lnTo>
                    <a:lnTo>
                      <a:pt x="556" y="16"/>
                    </a:lnTo>
                    <a:lnTo>
                      <a:pt x="565" y="14"/>
                    </a:lnTo>
                    <a:lnTo>
                      <a:pt x="498" y="73"/>
                    </a:lnTo>
                    <a:lnTo>
                      <a:pt x="501" y="67"/>
                    </a:lnTo>
                    <a:lnTo>
                      <a:pt x="496" y="176"/>
                    </a:lnTo>
                    <a:cubicBezTo>
                      <a:pt x="495" y="179"/>
                      <a:pt x="494" y="181"/>
                      <a:pt x="493" y="182"/>
                    </a:cubicBezTo>
                    <a:cubicBezTo>
                      <a:pt x="491" y="184"/>
                      <a:pt x="488" y="184"/>
                      <a:pt x="486" y="184"/>
                    </a:cubicBezTo>
                    <a:lnTo>
                      <a:pt x="199" y="136"/>
                    </a:lnTo>
                    <a:lnTo>
                      <a:pt x="205" y="135"/>
                    </a:lnTo>
                    <a:lnTo>
                      <a:pt x="13" y="256"/>
                    </a:lnTo>
                    <a:close/>
                    <a:moveTo>
                      <a:pt x="196" y="121"/>
                    </a:moveTo>
                    <a:cubicBezTo>
                      <a:pt x="198" y="120"/>
                      <a:pt x="200" y="120"/>
                      <a:pt x="202" y="120"/>
                    </a:cubicBezTo>
                    <a:lnTo>
                      <a:pt x="489" y="168"/>
                    </a:lnTo>
                    <a:lnTo>
                      <a:pt x="480" y="176"/>
                    </a:lnTo>
                    <a:lnTo>
                      <a:pt x="485" y="66"/>
                    </a:lnTo>
                    <a:cubicBezTo>
                      <a:pt x="485" y="64"/>
                      <a:pt x="486" y="62"/>
                      <a:pt x="488" y="60"/>
                    </a:cubicBezTo>
                    <a:lnTo>
                      <a:pt x="554" y="2"/>
                    </a:lnTo>
                    <a:cubicBezTo>
                      <a:pt x="556" y="0"/>
                      <a:pt x="560" y="0"/>
                      <a:pt x="563" y="1"/>
                    </a:cubicBezTo>
                    <a:lnTo>
                      <a:pt x="688" y="56"/>
                    </a:lnTo>
                    <a:cubicBezTo>
                      <a:pt x="690" y="57"/>
                      <a:pt x="691" y="58"/>
                      <a:pt x="692" y="59"/>
                    </a:cubicBezTo>
                    <a:lnTo>
                      <a:pt x="740" y="140"/>
                    </a:lnTo>
                    <a:lnTo>
                      <a:pt x="732" y="137"/>
                    </a:lnTo>
                    <a:lnTo>
                      <a:pt x="859" y="123"/>
                    </a:lnTo>
                    <a:cubicBezTo>
                      <a:pt x="861" y="123"/>
                      <a:pt x="862" y="123"/>
                      <a:pt x="864" y="124"/>
                    </a:cubicBezTo>
                    <a:lnTo>
                      <a:pt x="1064" y="220"/>
                    </a:lnTo>
                    <a:lnTo>
                      <a:pt x="1058" y="220"/>
                    </a:lnTo>
                    <a:lnTo>
                      <a:pt x="1285" y="153"/>
                    </a:lnTo>
                    <a:cubicBezTo>
                      <a:pt x="1286" y="153"/>
                      <a:pt x="1287" y="153"/>
                      <a:pt x="1288" y="153"/>
                    </a:cubicBezTo>
                    <a:lnTo>
                      <a:pt x="1375" y="170"/>
                    </a:lnTo>
                    <a:cubicBezTo>
                      <a:pt x="1378" y="170"/>
                      <a:pt x="1380" y="172"/>
                      <a:pt x="1381" y="174"/>
                    </a:cubicBezTo>
                    <a:cubicBezTo>
                      <a:pt x="1382" y="176"/>
                      <a:pt x="1382" y="179"/>
                      <a:pt x="1381" y="181"/>
                    </a:cubicBezTo>
                    <a:lnTo>
                      <a:pt x="1349" y="241"/>
                    </a:lnTo>
                    <a:lnTo>
                      <a:pt x="1350" y="237"/>
                    </a:lnTo>
                    <a:lnTo>
                      <a:pt x="1351" y="345"/>
                    </a:lnTo>
                    <a:lnTo>
                      <a:pt x="1342" y="337"/>
                    </a:lnTo>
                    <a:lnTo>
                      <a:pt x="1466" y="311"/>
                    </a:lnTo>
                    <a:cubicBezTo>
                      <a:pt x="1469" y="310"/>
                      <a:pt x="1473" y="312"/>
                      <a:pt x="1475" y="314"/>
                    </a:cubicBezTo>
                    <a:lnTo>
                      <a:pt x="1535" y="412"/>
                    </a:lnTo>
                    <a:cubicBezTo>
                      <a:pt x="1537" y="415"/>
                      <a:pt x="1537" y="418"/>
                      <a:pt x="1536" y="420"/>
                    </a:cubicBezTo>
                    <a:cubicBezTo>
                      <a:pt x="1534" y="423"/>
                      <a:pt x="1532" y="424"/>
                      <a:pt x="1529" y="425"/>
                    </a:cubicBezTo>
                    <a:lnTo>
                      <a:pt x="1401" y="433"/>
                    </a:lnTo>
                    <a:lnTo>
                      <a:pt x="1405" y="431"/>
                    </a:lnTo>
                    <a:lnTo>
                      <a:pt x="1244" y="559"/>
                    </a:lnTo>
                    <a:cubicBezTo>
                      <a:pt x="1242" y="560"/>
                      <a:pt x="1240" y="561"/>
                      <a:pt x="1237" y="560"/>
                    </a:cubicBezTo>
                    <a:lnTo>
                      <a:pt x="1166" y="551"/>
                    </a:lnTo>
                    <a:lnTo>
                      <a:pt x="1175" y="543"/>
                    </a:lnTo>
                    <a:lnTo>
                      <a:pt x="1175" y="632"/>
                    </a:lnTo>
                    <a:cubicBezTo>
                      <a:pt x="1175" y="635"/>
                      <a:pt x="1174" y="637"/>
                      <a:pt x="1172" y="638"/>
                    </a:cubicBezTo>
                    <a:lnTo>
                      <a:pt x="1090" y="702"/>
                    </a:lnTo>
                    <a:cubicBezTo>
                      <a:pt x="1089" y="702"/>
                      <a:pt x="1089" y="703"/>
                      <a:pt x="1088" y="703"/>
                    </a:cubicBezTo>
                    <a:lnTo>
                      <a:pt x="827" y="784"/>
                    </a:lnTo>
                    <a:cubicBezTo>
                      <a:pt x="825" y="785"/>
                      <a:pt x="823" y="785"/>
                      <a:pt x="821" y="784"/>
                    </a:cubicBezTo>
                    <a:lnTo>
                      <a:pt x="622" y="696"/>
                    </a:lnTo>
                    <a:lnTo>
                      <a:pt x="626" y="697"/>
                    </a:lnTo>
                    <a:lnTo>
                      <a:pt x="452" y="703"/>
                    </a:lnTo>
                    <a:cubicBezTo>
                      <a:pt x="449" y="703"/>
                      <a:pt x="447" y="702"/>
                      <a:pt x="445" y="700"/>
                    </a:cubicBezTo>
                    <a:lnTo>
                      <a:pt x="358" y="587"/>
                    </a:lnTo>
                    <a:lnTo>
                      <a:pt x="362" y="590"/>
                    </a:lnTo>
                    <a:lnTo>
                      <a:pt x="151" y="527"/>
                    </a:lnTo>
                    <a:cubicBezTo>
                      <a:pt x="148" y="526"/>
                      <a:pt x="146" y="524"/>
                      <a:pt x="146" y="521"/>
                    </a:cubicBezTo>
                    <a:lnTo>
                      <a:pt x="117" y="357"/>
                    </a:lnTo>
                    <a:lnTo>
                      <a:pt x="121" y="363"/>
                    </a:lnTo>
                    <a:lnTo>
                      <a:pt x="55" y="334"/>
                    </a:lnTo>
                    <a:cubicBezTo>
                      <a:pt x="54" y="334"/>
                      <a:pt x="52" y="333"/>
                      <a:pt x="51" y="331"/>
                    </a:cubicBezTo>
                    <a:lnTo>
                      <a:pt x="2" y="253"/>
                    </a:lnTo>
                    <a:cubicBezTo>
                      <a:pt x="1" y="251"/>
                      <a:pt x="0" y="249"/>
                      <a:pt x="1" y="247"/>
                    </a:cubicBezTo>
                    <a:cubicBezTo>
                      <a:pt x="1" y="245"/>
                      <a:pt x="2" y="243"/>
                      <a:pt x="4" y="242"/>
                    </a:cubicBezTo>
                    <a:lnTo>
                      <a:pt x="196" y="12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65" name="Freeform 221"/>
              <p:cNvSpPr>
                <a:spLocks/>
              </p:cNvSpPr>
              <p:nvPr/>
            </p:nvSpPr>
            <p:spPr bwMode="auto">
              <a:xfrm>
                <a:off x="3470" y="1788"/>
                <a:ext cx="106" cy="117"/>
              </a:xfrm>
              <a:custGeom>
                <a:avLst/>
                <a:gdLst/>
                <a:ahLst/>
                <a:cxnLst>
                  <a:cxn ang="0">
                    <a:pos x="0" y="83"/>
                  </a:cxn>
                  <a:cxn ang="0">
                    <a:pos x="14" y="117"/>
                  </a:cxn>
                  <a:cxn ang="0">
                    <a:pos x="39" y="111"/>
                  </a:cxn>
                  <a:cxn ang="0">
                    <a:pos x="80" y="82"/>
                  </a:cxn>
                  <a:cxn ang="0">
                    <a:pos x="79" y="68"/>
                  </a:cxn>
                  <a:cxn ang="0">
                    <a:pos x="105" y="43"/>
                  </a:cxn>
                  <a:cxn ang="0">
                    <a:pos x="106" y="34"/>
                  </a:cxn>
                  <a:cxn ang="0">
                    <a:pos x="92" y="19"/>
                  </a:cxn>
                  <a:cxn ang="0">
                    <a:pos x="59" y="0"/>
                  </a:cxn>
                  <a:cxn ang="0">
                    <a:pos x="51" y="0"/>
                  </a:cxn>
                  <a:cxn ang="0">
                    <a:pos x="56" y="10"/>
                  </a:cxn>
                  <a:cxn ang="0">
                    <a:pos x="44" y="31"/>
                  </a:cxn>
                  <a:cxn ang="0">
                    <a:pos x="51" y="41"/>
                  </a:cxn>
                  <a:cxn ang="0">
                    <a:pos x="41" y="69"/>
                  </a:cxn>
                  <a:cxn ang="0">
                    <a:pos x="0" y="83"/>
                  </a:cxn>
                </a:cxnLst>
                <a:rect l="0" t="0" r="r" b="b"/>
                <a:pathLst>
                  <a:path w="106" h="117">
                    <a:moveTo>
                      <a:pt x="0" y="83"/>
                    </a:moveTo>
                    <a:lnTo>
                      <a:pt x="14" y="117"/>
                    </a:lnTo>
                    <a:lnTo>
                      <a:pt x="39" y="111"/>
                    </a:lnTo>
                    <a:lnTo>
                      <a:pt x="80" y="82"/>
                    </a:lnTo>
                    <a:lnTo>
                      <a:pt x="79" y="68"/>
                    </a:lnTo>
                    <a:lnTo>
                      <a:pt x="105" y="43"/>
                    </a:lnTo>
                    <a:lnTo>
                      <a:pt x="106" y="34"/>
                    </a:lnTo>
                    <a:lnTo>
                      <a:pt x="92" y="19"/>
                    </a:lnTo>
                    <a:lnTo>
                      <a:pt x="59" y="0"/>
                    </a:lnTo>
                    <a:lnTo>
                      <a:pt x="51" y="0"/>
                    </a:lnTo>
                    <a:lnTo>
                      <a:pt x="56" y="10"/>
                    </a:lnTo>
                    <a:lnTo>
                      <a:pt x="44" y="31"/>
                    </a:lnTo>
                    <a:lnTo>
                      <a:pt x="51" y="41"/>
                    </a:lnTo>
                    <a:lnTo>
                      <a:pt x="41" y="69"/>
                    </a:lnTo>
                    <a:lnTo>
                      <a:pt x="0" y="83"/>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66" name="Freeform 222"/>
              <p:cNvSpPr>
                <a:spLocks noEditPoints="1"/>
              </p:cNvSpPr>
              <p:nvPr/>
            </p:nvSpPr>
            <p:spPr bwMode="auto">
              <a:xfrm>
                <a:off x="3467" y="1786"/>
                <a:ext cx="112" cy="121"/>
              </a:xfrm>
              <a:custGeom>
                <a:avLst/>
                <a:gdLst/>
                <a:ahLst/>
                <a:cxnLst>
                  <a:cxn ang="0">
                    <a:pos x="12" y="379"/>
                  </a:cxn>
                  <a:cxn ang="0">
                    <a:pos x="16" y="369"/>
                  </a:cxn>
                  <a:cxn ang="0">
                    <a:pos x="66" y="518"/>
                  </a:cxn>
                  <a:cxn ang="0">
                    <a:pos x="56" y="513"/>
                  </a:cxn>
                  <a:cxn ang="0">
                    <a:pos x="143" y="489"/>
                  </a:cxn>
                  <a:cxn ang="0">
                    <a:pos x="140" y="491"/>
                  </a:cxn>
                  <a:cxn ang="0">
                    <a:pos x="278" y="364"/>
                  </a:cxn>
                  <a:cxn ang="0">
                    <a:pos x="276" y="371"/>
                  </a:cxn>
                  <a:cxn ang="0">
                    <a:pos x="273" y="309"/>
                  </a:cxn>
                  <a:cxn ang="0">
                    <a:pos x="275" y="304"/>
                  </a:cxn>
                  <a:cxn ang="0">
                    <a:pos x="365" y="191"/>
                  </a:cxn>
                  <a:cxn ang="0">
                    <a:pos x="363" y="195"/>
                  </a:cxn>
                  <a:cxn ang="0">
                    <a:pos x="369" y="157"/>
                  </a:cxn>
                  <a:cxn ang="0">
                    <a:pos x="370" y="164"/>
                  </a:cxn>
                  <a:cxn ang="0">
                    <a:pos x="320" y="99"/>
                  </a:cxn>
                  <a:cxn ang="0">
                    <a:pos x="322" y="100"/>
                  </a:cxn>
                  <a:cxn ang="0">
                    <a:pos x="208" y="15"/>
                  </a:cxn>
                  <a:cxn ang="0">
                    <a:pos x="214" y="16"/>
                  </a:cxn>
                  <a:cxn ang="0">
                    <a:pos x="186" y="18"/>
                  </a:cxn>
                  <a:cxn ang="0">
                    <a:pos x="193" y="8"/>
                  </a:cxn>
                  <a:cxn ang="0">
                    <a:pos x="208" y="54"/>
                  </a:cxn>
                  <a:cxn ang="0">
                    <a:pos x="208" y="60"/>
                  </a:cxn>
                  <a:cxn ang="0">
                    <a:pos x="168" y="148"/>
                  </a:cxn>
                  <a:cxn ang="0">
                    <a:pos x="168" y="141"/>
                  </a:cxn>
                  <a:cxn ang="0">
                    <a:pos x="192" y="184"/>
                  </a:cxn>
                  <a:cxn ang="0">
                    <a:pos x="193" y="190"/>
                  </a:cxn>
                  <a:cxn ang="0">
                    <a:pos x="157" y="313"/>
                  </a:cxn>
                  <a:cxn ang="0">
                    <a:pos x="153" y="318"/>
                  </a:cxn>
                  <a:cxn ang="0">
                    <a:pos x="12" y="379"/>
                  </a:cxn>
                  <a:cxn ang="0">
                    <a:pos x="146" y="303"/>
                  </a:cxn>
                  <a:cxn ang="0">
                    <a:pos x="142" y="308"/>
                  </a:cxn>
                  <a:cxn ang="0">
                    <a:pos x="178" y="185"/>
                  </a:cxn>
                  <a:cxn ang="0">
                    <a:pos x="179" y="192"/>
                  </a:cxn>
                  <a:cxn ang="0">
                    <a:pos x="154" y="149"/>
                  </a:cxn>
                  <a:cxn ang="0">
                    <a:pos x="153" y="142"/>
                  </a:cxn>
                  <a:cxn ang="0">
                    <a:pos x="193" y="53"/>
                  </a:cxn>
                  <a:cxn ang="0">
                    <a:pos x="193" y="59"/>
                  </a:cxn>
                  <a:cxn ang="0">
                    <a:pos x="178" y="13"/>
                  </a:cxn>
                  <a:cxn ang="0">
                    <a:pos x="179" y="6"/>
                  </a:cxn>
                  <a:cxn ang="0">
                    <a:pos x="185" y="2"/>
                  </a:cxn>
                  <a:cxn ang="0">
                    <a:pos x="213" y="0"/>
                  </a:cxn>
                  <a:cxn ang="0">
                    <a:pos x="218" y="2"/>
                  </a:cxn>
                  <a:cxn ang="0">
                    <a:pos x="331" y="87"/>
                  </a:cxn>
                  <a:cxn ang="0">
                    <a:pos x="333" y="89"/>
                  </a:cxn>
                  <a:cxn ang="0">
                    <a:pos x="383" y="154"/>
                  </a:cxn>
                  <a:cxn ang="0">
                    <a:pos x="384" y="160"/>
                  </a:cxn>
                  <a:cxn ang="0">
                    <a:pos x="379" y="197"/>
                  </a:cxn>
                  <a:cxn ang="0">
                    <a:pos x="377" y="201"/>
                  </a:cxn>
                  <a:cxn ang="0">
                    <a:pos x="287" y="314"/>
                  </a:cxn>
                  <a:cxn ang="0">
                    <a:pos x="289" y="308"/>
                  </a:cxn>
                  <a:cxn ang="0">
                    <a:pos x="292" y="370"/>
                  </a:cxn>
                  <a:cxn ang="0">
                    <a:pos x="289" y="376"/>
                  </a:cxn>
                  <a:cxn ang="0">
                    <a:pos x="151" y="502"/>
                  </a:cxn>
                  <a:cxn ang="0">
                    <a:pos x="148" y="504"/>
                  </a:cxn>
                  <a:cxn ang="0">
                    <a:pos x="60" y="528"/>
                  </a:cxn>
                  <a:cxn ang="0">
                    <a:pos x="51" y="523"/>
                  </a:cxn>
                  <a:cxn ang="0">
                    <a:pos x="1" y="375"/>
                  </a:cxn>
                  <a:cxn ang="0">
                    <a:pos x="5" y="365"/>
                  </a:cxn>
                  <a:cxn ang="0">
                    <a:pos x="146" y="303"/>
                  </a:cxn>
                </a:cxnLst>
                <a:rect l="0" t="0" r="r" b="b"/>
                <a:pathLst>
                  <a:path w="385" h="529">
                    <a:moveTo>
                      <a:pt x="12" y="379"/>
                    </a:moveTo>
                    <a:lnTo>
                      <a:pt x="16" y="369"/>
                    </a:lnTo>
                    <a:lnTo>
                      <a:pt x="66" y="518"/>
                    </a:lnTo>
                    <a:lnTo>
                      <a:pt x="56" y="513"/>
                    </a:lnTo>
                    <a:lnTo>
                      <a:pt x="143" y="489"/>
                    </a:lnTo>
                    <a:lnTo>
                      <a:pt x="140" y="491"/>
                    </a:lnTo>
                    <a:lnTo>
                      <a:pt x="278" y="364"/>
                    </a:lnTo>
                    <a:lnTo>
                      <a:pt x="276" y="371"/>
                    </a:lnTo>
                    <a:lnTo>
                      <a:pt x="273" y="309"/>
                    </a:lnTo>
                    <a:cubicBezTo>
                      <a:pt x="273" y="307"/>
                      <a:pt x="274" y="305"/>
                      <a:pt x="275" y="304"/>
                    </a:cubicBezTo>
                    <a:lnTo>
                      <a:pt x="365" y="191"/>
                    </a:lnTo>
                    <a:lnTo>
                      <a:pt x="363" y="195"/>
                    </a:lnTo>
                    <a:lnTo>
                      <a:pt x="369" y="157"/>
                    </a:lnTo>
                    <a:lnTo>
                      <a:pt x="370" y="164"/>
                    </a:lnTo>
                    <a:lnTo>
                      <a:pt x="320" y="99"/>
                    </a:lnTo>
                    <a:lnTo>
                      <a:pt x="322" y="100"/>
                    </a:lnTo>
                    <a:lnTo>
                      <a:pt x="208" y="15"/>
                    </a:lnTo>
                    <a:lnTo>
                      <a:pt x="214" y="16"/>
                    </a:lnTo>
                    <a:lnTo>
                      <a:pt x="186" y="18"/>
                    </a:lnTo>
                    <a:lnTo>
                      <a:pt x="193" y="8"/>
                    </a:lnTo>
                    <a:lnTo>
                      <a:pt x="208" y="54"/>
                    </a:lnTo>
                    <a:cubicBezTo>
                      <a:pt x="209" y="56"/>
                      <a:pt x="209" y="58"/>
                      <a:pt x="208" y="60"/>
                    </a:cubicBezTo>
                    <a:lnTo>
                      <a:pt x="168" y="148"/>
                    </a:lnTo>
                    <a:lnTo>
                      <a:pt x="168" y="141"/>
                    </a:lnTo>
                    <a:lnTo>
                      <a:pt x="192" y="184"/>
                    </a:lnTo>
                    <a:cubicBezTo>
                      <a:pt x="194" y="186"/>
                      <a:pt x="194" y="188"/>
                      <a:pt x="193" y="190"/>
                    </a:cubicBezTo>
                    <a:lnTo>
                      <a:pt x="157" y="313"/>
                    </a:lnTo>
                    <a:cubicBezTo>
                      <a:pt x="157" y="315"/>
                      <a:pt x="155" y="317"/>
                      <a:pt x="153" y="318"/>
                    </a:cubicBezTo>
                    <a:lnTo>
                      <a:pt x="12" y="379"/>
                    </a:lnTo>
                    <a:close/>
                    <a:moveTo>
                      <a:pt x="146" y="303"/>
                    </a:moveTo>
                    <a:lnTo>
                      <a:pt x="142" y="308"/>
                    </a:lnTo>
                    <a:lnTo>
                      <a:pt x="178" y="185"/>
                    </a:lnTo>
                    <a:lnTo>
                      <a:pt x="179" y="192"/>
                    </a:lnTo>
                    <a:lnTo>
                      <a:pt x="154" y="149"/>
                    </a:lnTo>
                    <a:cubicBezTo>
                      <a:pt x="152" y="147"/>
                      <a:pt x="152" y="144"/>
                      <a:pt x="153" y="142"/>
                    </a:cubicBezTo>
                    <a:lnTo>
                      <a:pt x="193" y="53"/>
                    </a:lnTo>
                    <a:lnTo>
                      <a:pt x="193" y="59"/>
                    </a:lnTo>
                    <a:lnTo>
                      <a:pt x="178" y="13"/>
                    </a:lnTo>
                    <a:cubicBezTo>
                      <a:pt x="177" y="10"/>
                      <a:pt x="178" y="8"/>
                      <a:pt x="179" y="6"/>
                    </a:cubicBezTo>
                    <a:cubicBezTo>
                      <a:pt x="180" y="4"/>
                      <a:pt x="183" y="2"/>
                      <a:pt x="185" y="2"/>
                    </a:cubicBezTo>
                    <a:lnTo>
                      <a:pt x="213" y="0"/>
                    </a:lnTo>
                    <a:cubicBezTo>
                      <a:pt x="215" y="0"/>
                      <a:pt x="217" y="1"/>
                      <a:pt x="218" y="2"/>
                    </a:cubicBezTo>
                    <a:lnTo>
                      <a:pt x="331" y="87"/>
                    </a:lnTo>
                    <a:cubicBezTo>
                      <a:pt x="332" y="88"/>
                      <a:pt x="333" y="88"/>
                      <a:pt x="333" y="89"/>
                    </a:cubicBezTo>
                    <a:lnTo>
                      <a:pt x="383" y="154"/>
                    </a:lnTo>
                    <a:cubicBezTo>
                      <a:pt x="384" y="155"/>
                      <a:pt x="385" y="158"/>
                      <a:pt x="384" y="160"/>
                    </a:cubicBezTo>
                    <a:lnTo>
                      <a:pt x="379" y="197"/>
                    </a:lnTo>
                    <a:cubicBezTo>
                      <a:pt x="379" y="199"/>
                      <a:pt x="378" y="200"/>
                      <a:pt x="377" y="201"/>
                    </a:cubicBezTo>
                    <a:lnTo>
                      <a:pt x="287" y="314"/>
                    </a:lnTo>
                    <a:lnTo>
                      <a:pt x="289" y="308"/>
                    </a:lnTo>
                    <a:lnTo>
                      <a:pt x="292" y="370"/>
                    </a:lnTo>
                    <a:cubicBezTo>
                      <a:pt x="292" y="372"/>
                      <a:pt x="291" y="375"/>
                      <a:pt x="289" y="376"/>
                    </a:cubicBezTo>
                    <a:lnTo>
                      <a:pt x="151" y="502"/>
                    </a:lnTo>
                    <a:cubicBezTo>
                      <a:pt x="150" y="503"/>
                      <a:pt x="149" y="504"/>
                      <a:pt x="148" y="504"/>
                    </a:cubicBezTo>
                    <a:lnTo>
                      <a:pt x="60" y="528"/>
                    </a:lnTo>
                    <a:cubicBezTo>
                      <a:pt x="56" y="529"/>
                      <a:pt x="52" y="527"/>
                      <a:pt x="51" y="523"/>
                    </a:cubicBezTo>
                    <a:lnTo>
                      <a:pt x="1" y="375"/>
                    </a:lnTo>
                    <a:cubicBezTo>
                      <a:pt x="0" y="371"/>
                      <a:pt x="1" y="366"/>
                      <a:pt x="5" y="365"/>
                    </a:cubicBezTo>
                    <a:lnTo>
                      <a:pt x="146" y="303"/>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67" name="Freeform 223"/>
              <p:cNvSpPr>
                <a:spLocks/>
              </p:cNvSpPr>
              <p:nvPr/>
            </p:nvSpPr>
            <p:spPr bwMode="auto">
              <a:xfrm>
                <a:off x="3860" y="1711"/>
                <a:ext cx="111" cy="55"/>
              </a:xfrm>
              <a:custGeom>
                <a:avLst/>
                <a:gdLst/>
                <a:ahLst/>
                <a:cxnLst>
                  <a:cxn ang="0">
                    <a:pos x="0" y="21"/>
                  </a:cxn>
                  <a:cxn ang="0">
                    <a:pos x="13" y="0"/>
                  </a:cxn>
                  <a:cxn ang="0">
                    <a:pos x="57" y="14"/>
                  </a:cxn>
                  <a:cxn ang="0">
                    <a:pos x="81" y="34"/>
                  </a:cxn>
                  <a:cxn ang="0">
                    <a:pos x="111" y="34"/>
                  </a:cxn>
                  <a:cxn ang="0">
                    <a:pos x="109" y="55"/>
                  </a:cxn>
                  <a:cxn ang="0">
                    <a:pos x="37" y="42"/>
                  </a:cxn>
                  <a:cxn ang="0">
                    <a:pos x="0" y="21"/>
                  </a:cxn>
                </a:cxnLst>
                <a:rect l="0" t="0" r="r" b="b"/>
                <a:pathLst>
                  <a:path w="111" h="55">
                    <a:moveTo>
                      <a:pt x="0" y="21"/>
                    </a:moveTo>
                    <a:lnTo>
                      <a:pt x="13" y="0"/>
                    </a:lnTo>
                    <a:lnTo>
                      <a:pt x="57" y="14"/>
                    </a:lnTo>
                    <a:lnTo>
                      <a:pt x="81" y="34"/>
                    </a:lnTo>
                    <a:lnTo>
                      <a:pt x="111" y="34"/>
                    </a:lnTo>
                    <a:lnTo>
                      <a:pt x="109" y="55"/>
                    </a:lnTo>
                    <a:lnTo>
                      <a:pt x="37" y="42"/>
                    </a:lnTo>
                    <a:lnTo>
                      <a:pt x="0" y="2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68" name="Freeform 224"/>
              <p:cNvSpPr>
                <a:spLocks noEditPoints="1"/>
              </p:cNvSpPr>
              <p:nvPr/>
            </p:nvSpPr>
            <p:spPr bwMode="auto">
              <a:xfrm>
                <a:off x="3857" y="1709"/>
                <a:ext cx="117" cy="59"/>
              </a:xfrm>
              <a:custGeom>
                <a:avLst/>
                <a:gdLst/>
                <a:ahLst/>
                <a:cxnLst>
                  <a:cxn ang="0">
                    <a:pos x="4" y="110"/>
                  </a:cxn>
                  <a:cxn ang="0">
                    <a:pos x="1" y="100"/>
                  </a:cxn>
                  <a:cxn ang="0">
                    <a:pos x="48" y="6"/>
                  </a:cxn>
                  <a:cxn ang="0">
                    <a:pos x="58" y="2"/>
                  </a:cxn>
                  <a:cxn ang="0">
                    <a:pos x="210" y="62"/>
                  </a:cxn>
                  <a:cxn ang="0">
                    <a:pos x="213" y="65"/>
                  </a:cxn>
                  <a:cxn ang="0">
                    <a:pos x="295" y="155"/>
                  </a:cxn>
                  <a:cxn ang="0">
                    <a:pos x="289" y="153"/>
                  </a:cxn>
                  <a:cxn ang="0">
                    <a:pos x="392" y="153"/>
                  </a:cxn>
                  <a:cxn ang="0">
                    <a:pos x="398" y="155"/>
                  </a:cxn>
                  <a:cxn ang="0">
                    <a:pos x="400" y="161"/>
                  </a:cxn>
                  <a:cxn ang="0">
                    <a:pos x="395" y="250"/>
                  </a:cxn>
                  <a:cxn ang="0">
                    <a:pos x="392" y="256"/>
                  </a:cxn>
                  <a:cxn ang="0">
                    <a:pos x="385" y="257"/>
                  </a:cxn>
                  <a:cxn ang="0">
                    <a:pos x="135" y="200"/>
                  </a:cxn>
                  <a:cxn ang="0">
                    <a:pos x="132" y="199"/>
                  </a:cxn>
                  <a:cxn ang="0">
                    <a:pos x="4" y="110"/>
                  </a:cxn>
                  <a:cxn ang="0">
                    <a:pos x="141" y="186"/>
                  </a:cxn>
                  <a:cxn ang="0">
                    <a:pos x="139" y="185"/>
                  </a:cxn>
                  <a:cxn ang="0">
                    <a:pos x="389" y="242"/>
                  </a:cxn>
                  <a:cxn ang="0">
                    <a:pos x="379" y="249"/>
                  </a:cxn>
                  <a:cxn ang="0">
                    <a:pos x="384" y="160"/>
                  </a:cxn>
                  <a:cxn ang="0">
                    <a:pos x="392" y="169"/>
                  </a:cxn>
                  <a:cxn ang="0">
                    <a:pos x="289" y="169"/>
                  </a:cxn>
                  <a:cxn ang="0">
                    <a:pos x="283" y="166"/>
                  </a:cxn>
                  <a:cxn ang="0">
                    <a:pos x="201" y="75"/>
                  </a:cxn>
                  <a:cxn ang="0">
                    <a:pos x="204" y="77"/>
                  </a:cxn>
                  <a:cxn ang="0">
                    <a:pos x="52" y="17"/>
                  </a:cxn>
                  <a:cxn ang="0">
                    <a:pos x="63" y="13"/>
                  </a:cxn>
                  <a:cxn ang="0">
                    <a:pos x="16" y="107"/>
                  </a:cxn>
                  <a:cxn ang="0">
                    <a:pos x="13" y="97"/>
                  </a:cxn>
                  <a:cxn ang="0">
                    <a:pos x="141" y="186"/>
                  </a:cxn>
                </a:cxnLst>
                <a:rect l="0" t="0" r="r" b="b"/>
                <a:pathLst>
                  <a:path w="401" h="258">
                    <a:moveTo>
                      <a:pt x="4" y="110"/>
                    </a:moveTo>
                    <a:cubicBezTo>
                      <a:pt x="1" y="108"/>
                      <a:pt x="0" y="103"/>
                      <a:pt x="1" y="100"/>
                    </a:cubicBezTo>
                    <a:lnTo>
                      <a:pt x="48" y="6"/>
                    </a:lnTo>
                    <a:cubicBezTo>
                      <a:pt x="50" y="2"/>
                      <a:pt x="55" y="0"/>
                      <a:pt x="58" y="2"/>
                    </a:cubicBezTo>
                    <a:lnTo>
                      <a:pt x="210" y="62"/>
                    </a:lnTo>
                    <a:cubicBezTo>
                      <a:pt x="211" y="63"/>
                      <a:pt x="212" y="64"/>
                      <a:pt x="213" y="65"/>
                    </a:cubicBezTo>
                    <a:lnTo>
                      <a:pt x="295" y="155"/>
                    </a:lnTo>
                    <a:lnTo>
                      <a:pt x="289" y="153"/>
                    </a:lnTo>
                    <a:lnTo>
                      <a:pt x="392" y="153"/>
                    </a:lnTo>
                    <a:cubicBezTo>
                      <a:pt x="395" y="153"/>
                      <a:pt x="397" y="153"/>
                      <a:pt x="398" y="155"/>
                    </a:cubicBezTo>
                    <a:cubicBezTo>
                      <a:pt x="400" y="157"/>
                      <a:pt x="401" y="159"/>
                      <a:pt x="400" y="161"/>
                    </a:cubicBezTo>
                    <a:lnTo>
                      <a:pt x="395" y="250"/>
                    </a:lnTo>
                    <a:cubicBezTo>
                      <a:pt x="395" y="252"/>
                      <a:pt x="394" y="254"/>
                      <a:pt x="392" y="256"/>
                    </a:cubicBezTo>
                    <a:cubicBezTo>
                      <a:pt x="390" y="257"/>
                      <a:pt x="387" y="258"/>
                      <a:pt x="385" y="257"/>
                    </a:cubicBezTo>
                    <a:lnTo>
                      <a:pt x="135" y="200"/>
                    </a:lnTo>
                    <a:cubicBezTo>
                      <a:pt x="134" y="200"/>
                      <a:pt x="133" y="200"/>
                      <a:pt x="132" y="199"/>
                    </a:cubicBezTo>
                    <a:lnTo>
                      <a:pt x="4" y="110"/>
                    </a:lnTo>
                    <a:close/>
                    <a:moveTo>
                      <a:pt x="141" y="186"/>
                    </a:moveTo>
                    <a:lnTo>
                      <a:pt x="139" y="185"/>
                    </a:lnTo>
                    <a:lnTo>
                      <a:pt x="389" y="242"/>
                    </a:lnTo>
                    <a:lnTo>
                      <a:pt x="379" y="249"/>
                    </a:lnTo>
                    <a:lnTo>
                      <a:pt x="384" y="160"/>
                    </a:lnTo>
                    <a:lnTo>
                      <a:pt x="392" y="169"/>
                    </a:lnTo>
                    <a:lnTo>
                      <a:pt x="289" y="169"/>
                    </a:lnTo>
                    <a:cubicBezTo>
                      <a:pt x="287" y="169"/>
                      <a:pt x="284" y="168"/>
                      <a:pt x="283" y="166"/>
                    </a:cubicBezTo>
                    <a:lnTo>
                      <a:pt x="201" y="75"/>
                    </a:lnTo>
                    <a:lnTo>
                      <a:pt x="204" y="77"/>
                    </a:lnTo>
                    <a:lnTo>
                      <a:pt x="52" y="17"/>
                    </a:lnTo>
                    <a:lnTo>
                      <a:pt x="63" y="13"/>
                    </a:lnTo>
                    <a:lnTo>
                      <a:pt x="16" y="107"/>
                    </a:lnTo>
                    <a:lnTo>
                      <a:pt x="13" y="97"/>
                    </a:lnTo>
                    <a:lnTo>
                      <a:pt x="141" y="186"/>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69" name="Freeform 225"/>
              <p:cNvSpPr>
                <a:spLocks/>
              </p:cNvSpPr>
              <p:nvPr/>
            </p:nvSpPr>
            <p:spPr bwMode="auto">
              <a:xfrm>
                <a:off x="2792" y="1349"/>
                <a:ext cx="47" cy="43"/>
              </a:xfrm>
              <a:custGeom>
                <a:avLst/>
                <a:gdLst/>
                <a:ahLst/>
                <a:cxnLst>
                  <a:cxn ang="0">
                    <a:pos x="0" y="32"/>
                  </a:cxn>
                  <a:cxn ang="0">
                    <a:pos x="18" y="27"/>
                  </a:cxn>
                  <a:cxn ang="0">
                    <a:pos x="9" y="22"/>
                  </a:cxn>
                  <a:cxn ang="0">
                    <a:pos x="18" y="7"/>
                  </a:cxn>
                  <a:cxn ang="0">
                    <a:pos x="25" y="16"/>
                  </a:cxn>
                  <a:cxn ang="0">
                    <a:pos x="26" y="0"/>
                  </a:cxn>
                  <a:cxn ang="0">
                    <a:pos x="47" y="0"/>
                  </a:cxn>
                  <a:cxn ang="0">
                    <a:pos x="45" y="16"/>
                  </a:cxn>
                  <a:cxn ang="0">
                    <a:pos x="31" y="23"/>
                  </a:cxn>
                  <a:cxn ang="0">
                    <a:pos x="32" y="43"/>
                  </a:cxn>
                  <a:cxn ang="0">
                    <a:pos x="19" y="31"/>
                  </a:cxn>
                  <a:cxn ang="0">
                    <a:pos x="0" y="32"/>
                  </a:cxn>
                </a:cxnLst>
                <a:rect l="0" t="0" r="r" b="b"/>
                <a:pathLst>
                  <a:path w="47" h="43">
                    <a:moveTo>
                      <a:pt x="0" y="32"/>
                    </a:moveTo>
                    <a:lnTo>
                      <a:pt x="18" y="27"/>
                    </a:lnTo>
                    <a:lnTo>
                      <a:pt x="9" y="22"/>
                    </a:lnTo>
                    <a:lnTo>
                      <a:pt x="18" y="7"/>
                    </a:lnTo>
                    <a:lnTo>
                      <a:pt x="25" y="16"/>
                    </a:lnTo>
                    <a:lnTo>
                      <a:pt x="26" y="0"/>
                    </a:lnTo>
                    <a:lnTo>
                      <a:pt x="47" y="0"/>
                    </a:lnTo>
                    <a:lnTo>
                      <a:pt x="45" y="16"/>
                    </a:lnTo>
                    <a:lnTo>
                      <a:pt x="31" y="23"/>
                    </a:lnTo>
                    <a:lnTo>
                      <a:pt x="32" y="43"/>
                    </a:lnTo>
                    <a:lnTo>
                      <a:pt x="19" y="31"/>
                    </a:lnTo>
                    <a:lnTo>
                      <a:pt x="0" y="32"/>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70" name="Freeform 226"/>
              <p:cNvSpPr>
                <a:spLocks noEditPoints="1"/>
              </p:cNvSpPr>
              <p:nvPr/>
            </p:nvSpPr>
            <p:spPr bwMode="auto">
              <a:xfrm>
                <a:off x="2790" y="1347"/>
                <a:ext cx="51" cy="47"/>
              </a:xfrm>
              <a:custGeom>
                <a:avLst/>
                <a:gdLst/>
                <a:ahLst/>
                <a:cxnLst>
                  <a:cxn ang="0">
                    <a:pos x="9" y="160"/>
                  </a:cxn>
                  <a:cxn ang="0">
                    <a:pos x="1" y="154"/>
                  </a:cxn>
                  <a:cxn ang="0">
                    <a:pos x="6" y="145"/>
                  </a:cxn>
                  <a:cxn ang="0">
                    <a:pos x="67" y="121"/>
                  </a:cxn>
                  <a:cxn ang="0">
                    <a:pos x="65" y="135"/>
                  </a:cxn>
                  <a:cxn ang="0">
                    <a:pos x="32" y="112"/>
                  </a:cxn>
                  <a:cxn ang="0">
                    <a:pos x="30" y="102"/>
                  </a:cxn>
                  <a:cxn ang="0">
                    <a:pos x="61" y="35"/>
                  </a:cxn>
                  <a:cxn ang="0">
                    <a:pos x="68" y="31"/>
                  </a:cxn>
                  <a:cxn ang="0">
                    <a:pos x="75" y="35"/>
                  </a:cxn>
                  <a:cxn ang="0">
                    <a:pos x="99" y="78"/>
                  </a:cxn>
                  <a:cxn ang="0">
                    <a:pos x="84" y="82"/>
                  </a:cxn>
                  <a:cxn ang="0">
                    <a:pos x="88" y="8"/>
                  </a:cxn>
                  <a:cxn ang="0">
                    <a:pos x="96" y="0"/>
                  </a:cxn>
                  <a:cxn ang="0">
                    <a:pos x="168" y="0"/>
                  </a:cxn>
                  <a:cxn ang="0">
                    <a:pos x="174" y="3"/>
                  </a:cxn>
                  <a:cxn ang="0">
                    <a:pos x="176" y="9"/>
                  </a:cxn>
                  <a:cxn ang="0">
                    <a:pos x="170" y="83"/>
                  </a:cxn>
                  <a:cxn ang="0">
                    <a:pos x="166" y="89"/>
                  </a:cxn>
                  <a:cxn ang="0">
                    <a:pos x="119" y="117"/>
                  </a:cxn>
                  <a:cxn ang="0">
                    <a:pos x="123" y="110"/>
                  </a:cxn>
                  <a:cxn ang="0">
                    <a:pos x="126" y="200"/>
                  </a:cxn>
                  <a:cxn ang="0">
                    <a:pos x="120" y="208"/>
                  </a:cxn>
                  <a:cxn ang="0">
                    <a:pos x="111" y="205"/>
                  </a:cxn>
                  <a:cxn ang="0">
                    <a:pos x="67" y="150"/>
                  </a:cxn>
                  <a:cxn ang="0">
                    <a:pos x="74" y="153"/>
                  </a:cxn>
                  <a:cxn ang="0">
                    <a:pos x="9" y="160"/>
                  </a:cxn>
                  <a:cxn ang="0">
                    <a:pos x="73" y="137"/>
                  </a:cxn>
                  <a:cxn ang="0">
                    <a:pos x="80" y="140"/>
                  </a:cxn>
                  <a:cxn ang="0">
                    <a:pos x="124" y="195"/>
                  </a:cxn>
                  <a:cxn ang="0">
                    <a:pos x="110" y="201"/>
                  </a:cxn>
                  <a:cxn ang="0">
                    <a:pos x="107" y="111"/>
                  </a:cxn>
                  <a:cxn ang="0">
                    <a:pos x="111" y="103"/>
                  </a:cxn>
                  <a:cxn ang="0">
                    <a:pos x="158" y="75"/>
                  </a:cxn>
                  <a:cxn ang="0">
                    <a:pos x="154" y="81"/>
                  </a:cxn>
                  <a:cxn ang="0">
                    <a:pos x="160" y="8"/>
                  </a:cxn>
                  <a:cxn ang="0">
                    <a:pos x="168" y="16"/>
                  </a:cxn>
                  <a:cxn ang="0">
                    <a:pos x="96" y="16"/>
                  </a:cxn>
                  <a:cxn ang="0">
                    <a:pos x="104" y="9"/>
                  </a:cxn>
                  <a:cxn ang="0">
                    <a:pos x="100" y="82"/>
                  </a:cxn>
                  <a:cxn ang="0">
                    <a:pos x="93" y="90"/>
                  </a:cxn>
                  <a:cxn ang="0">
                    <a:pos x="85" y="86"/>
                  </a:cxn>
                  <a:cxn ang="0">
                    <a:pos x="61" y="42"/>
                  </a:cxn>
                  <a:cxn ang="0">
                    <a:pos x="76" y="42"/>
                  </a:cxn>
                  <a:cxn ang="0">
                    <a:pos x="44" y="109"/>
                  </a:cxn>
                  <a:cxn ang="0">
                    <a:pos x="42" y="99"/>
                  </a:cxn>
                  <a:cxn ang="0">
                    <a:pos x="74" y="122"/>
                  </a:cxn>
                  <a:cxn ang="0">
                    <a:pos x="78" y="130"/>
                  </a:cxn>
                  <a:cxn ang="0">
                    <a:pos x="72" y="136"/>
                  </a:cxn>
                  <a:cxn ang="0">
                    <a:pos x="11" y="160"/>
                  </a:cxn>
                  <a:cxn ang="0">
                    <a:pos x="8" y="144"/>
                  </a:cxn>
                  <a:cxn ang="0">
                    <a:pos x="73" y="137"/>
                  </a:cxn>
                </a:cxnLst>
                <a:rect l="0" t="0" r="r" b="b"/>
                <a:pathLst>
                  <a:path w="177" h="209">
                    <a:moveTo>
                      <a:pt x="9" y="160"/>
                    </a:moveTo>
                    <a:cubicBezTo>
                      <a:pt x="5" y="160"/>
                      <a:pt x="2" y="158"/>
                      <a:pt x="1" y="154"/>
                    </a:cubicBezTo>
                    <a:cubicBezTo>
                      <a:pt x="0" y="150"/>
                      <a:pt x="2" y="146"/>
                      <a:pt x="6" y="145"/>
                    </a:cubicBezTo>
                    <a:lnTo>
                      <a:pt x="67" y="121"/>
                    </a:lnTo>
                    <a:lnTo>
                      <a:pt x="65" y="135"/>
                    </a:lnTo>
                    <a:lnTo>
                      <a:pt x="32" y="112"/>
                    </a:lnTo>
                    <a:cubicBezTo>
                      <a:pt x="29" y="110"/>
                      <a:pt x="28" y="105"/>
                      <a:pt x="30" y="102"/>
                    </a:cubicBezTo>
                    <a:lnTo>
                      <a:pt x="61" y="35"/>
                    </a:lnTo>
                    <a:cubicBezTo>
                      <a:pt x="62" y="32"/>
                      <a:pt x="65" y="31"/>
                      <a:pt x="68" y="31"/>
                    </a:cubicBezTo>
                    <a:cubicBezTo>
                      <a:pt x="71" y="30"/>
                      <a:pt x="74" y="32"/>
                      <a:pt x="75" y="35"/>
                    </a:cubicBezTo>
                    <a:lnTo>
                      <a:pt x="99" y="78"/>
                    </a:lnTo>
                    <a:lnTo>
                      <a:pt x="84" y="82"/>
                    </a:lnTo>
                    <a:lnTo>
                      <a:pt x="88" y="8"/>
                    </a:lnTo>
                    <a:cubicBezTo>
                      <a:pt x="88" y="4"/>
                      <a:pt x="91" y="0"/>
                      <a:pt x="96" y="0"/>
                    </a:cubicBezTo>
                    <a:lnTo>
                      <a:pt x="168" y="0"/>
                    </a:lnTo>
                    <a:cubicBezTo>
                      <a:pt x="171" y="0"/>
                      <a:pt x="173" y="1"/>
                      <a:pt x="174" y="3"/>
                    </a:cubicBezTo>
                    <a:cubicBezTo>
                      <a:pt x="176" y="5"/>
                      <a:pt x="177" y="7"/>
                      <a:pt x="176" y="9"/>
                    </a:cubicBezTo>
                    <a:lnTo>
                      <a:pt x="170" y="83"/>
                    </a:lnTo>
                    <a:cubicBezTo>
                      <a:pt x="170" y="85"/>
                      <a:pt x="168" y="87"/>
                      <a:pt x="166" y="89"/>
                    </a:cubicBezTo>
                    <a:lnTo>
                      <a:pt x="119" y="117"/>
                    </a:lnTo>
                    <a:lnTo>
                      <a:pt x="123" y="110"/>
                    </a:lnTo>
                    <a:lnTo>
                      <a:pt x="126" y="200"/>
                    </a:lnTo>
                    <a:cubicBezTo>
                      <a:pt x="126" y="204"/>
                      <a:pt x="124" y="207"/>
                      <a:pt x="120" y="208"/>
                    </a:cubicBezTo>
                    <a:cubicBezTo>
                      <a:pt x="117" y="209"/>
                      <a:pt x="114" y="208"/>
                      <a:pt x="111" y="205"/>
                    </a:cubicBezTo>
                    <a:lnTo>
                      <a:pt x="67" y="150"/>
                    </a:lnTo>
                    <a:lnTo>
                      <a:pt x="74" y="153"/>
                    </a:lnTo>
                    <a:lnTo>
                      <a:pt x="9" y="160"/>
                    </a:lnTo>
                    <a:close/>
                    <a:moveTo>
                      <a:pt x="73" y="137"/>
                    </a:moveTo>
                    <a:cubicBezTo>
                      <a:pt x="75" y="137"/>
                      <a:pt x="78" y="138"/>
                      <a:pt x="80" y="140"/>
                    </a:cubicBezTo>
                    <a:lnTo>
                      <a:pt x="124" y="195"/>
                    </a:lnTo>
                    <a:lnTo>
                      <a:pt x="110" y="201"/>
                    </a:lnTo>
                    <a:lnTo>
                      <a:pt x="107" y="111"/>
                    </a:lnTo>
                    <a:cubicBezTo>
                      <a:pt x="107" y="108"/>
                      <a:pt x="109" y="105"/>
                      <a:pt x="111" y="103"/>
                    </a:cubicBezTo>
                    <a:lnTo>
                      <a:pt x="158" y="75"/>
                    </a:lnTo>
                    <a:lnTo>
                      <a:pt x="154" y="81"/>
                    </a:lnTo>
                    <a:lnTo>
                      <a:pt x="160" y="8"/>
                    </a:lnTo>
                    <a:lnTo>
                      <a:pt x="168" y="16"/>
                    </a:lnTo>
                    <a:lnTo>
                      <a:pt x="96" y="16"/>
                    </a:lnTo>
                    <a:lnTo>
                      <a:pt x="104" y="9"/>
                    </a:lnTo>
                    <a:lnTo>
                      <a:pt x="100" y="82"/>
                    </a:lnTo>
                    <a:cubicBezTo>
                      <a:pt x="100" y="86"/>
                      <a:pt x="97" y="89"/>
                      <a:pt x="93" y="90"/>
                    </a:cubicBezTo>
                    <a:cubicBezTo>
                      <a:pt x="90" y="91"/>
                      <a:pt x="86" y="89"/>
                      <a:pt x="85" y="86"/>
                    </a:cubicBezTo>
                    <a:lnTo>
                      <a:pt x="61" y="42"/>
                    </a:lnTo>
                    <a:lnTo>
                      <a:pt x="76" y="42"/>
                    </a:lnTo>
                    <a:lnTo>
                      <a:pt x="44" y="109"/>
                    </a:lnTo>
                    <a:lnTo>
                      <a:pt x="42" y="99"/>
                    </a:lnTo>
                    <a:lnTo>
                      <a:pt x="74" y="122"/>
                    </a:lnTo>
                    <a:cubicBezTo>
                      <a:pt x="77" y="124"/>
                      <a:pt x="78" y="127"/>
                      <a:pt x="78" y="130"/>
                    </a:cubicBezTo>
                    <a:cubicBezTo>
                      <a:pt x="77" y="133"/>
                      <a:pt x="75" y="135"/>
                      <a:pt x="72" y="136"/>
                    </a:cubicBezTo>
                    <a:lnTo>
                      <a:pt x="11" y="160"/>
                    </a:lnTo>
                    <a:lnTo>
                      <a:pt x="8" y="144"/>
                    </a:lnTo>
                    <a:lnTo>
                      <a:pt x="73" y="137"/>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71" name="Freeform 227"/>
              <p:cNvSpPr>
                <a:spLocks/>
              </p:cNvSpPr>
              <p:nvPr/>
            </p:nvSpPr>
            <p:spPr bwMode="auto">
              <a:xfrm>
                <a:off x="5071" y="2691"/>
                <a:ext cx="106" cy="95"/>
              </a:xfrm>
              <a:custGeom>
                <a:avLst/>
                <a:gdLst/>
                <a:ahLst/>
                <a:cxnLst>
                  <a:cxn ang="0">
                    <a:pos x="0" y="83"/>
                  </a:cxn>
                  <a:cxn ang="0">
                    <a:pos x="22" y="54"/>
                  </a:cxn>
                  <a:cxn ang="0">
                    <a:pos x="61" y="33"/>
                  </a:cxn>
                  <a:cxn ang="0">
                    <a:pos x="80" y="0"/>
                  </a:cxn>
                  <a:cxn ang="0">
                    <a:pos x="93" y="10"/>
                  </a:cxn>
                  <a:cxn ang="0">
                    <a:pos x="106" y="6"/>
                  </a:cxn>
                  <a:cxn ang="0">
                    <a:pos x="106" y="17"/>
                  </a:cxn>
                  <a:cxn ang="0">
                    <a:pos x="87" y="39"/>
                  </a:cxn>
                  <a:cxn ang="0">
                    <a:pos x="91" y="50"/>
                  </a:cxn>
                  <a:cxn ang="0">
                    <a:pos x="69" y="54"/>
                  </a:cxn>
                  <a:cxn ang="0">
                    <a:pos x="57" y="86"/>
                  </a:cxn>
                  <a:cxn ang="0">
                    <a:pos x="35" y="95"/>
                  </a:cxn>
                  <a:cxn ang="0">
                    <a:pos x="0" y="83"/>
                  </a:cxn>
                </a:cxnLst>
                <a:rect l="0" t="0" r="r" b="b"/>
                <a:pathLst>
                  <a:path w="106" h="95">
                    <a:moveTo>
                      <a:pt x="0" y="83"/>
                    </a:moveTo>
                    <a:lnTo>
                      <a:pt x="22" y="54"/>
                    </a:lnTo>
                    <a:lnTo>
                      <a:pt x="61" y="33"/>
                    </a:lnTo>
                    <a:lnTo>
                      <a:pt x="80" y="0"/>
                    </a:lnTo>
                    <a:lnTo>
                      <a:pt x="93" y="10"/>
                    </a:lnTo>
                    <a:lnTo>
                      <a:pt x="106" y="6"/>
                    </a:lnTo>
                    <a:lnTo>
                      <a:pt x="106" y="17"/>
                    </a:lnTo>
                    <a:lnTo>
                      <a:pt x="87" y="39"/>
                    </a:lnTo>
                    <a:lnTo>
                      <a:pt x="91" y="50"/>
                    </a:lnTo>
                    <a:lnTo>
                      <a:pt x="69" y="54"/>
                    </a:lnTo>
                    <a:lnTo>
                      <a:pt x="57" y="86"/>
                    </a:lnTo>
                    <a:lnTo>
                      <a:pt x="35" y="95"/>
                    </a:lnTo>
                    <a:lnTo>
                      <a:pt x="0" y="83"/>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72" name="Freeform 228"/>
              <p:cNvSpPr>
                <a:spLocks noEditPoints="1"/>
              </p:cNvSpPr>
              <p:nvPr/>
            </p:nvSpPr>
            <p:spPr bwMode="auto">
              <a:xfrm>
                <a:off x="5068" y="2689"/>
                <a:ext cx="112" cy="99"/>
              </a:xfrm>
              <a:custGeom>
                <a:avLst/>
                <a:gdLst/>
                <a:ahLst/>
                <a:cxnLst>
                  <a:cxn ang="0">
                    <a:pos x="5" y="379"/>
                  </a:cxn>
                  <a:cxn ang="0">
                    <a:pos x="1" y="374"/>
                  </a:cxn>
                  <a:cxn ang="0">
                    <a:pos x="2" y="367"/>
                  </a:cxn>
                  <a:cxn ang="0">
                    <a:pos x="79" y="240"/>
                  </a:cxn>
                  <a:cxn ang="0">
                    <a:pos x="81" y="238"/>
                  </a:cxn>
                  <a:cxn ang="0">
                    <a:pos x="214" y="144"/>
                  </a:cxn>
                  <a:cxn ang="0">
                    <a:pos x="211" y="147"/>
                  </a:cxn>
                  <a:cxn ang="0">
                    <a:pos x="279" y="5"/>
                  </a:cxn>
                  <a:cxn ang="0">
                    <a:pos x="284" y="1"/>
                  </a:cxn>
                  <a:cxn ang="0">
                    <a:pos x="292" y="3"/>
                  </a:cxn>
                  <a:cxn ang="0">
                    <a:pos x="334" y="46"/>
                  </a:cxn>
                  <a:cxn ang="0">
                    <a:pos x="325" y="44"/>
                  </a:cxn>
                  <a:cxn ang="0">
                    <a:pos x="371" y="26"/>
                  </a:cxn>
                  <a:cxn ang="0">
                    <a:pos x="378" y="26"/>
                  </a:cxn>
                  <a:cxn ang="0">
                    <a:pos x="382" y="33"/>
                  </a:cxn>
                  <a:cxn ang="0">
                    <a:pos x="384" y="81"/>
                  </a:cxn>
                  <a:cxn ang="0">
                    <a:pos x="383" y="86"/>
                  </a:cxn>
                  <a:cxn ang="0">
                    <a:pos x="314" y="185"/>
                  </a:cxn>
                  <a:cxn ang="0">
                    <a:pos x="315" y="178"/>
                  </a:cxn>
                  <a:cxn ang="0">
                    <a:pos x="331" y="224"/>
                  </a:cxn>
                  <a:cxn ang="0">
                    <a:pos x="330" y="230"/>
                  </a:cxn>
                  <a:cxn ang="0">
                    <a:pos x="325" y="234"/>
                  </a:cxn>
                  <a:cxn ang="0">
                    <a:pos x="248" y="251"/>
                  </a:cxn>
                  <a:cxn ang="0">
                    <a:pos x="254" y="245"/>
                  </a:cxn>
                  <a:cxn ang="0">
                    <a:pos x="214" y="384"/>
                  </a:cxn>
                  <a:cxn ang="0">
                    <a:pos x="210" y="389"/>
                  </a:cxn>
                  <a:cxn ang="0">
                    <a:pos x="132" y="431"/>
                  </a:cxn>
                  <a:cxn ang="0">
                    <a:pos x="125" y="432"/>
                  </a:cxn>
                  <a:cxn ang="0">
                    <a:pos x="5" y="379"/>
                  </a:cxn>
                  <a:cxn ang="0">
                    <a:pos x="131" y="417"/>
                  </a:cxn>
                  <a:cxn ang="0">
                    <a:pos x="124" y="417"/>
                  </a:cxn>
                  <a:cxn ang="0">
                    <a:pos x="202" y="375"/>
                  </a:cxn>
                  <a:cxn ang="0">
                    <a:pos x="198" y="379"/>
                  </a:cxn>
                  <a:cxn ang="0">
                    <a:pos x="238" y="241"/>
                  </a:cxn>
                  <a:cxn ang="0">
                    <a:pos x="244" y="235"/>
                  </a:cxn>
                  <a:cxn ang="0">
                    <a:pos x="321" y="219"/>
                  </a:cxn>
                  <a:cxn ang="0">
                    <a:pos x="315" y="229"/>
                  </a:cxn>
                  <a:cxn ang="0">
                    <a:pos x="300" y="183"/>
                  </a:cxn>
                  <a:cxn ang="0">
                    <a:pos x="301" y="176"/>
                  </a:cxn>
                  <a:cxn ang="0">
                    <a:pos x="370" y="77"/>
                  </a:cxn>
                  <a:cxn ang="0">
                    <a:pos x="368" y="82"/>
                  </a:cxn>
                  <a:cxn ang="0">
                    <a:pos x="366" y="34"/>
                  </a:cxn>
                  <a:cxn ang="0">
                    <a:pos x="377" y="41"/>
                  </a:cxn>
                  <a:cxn ang="0">
                    <a:pos x="331" y="59"/>
                  </a:cxn>
                  <a:cxn ang="0">
                    <a:pos x="323" y="57"/>
                  </a:cxn>
                  <a:cxn ang="0">
                    <a:pos x="280" y="14"/>
                  </a:cxn>
                  <a:cxn ang="0">
                    <a:pos x="293" y="12"/>
                  </a:cxn>
                  <a:cxn ang="0">
                    <a:pos x="226" y="154"/>
                  </a:cxn>
                  <a:cxn ang="0">
                    <a:pos x="223" y="157"/>
                  </a:cxn>
                  <a:cxn ang="0">
                    <a:pos x="90" y="251"/>
                  </a:cxn>
                  <a:cxn ang="0">
                    <a:pos x="92" y="249"/>
                  </a:cxn>
                  <a:cxn ang="0">
                    <a:pos x="15" y="376"/>
                  </a:cxn>
                  <a:cxn ang="0">
                    <a:pos x="12" y="364"/>
                  </a:cxn>
                  <a:cxn ang="0">
                    <a:pos x="131" y="417"/>
                  </a:cxn>
                </a:cxnLst>
                <a:rect l="0" t="0" r="r" b="b"/>
                <a:pathLst>
                  <a:path w="385" h="433">
                    <a:moveTo>
                      <a:pt x="5" y="379"/>
                    </a:moveTo>
                    <a:cubicBezTo>
                      <a:pt x="3" y="378"/>
                      <a:pt x="2" y="376"/>
                      <a:pt x="1" y="374"/>
                    </a:cubicBezTo>
                    <a:cubicBezTo>
                      <a:pt x="0" y="372"/>
                      <a:pt x="0" y="369"/>
                      <a:pt x="2" y="367"/>
                    </a:cubicBezTo>
                    <a:lnTo>
                      <a:pt x="79" y="240"/>
                    </a:lnTo>
                    <a:cubicBezTo>
                      <a:pt x="79" y="239"/>
                      <a:pt x="80" y="239"/>
                      <a:pt x="81" y="238"/>
                    </a:cubicBezTo>
                    <a:lnTo>
                      <a:pt x="214" y="144"/>
                    </a:lnTo>
                    <a:lnTo>
                      <a:pt x="211" y="147"/>
                    </a:lnTo>
                    <a:lnTo>
                      <a:pt x="279" y="5"/>
                    </a:lnTo>
                    <a:cubicBezTo>
                      <a:pt x="280" y="3"/>
                      <a:pt x="282" y="1"/>
                      <a:pt x="284" y="1"/>
                    </a:cubicBezTo>
                    <a:cubicBezTo>
                      <a:pt x="287" y="0"/>
                      <a:pt x="290" y="1"/>
                      <a:pt x="292" y="3"/>
                    </a:cubicBezTo>
                    <a:lnTo>
                      <a:pt x="334" y="46"/>
                    </a:lnTo>
                    <a:lnTo>
                      <a:pt x="325" y="44"/>
                    </a:lnTo>
                    <a:lnTo>
                      <a:pt x="371" y="26"/>
                    </a:lnTo>
                    <a:cubicBezTo>
                      <a:pt x="373" y="25"/>
                      <a:pt x="376" y="25"/>
                      <a:pt x="378" y="26"/>
                    </a:cubicBezTo>
                    <a:cubicBezTo>
                      <a:pt x="380" y="28"/>
                      <a:pt x="382" y="30"/>
                      <a:pt x="382" y="33"/>
                    </a:cubicBezTo>
                    <a:lnTo>
                      <a:pt x="384" y="81"/>
                    </a:lnTo>
                    <a:cubicBezTo>
                      <a:pt x="385" y="82"/>
                      <a:pt x="384" y="84"/>
                      <a:pt x="383" y="86"/>
                    </a:cubicBezTo>
                    <a:lnTo>
                      <a:pt x="314" y="185"/>
                    </a:lnTo>
                    <a:lnTo>
                      <a:pt x="315" y="178"/>
                    </a:lnTo>
                    <a:lnTo>
                      <a:pt x="331" y="224"/>
                    </a:lnTo>
                    <a:cubicBezTo>
                      <a:pt x="331" y="226"/>
                      <a:pt x="331" y="228"/>
                      <a:pt x="330" y="230"/>
                    </a:cubicBezTo>
                    <a:cubicBezTo>
                      <a:pt x="329" y="232"/>
                      <a:pt x="327" y="234"/>
                      <a:pt x="325" y="234"/>
                    </a:cubicBezTo>
                    <a:lnTo>
                      <a:pt x="248" y="251"/>
                    </a:lnTo>
                    <a:lnTo>
                      <a:pt x="254" y="245"/>
                    </a:lnTo>
                    <a:lnTo>
                      <a:pt x="214" y="384"/>
                    </a:lnTo>
                    <a:cubicBezTo>
                      <a:pt x="213" y="386"/>
                      <a:pt x="212" y="388"/>
                      <a:pt x="210" y="389"/>
                    </a:cubicBezTo>
                    <a:lnTo>
                      <a:pt x="132" y="431"/>
                    </a:lnTo>
                    <a:cubicBezTo>
                      <a:pt x="130" y="433"/>
                      <a:pt x="127" y="433"/>
                      <a:pt x="125" y="432"/>
                    </a:cubicBezTo>
                    <a:lnTo>
                      <a:pt x="5" y="379"/>
                    </a:lnTo>
                    <a:close/>
                    <a:moveTo>
                      <a:pt x="131" y="417"/>
                    </a:moveTo>
                    <a:lnTo>
                      <a:pt x="124" y="417"/>
                    </a:lnTo>
                    <a:lnTo>
                      <a:pt x="202" y="375"/>
                    </a:lnTo>
                    <a:lnTo>
                      <a:pt x="198" y="379"/>
                    </a:lnTo>
                    <a:lnTo>
                      <a:pt x="238" y="241"/>
                    </a:lnTo>
                    <a:cubicBezTo>
                      <a:pt x="239" y="238"/>
                      <a:pt x="241" y="236"/>
                      <a:pt x="244" y="235"/>
                    </a:cubicBezTo>
                    <a:lnTo>
                      <a:pt x="321" y="219"/>
                    </a:lnTo>
                    <a:lnTo>
                      <a:pt x="315" y="229"/>
                    </a:lnTo>
                    <a:lnTo>
                      <a:pt x="300" y="183"/>
                    </a:lnTo>
                    <a:cubicBezTo>
                      <a:pt x="299" y="180"/>
                      <a:pt x="300" y="178"/>
                      <a:pt x="301" y="176"/>
                    </a:cubicBezTo>
                    <a:lnTo>
                      <a:pt x="370" y="77"/>
                    </a:lnTo>
                    <a:lnTo>
                      <a:pt x="368" y="82"/>
                    </a:lnTo>
                    <a:lnTo>
                      <a:pt x="366" y="34"/>
                    </a:lnTo>
                    <a:lnTo>
                      <a:pt x="377" y="41"/>
                    </a:lnTo>
                    <a:lnTo>
                      <a:pt x="331" y="59"/>
                    </a:lnTo>
                    <a:cubicBezTo>
                      <a:pt x="328" y="60"/>
                      <a:pt x="325" y="59"/>
                      <a:pt x="323" y="57"/>
                    </a:cubicBezTo>
                    <a:lnTo>
                      <a:pt x="280" y="14"/>
                    </a:lnTo>
                    <a:lnTo>
                      <a:pt x="293" y="12"/>
                    </a:lnTo>
                    <a:lnTo>
                      <a:pt x="226" y="154"/>
                    </a:lnTo>
                    <a:cubicBezTo>
                      <a:pt x="225" y="155"/>
                      <a:pt x="224" y="156"/>
                      <a:pt x="223" y="157"/>
                    </a:cubicBezTo>
                    <a:lnTo>
                      <a:pt x="90" y="251"/>
                    </a:lnTo>
                    <a:lnTo>
                      <a:pt x="92" y="249"/>
                    </a:lnTo>
                    <a:lnTo>
                      <a:pt x="15" y="376"/>
                    </a:lnTo>
                    <a:lnTo>
                      <a:pt x="12" y="364"/>
                    </a:lnTo>
                    <a:lnTo>
                      <a:pt x="131" y="417"/>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73" name="Freeform 229"/>
              <p:cNvSpPr>
                <a:spLocks/>
              </p:cNvSpPr>
              <p:nvPr/>
            </p:nvSpPr>
            <p:spPr bwMode="auto">
              <a:xfrm>
                <a:off x="5154" y="2596"/>
                <a:ext cx="79" cy="102"/>
              </a:xfrm>
              <a:custGeom>
                <a:avLst/>
                <a:gdLst/>
                <a:ahLst/>
                <a:cxnLst>
                  <a:cxn ang="0">
                    <a:pos x="0" y="0"/>
                  </a:cxn>
                  <a:cxn ang="0">
                    <a:pos x="22" y="12"/>
                  </a:cxn>
                  <a:cxn ang="0">
                    <a:pos x="28" y="34"/>
                  </a:cxn>
                  <a:cxn ang="0">
                    <a:pos x="37" y="41"/>
                  </a:cxn>
                  <a:cxn ang="0">
                    <a:pos x="43" y="31"/>
                  </a:cxn>
                  <a:cxn ang="0">
                    <a:pos x="47" y="47"/>
                  </a:cxn>
                  <a:cxn ang="0">
                    <a:pos x="79" y="47"/>
                  </a:cxn>
                  <a:cxn ang="0">
                    <a:pos x="72" y="69"/>
                  </a:cxn>
                  <a:cxn ang="0">
                    <a:pos x="57" y="72"/>
                  </a:cxn>
                  <a:cxn ang="0">
                    <a:pos x="44" y="101"/>
                  </a:cxn>
                  <a:cxn ang="0">
                    <a:pos x="28" y="102"/>
                  </a:cxn>
                  <a:cxn ang="0">
                    <a:pos x="35" y="91"/>
                  </a:cxn>
                  <a:cxn ang="0">
                    <a:pos x="16" y="71"/>
                  </a:cxn>
                  <a:cxn ang="0">
                    <a:pos x="31" y="52"/>
                  </a:cxn>
                  <a:cxn ang="0">
                    <a:pos x="28" y="37"/>
                  </a:cxn>
                  <a:cxn ang="0">
                    <a:pos x="0" y="0"/>
                  </a:cxn>
                </a:cxnLst>
                <a:rect l="0" t="0" r="r" b="b"/>
                <a:pathLst>
                  <a:path w="79" h="102">
                    <a:moveTo>
                      <a:pt x="0" y="0"/>
                    </a:moveTo>
                    <a:lnTo>
                      <a:pt x="22" y="12"/>
                    </a:lnTo>
                    <a:lnTo>
                      <a:pt x="28" y="34"/>
                    </a:lnTo>
                    <a:lnTo>
                      <a:pt x="37" y="41"/>
                    </a:lnTo>
                    <a:lnTo>
                      <a:pt x="43" y="31"/>
                    </a:lnTo>
                    <a:lnTo>
                      <a:pt x="47" y="47"/>
                    </a:lnTo>
                    <a:lnTo>
                      <a:pt x="79" y="47"/>
                    </a:lnTo>
                    <a:lnTo>
                      <a:pt x="72" y="69"/>
                    </a:lnTo>
                    <a:lnTo>
                      <a:pt x="57" y="72"/>
                    </a:lnTo>
                    <a:lnTo>
                      <a:pt x="44" y="101"/>
                    </a:lnTo>
                    <a:lnTo>
                      <a:pt x="28" y="102"/>
                    </a:lnTo>
                    <a:lnTo>
                      <a:pt x="35" y="91"/>
                    </a:lnTo>
                    <a:lnTo>
                      <a:pt x="16" y="71"/>
                    </a:lnTo>
                    <a:lnTo>
                      <a:pt x="31" y="52"/>
                    </a:lnTo>
                    <a:lnTo>
                      <a:pt x="28" y="37"/>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74" name="Freeform 230"/>
              <p:cNvSpPr>
                <a:spLocks noEditPoints="1"/>
              </p:cNvSpPr>
              <p:nvPr/>
            </p:nvSpPr>
            <p:spPr bwMode="auto">
              <a:xfrm>
                <a:off x="5152" y="2594"/>
                <a:ext cx="84" cy="106"/>
              </a:xfrm>
              <a:custGeom>
                <a:avLst/>
                <a:gdLst/>
                <a:ahLst/>
                <a:cxnLst>
                  <a:cxn ang="0">
                    <a:pos x="3" y="3"/>
                  </a:cxn>
                  <a:cxn ang="0">
                    <a:pos x="88" y="53"/>
                  </a:cxn>
                  <a:cxn ang="0">
                    <a:pos x="112" y="157"/>
                  </a:cxn>
                  <a:cxn ang="0">
                    <a:pos x="140" y="180"/>
                  </a:cxn>
                  <a:cxn ang="0">
                    <a:pos x="148" y="140"/>
                  </a:cxn>
                  <a:cxn ang="0">
                    <a:pos x="163" y="142"/>
                  </a:cxn>
                  <a:cxn ang="0">
                    <a:pos x="170" y="204"/>
                  </a:cxn>
                  <a:cxn ang="0">
                    <a:pos x="287" y="207"/>
                  </a:cxn>
                  <a:cxn ang="0">
                    <a:pos x="264" y="312"/>
                  </a:cxn>
                  <a:cxn ang="0">
                    <a:pos x="204" y="332"/>
                  </a:cxn>
                  <a:cxn ang="0">
                    <a:pos x="164" y="454"/>
                  </a:cxn>
                  <a:cxn ang="0">
                    <a:pos x="106" y="464"/>
                  </a:cxn>
                  <a:cxn ang="0">
                    <a:pos x="98" y="453"/>
                  </a:cxn>
                  <a:cxn ang="0">
                    <a:pos x="122" y="413"/>
                  </a:cxn>
                  <a:cxn ang="0">
                    <a:pos x="54" y="313"/>
                  </a:cxn>
                  <a:cxn ang="0">
                    <a:pos x="107" y="238"/>
                  </a:cxn>
                  <a:cxn ang="0">
                    <a:pos x="99" y="174"/>
                  </a:cxn>
                  <a:cxn ang="0">
                    <a:pos x="112" y="165"/>
                  </a:cxn>
                  <a:cxn ang="0">
                    <a:pos x="123" y="236"/>
                  </a:cxn>
                  <a:cxn ang="0">
                    <a:pos x="68" y="322"/>
                  </a:cxn>
                  <a:cxn ang="0">
                    <a:pos x="135" y="403"/>
                  </a:cxn>
                  <a:cxn ang="0">
                    <a:pos x="113" y="460"/>
                  </a:cxn>
                  <a:cxn ang="0">
                    <a:pos x="156" y="444"/>
                  </a:cxn>
                  <a:cxn ang="0">
                    <a:pos x="195" y="322"/>
                  </a:cxn>
                  <a:cxn ang="0">
                    <a:pos x="254" y="302"/>
                  </a:cxn>
                  <a:cxn ang="0">
                    <a:pos x="273" y="210"/>
                  </a:cxn>
                  <a:cxn ang="0">
                    <a:pos x="170" y="220"/>
                  </a:cxn>
                  <a:cxn ang="0">
                    <a:pos x="147" y="146"/>
                  </a:cxn>
                  <a:cxn ang="0">
                    <a:pos x="142" y="189"/>
                  </a:cxn>
                  <a:cxn ang="0">
                    <a:pos x="130" y="192"/>
                  </a:cxn>
                  <a:cxn ang="0">
                    <a:pos x="96" y="160"/>
                  </a:cxn>
                  <a:cxn ang="0">
                    <a:pos x="79" y="67"/>
                  </a:cxn>
                  <a:cxn ang="0">
                    <a:pos x="15" y="4"/>
                  </a:cxn>
                </a:cxnLst>
                <a:rect l="0" t="0" r="r" b="b"/>
                <a:pathLst>
                  <a:path w="289" h="465">
                    <a:moveTo>
                      <a:pt x="2" y="13"/>
                    </a:moveTo>
                    <a:cubicBezTo>
                      <a:pt x="0" y="9"/>
                      <a:pt x="0" y="5"/>
                      <a:pt x="3" y="3"/>
                    </a:cubicBezTo>
                    <a:cubicBezTo>
                      <a:pt x="6" y="0"/>
                      <a:pt x="10" y="0"/>
                      <a:pt x="13" y="2"/>
                    </a:cubicBezTo>
                    <a:lnTo>
                      <a:pt x="88" y="53"/>
                    </a:lnTo>
                    <a:cubicBezTo>
                      <a:pt x="90" y="55"/>
                      <a:pt x="91" y="56"/>
                      <a:pt x="92" y="58"/>
                    </a:cubicBezTo>
                    <a:lnTo>
                      <a:pt x="112" y="157"/>
                    </a:lnTo>
                    <a:lnTo>
                      <a:pt x="109" y="152"/>
                    </a:lnTo>
                    <a:lnTo>
                      <a:pt x="140" y="180"/>
                    </a:lnTo>
                    <a:lnTo>
                      <a:pt x="128" y="182"/>
                    </a:lnTo>
                    <a:lnTo>
                      <a:pt x="148" y="140"/>
                    </a:lnTo>
                    <a:cubicBezTo>
                      <a:pt x="150" y="137"/>
                      <a:pt x="153" y="135"/>
                      <a:pt x="156" y="136"/>
                    </a:cubicBezTo>
                    <a:cubicBezTo>
                      <a:pt x="160" y="136"/>
                      <a:pt x="162" y="139"/>
                      <a:pt x="163" y="142"/>
                    </a:cubicBezTo>
                    <a:lnTo>
                      <a:pt x="178" y="210"/>
                    </a:lnTo>
                    <a:lnTo>
                      <a:pt x="170" y="204"/>
                    </a:lnTo>
                    <a:lnTo>
                      <a:pt x="280" y="204"/>
                    </a:lnTo>
                    <a:cubicBezTo>
                      <a:pt x="283" y="204"/>
                      <a:pt x="285" y="205"/>
                      <a:pt x="287" y="207"/>
                    </a:cubicBezTo>
                    <a:cubicBezTo>
                      <a:pt x="288" y="209"/>
                      <a:pt x="289" y="211"/>
                      <a:pt x="288" y="213"/>
                    </a:cubicBezTo>
                    <a:lnTo>
                      <a:pt x="264" y="312"/>
                    </a:lnTo>
                    <a:cubicBezTo>
                      <a:pt x="263" y="315"/>
                      <a:pt x="261" y="317"/>
                      <a:pt x="258" y="318"/>
                    </a:cubicBezTo>
                    <a:lnTo>
                      <a:pt x="204" y="332"/>
                    </a:lnTo>
                    <a:lnTo>
                      <a:pt x="210" y="327"/>
                    </a:lnTo>
                    <a:lnTo>
                      <a:pt x="164" y="454"/>
                    </a:lnTo>
                    <a:cubicBezTo>
                      <a:pt x="163" y="457"/>
                      <a:pt x="160" y="459"/>
                      <a:pt x="157" y="460"/>
                    </a:cubicBezTo>
                    <a:lnTo>
                      <a:pt x="106" y="464"/>
                    </a:lnTo>
                    <a:cubicBezTo>
                      <a:pt x="103" y="465"/>
                      <a:pt x="101" y="463"/>
                      <a:pt x="99" y="461"/>
                    </a:cubicBezTo>
                    <a:cubicBezTo>
                      <a:pt x="97" y="459"/>
                      <a:pt x="97" y="456"/>
                      <a:pt x="98" y="453"/>
                    </a:cubicBezTo>
                    <a:lnTo>
                      <a:pt x="121" y="405"/>
                    </a:lnTo>
                    <a:lnTo>
                      <a:pt x="122" y="413"/>
                    </a:lnTo>
                    <a:lnTo>
                      <a:pt x="55" y="323"/>
                    </a:lnTo>
                    <a:cubicBezTo>
                      <a:pt x="53" y="320"/>
                      <a:pt x="52" y="316"/>
                      <a:pt x="54" y="313"/>
                    </a:cubicBezTo>
                    <a:lnTo>
                      <a:pt x="108" y="233"/>
                    </a:lnTo>
                    <a:lnTo>
                      <a:pt x="107" y="238"/>
                    </a:lnTo>
                    <a:lnTo>
                      <a:pt x="97" y="171"/>
                    </a:lnTo>
                    <a:lnTo>
                      <a:pt x="99" y="174"/>
                    </a:lnTo>
                    <a:lnTo>
                      <a:pt x="2" y="13"/>
                    </a:lnTo>
                    <a:close/>
                    <a:moveTo>
                      <a:pt x="112" y="165"/>
                    </a:moveTo>
                    <a:cubicBezTo>
                      <a:pt x="113" y="166"/>
                      <a:pt x="113" y="167"/>
                      <a:pt x="113" y="169"/>
                    </a:cubicBezTo>
                    <a:lnTo>
                      <a:pt x="123" y="236"/>
                    </a:lnTo>
                    <a:cubicBezTo>
                      <a:pt x="123" y="238"/>
                      <a:pt x="123" y="240"/>
                      <a:pt x="121" y="242"/>
                    </a:cubicBezTo>
                    <a:lnTo>
                      <a:pt x="68" y="322"/>
                    </a:lnTo>
                    <a:lnTo>
                      <a:pt x="67" y="313"/>
                    </a:lnTo>
                    <a:lnTo>
                      <a:pt x="135" y="403"/>
                    </a:lnTo>
                    <a:cubicBezTo>
                      <a:pt x="136" y="406"/>
                      <a:pt x="137" y="409"/>
                      <a:pt x="136" y="412"/>
                    </a:cubicBezTo>
                    <a:lnTo>
                      <a:pt x="113" y="460"/>
                    </a:lnTo>
                    <a:lnTo>
                      <a:pt x="105" y="448"/>
                    </a:lnTo>
                    <a:lnTo>
                      <a:pt x="156" y="444"/>
                    </a:lnTo>
                    <a:lnTo>
                      <a:pt x="149" y="449"/>
                    </a:lnTo>
                    <a:lnTo>
                      <a:pt x="195" y="322"/>
                    </a:lnTo>
                    <a:cubicBezTo>
                      <a:pt x="196" y="319"/>
                      <a:pt x="198" y="317"/>
                      <a:pt x="200" y="317"/>
                    </a:cubicBezTo>
                    <a:lnTo>
                      <a:pt x="254" y="302"/>
                    </a:lnTo>
                    <a:lnTo>
                      <a:pt x="248" y="308"/>
                    </a:lnTo>
                    <a:lnTo>
                      <a:pt x="273" y="210"/>
                    </a:lnTo>
                    <a:lnTo>
                      <a:pt x="280" y="220"/>
                    </a:lnTo>
                    <a:lnTo>
                      <a:pt x="170" y="220"/>
                    </a:lnTo>
                    <a:cubicBezTo>
                      <a:pt x="166" y="220"/>
                      <a:pt x="163" y="217"/>
                      <a:pt x="162" y="213"/>
                    </a:cubicBezTo>
                    <a:lnTo>
                      <a:pt x="147" y="146"/>
                    </a:lnTo>
                    <a:lnTo>
                      <a:pt x="162" y="147"/>
                    </a:lnTo>
                    <a:lnTo>
                      <a:pt x="142" y="189"/>
                    </a:lnTo>
                    <a:cubicBezTo>
                      <a:pt x="141" y="191"/>
                      <a:pt x="139" y="193"/>
                      <a:pt x="137" y="194"/>
                    </a:cubicBezTo>
                    <a:cubicBezTo>
                      <a:pt x="134" y="194"/>
                      <a:pt x="132" y="193"/>
                      <a:pt x="130" y="192"/>
                    </a:cubicBezTo>
                    <a:lnTo>
                      <a:pt x="99" y="164"/>
                    </a:lnTo>
                    <a:cubicBezTo>
                      <a:pt x="97" y="163"/>
                      <a:pt x="97" y="162"/>
                      <a:pt x="96" y="160"/>
                    </a:cubicBezTo>
                    <a:lnTo>
                      <a:pt x="76" y="62"/>
                    </a:lnTo>
                    <a:lnTo>
                      <a:pt x="79" y="67"/>
                    </a:lnTo>
                    <a:lnTo>
                      <a:pt x="4" y="15"/>
                    </a:lnTo>
                    <a:lnTo>
                      <a:pt x="15" y="4"/>
                    </a:lnTo>
                    <a:lnTo>
                      <a:pt x="112" y="165"/>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75" name="Freeform 231"/>
              <p:cNvSpPr>
                <a:spLocks/>
              </p:cNvSpPr>
              <p:nvPr/>
            </p:nvSpPr>
            <p:spPr bwMode="auto">
              <a:xfrm>
                <a:off x="1521" y="1927"/>
                <a:ext cx="55" cy="54"/>
              </a:xfrm>
              <a:custGeom>
                <a:avLst/>
                <a:gdLst/>
                <a:ahLst/>
                <a:cxnLst>
                  <a:cxn ang="0">
                    <a:pos x="0" y="27"/>
                  </a:cxn>
                  <a:cxn ang="0">
                    <a:pos x="22" y="53"/>
                  </a:cxn>
                  <a:cxn ang="0">
                    <a:pos x="51" y="54"/>
                  </a:cxn>
                  <a:cxn ang="0">
                    <a:pos x="55" y="0"/>
                  </a:cxn>
                  <a:cxn ang="0">
                    <a:pos x="35" y="2"/>
                  </a:cxn>
                  <a:cxn ang="0">
                    <a:pos x="0" y="27"/>
                  </a:cxn>
                </a:cxnLst>
                <a:rect l="0" t="0" r="r" b="b"/>
                <a:pathLst>
                  <a:path w="55" h="54">
                    <a:moveTo>
                      <a:pt x="0" y="27"/>
                    </a:moveTo>
                    <a:lnTo>
                      <a:pt x="22" y="53"/>
                    </a:lnTo>
                    <a:lnTo>
                      <a:pt x="51" y="54"/>
                    </a:lnTo>
                    <a:lnTo>
                      <a:pt x="55" y="0"/>
                    </a:lnTo>
                    <a:lnTo>
                      <a:pt x="35" y="2"/>
                    </a:lnTo>
                    <a:lnTo>
                      <a:pt x="0" y="27"/>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76" name="Freeform 232"/>
              <p:cNvSpPr>
                <a:spLocks noEditPoints="1"/>
              </p:cNvSpPr>
              <p:nvPr/>
            </p:nvSpPr>
            <p:spPr bwMode="auto">
              <a:xfrm>
                <a:off x="1518" y="1925"/>
                <a:ext cx="61" cy="58"/>
              </a:xfrm>
              <a:custGeom>
                <a:avLst/>
                <a:gdLst/>
                <a:ahLst/>
                <a:cxnLst>
                  <a:cxn ang="0">
                    <a:pos x="14" y="134"/>
                  </a:cxn>
                  <a:cxn ang="0">
                    <a:pos x="15" y="124"/>
                  </a:cxn>
                  <a:cxn ang="0">
                    <a:pos x="92" y="237"/>
                  </a:cxn>
                  <a:cxn ang="0">
                    <a:pos x="86" y="234"/>
                  </a:cxn>
                  <a:cxn ang="0">
                    <a:pos x="186" y="240"/>
                  </a:cxn>
                  <a:cxn ang="0">
                    <a:pos x="177" y="248"/>
                  </a:cxn>
                  <a:cxn ang="0">
                    <a:pos x="192" y="8"/>
                  </a:cxn>
                  <a:cxn ang="0">
                    <a:pos x="202" y="16"/>
                  </a:cxn>
                  <a:cxn ang="0">
                    <a:pos x="132" y="26"/>
                  </a:cxn>
                  <a:cxn ang="0">
                    <a:pos x="136" y="24"/>
                  </a:cxn>
                  <a:cxn ang="0">
                    <a:pos x="14" y="134"/>
                  </a:cxn>
                  <a:cxn ang="0">
                    <a:pos x="126" y="13"/>
                  </a:cxn>
                  <a:cxn ang="0">
                    <a:pos x="130" y="11"/>
                  </a:cxn>
                  <a:cxn ang="0">
                    <a:pos x="199" y="1"/>
                  </a:cxn>
                  <a:cxn ang="0">
                    <a:pos x="206" y="3"/>
                  </a:cxn>
                  <a:cxn ang="0">
                    <a:pos x="208" y="9"/>
                  </a:cxn>
                  <a:cxn ang="0">
                    <a:pos x="193" y="249"/>
                  </a:cxn>
                  <a:cxn ang="0">
                    <a:pos x="190" y="254"/>
                  </a:cxn>
                  <a:cxn ang="0">
                    <a:pos x="185" y="256"/>
                  </a:cxn>
                  <a:cxn ang="0">
                    <a:pos x="84" y="250"/>
                  </a:cxn>
                  <a:cxn ang="0">
                    <a:pos x="78" y="246"/>
                  </a:cxn>
                  <a:cxn ang="0">
                    <a:pos x="2" y="133"/>
                  </a:cxn>
                  <a:cxn ang="0">
                    <a:pos x="3" y="123"/>
                  </a:cxn>
                  <a:cxn ang="0">
                    <a:pos x="126" y="13"/>
                  </a:cxn>
                </a:cxnLst>
                <a:rect l="0" t="0" r="r" b="b"/>
                <a:pathLst>
                  <a:path w="209" h="257">
                    <a:moveTo>
                      <a:pt x="14" y="134"/>
                    </a:moveTo>
                    <a:lnTo>
                      <a:pt x="15" y="124"/>
                    </a:lnTo>
                    <a:lnTo>
                      <a:pt x="92" y="237"/>
                    </a:lnTo>
                    <a:lnTo>
                      <a:pt x="86" y="234"/>
                    </a:lnTo>
                    <a:lnTo>
                      <a:pt x="186" y="240"/>
                    </a:lnTo>
                    <a:lnTo>
                      <a:pt x="177" y="248"/>
                    </a:lnTo>
                    <a:lnTo>
                      <a:pt x="192" y="8"/>
                    </a:lnTo>
                    <a:lnTo>
                      <a:pt x="202" y="16"/>
                    </a:lnTo>
                    <a:lnTo>
                      <a:pt x="132" y="26"/>
                    </a:lnTo>
                    <a:lnTo>
                      <a:pt x="136" y="24"/>
                    </a:lnTo>
                    <a:lnTo>
                      <a:pt x="14" y="134"/>
                    </a:lnTo>
                    <a:close/>
                    <a:moveTo>
                      <a:pt x="126" y="13"/>
                    </a:moveTo>
                    <a:cubicBezTo>
                      <a:pt x="127" y="11"/>
                      <a:pt x="128" y="11"/>
                      <a:pt x="130" y="11"/>
                    </a:cubicBezTo>
                    <a:lnTo>
                      <a:pt x="199" y="1"/>
                    </a:lnTo>
                    <a:cubicBezTo>
                      <a:pt x="202" y="0"/>
                      <a:pt x="204" y="1"/>
                      <a:pt x="206" y="3"/>
                    </a:cubicBezTo>
                    <a:cubicBezTo>
                      <a:pt x="208" y="4"/>
                      <a:pt x="209" y="7"/>
                      <a:pt x="208" y="9"/>
                    </a:cubicBezTo>
                    <a:lnTo>
                      <a:pt x="193" y="249"/>
                    </a:lnTo>
                    <a:cubicBezTo>
                      <a:pt x="193" y="251"/>
                      <a:pt x="192" y="253"/>
                      <a:pt x="190" y="254"/>
                    </a:cubicBezTo>
                    <a:cubicBezTo>
                      <a:pt x="189" y="256"/>
                      <a:pt x="187" y="257"/>
                      <a:pt x="185" y="256"/>
                    </a:cubicBezTo>
                    <a:lnTo>
                      <a:pt x="84" y="250"/>
                    </a:lnTo>
                    <a:cubicBezTo>
                      <a:pt x="82" y="250"/>
                      <a:pt x="80" y="248"/>
                      <a:pt x="78" y="246"/>
                    </a:cubicBezTo>
                    <a:lnTo>
                      <a:pt x="2" y="133"/>
                    </a:lnTo>
                    <a:cubicBezTo>
                      <a:pt x="0" y="130"/>
                      <a:pt x="0" y="125"/>
                      <a:pt x="3" y="123"/>
                    </a:cubicBezTo>
                    <a:lnTo>
                      <a:pt x="126" y="13"/>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77" name="Freeform 233"/>
              <p:cNvSpPr>
                <a:spLocks/>
              </p:cNvSpPr>
              <p:nvPr/>
            </p:nvSpPr>
            <p:spPr bwMode="auto">
              <a:xfrm>
                <a:off x="2811" y="983"/>
                <a:ext cx="362" cy="274"/>
              </a:xfrm>
              <a:custGeom>
                <a:avLst/>
                <a:gdLst/>
                <a:ahLst/>
                <a:cxnLst>
                  <a:cxn ang="0">
                    <a:pos x="1" y="216"/>
                  </a:cxn>
                  <a:cxn ang="0">
                    <a:pos x="35" y="213"/>
                  </a:cxn>
                  <a:cxn ang="0">
                    <a:pos x="9" y="226"/>
                  </a:cxn>
                  <a:cxn ang="0">
                    <a:pos x="28" y="228"/>
                  </a:cxn>
                  <a:cxn ang="0">
                    <a:pos x="18" y="249"/>
                  </a:cxn>
                  <a:cxn ang="0">
                    <a:pos x="44" y="274"/>
                  </a:cxn>
                  <a:cxn ang="0">
                    <a:pos x="77" y="241"/>
                  </a:cxn>
                  <a:cxn ang="0">
                    <a:pos x="102" y="237"/>
                  </a:cxn>
                  <a:cxn ang="0">
                    <a:pos x="106" y="212"/>
                  </a:cxn>
                  <a:cxn ang="0">
                    <a:pos x="100" y="165"/>
                  </a:cxn>
                  <a:cxn ang="0">
                    <a:pos x="121" y="143"/>
                  </a:cxn>
                  <a:cxn ang="0">
                    <a:pos x="157" y="92"/>
                  </a:cxn>
                  <a:cxn ang="0">
                    <a:pos x="179" y="70"/>
                  </a:cxn>
                  <a:cxn ang="0">
                    <a:pos x="210" y="62"/>
                  </a:cxn>
                  <a:cxn ang="0">
                    <a:pos x="217" y="47"/>
                  </a:cxn>
                  <a:cxn ang="0">
                    <a:pos x="243" y="53"/>
                  </a:cxn>
                  <a:cxn ang="0">
                    <a:pos x="289" y="48"/>
                  </a:cxn>
                  <a:cxn ang="0">
                    <a:pos x="321" y="25"/>
                  </a:cxn>
                  <a:cxn ang="0">
                    <a:pos x="335" y="47"/>
                  </a:cxn>
                  <a:cxn ang="0">
                    <a:pos x="343" y="32"/>
                  </a:cxn>
                  <a:cxn ang="0">
                    <a:pos x="330" y="23"/>
                  </a:cxn>
                  <a:cxn ang="0">
                    <a:pos x="336" y="4"/>
                  </a:cxn>
                  <a:cxn ang="0">
                    <a:pos x="329" y="1"/>
                  </a:cxn>
                  <a:cxn ang="0">
                    <a:pos x="307" y="15"/>
                  </a:cxn>
                  <a:cxn ang="0">
                    <a:pos x="302" y="3"/>
                  </a:cxn>
                  <a:cxn ang="0">
                    <a:pos x="291" y="5"/>
                  </a:cxn>
                  <a:cxn ang="0">
                    <a:pos x="254" y="26"/>
                  </a:cxn>
                  <a:cxn ang="0">
                    <a:pos x="237" y="31"/>
                  </a:cxn>
                  <a:cxn ang="0">
                    <a:pos x="211" y="41"/>
                  </a:cxn>
                  <a:cxn ang="0">
                    <a:pos x="204" y="39"/>
                  </a:cxn>
                  <a:cxn ang="0">
                    <a:pos x="202" y="42"/>
                  </a:cxn>
                  <a:cxn ang="0">
                    <a:pos x="178" y="54"/>
                  </a:cxn>
                  <a:cxn ang="0">
                    <a:pos x="176" y="61"/>
                  </a:cxn>
                  <a:cxn ang="0">
                    <a:pos x="142" y="81"/>
                  </a:cxn>
                  <a:cxn ang="0">
                    <a:pos x="116" y="100"/>
                  </a:cxn>
                  <a:cxn ang="0">
                    <a:pos x="64" y="160"/>
                  </a:cxn>
                  <a:cxn ang="0">
                    <a:pos x="88" y="162"/>
                  </a:cxn>
                  <a:cxn ang="0">
                    <a:pos x="28" y="181"/>
                  </a:cxn>
                  <a:cxn ang="0">
                    <a:pos x="18" y="187"/>
                  </a:cxn>
                  <a:cxn ang="0">
                    <a:pos x="1" y="196"/>
                  </a:cxn>
                  <a:cxn ang="0">
                    <a:pos x="0" y="205"/>
                  </a:cxn>
                </a:cxnLst>
                <a:rect l="0" t="0" r="r" b="b"/>
                <a:pathLst>
                  <a:path w="362" h="274">
                    <a:moveTo>
                      <a:pt x="0" y="205"/>
                    </a:moveTo>
                    <a:lnTo>
                      <a:pt x="1" y="216"/>
                    </a:lnTo>
                    <a:lnTo>
                      <a:pt x="34" y="209"/>
                    </a:lnTo>
                    <a:lnTo>
                      <a:pt x="35" y="213"/>
                    </a:lnTo>
                    <a:lnTo>
                      <a:pt x="0" y="221"/>
                    </a:lnTo>
                    <a:lnTo>
                      <a:pt x="9" y="226"/>
                    </a:lnTo>
                    <a:lnTo>
                      <a:pt x="5" y="241"/>
                    </a:lnTo>
                    <a:lnTo>
                      <a:pt x="28" y="228"/>
                    </a:lnTo>
                    <a:lnTo>
                      <a:pt x="4" y="249"/>
                    </a:lnTo>
                    <a:lnTo>
                      <a:pt x="18" y="249"/>
                    </a:lnTo>
                    <a:lnTo>
                      <a:pt x="9" y="267"/>
                    </a:lnTo>
                    <a:lnTo>
                      <a:pt x="44" y="274"/>
                    </a:lnTo>
                    <a:lnTo>
                      <a:pt x="71" y="257"/>
                    </a:lnTo>
                    <a:lnTo>
                      <a:pt x="77" y="241"/>
                    </a:lnTo>
                    <a:lnTo>
                      <a:pt x="86" y="257"/>
                    </a:lnTo>
                    <a:lnTo>
                      <a:pt x="102" y="237"/>
                    </a:lnTo>
                    <a:lnTo>
                      <a:pt x="99" y="220"/>
                    </a:lnTo>
                    <a:lnTo>
                      <a:pt x="106" y="212"/>
                    </a:lnTo>
                    <a:lnTo>
                      <a:pt x="99" y="204"/>
                    </a:lnTo>
                    <a:lnTo>
                      <a:pt x="100" y="165"/>
                    </a:lnTo>
                    <a:lnTo>
                      <a:pt x="126" y="155"/>
                    </a:lnTo>
                    <a:lnTo>
                      <a:pt x="121" y="143"/>
                    </a:lnTo>
                    <a:lnTo>
                      <a:pt x="132" y="114"/>
                    </a:lnTo>
                    <a:lnTo>
                      <a:pt x="157" y="92"/>
                    </a:lnTo>
                    <a:lnTo>
                      <a:pt x="162" y="74"/>
                    </a:lnTo>
                    <a:lnTo>
                      <a:pt x="179" y="70"/>
                    </a:lnTo>
                    <a:lnTo>
                      <a:pt x="184" y="59"/>
                    </a:lnTo>
                    <a:lnTo>
                      <a:pt x="210" y="62"/>
                    </a:lnTo>
                    <a:lnTo>
                      <a:pt x="211" y="47"/>
                    </a:lnTo>
                    <a:lnTo>
                      <a:pt x="217" y="47"/>
                    </a:lnTo>
                    <a:lnTo>
                      <a:pt x="227" y="40"/>
                    </a:lnTo>
                    <a:lnTo>
                      <a:pt x="243" y="53"/>
                    </a:lnTo>
                    <a:lnTo>
                      <a:pt x="272" y="56"/>
                    </a:lnTo>
                    <a:lnTo>
                      <a:pt x="289" y="48"/>
                    </a:lnTo>
                    <a:lnTo>
                      <a:pt x="294" y="30"/>
                    </a:lnTo>
                    <a:lnTo>
                      <a:pt x="321" y="25"/>
                    </a:lnTo>
                    <a:lnTo>
                      <a:pt x="336" y="31"/>
                    </a:lnTo>
                    <a:lnTo>
                      <a:pt x="335" y="47"/>
                    </a:lnTo>
                    <a:lnTo>
                      <a:pt x="361" y="30"/>
                    </a:lnTo>
                    <a:lnTo>
                      <a:pt x="343" y="32"/>
                    </a:lnTo>
                    <a:lnTo>
                      <a:pt x="348" y="28"/>
                    </a:lnTo>
                    <a:lnTo>
                      <a:pt x="330" y="23"/>
                    </a:lnTo>
                    <a:lnTo>
                      <a:pt x="362" y="15"/>
                    </a:lnTo>
                    <a:lnTo>
                      <a:pt x="336" y="4"/>
                    </a:lnTo>
                    <a:lnTo>
                      <a:pt x="320" y="15"/>
                    </a:lnTo>
                    <a:lnTo>
                      <a:pt x="329" y="1"/>
                    </a:lnTo>
                    <a:lnTo>
                      <a:pt x="315" y="0"/>
                    </a:lnTo>
                    <a:lnTo>
                      <a:pt x="307" y="15"/>
                    </a:lnTo>
                    <a:lnTo>
                      <a:pt x="302" y="16"/>
                    </a:lnTo>
                    <a:lnTo>
                      <a:pt x="302" y="3"/>
                    </a:lnTo>
                    <a:lnTo>
                      <a:pt x="279" y="25"/>
                    </a:lnTo>
                    <a:lnTo>
                      <a:pt x="291" y="5"/>
                    </a:lnTo>
                    <a:lnTo>
                      <a:pt x="279" y="2"/>
                    </a:lnTo>
                    <a:lnTo>
                      <a:pt x="254" y="26"/>
                    </a:lnTo>
                    <a:lnTo>
                      <a:pt x="230" y="18"/>
                    </a:lnTo>
                    <a:lnTo>
                      <a:pt x="237" y="31"/>
                    </a:lnTo>
                    <a:lnTo>
                      <a:pt x="227" y="25"/>
                    </a:lnTo>
                    <a:lnTo>
                      <a:pt x="211" y="41"/>
                    </a:lnTo>
                    <a:lnTo>
                      <a:pt x="213" y="27"/>
                    </a:lnTo>
                    <a:lnTo>
                      <a:pt x="204" y="39"/>
                    </a:lnTo>
                    <a:lnTo>
                      <a:pt x="196" y="31"/>
                    </a:lnTo>
                    <a:lnTo>
                      <a:pt x="202" y="42"/>
                    </a:lnTo>
                    <a:lnTo>
                      <a:pt x="183" y="38"/>
                    </a:lnTo>
                    <a:lnTo>
                      <a:pt x="178" y="54"/>
                    </a:lnTo>
                    <a:lnTo>
                      <a:pt x="160" y="60"/>
                    </a:lnTo>
                    <a:lnTo>
                      <a:pt x="176" y="61"/>
                    </a:lnTo>
                    <a:lnTo>
                      <a:pt x="148" y="69"/>
                    </a:lnTo>
                    <a:lnTo>
                      <a:pt x="142" y="81"/>
                    </a:lnTo>
                    <a:lnTo>
                      <a:pt x="151" y="81"/>
                    </a:lnTo>
                    <a:lnTo>
                      <a:pt x="116" y="100"/>
                    </a:lnTo>
                    <a:lnTo>
                      <a:pt x="102" y="133"/>
                    </a:lnTo>
                    <a:lnTo>
                      <a:pt x="64" y="160"/>
                    </a:lnTo>
                    <a:lnTo>
                      <a:pt x="71" y="167"/>
                    </a:lnTo>
                    <a:lnTo>
                      <a:pt x="88" y="162"/>
                    </a:lnTo>
                    <a:lnTo>
                      <a:pt x="49" y="170"/>
                    </a:lnTo>
                    <a:lnTo>
                      <a:pt x="28" y="181"/>
                    </a:lnTo>
                    <a:lnTo>
                      <a:pt x="34" y="187"/>
                    </a:lnTo>
                    <a:lnTo>
                      <a:pt x="18" y="187"/>
                    </a:lnTo>
                    <a:lnTo>
                      <a:pt x="20" y="196"/>
                    </a:lnTo>
                    <a:lnTo>
                      <a:pt x="1" y="196"/>
                    </a:lnTo>
                    <a:lnTo>
                      <a:pt x="18" y="200"/>
                    </a:lnTo>
                    <a:lnTo>
                      <a:pt x="0" y="205"/>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78" name="Freeform 234"/>
              <p:cNvSpPr>
                <a:spLocks noEditPoints="1"/>
              </p:cNvSpPr>
              <p:nvPr/>
            </p:nvSpPr>
            <p:spPr bwMode="auto">
              <a:xfrm>
                <a:off x="2808" y="981"/>
                <a:ext cx="367" cy="278"/>
              </a:xfrm>
              <a:custGeom>
                <a:avLst/>
                <a:gdLst/>
                <a:ahLst/>
                <a:cxnLst>
                  <a:cxn ang="0">
                    <a:pos x="129" y="916"/>
                  </a:cxn>
                  <a:cxn ang="0">
                    <a:pos x="43" y="990"/>
                  </a:cxn>
                  <a:cxn ang="0">
                    <a:pos x="113" y="1012"/>
                  </a:cxn>
                  <a:cxn ang="0">
                    <a:pos x="47" y="1178"/>
                  </a:cxn>
                  <a:cxn ang="0">
                    <a:pos x="266" y="1061"/>
                  </a:cxn>
                  <a:cxn ang="0">
                    <a:pos x="353" y="1048"/>
                  </a:cxn>
                  <a:cxn ang="0">
                    <a:pos x="343" y="901"/>
                  </a:cxn>
                  <a:cxn ang="0">
                    <a:pos x="418" y="634"/>
                  </a:cxn>
                  <a:cxn ang="0">
                    <a:pos x="564" y="323"/>
                  </a:cxn>
                  <a:cxn ang="0">
                    <a:pos x="725" y="279"/>
                  </a:cxn>
                  <a:cxn ang="0">
                    <a:pos x="797" y="180"/>
                  </a:cxn>
                  <a:cxn ang="0">
                    <a:pos x="998" y="215"/>
                  </a:cxn>
                  <a:cxn ang="0">
                    <a:pos x="1177" y="148"/>
                  </a:cxn>
                  <a:cxn ang="0">
                    <a:pos x="1186" y="155"/>
                  </a:cxn>
                  <a:cxn ang="0">
                    <a:pos x="1144" y="103"/>
                  </a:cxn>
                  <a:cxn ang="0">
                    <a:pos x="1107" y="80"/>
                  </a:cxn>
                  <a:cxn ang="0">
                    <a:pos x="1073" y="77"/>
                  </a:cxn>
                  <a:cxn ang="0">
                    <a:pos x="1057" y="27"/>
                  </a:cxn>
                  <a:cxn ang="0">
                    <a:pos x="967" y="24"/>
                  </a:cxn>
                  <a:cxn ang="0">
                    <a:pos x="833" y="144"/>
                  </a:cxn>
                  <a:cxn ang="0">
                    <a:pos x="732" y="194"/>
                  </a:cxn>
                  <a:cxn ang="0">
                    <a:pos x="704" y="185"/>
                  </a:cxn>
                  <a:cxn ang="0">
                    <a:pos x="636" y="181"/>
                  </a:cxn>
                  <a:cxn ang="0">
                    <a:pos x="617" y="269"/>
                  </a:cxn>
                  <a:cxn ang="0">
                    <a:pos x="498" y="356"/>
                  </a:cxn>
                  <a:cxn ang="0">
                    <a:pos x="369" y="592"/>
                  </a:cxn>
                  <a:cxn ang="0">
                    <a:pos x="309" y="710"/>
                  </a:cxn>
                  <a:cxn ang="0">
                    <a:pos x="132" y="823"/>
                  </a:cxn>
                  <a:cxn ang="0">
                    <a:pos x="84" y="870"/>
                  </a:cxn>
                  <a:cxn ang="0">
                    <a:pos x="75" y="894"/>
                  </a:cxn>
                  <a:cxn ang="0">
                    <a:pos x="14" y="857"/>
                  </a:cxn>
                  <a:cxn ang="0">
                    <a:pos x="125" y="820"/>
                  </a:cxn>
                  <a:cxn ang="0">
                    <a:pos x="176" y="745"/>
                  </a:cxn>
                  <a:cxn ang="0">
                    <a:pos x="225" y="713"/>
                  </a:cxn>
                  <a:cxn ang="0">
                    <a:pos x="524" y="357"/>
                  </a:cxn>
                  <a:cxn ang="0">
                    <a:pos x="515" y="305"/>
                  </a:cxn>
                  <a:cxn ang="0">
                    <a:pos x="617" y="238"/>
                  </a:cxn>
                  <a:cxn ang="0">
                    <a:pos x="697" y="198"/>
                  </a:cxn>
                  <a:cxn ang="0">
                    <a:pos x="735" y="125"/>
                  </a:cxn>
                  <a:cxn ang="0">
                    <a:pos x="791" y="109"/>
                  </a:cxn>
                  <a:cxn ang="0">
                    <a:pos x="806" y="81"/>
                  </a:cxn>
                  <a:cxn ang="0">
                    <a:pos x="1020" y="27"/>
                  </a:cxn>
                  <a:cxn ang="0">
                    <a:pos x="1059" y="22"/>
                  </a:cxn>
                  <a:cxn ang="0">
                    <a:pos x="1097" y="1"/>
                  </a:cxn>
                  <a:cxn ang="0">
                    <a:pos x="1164" y="22"/>
                  </a:cxn>
                  <a:cxn ang="0">
                    <a:pos x="1149" y="103"/>
                  </a:cxn>
                  <a:cxn ang="0">
                    <a:pos x="1251" y="131"/>
                  </a:cxn>
                  <a:cxn ang="0">
                    <a:pos x="1161" y="146"/>
                  </a:cxn>
                  <a:cxn ang="0">
                    <a:pos x="1014" y="219"/>
                  </a:cxn>
                  <a:cxn ang="0">
                    <a:pos x="786" y="191"/>
                  </a:cxn>
                  <a:cxn ang="0">
                    <a:pos x="741" y="279"/>
                  </a:cxn>
                  <a:cxn ang="0">
                    <a:pos x="628" y="323"/>
                  </a:cxn>
                  <a:cxn ang="0">
                    <a:pos x="472" y="508"/>
                  </a:cxn>
                  <a:cxn ang="0">
                    <a:pos x="362" y="731"/>
                  </a:cxn>
                  <a:cxn ang="0">
                    <a:pos x="359" y="970"/>
                  </a:cxn>
                  <a:cxn ang="0">
                    <a:pos x="267" y="1066"/>
                  </a:cxn>
                  <a:cxn ang="0">
                    <a:pos x="37" y="1183"/>
                  </a:cxn>
                  <a:cxn ang="0">
                    <a:pos x="14" y="1101"/>
                  </a:cxn>
                  <a:cxn ang="0">
                    <a:pos x="19" y="1060"/>
                  </a:cxn>
                  <a:cxn ang="0">
                    <a:pos x="127" y="935"/>
                  </a:cxn>
                  <a:cxn ang="0">
                    <a:pos x="3" y="957"/>
                  </a:cxn>
                </a:cxnLst>
                <a:rect l="0" t="0" r="r" b="b"/>
                <a:pathLst>
                  <a:path w="1265" h="1217">
                    <a:moveTo>
                      <a:pt x="11" y="914"/>
                    </a:moveTo>
                    <a:lnTo>
                      <a:pt x="16" y="906"/>
                    </a:lnTo>
                    <a:lnTo>
                      <a:pt x="19" y="956"/>
                    </a:lnTo>
                    <a:lnTo>
                      <a:pt x="9" y="949"/>
                    </a:lnTo>
                    <a:lnTo>
                      <a:pt x="123" y="915"/>
                    </a:lnTo>
                    <a:cubicBezTo>
                      <a:pt x="125" y="915"/>
                      <a:pt x="128" y="915"/>
                      <a:pt x="129" y="916"/>
                    </a:cubicBezTo>
                    <a:cubicBezTo>
                      <a:pt x="131" y="917"/>
                      <a:pt x="133" y="919"/>
                      <a:pt x="133" y="921"/>
                    </a:cubicBezTo>
                    <a:lnTo>
                      <a:pt x="137" y="941"/>
                    </a:lnTo>
                    <a:cubicBezTo>
                      <a:pt x="138" y="946"/>
                      <a:pt x="136" y="950"/>
                      <a:pt x="132" y="951"/>
                    </a:cubicBezTo>
                    <a:lnTo>
                      <a:pt x="12" y="986"/>
                    </a:lnTo>
                    <a:lnTo>
                      <a:pt x="14" y="971"/>
                    </a:lnTo>
                    <a:lnTo>
                      <a:pt x="43" y="990"/>
                    </a:lnTo>
                    <a:cubicBezTo>
                      <a:pt x="46" y="991"/>
                      <a:pt x="48" y="995"/>
                      <a:pt x="47" y="998"/>
                    </a:cubicBezTo>
                    <a:lnTo>
                      <a:pt x="34" y="1063"/>
                    </a:lnTo>
                    <a:lnTo>
                      <a:pt x="22" y="1055"/>
                    </a:lnTo>
                    <a:lnTo>
                      <a:pt x="103" y="1000"/>
                    </a:lnTo>
                    <a:cubicBezTo>
                      <a:pt x="106" y="998"/>
                      <a:pt x="111" y="998"/>
                      <a:pt x="113" y="1001"/>
                    </a:cubicBezTo>
                    <a:cubicBezTo>
                      <a:pt x="116" y="1004"/>
                      <a:pt x="116" y="1009"/>
                      <a:pt x="113" y="1012"/>
                    </a:cubicBezTo>
                    <a:lnTo>
                      <a:pt x="27" y="1104"/>
                    </a:lnTo>
                    <a:lnTo>
                      <a:pt x="21" y="1090"/>
                    </a:lnTo>
                    <a:lnTo>
                      <a:pt x="70" y="1090"/>
                    </a:lnTo>
                    <a:cubicBezTo>
                      <a:pt x="72" y="1090"/>
                      <a:pt x="75" y="1092"/>
                      <a:pt x="76" y="1094"/>
                    </a:cubicBezTo>
                    <a:cubicBezTo>
                      <a:pt x="78" y="1096"/>
                      <a:pt x="78" y="1099"/>
                      <a:pt x="77" y="1101"/>
                    </a:cubicBezTo>
                    <a:lnTo>
                      <a:pt x="47" y="1178"/>
                    </a:lnTo>
                    <a:lnTo>
                      <a:pt x="41" y="1167"/>
                    </a:lnTo>
                    <a:lnTo>
                      <a:pt x="162" y="1201"/>
                    </a:lnTo>
                    <a:lnTo>
                      <a:pt x="155" y="1202"/>
                    </a:lnTo>
                    <a:lnTo>
                      <a:pt x="250" y="1127"/>
                    </a:lnTo>
                    <a:lnTo>
                      <a:pt x="247" y="1131"/>
                    </a:lnTo>
                    <a:lnTo>
                      <a:pt x="266" y="1061"/>
                    </a:lnTo>
                    <a:cubicBezTo>
                      <a:pt x="267" y="1058"/>
                      <a:pt x="270" y="1056"/>
                      <a:pt x="274" y="1055"/>
                    </a:cubicBezTo>
                    <a:cubicBezTo>
                      <a:pt x="277" y="1055"/>
                      <a:pt x="280" y="1057"/>
                      <a:pt x="282" y="1060"/>
                    </a:cubicBezTo>
                    <a:lnTo>
                      <a:pt x="312" y="1130"/>
                    </a:lnTo>
                    <a:lnTo>
                      <a:pt x="298" y="1129"/>
                    </a:lnTo>
                    <a:lnTo>
                      <a:pt x="354" y="1042"/>
                    </a:lnTo>
                    <a:lnTo>
                      <a:pt x="353" y="1048"/>
                    </a:lnTo>
                    <a:lnTo>
                      <a:pt x="343" y="973"/>
                    </a:lnTo>
                    <a:cubicBezTo>
                      <a:pt x="343" y="970"/>
                      <a:pt x="343" y="968"/>
                      <a:pt x="344" y="967"/>
                    </a:cubicBezTo>
                    <a:lnTo>
                      <a:pt x="369" y="932"/>
                    </a:lnTo>
                    <a:lnTo>
                      <a:pt x="369" y="941"/>
                    </a:lnTo>
                    <a:lnTo>
                      <a:pt x="344" y="906"/>
                    </a:lnTo>
                    <a:cubicBezTo>
                      <a:pt x="343" y="905"/>
                      <a:pt x="343" y="903"/>
                      <a:pt x="343" y="901"/>
                    </a:cubicBezTo>
                    <a:lnTo>
                      <a:pt x="346" y="731"/>
                    </a:lnTo>
                    <a:cubicBezTo>
                      <a:pt x="346" y="728"/>
                      <a:pt x="347" y="725"/>
                      <a:pt x="350" y="724"/>
                    </a:cubicBezTo>
                    <a:lnTo>
                      <a:pt x="441" y="682"/>
                    </a:lnTo>
                    <a:lnTo>
                      <a:pt x="436" y="692"/>
                    </a:lnTo>
                    <a:lnTo>
                      <a:pt x="418" y="639"/>
                    </a:lnTo>
                    <a:cubicBezTo>
                      <a:pt x="418" y="637"/>
                      <a:pt x="418" y="635"/>
                      <a:pt x="418" y="634"/>
                    </a:cubicBezTo>
                    <a:lnTo>
                      <a:pt x="457" y="504"/>
                    </a:lnTo>
                    <a:cubicBezTo>
                      <a:pt x="457" y="502"/>
                      <a:pt x="458" y="501"/>
                      <a:pt x="459" y="500"/>
                    </a:cubicBezTo>
                    <a:lnTo>
                      <a:pt x="544" y="405"/>
                    </a:lnTo>
                    <a:lnTo>
                      <a:pt x="542" y="409"/>
                    </a:lnTo>
                    <a:lnTo>
                      <a:pt x="559" y="329"/>
                    </a:lnTo>
                    <a:cubicBezTo>
                      <a:pt x="559" y="326"/>
                      <a:pt x="561" y="324"/>
                      <a:pt x="564" y="323"/>
                    </a:cubicBezTo>
                    <a:lnTo>
                      <a:pt x="624" y="308"/>
                    </a:lnTo>
                    <a:lnTo>
                      <a:pt x="619" y="313"/>
                    </a:lnTo>
                    <a:lnTo>
                      <a:pt x="637" y="264"/>
                    </a:lnTo>
                    <a:cubicBezTo>
                      <a:pt x="638" y="261"/>
                      <a:pt x="642" y="259"/>
                      <a:pt x="645" y="259"/>
                    </a:cubicBezTo>
                    <a:lnTo>
                      <a:pt x="734" y="271"/>
                    </a:lnTo>
                    <a:lnTo>
                      <a:pt x="725" y="279"/>
                    </a:lnTo>
                    <a:lnTo>
                      <a:pt x="727" y="214"/>
                    </a:lnTo>
                    <a:cubicBezTo>
                      <a:pt x="727" y="209"/>
                      <a:pt x="730" y="206"/>
                      <a:pt x="735" y="206"/>
                    </a:cubicBezTo>
                    <a:lnTo>
                      <a:pt x="757" y="206"/>
                    </a:lnTo>
                    <a:lnTo>
                      <a:pt x="752" y="208"/>
                    </a:lnTo>
                    <a:lnTo>
                      <a:pt x="787" y="179"/>
                    </a:lnTo>
                    <a:cubicBezTo>
                      <a:pt x="790" y="177"/>
                      <a:pt x="795" y="177"/>
                      <a:pt x="797" y="180"/>
                    </a:cubicBezTo>
                    <a:lnTo>
                      <a:pt x="853" y="237"/>
                    </a:lnTo>
                    <a:lnTo>
                      <a:pt x="848" y="234"/>
                    </a:lnTo>
                    <a:lnTo>
                      <a:pt x="949" y="246"/>
                    </a:lnTo>
                    <a:lnTo>
                      <a:pt x="943" y="247"/>
                    </a:lnTo>
                    <a:lnTo>
                      <a:pt x="1002" y="210"/>
                    </a:lnTo>
                    <a:lnTo>
                      <a:pt x="998" y="215"/>
                    </a:lnTo>
                    <a:lnTo>
                      <a:pt x="1015" y="137"/>
                    </a:lnTo>
                    <a:cubicBezTo>
                      <a:pt x="1016" y="134"/>
                      <a:pt x="1018" y="132"/>
                      <a:pt x="1021" y="131"/>
                    </a:cubicBezTo>
                    <a:lnTo>
                      <a:pt x="1116" y="109"/>
                    </a:lnTo>
                    <a:cubicBezTo>
                      <a:pt x="1118" y="109"/>
                      <a:pt x="1120" y="109"/>
                      <a:pt x="1121" y="110"/>
                    </a:cubicBezTo>
                    <a:lnTo>
                      <a:pt x="1173" y="140"/>
                    </a:lnTo>
                    <a:cubicBezTo>
                      <a:pt x="1176" y="142"/>
                      <a:pt x="1177" y="145"/>
                      <a:pt x="1177" y="148"/>
                    </a:cubicBezTo>
                    <a:lnTo>
                      <a:pt x="1171" y="214"/>
                    </a:lnTo>
                    <a:lnTo>
                      <a:pt x="1158" y="208"/>
                    </a:lnTo>
                    <a:lnTo>
                      <a:pt x="1247" y="133"/>
                    </a:lnTo>
                    <a:lnTo>
                      <a:pt x="1254" y="147"/>
                    </a:lnTo>
                    <a:lnTo>
                      <a:pt x="1194" y="158"/>
                    </a:lnTo>
                    <a:cubicBezTo>
                      <a:pt x="1191" y="159"/>
                      <a:pt x="1187" y="157"/>
                      <a:pt x="1186" y="155"/>
                    </a:cubicBezTo>
                    <a:cubicBezTo>
                      <a:pt x="1184" y="152"/>
                      <a:pt x="1184" y="148"/>
                      <a:pt x="1186" y="145"/>
                    </a:cubicBezTo>
                    <a:lnTo>
                      <a:pt x="1201" y="125"/>
                    </a:lnTo>
                    <a:lnTo>
                      <a:pt x="1205" y="138"/>
                    </a:lnTo>
                    <a:lnTo>
                      <a:pt x="1144" y="118"/>
                    </a:lnTo>
                    <a:cubicBezTo>
                      <a:pt x="1141" y="117"/>
                      <a:pt x="1139" y="114"/>
                      <a:pt x="1139" y="110"/>
                    </a:cubicBezTo>
                    <a:cubicBezTo>
                      <a:pt x="1139" y="107"/>
                      <a:pt x="1141" y="104"/>
                      <a:pt x="1144" y="103"/>
                    </a:cubicBezTo>
                    <a:lnTo>
                      <a:pt x="1254" y="66"/>
                    </a:lnTo>
                    <a:lnTo>
                      <a:pt x="1253" y="81"/>
                    </a:lnTo>
                    <a:lnTo>
                      <a:pt x="1165" y="36"/>
                    </a:lnTo>
                    <a:lnTo>
                      <a:pt x="1174" y="35"/>
                    </a:lnTo>
                    <a:lnTo>
                      <a:pt x="1117" y="80"/>
                    </a:lnTo>
                    <a:cubicBezTo>
                      <a:pt x="1114" y="82"/>
                      <a:pt x="1110" y="82"/>
                      <a:pt x="1107" y="80"/>
                    </a:cubicBezTo>
                    <a:cubicBezTo>
                      <a:pt x="1104" y="77"/>
                      <a:pt x="1103" y="73"/>
                      <a:pt x="1105" y="70"/>
                    </a:cubicBezTo>
                    <a:lnTo>
                      <a:pt x="1135" y="10"/>
                    </a:lnTo>
                    <a:lnTo>
                      <a:pt x="1142" y="21"/>
                    </a:lnTo>
                    <a:lnTo>
                      <a:pt x="1096" y="16"/>
                    </a:lnTo>
                    <a:lnTo>
                      <a:pt x="1104" y="12"/>
                    </a:lnTo>
                    <a:lnTo>
                      <a:pt x="1073" y="77"/>
                    </a:lnTo>
                    <a:cubicBezTo>
                      <a:pt x="1072" y="79"/>
                      <a:pt x="1071" y="80"/>
                      <a:pt x="1069" y="81"/>
                    </a:cubicBezTo>
                    <a:lnTo>
                      <a:pt x="1054" y="88"/>
                    </a:lnTo>
                    <a:cubicBezTo>
                      <a:pt x="1051" y="89"/>
                      <a:pt x="1048" y="88"/>
                      <a:pt x="1046" y="87"/>
                    </a:cubicBezTo>
                    <a:cubicBezTo>
                      <a:pt x="1044" y="85"/>
                      <a:pt x="1043" y="83"/>
                      <a:pt x="1043" y="80"/>
                    </a:cubicBezTo>
                    <a:lnTo>
                      <a:pt x="1043" y="22"/>
                    </a:lnTo>
                    <a:lnTo>
                      <a:pt x="1057" y="27"/>
                    </a:lnTo>
                    <a:lnTo>
                      <a:pt x="976" y="122"/>
                    </a:lnTo>
                    <a:cubicBezTo>
                      <a:pt x="973" y="125"/>
                      <a:pt x="969" y="126"/>
                      <a:pt x="965" y="124"/>
                    </a:cubicBezTo>
                    <a:cubicBezTo>
                      <a:pt x="962" y="121"/>
                      <a:pt x="961" y="117"/>
                      <a:pt x="963" y="113"/>
                    </a:cubicBezTo>
                    <a:lnTo>
                      <a:pt x="1006" y="27"/>
                    </a:lnTo>
                    <a:lnTo>
                      <a:pt x="1011" y="38"/>
                    </a:lnTo>
                    <a:lnTo>
                      <a:pt x="967" y="24"/>
                    </a:lnTo>
                    <a:lnTo>
                      <a:pt x="976" y="22"/>
                    </a:lnTo>
                    <a:lnTo>
                      <a:pt x="891" y="127"/>
                    </a:lnTo>
                    <a:cubicBezTo>
                      <a:pt x="889" y="130"/>
                      <a:pt x="885" y="131"/>
                      <a:pt x="882" y="129"/>
                    </a:cubicBezTo>
                    <a:lnTo>
                      <a:pt x="800" y="96"/>
                    </a:lnTo>
                    <a:lnTo>
                      <a:pt x="810" y="86"/>
                    </a:lnTo>
                    <a:lnTo>
                      <a:pt x="833" y="144"/>
                    </a:lnTo>
                    <a:cubicBezTo>
                      <a:pt x="834" y="148"/>
                      <a:pt x="833" y="152"/>
                      <a:pt x="830" y="154"/>
                    </a:cubicBezTo>
                    <a:cubicBezTo>
                      <a:pt x="827" y="156"/>
                      <a:pt x="823" y="155"/>
                      <a:pt x="820" y="153"/>
                    </a:cubicBezTo>
                    <a:lnTo>
                      <a:pt x="786" y="123"/>
                    </a:lnTo>
                    <a:lnTo>
                      <a:pt x="798" y="122"/>
                    </a:lnTo>
                    <a:lnTo>
                      <a:pt x="741" y="192"/>
                    </a:lnTo>
                    <a:cubicBezTo>
                      <a:pt x="739" y="195"/>
                      <a:pt x="735" y="196"/>
                      <a:pt x="732" y="194"/>
                    </a:cubicBezTo>
                    <a:cubicBezTo>
                      <a:pt x="728" y="193"/>
                      <a:pt x="726" y="190"/>
                      <a:pt x="727" y="186"/>
                    </a:cubicBezTo>
                    <a:lnTo>
                      <a:pt x="734" y="128"/>
                    </a:lnTo>
                    <a:lnTo>
                      <a:pt x="749" y="133"/>
                    </a:lnTo>
                    <a:lnTo>
                      <a:pt x="718" y="184"/>
                    </a:lnTo>
                    <a:cubicBezTo>
                      <a:pt x="717" y="187"/>
                      <a:pt x="714" y="188"/>
                      <a:pt x="711" y="188"/>
                    </a:cubicBezTo>
                    <a:cubicBezTo>
                      <a:pt x="709" y="188"/>
                      <a:pt x="706" y="187"/>
                      <a:pt x="704" y="185"/>
                    </a:cubicBezTo>
                    <a:lnTo>
                      <a:pt x="679" y="148"/>
                    </a:lnTo>
                    <a:lnTo>
                      <a:pt x="694" y="141"/>
                    </a:lnTo>
                    <a:lnTo>
                      <a:pt x="712" y="193"/>
                    </a:lnTo>
                    <a:cubicBezTo>
                      <a:pt x="713" y="196"/>
                      <a:pt x="712" y="199"/>
                      <a:pt x="710" y="201"/>
                    </a:cubicBezTo>
                    <a:cubicBezTo>
                      <a:pt x="708" y="203"/>
                      <a:pt x="704" y="204"/>
                      <a:pt x="702" y="203"/>
                    </a:cubicBezTo>
                    <a:lnTo>
                      <a:pt x="636" y="181"/>
                    </a:lnTo>
                    <a:lnTo>
                      <a:pt x="646" y="176"/>
                    </a:lnTo>
                    <a:lnTo>
                      <a:pt x="628" y="247"/>
                    </a:lnTo>
                    <a:cubicBezTo>
                      <a:pt x="628" y="250"/>
                      <a:pt x="626" y="252"/>
                      <a:pt x="624" y="253"/>
                    </a:cubicBezTo>
                    <a:lnTo>
                      <a:pt x="566" y="279"/>
                    </a:lnTo>
                    <a:lnTo>
                      <a:pt x="563" y="264"/>
                    </a:lnTo>
                    <a:lnTo>
                      <a:pt x="617" y="269"/>
                    </a:lnTo>
                    <a:cubicBezTo>
                      <a:pt x="621" y="270"/>
                      <a:pt x="624" y="272"/>
                      <a:pt x="624" y="276"/>
                    </a:cubicBezTo>
                    <a:cubicBezTo>
                      <a:pt x="625" y="280"/>
                      <a:pt x="623" y="283"/>
                      <a:pt x="619" y="285"/>
                    </a:cubicBezTo>
                    <a:lnTo>
                      <a:pt x="520" y="320"/>
                    </a:lnTo>
                    <a:lnTo>
                      <a:pt x="525" y="315"/>
                    </a:lnTo>
                    <a:lnTo>
                      <a:pt x="506" y="367"/>
                    </a:lnTo>
                    <a:lnTo>
                      <a:pt x="498" y="356"/>
                    </a:lnTo>
                    <a:lnTo>
                      <a:pt x="529" y="356"/>
                    </a:lnTo>
                    <a:cubicBezTo>
                      <a:pt x="532" y="356"/>
                      <a:pt x="535" y="358"/>
                      <a:pt x="536" y="362"/>
                    </a:cubicBezTo>
                    <a:cubicBezTo>
                      <a:pt x="537" y="365"/>
                      <a:pt x="536" y="369"/>
                      <a:pt x="533" y="371"/>
                    </a:cubicBezTo>
                    <a:lnTo>
                      <a:pt x="412" y="454"/>
                    </a:lnTo>
                    <a:lnTo>
                      <a:pt x="415" y="450"/>
                    </a:lnTo>
                    <a:lnTo>
                      <a:pt x="369" y="592"/>
                    </a:lnTo>
                    <a:cubicBezTo>
                      <a:pt x="369" y="593"/>
                      <a:pt x="368" y="594"/>
                      <a:pt x="367" y="595"/>
                    </a:cubicBezTo>
                    <a:lnTo>
                      <a:pt x="236" y="714"/>
                    </a:lnTo>
                    <a:lnTo>
                      <a:pt x="237" y="703"/>
                    </a:lnTo>
                    <a:lnTo>
                      <a:pt x="261" y="735"/>
                    </a:lnTo>
                    <a:lnTo>
                      <a:pt x="252" y="732"/>
                    </a:lnTo>
                    <a:lnTo>
                      <a:pt x="309" y="710"/>
                    </a:lnTo>
                    <a:lnTo>
                      <a:pt x="314" y="726"/>
                    </a:lnTo>
                    <a:lnTo>
                      <a:pt x="180" y="761"/>
                    </a:lnTo>
                    <a:lnTo>
                      <a:pt x="183" y="759"/>
                    </a:lnTo>
                    <a:lnTo>
                      <a:pt x="112" y="809"/>
                    </a:lnTo>
                    <a:lnTo>
                      <a:pt x="114" y="798"/>
                    </a:lnTo>
                    <a:lnTo>
                      <a:pt x="132" y="823"/>
                    </a:lnTo>
                    <a:cubicBezTo>
                      <a:pt x="134" y="826"/>
                      <a:pt x="134" y="829"/>
                      <a:pt x="132" y="832"/>
                    </a:cubicBezTo>
                    <a:cubicBezTo>
                      <a:pt x="131" y="834"/>
                      <a:pt x="128" y="836"/>
                      <a:pt x="125" y="836"/>
                    </a:cubicBezTo>
                    <a:lnTo>
                      <a:pt x="72" y="836"/>
                    </a:lnTo>
                    <a:lnTo>
                      <a:pt x="80" y="827"/>
                    </a:lnTo>
                    <a:lnTo>
                      <a:pt x="86" y="863"/>
                    </a:lnTo>
                    <a:cubicBezTo>
                      <a:pt x="86" y="866"/>
                      <a:pt x="86" y="868"/>
                      <a:pt x="84" y="870"/>
                    </a:cubicBezTo>
                    <a:cubicBezTo>
                      <a:pt x="83" y="872"/>
                      <a:pt x="80" y="873"/>
                      <a:pt x="78" y="873"/>
                    </a:cubicBezTo>
                    <a:lnTo>
                      <a:pt x="14" y="873"/>
                    </a:lnTo>
                    <a:lnTo>
                      <a:pt x="17" y="857"/>
                    </a:lnTo>
                    <a:lnTo>
                      <a:pt x="75" y="879"/>
                    </a:lnTo>
                    <a:cubicBezTo>
                      <a:pt x="78" y="880"/>
                      <a:pt x="81" y="883"/>
                      <a:pt x="80" y="887"/>
                    </a:cubicBezTo>
                    <a:cubicBezTo>
                      <a:pt x="80" y="890"/>
                      <a:pt x="78" y="893"/>
                      <a:pt x="75" y="894"/>
                    </a:cubicBezTo>
                    <a:lnTo>
                      <a:pt x="11" y="914"/>
                    </a:lnTo>
                    <a:close/>
                    <a:moveTo>
                      <a:pt x="70" y="879"/>
                    </a:moveTo>
                    <a:lnTo>
                      <a:pt x="70" y="894"/>
                    </a:lnTo>
                    <a:lnTo>
                      <a:pt x="11" y="872"/>
                    </a:lnTo>
                    <a:cubicBezTo>
                      <a:pt x="8" y="871"/>
                      <a:pt x="5" y="867"/>
                      <a:pt x="6" y="863"/>
                    </a:cubicBezTo>
                    <a:cubicBezTo>
                      <a:pt x="7" y="859"/>
                      <a:pt x="10" y="857"/>
                      <a:pt x="14" y="857"/>
                    </a:cubicBezTo>
                    <a:lnTo>
                      <a:pt x="78" y="857"/>
                    </a:lnTo>
                    <a:lnTo>
                      <a:pt x="70" y="866"/>
                    </a:lnTo>
                    <a:lnTo>
                      <a:pt x="65" y="829"/>
                    </a:lnTo>
                    <a:cubicBezTo>
                      <a:pt x="64" y="827"/>
                      <a:pt x="65" y="824"/>
                      <a:pt x="66" y="823"/>
                    </a:cubicBezTo>
                    <a:cubicBezTo>
                      <a:pt x="68" y="821"/>
                      <a:pt x="70" y="820"/>
                      <a:pt x="72" y="820"/>
                    </a:cubicBezTo>
                    <a:lnTo>
                      <a:pt x="125" y="820"/>
                    </a:lnTo>
                    <a:lnTo>
                      <a:pt x="119" y="833"/>
                    </a:lnTo>
                    <a:lnTo>
                      <a:pt x="101" y="808"/>
                    </a:lnTo>
                    <a:cubicBezTo>
                      <a:pt x="100" y="806"/>
                      <a:pt x="99" y="804"/>
                      <a:pt x="99" y="802"/>
                    </a:cubicBezTo>
                    <a:cubicBezTo>
                      <a:pt x="100" y="799"/>
                      <a:pt x="101" y="798"/>
                      <a:pt x="103" y="796"/>
                    </a:cubicBezTo>
                    <a:lnTo>
                      <a:pt x="174" y="746"/>
                    </a:lnTo>
                    <a:cubicBezTo>
                      <a:pt x="174" y="746"/>
                      <a:pt x="175" y="745"/>
                      <a:pt x="176" y="745"/>
                    </a:cubicBezTo>
                    <a:lnTo>
                      <a:pt x="310" y="710"/>
                    </a:lnTo>
                    <a:cubicBezTo>
                      <a:pt x="314" y="709"/>
                      <a:pt x="318" y="711"/>
                      <a:pt x="319" y="715"/>
                    </a:cubicBezTo>
                    <a:cubicBezTo>
                      <a:pt x="321" y="719"/>
                      <a:pt x="319" y="724"/>
                      <a:pt x="315" y="725"/>
                    </a:cubicBezTo>
                    <a:lnTo>
                      <a:pt x="258" y="747"/>
                    </a:lnTo>
                    <a:cubicBezTo>
                      <a:pt x="254" y="748"/>
                      <a:pt x="250" y="747"/>
                      <a:pt x="248" y="744"/>
                    </a:cubicBezTo>
                    <a:lnTo>
                      <a:pt x="225" y="713"/>
                    </a:lnTo>
                    <a:cubicBezTo>
                      <a:pt x="222" y="709"/>
                      <a:pt x="223" y="705"/>
                      <a:pt x="226" y="702"/>
                    </a:cubicBezTo>
                    <a:lnTo>
                      <a:pt x="356" y="583"/>
                    </a:lnTo>
                    <a:lnTo>
                      <a:pt x="354" y="587"/>
                    </a:lnTo>
                    <a:lnTo>
                      <a:pt x="400" y="445"/>
                    </a:lnTo>
                    <a:cubicBezTo>
                      <a:pt x="401" y="443"/>
                      <a:pt x="402" y="442"/>
                      <a:pt x="403" y="441"/>
                    </a:cubicBezTo>
                    <a:lnTo>
                      <a:pt x="524" y="357"/>
                    </a:lnTo>
                    <a:lnTo>
                      <a:pt x="529" y="372"/>
                    </a:lnTo>
                    <a:lnTo>
                      <a:pt x="498" y="372"/>
                    </a:lnTo>
                    <a:cubicBezTo>
                      <a:pt x="496" y="372"/>
                      <a:pt x="493" y="371"/>
                      <a:pt x="492" y="369"/>
                    </a:cubicBezTo>
                    <a:cubicBezTo>
                      <a:pt x="490" y="366"/>
                      <a:pt x="490" y="364"/>
                      <a:pt x="491" y="361"/>
                    </a:cubicBezTo>
                    <a:lnTo>
                      <a:pt x="510" y="309"/>
                    </a:lnTo>
                    <a:cubicBezTo>
                      <a:pt x="511" y="307"/>
                      <a:pt x="513" y="305"/>
                      <a:pt x="515" y="305"/>
                    </a:cubicBezTo>
                    <a:lnTo>
                      <a:pt x="614" y="270"/>
                    </a:lnTo>
                    <a:lnTo>
                      <a:pt x="616" y="285"/>
                    </a:lnTo>
                    <a:lnTo>
                      <a:pt x="561" y="280"/>
                    </a:lnTo>
                    <a:cubicBezTo>
                      <a:pt x="558" y="280"/>
                      <a:pt x="555" y="277"/>
                      <a:pt x="554" y="274"/>
                    </a:cubicBezTo>
                    <a:cubicBezTo>
                      <a:pt x="554" y="270"/>
                      <a:pt x="556" y="266"/>
                      <a:pt x="559" y="265"/>
                    </a:cubicBezTo>
                    <a:lnTo>
                      <a:pt x="617" y="238"/>
                    </a:lnTo>
                    <a:lnTo>
                      <a:pt x="613" y="244"/>
                    </a:lnTo>
                    <a:lnTo>
                      <a:pt x="631" y="172"/>
                    </a:lnTo>
                    <a:cubicBezTo>
                      <a:pt x="632" y="170"/>
                      <a:pt x="633" y="168"/>
                      <a:pt x="635" y="167"/>
                    </a:cubicBezTo>
                    <a:cubicBezTo>
                      <a:pt x="637" y="166"/>
                      <a:pt x="639" y="165"/>
                      <a:pt x="641" y="166"/>
                    </a:cubicBezTo>
                    <a:lnTo>
                      <a:pt x="707" y="188"/>
                    </a:lnTo>
                    <a:lnTo>
                      <a:pt x="697" y="198"/>
                    </a:lnTo>
                    <a:lnTo>
                      <a:pt x="678" y="146"/>
                    </a:lnTo>
                    <a:cubicBezTo>
                      <a:pt x="677" y="143"/>
                      <a:pt x="679" y="138"/>
                      <a:pt x="682" y="137"/>
                    </a:cubicBezTo>
                    <a:cubicBezTo>
                      <a:pt x="686" y="135"/>
                      <a:pt x="690" y="136"/>
                      <a:pt x="693" y="139"/>
                    </a:cubicBezTo>
                    <a:lnTo>
                      <a:pt x="718" y="176"/>
                    </a:lnTo>
                    <a:lnTo>
                      <a:pt x="704" y="176"/>
                    </a:lnTo>
                    <a:lnTo>
                      <a:pt x="735" y="125"/>
                    </a:lnTo>
                    <a:cubicBezTo>
                      <a:pt x="737" y="121"/>
                      <a:pt x="741" y="120"/>
                      <a:pt x="744" y="121"/>
                    </a:cubicBezTo>
                    <a:cubicBezTo>
                      <a:pt x="748" y="122"/>
                      <a:pt x="750" y="126"/>
                      <a:pt x="750" y="130"/>
                    </a:cubicBezTo>
                    <a:lnTo>
                      <a:pt x="743" y="188"/>
                    </a:lnTo>
                    <a:lnTo>
                      <a:pt x="729" y="182"/>
                    </a:lnTo>
                    <a:lnTo>
                      <a:pt x="786" y="112"/>
                    </a:lnTo>
                    <a:cubicBezTo>
                      <a:pt x="787" y="110"/>
                      <a:pt x="789" y="109"/>
                      <a:pt x="791" y="109"/>
                    </a:cubicBezTo>
                    <a:cubicBezTo>
                      <a:pt x="793" y="109"/>
                      <a:pt x="795" y="110"/>
                      <a:pt x="797" y="111"/>
                    </a:cubicBezTo>
                    <a:lnTo>
                      <a:pt x="831" y="141"/>
                    </a:lnTo>
                    <a:lnTo>
                      <a:pt x="818" y="150"/>
                    </a:lnTo>
                    <a:lnTo>
                      <a:pt x="795" y="91"/>
                    </a:lnTo>
                    <a:cubicBezTo>
                      <a:pt x="794" y="88"/>
                      <a:pt x="795" y="85"/>
                      <a:pt x="797" y="83"/>
                    </a:cubicBezTo>
                    <a:cubicBezTo>
                      <a:pt x="800" y="81"/>
                      <a:pt x="803" y="80"/>
                      <a:pt x="806" y="81"/>
                    </a:cubicBezTo>
                    <a:lnTo>
                      <a:pt x="888" y="115"/>
                    </a:lnTo>
                    <a:lnTo>
                      <a:pt x="879" y="117"/>
                    </a:lnTo>
                    <a:lnTo>
                      <a:pt x="964" y="12"/>
                    </a:lnTo>
                    <a:cubicBezTo>
                      <a:pt x="966" y="9"/>
                      <a:pt x="969" y="8"/>
                      <a:pt x="972" y="9"/>
                    </a:cubicBezTo>
                    <a:lnTo>
                      <a:pt x="1015" y="23"/>
                    </a:lnTo>
                    <a:cubicBezTo>
                      <a:pt x="1018" y="23"/>
                      <a:pt x="1019" y="25"/>
                      <a:pt x="1020" y="27"/>
                    </a:cubicBezTo>
                    <a:cubicBezTo>
                      <a:pt x="1021" y="29"/>
                      <a:pt x="1021" y="32"/>
                      <a:pt x="1020" y="34"/>
                    </a:cubicBezTo>
                    <a:lnTo>
                      <a:pt x="977" y="121"/>
                    </a:lnTo>
                    <a:lnTo>
                      <a:pt x="964" y="112"/>
                    </a:lnTo>
                    <a:lnTo>
                      <a:pt x="1044" y="17"/>
                    </a:lnTo>
                    <a:cubicBezTo>
                      <a:pt x="1047" y="14"/>
                      <a:pt x="1050" y="13"/>
                      <a:pt x="1053" y="14"/>
                    </a:cubicBezTo>
                    <a:cubicBezTo>
                      <a:pt x="1056" y="15"/>
                      <a:pt x="1059" y="18"/>
                      <a:pt x="1059" y="22"/>
                    </a:cubicBezTo>
                    <a:lnTo>
                      <a:pt x="1059" y="80"/>
                    </a:lnTo>
                    <a:lnTo>
                      <a:pt x="1047" y="73"/>
                    </a:lnTo>
                    <a:lnTo>
                      <a:pt x="1063" y="66"/>
                    </a:lnTo>
                    <a:lnTo>
                      <a:pt x="1059" y="70"/>
                    </a:lnTo>
                    <a:lnTo>
                      <a:pt x="1089" y="5"/>
                    </a:lnTo>
                    <a:cubicBezTo>
                      <a:pt x="1091" y="2"/>
                      <a:pt x="1094" y="0"/>
                      <a:pt x="1097" y="1"/>
                    </a:cubicBezTo>
                    <a:lnTo>
                      <a:pt x="1143" y="6"/>
                    </a:lnTo>
                    <a:cubicBezTo>
                      <a:pt x="1146" y="6"/>
                      <a:pt x="1148" y="7"/>
                      <a:pt x="1149" y="10"/>
                    </a:cubicBezTo>
                    <a:cubicBezTo>
                      <a:pt x="1151" y="12"/>
                      <a:pt x="1151" y="15"/>
                      <a:pt x="1150" y="17"/>
                    </a:cubicBezTo>
                    <a:lnTo>
                      <a:pt x="1119" y="77"/>
                    </a:lnTo>
                    <a:lnTo>
                      <a:pt x="1107" y="67"/>
                    </a:lnTo>
                    <a:lnTo>
                      <a:pt x="1164" y="22"/>
                    </a:lnTo>
                    <a:cubicBezTo>
                      <a:pt x="1166" y="20"/>
                      <a:pt x="1170" y="20"/>
                      <a:pt x="1172" y="21"/>
                    </a:cubicBezTo>
                    <a:lnTo>
                      <a:pt x="1260" y="66"/>
                    </a:lnTo>
                    <a:cubicBezTo>
                      <a:pt x="1263" y="68"/>
                      <a:pt x="1265" y="71"/>
                      <a:pt x="1264" y="74"/>
                    </a:cubicBezTo>
                    <a:cubicBezTo>
                      <a:pt x="1264" y="77"/>
                      <a:pt x="1262" y="80"/>
                      <a:pt x="1259" y="81"/>
                    </a:cubicBezTo>
                    <a:lnTo>
                      <a:pt x="1149" y="118"/>
                    </a:lnTo>
                    <a:lnTo>
                      <a:pt x="1149" y="103"/>
                    </a:lnTo>
                    <a:lnTo>
                      <a:pt x="1210" y="123"/>
                    </a:lnTo>
                    <a:cubicBezTo>
                      <a:pt x="1213" y="123"/>
                      <a:pt x="1215" y="125"/>
                      <a:pt x="1215" y="128"/>
                    </a:cubicBezTo>
                    <a:cubicBezTo>
                      <a:pt x="1216" y="130"/>
                      <a:pt x="1216" y="133"/>
                      <a:pt x="1214" y="135"/>
                    </a:cubicBezTo>
                    <a:lnTo>
                      <a:pt x="1199" y="155"/>
                    </a:lnTo>
                    <a:lnTo>
                      <a:pt x="1191" y="142"/>
                    </a:lnTo>
                    <a:lnTo>
                      <a:pt x="1251" y="131"/>
                    </a:lnTo>
                    <a:cubicBezTo>
                      <a:pt x="1254" y="130"/>
                      <a:pt x="1258" y="132"/>
                      <a:pt x="1260" y="135"/>
                    </a:cubicBezTo>
                    <a:cubicBezTo>
                      <a:pt x="1261" y="138"/>
                      <a:pt x="1260" y="142"/>
                      <a:pt x="1257" y="145"/>
                    </a:cubicBezTo>
                    <a:lnTo>
                      <a:pt x="1168" y="220"/>
                    </a:lnTo>
                    <a:cubicBezTo>
                      <a:pt x="1166" y="222"/>
                      <a:pt x="1162" y="222"/>
                      <a:pt x="1160" y="221"/>
                    </a:cubicBezTo>
                    <a:cubicBezTo>
                      <a:pt x="1157" y="219"/>
                      <a:pt x="1155" y="216"/>
                      <a:pt x="1155" y="213"/>
                    </a:cubicBezTo>
                    <a:lnTo>
                      <a:pt x="1161" y="146"/>
                    </a:lnTo>
                    <a:lnTo>
                      <a:pt x="1165" y="154"/>
                    </a:lnTo>
                    <a:lnTo>
                      <a:pt x="1113" y="124"/>
                    </a:lnTo>
                    <a:lnTo>
                      <a:pt x="1119" y="125"/>
                    </a:lnTo>
                    <a:lnTo>
                      <a:pt x="1025" y="146"/>
                    </a:lnTo>
                    <a:lnTo>
                      <a:pt x="1031" y="140"/>
                    </a:lnTo>
                    <a:lnTo>
                      <a:pt x="1014" y="219"/>
                    </a:lnTo>
                    <a:cubicBezTo>
                      <a:pt x="1013" y="221"/>
                      <a:pt x="1012" y="223"/>
                      <a:pt x="1010" y="224"/>
                    </a:cubicBezTo>
                    <a:lnTo>
                      <a:pt x="952" y="261"/>
                    </a:lnTo>
                    <a:cubicBezTo>
                      <a:pt x="950" y="262"/>
                      <a:pt x="948" y="262"/>
                      <a:pt x="947" y="262"/>
                    </a:cubicBezTo>
                    <a:lnTo>
                      <a:pt x="846" y="250"/>
                    </a:lnTo>
                    <a:cubicBezTo>
                      <a:pt x="845" y="250"/>
                      <a:pt x="843" y="249"/>
                      <a:pt x="842" y="248"/>
                    </a:cubicBezTo>
                    <a:lnTo>
                      <a:pt x="786" y="191"/>
                    </a:lnTo>
                    <a:lnTo>
                      <a:pt x="797" y="192"/>
                    </a:lnTo>
                    <a:lnTo>
                      <a:pt x="762" y="220"/>
                    </a:lnTo>
                    <a:cubicBezTo>
                      <a:pt x="761" y="221"/>
                      <a:pt x="759" y="222"/>
                      <a:pt x="757" y="222"/>
                    </a:cubicBezTo>
                    <a:lnTo>
                      <a:pt x="735" y="222"/>
                    </a:lnTo>
                    <a:lnTo>
                      <a:pt x="743" y="214"/>
                    </a:lnTo>
                    <a:lnTo>
                      <a:pt x="741" y="279"/>
                    </a:lnTo>
                    <a:cubicBezTo>
                      <a:pt x="741" y="281"/>
                      <a:pt x="740" y="283"/>
                      <a:pt x="739" y="285"/>
                    </a:cubicBezTo>
                    <a:cubicBezTo>
                      <a:pt x="737" y="286"/>
                      <a:pt x="735" y="287"/>
                      <a:pt x="732" y="287"/>
                    </a:cubicBezTo>
                    <a:lnTo>
                      <a:pt x="643" y="275"/>
                    </a:lnTo>
                    <a:lnTo>
                      <a:pt x="652" y="270"/>
                    </a:lnTo>
                    <a:lnTo>
                      <a:pt x="634" y="318"/>
                    </a:lnTo>
                    <a:cubicBezTo>
                      <a:pt x="633" y="321"/>
                      <a:pt x="631" y="323"/>
                      <a:pt x="628" y="323"/>
                    </a:cubicBezTo>
                    <a:lnTo>
                      <a:pt x="568" y="338"/>
                    </a:lnTo>
                    <a:lnTo>
                      <a:pt x="574" y="332"/>
                    </a:lnTo>
                    <a:lnTo>
                      <a:pt x="558" y="412"/>
                    </a:lnTo>
                    <a:cubicBezTo>
                      <a:pt x="557" y="414"/>
                      <a:pt x="557" y="415"/>
                      <a:pt x="556" y="416"/>
                    </a:cubicBezTo>
                    <a:lnTo>
                      <a:pt x="471" y="511"/>
                    </a:lnTo>
                    <a:lnTo>
                      <a:pt x="472" y="508"/>
                    </a:lnTo>
                    <a:lnTo>
                      <a:pt x="434" y="638"/>
                    </a:lnTo>
                    <a:lnTo>
                      <a:pt x="433" y="633"/>
                    </a:lnTo>
                    <a:lnTo>
                      <a:pt x="452" y="687"/>
                    </a:lnTo>
                    <a:cubicBezTo>
                      <a:pt x="453" y="691"/>
                      <a:pt x="451" y="695"/>
                      <a:pt x="447" y="697"/>
                    </a:cubicBezTo>
                    <a:lnTo>
                      <a:pt x="357" y="738"/>
                    </a:lnTo>
                    <a:lnTo>
                      <a:pt x="362" y="731"/>
                    </a:lnTo>
                    <a:lnTo>
                      <a:pt x="359" y="902"/>
                    </a:lnTo>
                    <a:lnTo>
                      <a:pt x="357" y="897"/>
                    </a:lnTo>
                    <a:lnTo>
                      <a:pt x="382" y="932"/>
                    </a:lnTo>
                    <a:cubicBezTo>
                      <a:pt x="384" y="935"/>
                      <a:pt x="384" y="938"/>
                      <a:pt x="382" y="941"/>
                    </a:cubicBezTo>
                    <a:lnTo>
                      <a:pt x="357" y="976"/>
                    </a:lnTo>
                    <a:lnTo>
                      <a:pt x="359" y="970"/>
                    </a:lnTo>
                    <a:lnTo>
                      <a:pt x="368" y="1046"/>
                    </a:lnTo>
                    <a:cubicBezTo>
                      <a:pt x="369" y="1047"/>
                      <a:pt x="368" y="1049"/>
                      <a:pt x="367" y="1051"/>
                    </a:cubicBezTo>
                    <a:lnTo>
                      <a:pt x="312" y="1138"/>
                    </a:lnTo>
                    <a:cubicBezTo>
                      <a:pt x="310" y="1140"/>
                      <a:pt x="307" y="1142"/>
                      <a:pt x="304" y="1141"/>
                    </a:cubicBezTo>
                    <a:cubicBezTo>
                      <a:pt x="301" y="1141"/>
                      <a:pt x="299" y="1139"/>
                      <a:pt x="297" y="1137"/>
                    </a:cubicBezTo>
                    <a:lnTo>
                      <a:pt x="267" y="1066"/>
                    </a:lnTo>
                    <a:lnTo>
                      <a:pt x="282" y="1065"/>
                    </a:lnTo>
                    <a:lnTo>
                      <a:pt x="262" y="1136"/>
                    </a:lnTo>
                    <a:cubicBezTo>
                      <a:pt x="262" y="1137"/>
                      <a:pt x="261" y="1139"/>
                      <a:pt x="260" y="1140"/>
                    </a:cubicBezTo>
                    <a:lnTo>
                      <a:pt x="165" y="1215"/>
                    </a:lnTo>
                    <a:cubicBezTo>
                      <a:pt x="163" y="1216"/>
                      <a:pt x="160" y="1217"/>
                      <a:pt x="158" y="1216"/>
                    </a:cubicBezTo>
                    <a:lnTo>
                      <a:pt x="37" y="1183"/>
                    </a:lnTo>
                    <a:cubicBezTo>
                      <a:pt x="35" y="1182"/>
                      <a:pt x="33" y="1181"/>
                      <a:pt x="32" y="1179"/>
                    </a:cubicBezTo>
                    <a:cubicBezTo>
                      <a:pt x="31" y="1177"/>
                      <a:pt x="31" y="1174"/>
                      <a:pt x="32" y="1172"/>
                    </a:cubicBezTo>
                    <a:lnTo>
                      <a:pt x="62" y="1095"/>
                    </a:lnTo>
                    <a:lnTo>
                      <a:pt x="70" y="1106"/>
                    </a:lnTo>
                    <a:lnTo>
                      <a:pt x="21" y="1106"/>
                    </a:lnTo>
                    <a:cubicBezTo>
                      <a:pt x="18" y="1106"/>
                      <a:pt x="15" y="1104"/>
                      <a:pt x="14" y="1101"/>
                    </a:cubicBezTo>
                    <a:cubicBezTo>
                      <a:pt x="12" y="1099"/>
                      <a:pt x="13" y="1095"/>
                      <a:pt x="15" y="1093"/>
                    </a:cubicBezTo>
                    <a:lnTo>
                      <a:pt x="101" y="1001"/>
                    </a:lnTo>
                    <a:lnTo>
                      <a:pt x="112" y="1013"/>
                    </a:lnTo>
                    <a:lnTo>
                      <a:pt x="31" y="1068"/>
                    </a:lnTo>
                    <a:cubicBezTo>
                      <a:pt x="28" y="1070"/>
                      <a:pt x="25" y="1070"/>
                      <a:pt x="22" y="1068"/>
                    </a:cubicBezTo>
                    <a:cubicBezTo>
                      <a:pt x="19" y="1067"/>
                      <a:pt x="18" y="1063"/>
                      <a:pt x="19" y="1060"/>
                    </a:cubicBezTo>
                    <a:lnTo>
                      <a:pt x="31" y="995"/>
                    </a:lnTo>
                    <a:lnTo>
                      <a:pt x="35" y="1003"/>
                    </a:lnTo>
                    <a:lnTo>
                      <a:pt x="6" y="985"/>
                    </a:lnTo>
                    <a:cubicBezTo>
                      <a:pt x="3" y="983"/>
                      <a:pt x="1" y="980"/>
                      <a:pt x="2" y="977"/>
                    </a:cubicBezTo>
                    <a:cubicBezTo>
                      <a:pt x="2" y="974"/>
                      <a:pt x="5" y="971"/>
                      <a:pt x="8" y="970"/>
                    </a:cubicBezTo>
                    <a:lnTo>
                      <a:pt x="127" y="935"/>
                    </a:lnTo>
                    <a:lnTo>
                      <a:pt x="122" y="945"/>
                    </a:lnTo>
                    <a:lnTo>
                      <a:pt x="117" y="925"/>
                    </a:lnTo>
                    <a:lnTo>
                      <a:pt x="128" y="931"/>
                    </a:lnTo>
                    <a:lnTo>
                      <a:pt x="13" y="964"/>
                    </a:lnTo>
                    <a:cubicBezTo>
                      <a:pt x="11" y="965"/>
                      <a:pt x="9" y="964"/>
                      <a:pt x="7" y="963"/>
                    </a:cubicBezTo>
                    <a:cubicBezTo>
                      <a:pt x="5" y="962"/>
                      <a:pt x="3" y="959"/>
                      <a:pt x="3" y="957"/>
                    </a:cubicBezTo>
                    <a:lnTo>
                      <a:pt x="0" y="907"/>
                    </a:lnTo>
                    <a:cubicBezTo>
                      <a:pt x="0" y="903"/>
                      <a:pt x="3" y="900"/>
                      <a:pt x="6" y="899"/>
                    </a:cubicBezTo>
                    <a:lnTo>
                      <a:pt x="70" y="879"/>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79" name="Freeform 235"/>
              <p:cNvSpPr>
                <a:spLocks/>
              </p:cNvSpPr>
              <p:nvPr/>
            </p:nvSpPr>
            <p:spPr bwMode="auto">
              <a:xfrm>
                <a:off x="3595" y="1612"/>
                <a:ext cx="232" cy="194"/>
              </a:xfrm>
              <a:custGeom>
                <a:avLst/>
                <a:gdLst/>
                <a:ahLst/>
                <a:cxnLst>
                  <a:cxn ang="0">
                    <a:pos x="0" y="106"/>
                  </a:cxn>
                  <a:cxn ang="0">
                    <a:pos x="22" y="113"/>
                  </a:cxn>
                  <a:cxn ang="0">
                    <a:pos x="73" y="106"/>
                  </a:cxn>
                  <a:cxn ang="0">
                    <a:pos x="82" y="87"/>
                  </a:cxn>
                  <a:cxn ang="0">
                    <a:pos x="117" y="76"/>
                  </a:cxn>
                  <a:cxn ang="0">
                    <a:pos x="120" y="60"/>
                  </a:cxn>
                  <a:cxn ang="0">
                    <a:pos x="131" y="55"/>
                  </a:cxn>
                  <a:cxn ang="0">
                    <a:pos x="126" y="47"/>
                  </a:cxn>
                  <a:cxn ang="0">
                    <a:pos x="138" y="45"/>
                  </a:cxn>
                  <a:cxn ang="0">
                    <a:pos x="148" y="29"/>
                  </a:cxn>
                  <a:cxn ang="0">
                    <a:pos x="144" y="12"/>
                  </a:cxn>
                  <a:cxn ang="0">
                    <a:pos x="189" y="0"/>
                  </a:cxn>
                  <a:cxn ang="0">
                    <a:pos x="232" y="25"/>
                  </a:cxn>
                  <a:cxn ang="0">
                    <a:pos x="220" y="35"/>
                  </a:cxn>
                  <a:cxn ang="0">
                    <a:pos x="181" y="35"/>
                  </a:cxn>
                  <a:cxn ang="0">
                    <a:pos x="182" y="57"/>
                  </a:cxn>
                  <a:cxn ang="0">
                    <a:pos x="200" y="71"/>
                  </a:cxn>
                  <a:cxn ang="0">
                    <a:pos x="189" y="78"/>
                  </a:cxn>
                  <a:cxn ang="0">
                    <a:pos x="191" y="90"/>
                  </a:cxn>
                  <a:cxn ang="0">
                    <a:pos x="151" y="135"/>
                  </a:cxn>
                  <a:cxn ang="0">
                    <a:pos x="132" y="133"/>
                  </a:cxn>
                  <a:cxn ang="0">
                    <a:pos x="120" y="144"/>
                  </a:cxn>
                  <a:cxn ang="0">
                    <a:pos x="141" y="185"/>
                  </a:cxn>
                  <a:cxn ang="0">
                    <a:pos x="110" y="185"/>
                  </a:cxn>
                  <a:cxn ang="0">
                    <a:pos x="99" y="194"/>
                  </a:cxn>
                  <a:cxn ang="0">
                    <a:pos x="75" y="169"/>
                  </a:cxn>
                  <a:cxn ang="0">
                    <a:pos x="11" y="174"/>
                  </a:cxn>
                  <a:cxn ang="0">
                    <a:pos x="33" y="146"/>
                  </a:cxn>
                  <a:cxn ang="0">
                    <a:pos x="0" y="106"/>
                  </a:cxn>
                </a:cxnLst>
                <a:rect l="0" t="0" r="r" b="b"/>
                <a:pathLst>
                  <a:path w="232" h="194">
                    <a:moveTo>
                      <a:pt x="0" y="106"/>
                    </a:moveTo>
                    <a:lnTo>
                      <a:pt x="22" y="113"/>
                    </a:lnTo>
                    <a:lnTo>
                      <a:pt x="73" y="106"/>
                    </a:lnTo>
                    <a:lnTo>
                      <a:pt x="82" y="87"/>
                    </a:lnTo>
                    <a:lnTo>
                      <a:pt x="117" y="76"/>
                    </a:lnTo>
                    <a:lnTo>
                      <a:pt x="120" y="60"/>
                    </a:lnTo>
                    <a:lnTo>
                      <a:pt x="131" y="55"/>
                    </a:lnTo>
                    <a:lnTo>
                      <a:pt x="126" y="47"/>
                    </a:lnTo>
                    <a:lnTo>
                      <a:pt x="138" y="45"/>
                    </a:lnTo>
                    <a:lnTo>
                      <a:pt x="148" y="29"/>
                    </a:lnTo>
                    <a:lnTo>
                      <a:pt x="144" y="12"/>
                    </a:lnTo>
                    <a:lnTo>
                      <a:pt x="189" y="0"/>
                    </a:lnTo>
                    <a:lnTo>
                      <a:pt x="232" y="25"/>
                    </a:lnTo>
                    <a:lnTo>
                      <a:pt x="220" y="35"/>
                    </a:lnTo>
                    <a:lnTo>
                      <a:pt x="181" y="35"/>
                    </a:lnTo>
                    <a:lnTo>
                      <a:pt x="182" y="57"/>
                    </a:lnTo>
                    <a:lnTo>
                      <a:pt x="200" y="71"/>
                    </a:lnTo>
                    <a:lnTo>
                      <a:pt x="189" y="78"/>
                    </a:lnTo>
                    <a:lnTo>
                      <a:pt x="191" y="90"/>
                    </a:lnTo>
                    <a:lnTo>
                      <a:pt x="151" y="135"/>
                    </a:lnTo>
                    <a:lnTo>
                      <a:pt x="132" y="133"/>
                    </a:lnTo>
                    <a:lnTo>
                      <a:pt x="120" y="144"/>
                    </a:lnTo>
                    <a:lnTo>
                      <a:pt x="141" y="185"/>
                    </a:lnTo>
                    <a:lnTo>
                      <a:pt x="110" y="185"/>
                    </a:lnTo>
                    <a:lnTo>
                      <a:pt x="99" y="194"/>
                    </a:lnTo>
                    <a:lnTo>
                      <a:pt x="75" y="169"/>
                    </a:lnTo>
                    <a:lnTo>
                      <a:pt x="11" y="174"/>
                    </a:lnTo>
                    <a:lnTo>
                      <a:pt x="33" y="146"/>
                    </a:lnTo>
                    <a:lnTo>
                      <a:pt x="0" y="106"/>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80" name="Freeform 236"/>
              <p:cNvSpPr>
                <a:spLocks noEditPoints="1"/>
              </p:cNvSpPr>
              <p:nvPr/>
            </p:nvSpPr>
            <p:spPr bwMode="auto">
              <a:xfrm>
                <a:off x="3593" y="1610"/>
                <a:ext cx="237" cy="198"/>
              </a:xfrm>
              <a:custGeom>
                <a:avLst/>
                <a:gdLst/>
                <a:ahLst/>
                <a:cxnLst>
                  <a:cxn ang="0">
                    <a:pos x="2" y="469"/>
                  </a:cxn>
                  <a:cxn ang="0">
                    <a:pos x="87" y="496"/>
                  </a:cxn>
                  <a:cxn ang="0">
                    <a:pos x="257" y="466"/>
                  </a:cxn>
                  <a:cxn ang="0">
                    <a:pos x="284" y="385"/>
                  </a:cxn>
                  <a:cxn ang="0">
                    <a:pos x="407" y="334"/>
                  </a:cxn>
                  <a:cxn ang="0">
                    <a:pos x="413" y="268"/>
                  </a:cxn>
                  <a:cxn ang="0">
                    <a:pos x="457" y="241"/>
                  </a:cxn>
                  <a:cxn ang="0">
                    <a:pos x="436" y="215"/>
                  </a:cxn>
                  <a:cxn ang="0">
                    <a:pos x="442" y="204"/>
                  </a:cxn>
                  <a:cxn ang="0">
                    <a:pos x="478" y="203"/>
                  </a:cxn>
                  <a:cxn ang="0">
                    <a:pos x="509" y="134"/>
                  </a:cxn>
                  <a:cxn ang="0">
                    <a:pos x="501" y="55"/>
                  </a:cxn>
                  <a:cxn ang="0">
                    <a:pos x="666" y="2"/>
                  </a:cxn>
                  <a:cxn ang="0">
                    <a:pos x="816" y="117"/>
                  </a:cxn>
                  <a:cxn ang="0">
                    <a:pos x="773" y="168"/>
                  </a:cxn>
                  <a:cxn ang="0">
                    <a:pos x="631" y="171"/>
                  </a:cxn>
                  <a:cxn ang="0">
                    <a:pos x="642" y="258"/>
                  </a:cxn>
                  <a:cxn ang="0">
                    <a:pos x="701" y="312"/>
                  </a:cxn>
                  <a:cxn ang="0">
                    <a:pos x="701" y="324"/>
                  </a:cxn>
                  <a:cxn ang="0">
                    <a:pos x="667" y="348"/>
                  </a:cxn>
                  <a:cxn ang="0">
                    <a:pos x="675" y="408"/>
                  </a:cxn>
                  <a:cxn ang="0">
                    <a:pos x="527" y="606"/>
                  </a:cxn>
                  <a:cxn ang="0">
                    <a:pos x="469" y="596"/>
                  </a:cxn>
                  <a:cxn ang="0">
                    <a:pos x="428" y="637"/>
                  </a:cxn>
                  <a:cxn ang="0">
                    <a:pos x="502" y="822"/>
                  </a:cxn>
                  <a:cxn ang="0">
                    <a:pos x="388" y="826"/>
                  </a:cxn>
                  <a:cxn ang="0">
                    <a:pos x="354" y="862"/>
                  </a:cxn>
                  <a:cxn ang="0">
                    <a:pos x="342" y="861"/>
                  </a:cxn>
                  <a:cxn ang="0">
                    <a:pos x="269" y="757"/>
                  </a:cxn>
                  <a:cxn ang="0">
                    <a:pos x="40" y="773"/>
                  </a:cxn>
                  <a:cxn ang="0">
                    <a:pos x="114" y="642"/>
                  </a:cxn>
                  <a:cxn ang="0">
                    <a:pos x="2" y="478"/>
                  </a:cxn>
                  <a:cxn ang="0">
                    <a:pos x="128" y="651"/>
                  </a:cxn>
                  <a:cxn ang="0">
                    <a:pos x="46" y="761"/>
                  </a:cxn>
                  <a:cxn ang="0">
                    <a:pos x="275" y="744"/>
                  </a:cxn>
                  <a:cxn ang="0">
                    <a:pos x="342" y="851"/>
                  </a:cxn>
                  <a:cxn ang="0">
                    <a:pos x="388" y="810"/>
                  </a:cxn>
                  <a:cxn ang="0">
                    <a:pos x="488" y="821"/>
                  </a:cxn>
                  <a:cxn ang="0">
                    <a:pos x="415" y="635"/>
                  </a:cxn>
                  <a:cxn ang="0">
                    <a:pos x="464" y="583"/>
                  </a:cxn>
                  <a:cxn ang="0">
                    <a:pos x="522" y="593"/>
                  </a:cxn>
                  <a:cxn ang="0">
                    <a:pos x="660" y="404"/>
                  </a:cxn>
                  <a:cxn ang="0">
                    <a:pos x="653" y="343"/>
                  </a:cxn>
                  <a:cxn ang="0">
                    <a:pos x="690" y="323"/>
                  </a:cxn>
                  <a:cxn ang="0">
                    <a:pos x="626" y="259"/>
                  </a:cxn>
                  <a:cxn ang="0">
                    <a:pos x="625" y="157"/>
                  </a:cxn>
                  <a:cxn ang="0">
                    <a:pos x="767" y="155"/>
                  </a:cxn>
                  <a:cxn ang="0">
                    <a:pos x="803" y="112"/>
                  </a:cxn>
                  <a:cxn ang="0">
                    <a:pos x="657" y="15"/>
                  </a:cxn>
                  <a:cxn ang="0">
                    <a:pos x="506" y="70"/>
                  </a:cxn>
                  <a:cxn ang="0">
                    <a:pos x="525" y="131"/>
                  </a:cxn>
                  <a:cxn ang="0">
                    <a:pos x="493" y="210"/>
                  </a:cxn>
                  <a:cxn ang="0">
                    <a:pos x="444" y="220"/>
                  </a:cxn>
                  <a:cxn ang="0">
                    <a:pos x="468" y="245"/>
                  </a:cxn>
                  <a:cxn ang="0">
                    <a:pos x="424" y="276"/>
                  </a:cxn>
                  <a:cxn ang="0">
                    <a:pos x="418" y="342"/>
                  </a:cxn>
                  <a:cxn ang="0">
                    <a:pos x="295" y="395"/>
                  </a:cxn>
                  <a:cxn ang="0">
                    <a:pos x="266" y="476"/>
                  </a:cxn>
                  <a:cxn ang="0">
                    <a:pos x="85" y="512"/>
                  </a:cxn>
                  <a:cxn ang="0">
                    <a:pos x="5" y="481"/>
                  </a:cxn>
                  <a:cxn ang="0">
                    <a:pos x="128" y="642"/>
                  </a:cxn>
                </a:cxnLst>
                <a:rect l="0" t="0" r="r" b="b"/>
                <a:pathLst>
                  <a:path w="817" h="865">
                    <a:moveTo>
                      <a:pt x="2" y="478"/>
                    </a:moveTo>
                    <a:cubicBezTo>
                      <a:pt x="0" y="475"/>
                      <a:pt x="0" y="471"/>
                      <a:pt x="2" y="469"/>
                    </a:cubicBezTo>
                    <a:cubicBezTo>
                      <a:pt x="4" y="466"/>
                      <a:pt x="8" y="465"/>
                      <a:pt x="11" y="466"/>
                    </a:cubicBezTo>
                    <a:lnTo>
                      <a:pt x="87" y="496"/>
                    </a:lnTo>
                    <a:lnTo>
                      <a:pt x="83" y="496"/>
                    </a:lnTo>
                    <a:lnTo>
                      <a:pt x="257" y="466"/>
                    </a:lnTo>
                    <a:lnTo>
                      <a:pt x="251" y="471"/>
                    </a:lnTo>
                    <a:lnTo>
                      <a:pt x="284" y="385"/>
                    </a:lnTo>
                    <a:cubicBezTo>
                      <a:pt x="285" y="383"/>
                      <a:pt x="287" y="381"/>
                      <a:pt x="289" y="381"/>
                    </a:cubicBezTo>
                    <a:lnTo>
                      <a:pt x="407" y="334"/>
                    </a:lnTo>
                    <a:lnTo>
                      <a:pt x="402" y="340"/>
                    </a:lnTo>
                    <a:lnTo>
                      <a:pt x="413" y="268"/>
                    </a:lnTo>
                    <a:cubicBezTo>
                      <a:pt x="413" y="265"/>
                      <a:pt x="415" y="263"/>
                      <a:pt x="417" y="262"/>
                    </a:cubicBezTo>
                    <a:lnTo>
                      <a:pt x="457" y="241"/>
                    </a:lnTo>
                    <a:lnTo>
                      <a:pt x="453" y="252"/>
                    </a:lnTo>
                    <a:lnTo>
                      <a:pt x="436" y="215"/>
                    </a:lnTo>
                    <a:cubicBezTo>
                      <a:pt x="434" y="213"/>
                      <a:pt x="435" y="210"/>
                      <a:pt x="436" y="208"/>
                    </a:cubicBezTo>
                    <a:cubicBezTo>
                      <a:pt x="437" y="206"/>
                      <a:pt x="439" y="204"/>
                      <a:pt x="442" y="204"/>
                    </a:cubicBezTo>
                    <a:lnTo>
                      <a:pt x="485" y="199"/>
                    </a:lnTo>
                    <a:lnTo>
                      <a:pt x="478" y="203"/>
                    </a:lnTo>
                    <a:lnTo>
                      <a:pt x="510" y="130"/>
                    </a:lnTo>
                    <a:lnTo>
                      <a:pt x="509" y="134"/>
                    </a:lnTo>
                    <a:lnTo>
                      <a:pt x="495" y="64"/>
                    </a:lnTo>
                    <a:cubicBezTo>
                      <a:pt x="495" y="60"/>
                      <a:pt x="497" y="56"/>
                      <a:pt x="501" y="55"/>
                    </a:cubicBezTo>
                    <a:lnTo>
                      <a:pt x="659" y="1"/>
                    </a:lnTo>
                    <a:cubicBezTo>
                      <a:pt x="661" y="0"/>
                      <a:pt x="664" y="0"/>
                      <a:pt x="666" y="2"/>
                    </a:cubicBezTo>
                    <a:lnTo>
                      <a:pt x="813" y="111"/>
                    </a:lnTo>
                    <a:cubicBezTo>
                      <a:pt x="815" y="113"/>
                      <a:pt x="816" y="115"/>
                      <a:pt x="816" y="117"/>
                    </a:cubicBezTo>
                    <a:cubicBezTo>
                      <a:pt x="817" y="119"/>
                      <a:pt x="816" y="121"/>
                      <a:pt x="814" y="123"/>
                    </a:cubicBezTo>
                    <a:lnTo>
                      <a:pt x="773" y="168"/>
                    </a:lnTo>
                    <a:cubicBezTo>
                      <a:pt x="772" y="170"/>
                      <a:pt x="769" y="171"/>
                      <a:pt x="767" y="171"/>
                    </a:cubicBezTo>
                    <a:lnTo>
                      <a:pt x="631" y="171"/>
                    </a:lnTo>
                    <a:lnTo>
                      <a:pt x="639" y="163"/>
                    </a:lnTo>
                    <a:lnTo>
                      <a:pt x="642" y="258"/>
                    </a:lnTo>
                    <a:lnTo>
                      <a:pt x="639" y="253"/>
                    </a:lnTo>
                    <a:lnTo>
                      <a:pt x="701" y="312"/>
                    </a:lnTo>
                    <a:cubicBezTo>
                      <a:pt x="703" y="313"/>
                      <a:pt x="704" y="315"/>
                      <a:pt x="704" y="318"/>
                    </a:cubicBezTo>
                    <a:cubicBezTo>
                      <a:pt x="704" y="320"/>
                      <a:pt x="703" y="322"/>
                      <a:pt x="701" y="324"/>
                    </a:cubicBezTo>
                    <a:lnTo>
                      <a:pt x="664" y="355"/>
                    </a:lnTo>
                    <a:lnTo>
                      <a:pt x="667" y="348"/>
                    </a:lnTo>
                    <a:lnTo>
                      <a:pt x="676" y="402"/>
                    </a:lnTo>
                    <a:cubicBezTo>
                      <a:pt x="677" y="404"/>
                      <a:pt x="676" y="406"/>
                      <a:pt x="675" y="408"/>
                    </a:cubicBezTo>
                    <a:lnTo>
                      <a:pt x="535" y="603"/>
                    </a:lnTo>
                    <a:cubicBezTo>
                      <a:pt x="533" y="605"/>
                      <a:pt x="530" y="606"/>
                      <a:pt x="527" y="606"/>
                    </a:cubicBezTo>
                    <a:lnTo>
                      <a:pt x="463" y="599"/>
                    </a:lnTo>
                    <a:lnTo>
                      <a:pt x="469" y="596"/>
                    </a:lnTo>
                    <a:lnTo>
                      <a:pt x="427" y="645"/>
                    </a:lnTo>
                    <a:lnTo>
                      <a:pt x="428" y="637"/>
                    </a:lnTo>
                    <a:lnTo>
                      <a:pt x="502" y="815"/>
                    </a:lnTo>
                    <a:cubicBezTo>
                      <a:pt x="503" y="817"/>
                      <a:pt x="503" y="820"/>
                      <a:pt x="502" y="822"/>
                    </a:cubicBezTo>
                    <a:cubicBezTo>
                      <a:pt x="500" y="825"/>
                      <a:pt x="498" y="826"/>
                      <a:pt x="495" y="826"/>
                    </a:cubicBezTo>
                    <a:lnTo>
                      <a:pt x="388" y="826"/>
                    </a:lnTo>
                    <a:lnTo>
                      <a:pt x="393" y="824"/>
                    </a:lnTo>
                    <a:lnTo>
                      <a:pt x="354" y="862"/>
                    </a:lnTo>
                    <a:cubicBezTo>
                      <a:pt x="352" y="864"/>
                      <a:pt x="350" y="865"/>
                      <a:pt x="347" y="864"/>
                    </a:cubicBezTo>
                    <a:cubicBezTo>
                      <a:pt x="345" y="864"/>
                      <a:pt x="343" y="863"/>
                      <a:pt x="342" y="861"/>
                    </a:cubicBezTo>
                    <a:lnTo>
                      <a:pt x="262" y="754"/>
                    </a:lnTo>
                    <a:lnTo>
                      <a:pt x="269" y="757"/>
                    </a:lnTo>
                    <a:lnTo>
                      <a:pt x="48" y="777"/>
                    </a:lnTo>
                    <a:cubicBezTo>
                      <a:pt x="45" y="777"/>
                      <a:pt x="42" y="776"/>
                      <a:pt x="40" y="773"/>
                    </a:cubicBezTo>
                    <a:cubicBezTo>
                      <a:pt x="39" y="771"/>
                      <a:pt x="39" y="768"/>
                      <a:pt x="40" y="765"/>
                    </a:cubicBezTo>
                    <a:lnTo>
                      <a:pt x="114" y="642"/>
                    </a:lnTo>
                    <a:lnTo>
                      <a:pt x="114" y="651"/>
                    </a:lnTo>
                    <a:lnTo>
                      <a:pt x="2" y="478"/>
                    </a:lnTo>
                    <a:close/>
                    <a:moveTo>
                      <a:pt x="128" y="642"/>
                    </a:moveTo>
                    <a:cubicBezTo>
                      <a:pt x="130" y="645"/>
                      <a:pt x="130" y="648"/>
                      <a:pt x="128" y="651"/>
                    </a:cubicBezTo>
                    <a:lnTo>
                      <a:pt x="54" y="773"/>
                    </a:lnTo>
                    <a:lnTo>
                      <a:pt x="46" y="761"/>
                    </a:lnTo>
                    <a:lnTo>
                      <a:pt x="268" y="741"/>
                    </a:lnTo>
                    <a:cubicBezTo>
                      <a:pt x="270" y="741"/>
                      <a:pt x="273" y="742"/>
                      <a:pt x="275" y="744"/>
                    </a:cubicBezTo>
                    <a:lnTo>
                      <a:pt x="354" y="852"/>
                    </a:lnTo>
                    <a:lnTo>
                      <a:pt x="342" y="851"/>
                    </a:lnTo>
                    <a:lnTo>
                      <a:pt x="382" y="812"/>
                    </a:lnTo>
                    <a:cubicBezTo>
                      <a:pt x="384" y="811"/>
                      <a:pt x="386" y="810"/>
                      <a:pt x="388" y="810"/>
                    </a:cubicBezTo>
                    <a:lnTo>
                      <a:pt x="495" y="810"/>
                    </a:lnTo>
                    <a:lnTo>
                      <a:pt x="488" y="821"/>
                    </a:lnTo>
                    <a:lnTo>
                      <a:pt x="413" y="643"/>
                    </a:lnTo>
                    <a:cubicBezTo>
                      <a:pt x="412" y="640"/>
                      <a:pt x="413" y="637"/>
                      <a:pt x="415" y="635"/>
                    </a:cubicBezTo>
                    <a:lnTo>
                      <a:pt x="457" y="586"/>
                    </a:lnTo>
                    <a:cubicBezTo>
                      <a:pt x="459" y="584"/>
                      <a:pt x="462" y="583"/>
                      <a:pt x="464" y="583"/>
                    </a:cubicBezTo>
                    <a:lnTo>
                      <a:pt x="529" y="590"/>
                    </a:lnTo>
                    <a:lnTo>
                      <a:pt x="522" y="593"/>
                    </a:lnTo>
                    <a:lnTo>
                      <a:pt x="662" y="398"/>
                    </a:lnTo>
                    <a:lnTo>
                      <a:pt x="660" y="404"/>
                    </a:lnTo>
                    <a:lnTo>
                      <a:pt x="651" y="351"/>
                    </a:lnTo>
                    <a:cubicBezTo>
                      <a:pt x="650" y="348"/>
                      <a:pt x="651" y="345"/>
                      <a:pt x="653" y="343"/>
                    </a:cubicBezTo>
                    <a:lnTo>
                      <a:pt x="691" y="311"/>
                    </a:lnTo>
                    <a:lnTo>
                      <a:pt x="690" y="323"/>
                    </a:lnTo>
                    <a:lnTo>
                      <a:pt x="628" y="264"/>
                    </a:lnTo>
                    <a:cubicBezTo>
                      <a:pt x="627" y="263"/>
                      <a:pt x="626" y="261"/>
                      <a:pt x="626" y="259"/>
                    </a:cubicBezTo>
                    <a:lnTo>
                      <a:pt x="623" y="163"/>
                    </a:lnTo>
                    <a:cubicBezTo>
                      <a:pt x="623" y="161"/>
                      <a:pt x="624" y="159"/>
                      <a:pt x="625" y="157"/>
                    </a:cubicBezTo>
                    <a:cubicBezTo>
                      <a:pt x="627" y="156"/>
                      <a:pt x="629" y="155"/>
                      <a:pt x="631" y="155"/>
                    </a:cubicBezTo>
                    <a:lnTo>
                      <a:pt x="767" y="155"/>
                    </a:lnTo>
                    <a:lnTo>
                      <a:pt x="761" y="158"/>
                    </a:lnTo>
                    <a:lnTo>
                      <a:pt x="803" y="112"/>
                    </a:lnTo>
                    <a:lnTo>
                      <a:pt x="804" y="124"/>
                    </a:lnTo>
                    <a:lnTo>
                      <a:pt x="657" y="15"/>
                    </a:lnTo>
                    <a:lnTo>
                      <a:pt x="664" y="16"/>
                    </a:lnTo>
                    <a:lnTo>
                      <a:pt x="506" y="70"/>
                    </a:lnTo>
                    <a:lnTo>
                      <a:pt x="511" y="61"/>
                    </a:lnTo>
                    <a:lnTo>
                      <a:pt x="525" y="131"/>
                    </a:lnTo>
                    <a:cubicBezTo>
                      <a:pt x="525" y="133"/>
                      <a:pt x="525" y="134"/>
                      <a:pt x="524" y="136"/>
                    </a:cubicBezTo>
                    <a:lnTo>
                      <a:pt x="493" y="210"/>
                    </a:lnTo>
                    <a:cubicBezTo>
                      <a:pt x="492" y="212"/>
                      <a:pt x="489" y="214"/>
                      <a:pt x="486" y="215"/>
                    </a:cubicBezTo>
                    <a:lnTo>
                      <a:pt x="444" y="220"/>
                    </a:lnTo>
                    <a:lnTo>
                      <a:pt x="450" y="208"/>
                    </a:lnTo>
                    <a:lnTo>
                      <a:pt x="468" y="245"/>
                    </a:lnTo>
                    <a:cubicBezTo>
                      <a:pt x="470" y="249"/>
                      <a:pt x="468" y="254"/>
                      <a:pt x="464" y="256"/>
                    </a:cubicBezTo>
                    <a:lnTo>
                      <a:pt x="424" y="276"/>
                    </a:lnTo>
                    <a:lnTo>
                      <a:pt x="429" y="270"/>
                    </a:lnTo>
                    <a:lnTo>
                      <a:pt x="418" y="342"/>
                    </a:lnTo>
                    <a:cubicBezTo>
                      <a:pt x="417" y="345"/>
                      <a:pt x="415" y="347"/>
                      <a:pt x="413" y="348"/>
                    </a:cubicBezTo>
                    <a:lnTo>
                      <a:pt x="295" y="395"/>
                    </a:lnTo>
                    <a:lnTo>
                      <a:pt x="299" y="391"/>
                    </a:lnTo>
                    <a:lnTo>
                      <a:pt x="266" y="476"/>
                    </a:lnTo>
                    <a:cubicBezTo>
                      <a:pt x="265" y="479"/>
                      <a:pt x="263" y="481"/>
                      <a:pt x="260" y="481"/>
                    </a:cubicBezTo>
                    <a:lnTo>
                      <a:pt x="85" y="512"/>
                    </a:lnTo>
                    <a:cubicBezTo>
                      <a:pt x="84" y="512"/>
                      <a:pt x="82" y="512"/>
                      <a:pt x="81" y="511"/>
                    </a:cubicBezTo>
                    <a:lnTo>
                      <a:pt x="5" y="481"/>
                    </a:lnTo>
                    <a:lnTo>
                      <a:pt x="15" y="469"/>
                    </a:lnTo>
                    <a:lnTo>
                      <a:pt x="128" y="642"/>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81" name="Freeform 237"/>
              <p:cNvSpPr>
                <a:spLocks/>
              </p:cNvSpPr>
              <p:nvPr/>
            </p:nvSpPr>
            <p:spPr bwMode="auto">
              <a:xfrm>
                <a:off x="1581" y="1996"/>
                <a:ext cx="79" cy="33"/>
              </a:xfrm>
              <a:custGeom>
                <a:avLst/>
                <a:gdLst/>
                <a:ahLst/>
                <a:cxnLst>
                  <a:cxn ang="0">
                    <a:pos x="0" y="18"/>
                  </a:cxn>
                  <a:cxn ang="0">
                    <a:pos x="7" y="0"/>
                  </a:cxn>
                  <a:cxn ang="0">
                    <a:pos x="23" y="11"/>
                  </a:cxn>
                  <a:cxn ang="0">
                    <a:pos x="53" y="0"/>
                  </a:cxn>
                  <a:cxn ang="0">
                    <a:pos x="79" y="13"/>
                  </a:cxn>
                  <a:cxn ang="0">
                    <a:pos x="72" y="32"/>
                  </a:cxn>
                  <a:cxn ang="0">
                    <a:pos x="70" y="16"/>
                  </a:cxn>
                  <a:cxn ang="0">
                    <a:pos x="53" y="10"/>
                  </a:cxn>
                  <a:cxn ang="0">
                    <a:pos x="37" y="20"/>
                  </a:cxn>
                  <a:cxn ang="0">
                    <a:pos x="41" y="29"/>
                  </a:cxn>
                  <a:cxn ang="0">
                    <a:pos x="34" y="33"/>
                  </a:cxn>
                  <a:cxn ang="0">
                    <a:pos x="0" y="18"/>
                  </a:cxn>
                </a:cxnLst>
                <a:rect l="0" t="0" r="r" b="b"/>
                <a:pathLst>
                  <a:path w="79" h="33">
                    <a:moveTo>
                      <a:pt x="0" y="18"/>
                    </a:moveTo>
                    <a:lnTo>
                      <a:pt x="7" y="0"/>
                    </a:lnTo>
                    <a:lnTo>
                      <a:pt x="23" y="11"/>
                    </a:lnTo>
                    <a:lnTo>
                      <a:pt x="53" y="0"/>
                    </a:lnTo>
                    <a:lnTo>
                      <a:pt x="79" y="13"/>
                    </a:lnTo>
                    <a:lnTo>
                      <a:pt x="72" y="32"/>
                    </a:lnTo>
                    <a:lnTo>
                      <a:pt x="70" y="16"/>
                    </a:lnTo>
                    <a:lnTo>
                      <a:pt x="53" y="10"/>
                    </a:lnTo>
                    <a:lnTo>
                      <a:pt x="37" y="20"/>
                    </a:lnTo>
                    <a:lnTo>
                      <a:pt x="41" y="29"/>
                    </a:lnTo>
                    <a:lnTo>
                      <a:pt x="34" y="33"/>
                    </a:lnTo>
                    <a:lnTo>
                      <a:pt x="0" y="18"/>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82" name="Freeform 238"/>
              <p:cNvSpPr>
                <a:spLocks noEditPoints="1"/>
              </p:cNvSpPr>
              <p:nvPr/>
            </p:nvSpPr>
            <p:spPr bwMode="auto">
              <a:xfrm>
                <a:off x="1579" y="1994"/>
                <a:ext cx="83" cy="37"/>
              </a:xfrm>
              <a:custGeom>
                <a:avLst/>
                <a:gdLst/>
                <a:ahLst/>
                <a:cxnLst>
                  <a:cxn ang="0">
                    <a:pos x="4" y="92"/>
                  </a:cxn>
                  <a:cxn ang="0">
                    <a:pos x="1" y="82"/>
                  </a:cxn>
                  <a:cxn ang="0">
                    <a:pos x="23" y="6"/>
                  </a:cxn>
                  <a:cxn ang="0">
                    <a:pos x="28" y="1"/>
                  </a:cxn>
                  <a:cxn ang="0">
                    <a:pos x="36" y="2"/>
                  </a:cxn>
                  <a:cxn ang="0">
                    <a:pos x="94" y="49"/>
                  </a:cxn>
                  <a:cxn ang="0">
                    <a:pos x="86" y="47"/>
                  </a:cxn>
                  <a:cxn ang="0">
                    <a:pos x="188" y="3"/>
                  </a:cxn>
                  <a:cxn ang="0">
                    <a:pos x="196" y="3"/>
                  </a:cxn>
                  <a:cxn ang="0">
                    <a:pos x="285" y="58"/>
                  </a:cxn>
                  <a:cxn ang="0">
                    <a:pos x="288" y="67"/>
                  </a:cxn>
                  <a:cxn ang="0">
                    <a:pos x="265" y="150"/>
                  </a:cxn>
                  <a:cxn ang="0">
                    <a:pos x="256" y="155"/>
                  </a:cxn>
                  <a:cxn ang="0">
                    <a:pos x="249" y="148"/>
                  </a:cxn>
                  <a:cxn ang="0">
                    <a:pos x="242" y="80"/>
                  </a:cxn>
                  <a:cxn ang="0">
                    <a:pos x="247" y="87"/>
                  </a:cxn>
                  <a:cxn ang="0">
                    <a:pos x="188" y="60"/>
                  </a:cxn>
                  <a:cxn ang="0">
                    <a:pos x="196" y="60"/>
                  </a:cxn>
                  <a:cxn ang="0">
                    <a:pos x="141" y="101"/>
                  </a:cxn>
                  <a:cxn ang="0">
                    <a:pos x="144" y="92"/>
                  </a:cxn>
                  <a:cxn ang="0">
                    <a:pos x="158" y="132"/>
                  </a:cxn>
                  <a:cxn ang="0">
                    <a:pos x="155" y="141"/>
                  </a:cxn>
                  <a:cxn ang="0">
                    <a:pos x="130" y="159"/>
                  </a:cxn>
                  <a:cxn ang="0">
                    <a:pos x="121" y="159"/>
                  </a:cxn>
                  <a:cxn ang="0">
                    <a:pos x="4" y="92"/>
                  </a:cxn>
                  <a:cxn ang="0">
                    <a:pos x="129" y="146"/>
                  </a:cxn>
                  <a:cxn ang="0">
                    <a:pos x="120" y="146"/>
                  </a:cxn>
                  <a:cxn ang="0">
                    <a:pos x="145" y="128"/>
                  </a:cxn>
                  <a:cxn ang="0">
                    <a:pos x="142" y="137"/>
                  </a:cxn>
                  <a:cxn ang="0">
                    <a:pos x="129" y="97"/>
                  </a:cxn>
                  <a:cxn ang="0">
                    <a:pos x="131" y="88"/>
                  </a:cxn>
                  <a:cxn ang="0">
                    <a:pos x="187" y="47"/>
                  </a:cxn>
                  <a:cxn ang="0">
                    <a:pos x="195" y="46"/>
                  </a:cxn>
                  <a:cxn ang="0">
                    <a:pos x="253" y="72"/>
                  </a:cxn>
                  <a:cxn ang="0">
                    <a:pos x="258" y="79"/>
                  </a:cxn>
                  <a:cxn ang="0">
                    <a:pos x="265" y="147"/>
                  </a:cxn>
                  <a:cxn ang="0">
                    <a:pos x="249" y="145"/>
                  </a:cxn>
                  <a:cxn ang="0">
                    <a:pos x="273" y="63"/>
                  </a:cxn>
                  <a:cxn ang="0">
                    <a:pos x="276" y="72"/>
                  </a:cxn>
                  <a:cxn ang="0">
                    <a:pos x="187" y="17"/>
                  </a:cxn>
                  <a:cxn ang="0">
                    <a:pos x="195" y="17"/>
                  </a:cxn>
                  <a:cxn ang="0">
                    <a:pos x="92" y="62"/>
                  </a:cxn>
                  <a:cxn ang="0">
                    <a:pos x="84" y="61"/>
                  </a:cxn>
                  <a:cxn ang="0">
                    <a:pos x="26" y="15"/>
                  </a:cxn>
                  <a:cxn ang="0">
                    <a:pos x="38" y="11"/>
                  </a:cxn>
                  <a:cxn ang="0">
                    <a:pos x="16" y="87"/>
                  </a:cxn>
                  <a:cxn ang="0">
                    <a:pos x="12" y="78"/>
                  </a:cxn>
                  <a:cxn ang="0">
                    <a:pos x="129" y="146"/>
                  </a:cxn>
                </a:cxnLst>
                <a:rect l="0" t="0" r="r" b="b"/>
                <a:pathLst>
                  <a:path w="289" h="161">
                    <a:moveTo>
                      <a:pt x="4" y="92"/>
                    </a:moveTo>
                    <a:cubicBezTo>
                      <a:pt x="1" y="90"/>
                      <a:pt x="0" y="86"/>
                      <a:pt x="1" y="82"/>
                    </a:cubicBezTo>
                    <a:lnTo>
                      <a:pt x="23" y="6"/>
                    </a:lnTo>
                    <a:cubicBezTo>
                      <a:pt x="24" y="4"/>
                      <a:pt x="26" y="2"/>
                      <a:pt x="28" y="1"/>
                    </a:cubicBezTo>
                    <a:cubicBezTo>
                      <a:pt x="31" y="0"/>
                      <a:pt x="34" y="1"/>
                      <a:pt x="36" y="2"/>
                    </a:cubicBezTo>
                    <a:lnTo>
                      <a:pt x="94" y="49"/>
                    </a:lnTo>
                    <a:lnTo>
                      <a:pt x="86" y="47"/>
                    </a:lnTo>
                    <a:lnTo>
                      <a:pt x="188" y="3"/>
                    </a:lnTo>
                    <a:cubicBezTo>
                      <a:pt x="191" y="2"/>
                      <a:pt x="194" y="2"/>
                      <a:pt x="196" y="3"/>
                    </a:cubicBezTo>
                    <a:lnTo>
                      <a:pt x="285" y="58"/>
                    </a:lnTo>
                    <a:cubicBezTo>
                      <a:pt x="288" y="60"/>
                      <a:pt x="289" y="63"/>
                      <a:pt x="288" y="67"/>
                    </a:cubicBezTo>
                    <a:lnTo>
                      <a:pt x="265" y="150"/>
                    </a:lnTo>
                    <a:cubicBezTo>
                      <a:pt x="264" y="153"/>
                      <a:pt x="260" y="156"/>
                      <a:pt x="256" y="155"/>
                    </a:cubicBezTo>
                    <a:cubicBezTo>
                      <a:pt x="252" y="155"/>
                      <a:pt x="249" y="152"/>
                      <a:pt x="249" y="148"/>
                    </a:cubicBezTo>
                    <a:lnTo>
                      <a:pt x="242" y="80"/>
                    </a:lnTo>
                    <a:lnTo>
                      <a:pt x="247" y="87"/>
                    </a:lnTo>
                    <a:lnTo>
                      <a:pt x="188" y="60"/>
                    </a:lnTo>
                    <a:lnTo>
                      <a:pt x="196" y="60"/>
                    </a:lnTo>
                    <a:lnTo>
                      <a:pt x="141" y="101"/>
                    </a:lnTo>
                    <a:lnTo>
                      <a:pt x="144" y="92"/>
                    </a:lnTo>
                    <a:lnTo>
                      <a:pt x="158" y="132"/>
                    </a:lnTo>
                    <a:cubicBezTo>
                      <a:pt x="159" y="135"/>
                      <a:pt x="158" y="139"/>
                      <a:pt x="155" y="141"/>
                    </a:cubicBezTo>
                    <a:lnTo>
                      <a:pt x="130" y="159"/>
                    </a:lnTo>
                    <a:cubicBezTo>
                      <a:pt x="127" y="161"/>
                      <a:pt x="124" y="161"/>
                      <a:pt x="121" y="159"/>
                    </a:cubicBezTo>
                    <a:lnTo>
                      <a:pt x="4" y="92"/>
                    </a:lnTo>
                    <a:close/>
                    <a:moveTo>
                      <a:pt x="129" y="146"/>
                    </a:moveTo>
                    <a:lnTo>
                      <a:pt x="120" y="146"/>
                    </a:lnTo>
                    <a:lnTo>
                      <a:pt x="145" y="128"/>
                    </a:lnTo>
                    <a:lnTo>
                      <a:pt x="142" y="137"/>
                    </a:lnTo>
                    <a:lnTo>
                      <a:pt x="129" y="97"/>
                    </a:lnTo>
                    <a:cubicBezTo>
                      <a:pt x="127" y="94"/>
                      <a:pt x="129" y="90"/>
                      <a:pt x="131" y="88"/>
                    </a:cubicBezTo>
                    <a:lnTo>
                      <a:pt x="187" y="47"/>
                    </a:lnTo>
                    <a:cubicBezTo>
                      <a:pt x="189" y="45"/>
                      <a:pt x="192" y="45"/>
                      <a:pt x="195" y="46"/>
                    </a:cubicBezTo>
                    <a:lnTo>
                      <a:pt x="253" y="72"/>
                    </a:lnTo>
                    <a:cubicBezTo>
                      <a:pt x="256" y="74"/>
                      <a:pt x="258" y="76"/>
                      <a:pt x="258" y="79"/>
                    </a:cubicBezTo>
                    <a:lnTo>
                      <a:pt x="265" y="147"/>
                    </a:lnTo>
                    <a:lnTo>
                      <a:pt x="249" y="145"/>
                    </a:lnTo>
                    <a:lnTo>
                      <a:pt x="273" y="63"/>
                    </a:lnTo>
                    <a:lnTo>
                      <a:pt x="276" y="72"/>
                    </a:lnTo>
                    <a:lnTo>
                      <a:pt x="187" y="17"/>
                    </a:lnTo>
                    <a:lnTo>
                      <a:pt x="195" y="17"/>
                    </a:lnTo>
                    <a:lnTo>
                      <a:pt x="92" y="62"/>
                    </a:lnTo>
                    <a:cubicBezTo>
                      <a:pt x="89" y="63"/>
                      <a:pt x="86" y="63"/>
                      <a:pt x="84" y="61"/>
                    </a:cubicBezTo>
                    <a:lnTo>
                      <a:pt x="26" y="15"/>
                    </a:lnTo>
                    <a:lnTo>
                      <a:pt x="38" y="11"/>
                    </a:lnTo>
                    <a:lnTo>
                      <a:pt x="16" y="87"/>
                    </a:lnTo>
                    <a:lnTo>
                      <a:pt x="12" y="78"/>
                    </a:lnTo>
                    <a:lnTo>
                      <a:pt x="129" y="146"/>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83" name="Freeform 239"/>
              <p:cNvSpPr>
                <a:spLocks/>
              </p:cNvSpPr>
              <p:nvPr/>
            </p:nvSpPr>
            <p:spPr bwMode="auto">
              <a:xfrm>
                <a:off x="4713" y="2157"/>
                <a:ext cx="140" cy="102"/>
              </a:xfrm>
              <a:custGeom>
                <a:avLst/>
                <a:gdLst/>
                <a:ahLst/>
                <a:cxnLst>
                  <a:cxn ang="0">
                    <a:pos x="0" y="0"/>
                  </a:cxn>
                  <a:cxn ang="0">
                    <a:pos x="2" y="86"/>
                  </a:cxn>
                  <a:cxn ang="0">
                    <a:pos x="25" y="88"/>
                  </a:cxn>
                  <a:cxn ang="0">
                    <a:pos x="48" y="65"/>
                  </a:cxn>
                  <a:cxn ang="0">
                    <a:pos x="73" y="75"/>
                  </a:cxn>
                  <a:cxn ang="0">
                    <a:pos x="96" y="98"/>
                  </a:cxn>
                  <a:cxn ang="0">
                    <a:pos x="140" y="102"/>
                  </a:cxn>
                  <a:cxn ang="0">
                    <a:pos x="90" y="64"/>
                  </a:cxn>
                  <a:cxn ang="0">
                    <a:pos x="93" y="46"/>
                  </a:cxn>
                  <a:cxn ang="0">
                    <a:pos x="69" y="40"/>
                  </a:cxn>
                  <a:cxn ang="0">
                    <a:pos x="47" y="15"/>
                  </a:cxn>
                  <a:cxn ang="0">
                    <a:pos x="0" y="0"/>
                  </a:cxn>
                </a:cxnLst>
                <a:rect l="0" t="0" r="r" b="b"/>
                <a:pathLst>
                  <a:path w="140" h="102">
                    <a:moveTo>
                      <a:pt x="0" y="0"/>
                    </a:moveTo>
                    <a:lnTo>
                      <a:pt x="2" y="86"/>
                    </a:lnTo>
                    <a:lnTo>
                      <a:pt x="25" y="88"/>
                    </a:lnTo>
                    <a:lnTo>
                      <a:pt x="48" y="65"/>
                    </a:lnTo>
                    <a:lnTo>
                      <a:pt x="73" y="75"/>
                    </a:lnTo>
                    <a:lnTo>
                      <a:pt x="96" y="98"/>
                    </a:lnTo>
                    <a:lnTo>
                      <a:pt x="140" y="102"/>
                    </a:lnTo>
                    <a:lnTo>
                      <a:pt x="90" y="64"/>
                    </a:lnTo>
                    <a:lnTo>
                      <a:pt x="93" y="46"/>
                    </a:lnTo>
                    <a:lnTo>
                      <a:pt x="69" y="40"/>
                    </a:lnTo>
                    <a:lnTo>
                      <a:pt x="47" y="15"/>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84" name="Freeform 240"/>
              <p:cNvSpPr>
                <a:spLocks noEditPoints="1"/>
              </p:cNvSpPr>
              <p:nvPr/>
            </p:nvSpPr>
            <p:spPr bwMode="auto">
              <a:xfrm>
                <a:off x="4711" y="2155"/>
                <a:ext cx="144" cy="106"/>
              </a:xfrm>
              <a:custGeom>
                <a:avLst/>
                <a:gdLst/>
                <a:ahLst/>
                <a:cxnLst>
                  <a:cxn ang="0">
                    <a:pos x="5" y="16"/>
                  </a:cxn>
                  <a:cxn ang="0">
                    <a:pos x="16" y="8"/>
                  </a:cxn>
                  <a:cxn ang="0">
                    <a:pos x="23" y="383"/>
                  </a:cxn>
                  <a:cxn ang="0">
                    <a:pos x="17" y="375"/>
                  </a:cxn>
                  <a:cxn ang="0">
                    <a:pos x="95" y="387"/>
                  </a:cxn>
                  <a:cxn ang="0">
                    <a:pos x="87" y="390"/>
                  </a:cxn>
                  <a:cxn ang="0">
                    <a:pos x="164" y="288"/>
                  </a:cxn>
                  <a:cxn ang="0">
                    <a:pos x="174" y="286"/>
                  </a:cxn>
                  <a:cxn ang="0">
                    <a:pos x="261" y="331"/>
                  </a:cxn>
                  <a:cxn ang="0">
                    <a:pos x="264" y="333"/>
                  </a:cxn>
                  <a:cxn ang="0">
                    <a:pos x="344" y="433"/>
                  </a:cxn>
                  <a:cxn ang="0">
                    <a:pos x="338" y="430"/>
                  </a:cxn>
                  <a:cxn ang="0">
                    <a:pos x="489" y="449"/>
                  </a:cxn>
                  <a:cxn ang="0">
                    <a:pos x="483" y="462"/>
                  </a:cxn>
                  <a:cxn ang="0">
                    <a:pos x="311" y="293"/>
                  </a:cxn>
                  <a:cxn ang="0">
                    <a:pos x="308" y="287"/>
                  </a:cxn>
                  <a:cxn ang="0">
                    <a:pos x="320" y="208"/>
                  </a:cxn>
                  <a:cxn ang="0">
                    <a:pos x="325" y="217"/>
                  </a:cxn>
                  <a:cxn ang="0">
                    <a:pos x="244" y="188"/>
                  </a:cxn>
                  <a:cxn ang="0">
                    <a:pos x="240" y="185"/>
                  </a:cxn>
                  <a:cxn ang="0">
                    <a:pos x="163" y="80"/>
                  </a:cxn>
                  <a:cxn ang="0">
                    <a:pos x="166" y="83"/>
                  </a:cxn>
                  <a:cxn ang="0">
                    <a:pos x="5" y="16"/>
                  </a:cxn>
                  <a:cxn ang="0">
                    <a:pos x="172" y="68"/>
                  </a:cxn>
                  <a:cxn ang="0">
                    <a:pos x="176" y="71"/>
                  </a:cxn>
                  <a:cxn ang="0">
                    <a:pos x="253" y="176"/>
                  </a:cxn>
                  <a:cxn ang="0">
                    <a:pos x="249" y="173"/>
                  </a:cxn>
                  <a:cxn ang="0">
                    <a:pos x="330" y="202"/>
                  </a:cxn>
                  <a:cxn ang="0">
                    <a:pos x="335" y="210"/>
                  </a:cxn>
                  <a:cxn ang="0">
                    <a:pos x="324" y="289"/>
                  </a:cxn>
                  <a:cxn ang="0">
                    <a:pos x="322" y="282"/>
                  </a:cxn>
                  <a:cxn ang="0">
                    <a:pos x="494" y="451"/>
                  </a:cxn>
                  <a:cxn ang="0">
                    <a:pos x="496" y="460"/>
                  </a:cxn>
                  <a:cxn ang="0">
                    <a:pos x="487" y="464"/>
                  </a:cxn>
                  <a:cxn ang="0">
                    <a:pos x="336" y="446"/>
                  </a:cxn>
                  <a:cxn ang="0">
                    <a:pos x="331" y="443"/>
                  </a:cxn>
                  <a:cxn ang="0">
                    <a:pos x="251" y="343"/>
                  </a:cxn>
                  <a:cxn ang="0">
                    <a:pos x="254" y="345"/>
                  </a:cxn>
                  <a:cxn ang="0">
                    <a:pos x="167" y="300"/>
                  </a:cxn>
                  <a:cxn ang="0">
                    <a:pos x="177" y="297"/>
                  </a:cxn>
                  <a:cxn ang="0">
                    <a:pos x="100" y="399"/>
                  </a:cxn>
                  <a:cxn ang="0">
                    <a:pos x="93" y="403"/>
                  </a:cxn>
                  <a:cxn ang="0">
                    <a:pos x="14" y="391"/>
                  </a:cxn>
                  <a:cxn ang="0">
                    <a:pos x="7" y="383"/>
                  </a:cxn>
                  <a:cxn ang="0">
                    <a:pos x="0" y="9"/>
                  </a:cxn>
                  <a:cxn ang="0">
                    <a:pos x="4" y="2"/>
                  </a:cxn>
                  <a:cxn ang="0">
                    <a:pos x="12" y="1"/>
                  </a:cxn>
                  <a:cxn ang="0">
                    <a:pos x="172" y="68"/>
                  </a:cxn>
                </a:cxnLst>
                <a:rect l="0" t="0" r="r" b="b"/>
                <a:pathLst>
                  <a:path w="497" h="465">
                    <a:moveTo>
                      <a:pt x="5" y="16"/>
                    </a:moveTo>
                    <a:lnTo>
                      <a:pt x="16" y="8"/>
                    </a:lnTo>
                    <a:lnTo>
                      <a:pt x="23" y="383"/>
                    </a:lnTo>
                    <a:lnTo>
                      <a:pt x="17" y="375"/>
                    </a:lnTo>
                    <a:lnTo>
                      <a:pt x="95" y="387"/>
                    </a:lnTo>
                    <a:lnTo>
                      <a:pt x="87" y="390"/>
                    </a:lnTo>
                    <a:lnTo>
                      <a:pt x="164" y="288"/>
                    </a:lnTo>
                    <a:cubicBezTo>
                      <a:pt x="167" y="285"/>
                      <a:pt x="171" y="284"/>
                      <a:pt x="174" y="286"/>
                    </a:cubicBezTo>
                    <a:lnTo>
                      <a:pt x="261" y="331"/>
                    </a:lnTo>
                    <a:cubicBezTo>
                      <a:pt x="262" y="331"/>
                      <a:pt x="263" y="332"/>
                      <a:pt x="264" y="333"/>
                    </a:cubicBezTo>
                    <a:lnTo>
                      <a:pt x="344" y="433"/>
                    </a:lnTo>
                    <a:lnTo>
                      <a:pt x="338" y="430"/>
                    </a:lnTo>
                    <a:lnTo>
                      <a:pt x="489" y="449"/>
                    </a:lnTo>
                    <a:lnTo>
                      <a:pt x="483" y="462"/>
                    </a:lnTo>
                    <a:lnTo>
                      <a:pt x="311" y="293"/>
                    </a:lnTo>
                    <a:cubicBezTo>
                      <a:pt x="309" y="292"/>
                      <a:pt x="308" y="289"/>
                      <a:pt x="308" y="287"/>
                    </a:cubicBezTo>
                    <a:lnTo>
                      <a:pt x="320" y="208"/>
                    </a:lnTo>
                    <a:lnTo>
                      <a:pt x="325" y="217"/>
                    </a:lnTo>
                    <a:lnTo>
                      <a:pt x="244" y="188"/>
                    </a:lnTo>
                    <a:cubicBezTo>
                      <a:pt x="242" y="188"/>
                      <a:pt x="241" y="187"/>
                      <a:pt x="240" y="185"/>
                    </a:cubicBezTo>
                    <a:lnTo>
                      <a:pt x="163" y="80"/>
                    </a:lnTo>
                    <a:lnTo>
                      <a:pt x="166" y="83"/>
                    </a:lnTo>
                    <a:lnTo>
                      <a:pt x="5" y="16"/>
                    </a:lnTo>
                    <a:close/>
                    <a:moveTo>
                      <a:pt x="172" y="68"/>
                    </a:moveTo>
                    <a:cubicBezTo>
                      <a:pt x="174" y="68"/>
                      <a:pt x="175" y="69"/>
                      <a:pt x="176" y="71"/>
                    </a:cubicBezTo>
                    <a:lnTo>
                      <a:pt x="253" y="176"/>
                    </a:lnTo>
                    <a:lnTo>
                      <a:pt x="249" y="173"/>
                    </a:lnTo>
                    <a:lnTo>
                      <a:pt x="330" y="202"/>
                    </a:lnTo>
                    <a:cubicBezTo>
                      <a:pt x="334" y="203"/>
                      <a:pt x="336" y="206"/>
                      <a:pt x="335" y="210"/>
                    </a:cubicBezTo>
                    <a:lnTo>
                      <a:pt x="324" y="289"/>
                    </a:lnTo>
                    <a:lnTo>
                      <a:pt x="322" y="282"/>
                    </a:lnTo>
                    <a:lnTo>
                      <a:pt x="494" y="451"/>
                    </a:lnTo>
                    <a:cubicBezTo>
                      <a:pt x="497" y="453"/>
                      <a:pt x="497" y="457"/>
                      <a:pt x="496" y="460"/>
                    </a:cubicBezTo>
                    <a:cubicBezTo>
                      <a:pt x="494" y="463"/>
                      <a:pt x="491" y="465"/>
                      <a:pt x="487" y="464"/>
                    </a:cubicBezTo>
                    <a:lnTo>
                      <a:pt x="336" y="446"/>
                    </a:lnTo>
                    <a:cubicBezTo>
                      <a:pt x="334" y="446"/>
                      <a:pt x="332" y="445"/>
                      <a:pt x="331" y="443"/>
                    </a:cubicBezTo>
                    <a:lnTo>
                      <a:pt x="251" y="343"/>
                    </a:lnTo>
                    <a:lnTo>
                      <a:pt x="254" y="345"/>
                    </a:lnTo>
                    <a:lnTo>
                      <a:pt x="167" y="300"/>
                    </a:lnTo>
                    <a:lnTo>
                      <a:pt x="177" y="297"/>
                    </a:lnTo>
                    <a:lnTo>
                      <a:pt x="100" y="399"/>
                    </a:lnTo>
                    <a:cubicBezTo>
                      <a:pt x="98" y="402"/>
                      <a:pt x="96" y="403"/>
                      <a:pt x="93" y="403"/>
                    </a:cubicBezTo>
                    <a:lnTo>
                      <a:pt x="14" y="391"/>
                    </a:lnTo>
                    <a:cubicBezTo>
                      <a:pt x="10" y="390"/>
                      <a:pt x="8" y="387"/>
                      <a:pt x="7" y="383"/>
                    </a:cubicBezTo>
                    <a:lnTo>
                      <a:pt x="0" y="9"/>
                    </a:lnTo>
                    <a:cubicBezTo>
                      <a:pt x="0" y="6"/>
                      <a:pt x="2" y="3"/>
                      <a:pt x="4" y="2"/>
                    </a:cubicBezTo>
                    <a:cubicBezTo>
                      <a:pt x="6" y="0"/>
                      <a:pt x="9" y="0"/>
                      <a:pt x="12" y="1"/>
                    </a:cubicBezTo>
                    <a:lnTo>
                      <a:pt x="172" y="68"/>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85" name="Freeform 241"/>
              <p:cNvSpPr>
                <a:spLocks/>
              </p:cNvSpPr>
              <p:nvPr/>
            </p:nvSpPr>
            <p:spPr bwMode="auto">
              <a:xfrm>
                <a:off x="4816" y="2179"/>
                <a:ext cx="60" cy="26"/>
              </a:xfrm>
              <a:custGeom>
                <a:avLst/>
                <a:gdLst/>
                <a:ahLst/>
                <a:cxnLst>
                  <a:cxn ang="0">
                    <a:pos x="0" y="17"/>
                  </a:cxn>
                  <a:cxn ang="0">
                    <a:pos x="35" y="26"/>
                  </a:cxn>
                  <a:cxn ang="0">
                    <a:pos x="60" y="8"/>
                  </a:cxn>
                  <a:cxn ang="0">
                    <a:pos x="50" y="0"/>
                  </a:cxn>
                  <a:cxn ang="0">
                    <a:pos x="42" y="10"/>
                  </a:cxn>
                  <a:cxn ang="0">
                    <a:pos x="0" y="17"/>
                  </a:cxn>
                </a:cxnLst>
                <a:rect l="0" t="0" r="r" b="b"/>
                <a:pathLst>
                  <a:path w="60" h="26">
                    <a:moveTo>
                      <a:pt x="0" y="17"/>
                    </a:moveTo>
                    <a:lnTo>
                      <a:pt x="35" y="26"/>
                    </a:lnTo>
                    <a:lnTo>
                      <a:pt x="60" y="8"/>
                    </a:lnTo>
                    <a:lnTo>
                      <a:pt x="50" y="0"/>
                    </a:lnTo>
                    <a:lnTo>
                      <a:pt x="42" y="10"/>
                    </a:lnTo>
                    <a:lnTo>
                      <a:pt x="0" y="17"/>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86" name="Freeform 242"/>
              <p:cNvSpPr>
                <a:spLocks noEditPoints="1"/>
              </p:cNvSpPr>
              <p:nvPr/>
            </p:nvSpPr>
            <p:spPr bwMode="auto">
              <a:xfrm>
                <a:off x="4813" y="2177"/>
                <a:ext cx="65" cy="30"/>
              </a:xfrm>
              <a:custGeom>
                <a:avLst/>
                <a:gdLst/>
                <a:ahLst/>
                <a:cxnLst>
                  <a:cxn ang="0">
                    <a:pos x="10" y="90"/>
                  </a:cxn>
                  <a:cxn ang="0">
                    <a:pos x="11" y="75"/>
                  </a:cxn>
                  <a:cxn ang="0">
                    <a:pos x="133" y="113"/>
                  </a:cxn>
                  <a:cxn ang="0">
                    <a:pos x="125" y="115"/>
                  </a:cxn>
                  <a:cxn ang="0">
                    <a:pos x="211" y="37"/>
                  </a:cxn>
                  <a:cxn ang="0">
                    <a:pos x="211" y="49"/>
                  </a:cxn>
                  <a:cxn ang="0">
                    <a:pos x="176" y="14"/>
                  </a:cxn>
                  <a:cxn ang="0">
                    <a:pos x="188" y="13"/>
                  </a:cxn>
                  <a:cxn ang="0">
                    <a:pos x="162" y="57"/>
                  </a:cxn>
                  <a:cxn ang="0">
                    <a:pos x="157" y="60"/>
                  </a:cxn>
                  <a:cxn ang="0">
                    <a:pos x="10" y="90"/>
                  </a:cxn>
                  <a:cxn ang="0">
                    <a:pos x="154" y="45"/>
                  </a:cxn>
                  <a:cxn ang="0">
                    <a:pos x="148" y="49"/>
                  </a:cxn>
                  <a:cxn ang="0">
                    <a:pos x="175" y="4"/>
                  </a:cxn>
                  <a:cxn ang="0">
                    <a:pos x="181" y="1"/>
                  </a:cxn>
                  <a:cxn ang="0">
                    <a:pos x="187" y="3"/>
                  </a:cxn>
                  <a:cxn ang="0">
                    <a:pos x="222" y="37"/>
                  </a:cxn>
                  <a:cxn ang="0">
                    <a:pos x="224" y="43"/>
                  </a:cxn>
                  <a:cxn ang="0">
                    <a:pos x="222" y="49"/>
                  </a:cxn>
                  <a:cxn ang="0">
                    <a:pos x="136" y="126"/>
                  </a:cxn>
                  <a:cxn ang="0">
                    <a:pos x="128" y="128"/>
                  </a:cxn>
                  <a:cxn ang="0">
                    <a:pos x="6" y="90"/>
                  </a:cxn>
                  <a:cxn ang="0">
                    <a:pos x="0" y="82"/>
                  </a:cxn>
                  <a:cxn ang="0">
                    <a:pos x="7" y="75"/>
                  </a:cxn>
                  <a:cxn ang="0">
                    <a:pos x="154" y="45"/>
                  </a:cxn>
                </a:cxnLst>
                <a:rect l="0" t="0" r="r" b="b"/>
                <a:pathLst>
                  <a:path w="225" h="129">
                    <a:moveTo>
                      <a:pt x="10" y="90"/>
                    </a:moveTo>
                    <a:lnTo>
                      <a:pt x="11" y="75"/>
                    </a:lnTo>
                    <a:lnTo>
                      <a:pt x="133" y="113"/>
                    </a:lnTo>
                    <a:lnTo>
                      <a:pt x="125" y="115"/>
                    </a:lnTo>
                    <a:lnTo>
                      <a:pt x="211" y="37"/>
                    </a:lnTo>
                    <a:lnTo>
                      <a:pt x="211" y="49"/>
                    </a:lnTo>
                    <a:lnTo>
                      <a:pt x="176" y="14"/>
                    </a:lnTo>
                    <a:lnTo>
                      <a:pt x="188" y="13"/>
                    </a:lnTo>
                    <a:lnTo>
                      <a:pt x="162" y="57"/>
                    </a:lnTo>
                    <a:cubicBezTo>
                      <a:pt x="161" y="59"/>
                      <a:pt x="159" y="60"/>
                      <a:pt x="157" y="60"/>
                    </a:cubicBezTo>
                    <a:lnTo>
                      <a:pt x="10" y="90"/>
                    </a:lnTo>
                    <a:close/>
                    <a:moveTo>
                      <a:pt x="154" y="45"/>
                    </a:moveTo>
                    <a:lnTo>
                      <a:pt x="148" y="49"/>
                    </a:lnTo>
                    <a:lnTo>
                      <a:pt x="175" y="4"/>
                    </a:lnTo>
                    <a:cubicBezTo>
                      <a:pt x="176" y="2"/>
                      <a:pt x="178" y="1"/>
                      <a:pt x="181" y="1"/>
                    </a:cubicBezTo>
                    <a:cubicBezTo>
                      <a:pt x="183" y="0"/>
                      <a:pt x="185" y="1"/>
                      <a:pt x="187" y="3"/>
                    </a:cubicBezTo>
                    <a:lnTo>
                      <a:pt x="222" y="37"/>
                    </a:lnTo>
                    <a:cubicBezTo>
                      <a:pt x="224" y="39"/>
                      <a:pt x="225" y="41"/>
                      <a:pt x="224" y="43"/>
                    </a:cubicBezTo>
                    <a:cubicBezTo>
                      <a:pt x="224" y="46"/>
                      <a:pt x="223" y="48"/>
                      <a:pt x="222" y="49"/>
                    </a:cubicBezTo>
                    <a:lnTo>
                      <a:pt x="136" y="126"/>
                    </a:lnTo>
                    <a:cubicBezTo>
                      <a:pt x="134" y="128"/>
                      <a:pt x="131" y="129"/>
                      <a:pt x="128" y="128"/>
                    </a:cubicBezTo>
                    <a:lnTo>
                      <a:pt x="6" y="90"/>
                    </a:lnTo>
                    <a:cubicBezTo>
                      <a:pt x="3" y="89"/>
                      <a:pt x="0" y="86"/>
                      <a:pt x="0" y="82"/>
                    </a:cubicBezTo>
                    <a:cubicBezTo>
                      <a:pt x="1" y="79"/>
                      <a:pt x="3" y="75"/>
                      <a:pt x="7" y="75"/>
                    </a:cubicBezTo>
                    <a:lnTo>
                      <a:pt x="154" y="45"/>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87" name="Freeform 243"/>
              <p:cNvSpPr>
                <a:spLocks/>
              </p:cNvSpPr>
              <p:nvPr/>
            </p:nvSpPr>
            <p:spPr bwMode="auto">
              <a:xfrm>
                <a:off x="4853" y="2161"/>
                <a:ext cx="27" cy="25"/>
              </a:xfrm>
              <a:custGeom>
                <a:avLst/>
                <a:gdLst/>
                <a:ahLst/>
                <a:cxnLst>
                  <a:cxn ang="0">
                    <a:pos x="0" y="0"/>
                  </a:cxn>
                  <a:cxn ang="0">
                    <a:pos x="21" y="12"/>
                  </a:cxn>
                  <a:cxn ang="0">
                    <a:pos x="27" y="25"/>
                  </a:cxn>
                  <a:cxn ang="0">
                    <a:pos x="27" y="15"/>
                  </a:cxn>
                  <a:cxn ang="0">
                    <a:pos x="0" y="0"/>
                  </a:cxn>
                </a:cxnLst>
                <a:rect l="0" t="0" r="r" b="b"/>
                <a:pathLst>
                  <a:path w="27" h="25">
                    <a:moveTo>
                      <a:pt x="0" y="0"/>
                    </a:moveTo>
                    <a:lnTo>
                      <a:pt x="21" y="12"/>
                    </a:lnTo>
                    <a:lnTo>
                      <a:pt x="27" y="25"/>
                    </a:lnTo>
                    <a:lnTo>
                      <a:pt x="27" y="15"/>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88" name="Freeform 244"/>
              <p:cNvSpPr>
                <a:spLocks noEditPoints="1"/>
              </p:cNvSpPr>
              <p:nvPr/>
            </p:nvSpPr>
            <p:spPr bwMode="auto">
              <a:xfrm>
                <a:off x="4850" y="2159"/>
                <a:ext cx="33" cy="29"/>
              </a:xfrm>
              <a:custGeom>
                <a:avLst/>
                <a:gdLst/>
                <a:ahLst/>
                <a:cxnLst>
                  <a:cxn ang="0">
                    <a:pos x="5" y="16"/>
                  </a:cxn>
                  <a:cxn ang="0">
                    <a:pos x="3" y="5"/>
                  </a:cxn>
                  <a:cxn ang="0">
                    <a:pos x="14" y="3"/>
                  </a:cxn>
                  <a:cxn ang="0">
                    <a:pos x="87" y="54"/>
                  </a:cxn>
                  <a:cxn ang="0">
                    <a:pos x="90" y="58"/>
                  </a:cxn>
                  <a:cxn ang="0">
                    <a:pos x="113" y="119"/>
                  </a:cxn>
                  <a:cxn ang="0">
                    <a:pos x="97" y="122"/>
                  </a:cxn>
                  <a:cxn ang="0">
                    <a:pos x="96" y="77"/>
                  </a:cxn>
                  <a:cxn ang="0">
                    <a:pos x="100" y="84"/>
                  </a:cxn>
                  <a:cxn ang="0">
                    <a:pos x="5" y="16"/>
                  </a:cxn>
                  <a:cxn ang="0">
                    <a:pos x="109" y="70"/>
                  </a:cxn>
                  <a:cxn ang="0">
                    <a:pos x="112" y="77"/>
                  </a:cxn>
                  <a:cxn ang="0">
                    <a:pos x="113" y="121"/>
                  </a:cxn>
                  <a:cxn ang="0">
                    <a:pos x="107" y="129"/>
                  </a:cxn>
                  <a:cxn ang="0">
                    <a:pos x="98" y="124"/>
                  </a:cxn>
                  <a:cxn ang="0">
                    <a:pos x="75" y="63"/>
                  </a:cxn>
                  <a:cxn ang="0">
                    <a:pos x="78" y="67"/>
                  </a:cxn>
                  <a:cxn ang="0">
                    <a:pos x="5" y="16"/>
                  </a:cxn>
                  <a:cxn ang="0">
                    <a:pos x="14" y="3"/>
                  </a:cxn>
                  <a:cxn ang="0">
                    <a:pos x="109" y="70"/>
                  </a:cxn>
                </a:cxnLst>
                <a:rect l="0" t="0" r="r" b="b"/>
                <a:pathLst>
                  <a:path w="114" h="130">
                    <a:moveTo>
                      <a:pt x="5" y="16"/>
                    </a:moveTo>
                    <a:cubicBezTo>
                      <a:pt x="1" y="13"/>
                      <a:pt x="0" y="8"/>
                      <a:pt x="3" y="5"/>
                    </a:cubicBezTo>
                    <a:cubicBezTo>
                      <a:pt x="5" y="1"/>
                      <a:pt x="10" y="0"/>
                      <a:pt x="14" y="3"/>
                    </a:cubicBezTo>
                    <a:lnTo>
                      <a:pt x="87" y="54"/>
                    </a:lnTo>
                    <a:cubicBezTo>
                      <a:pt x="88" y="55"/>
                      <a:pt x="89" y="56"/>
                      <a:pt x="90" y="58"/>
                    </a:cubicBezTo>
                    <a:lnTo>
                      <a:pt x="113" y="119"/>
                    </a:lnTo>
                    <a:lnTo>
                      <a:pt x="97" y="122"/>
                    </a:lnTo>
                    <a:lnTo>
                      <a:pt x="96" y="77"/>
                    </a:lnTo>
                    <a:lnTo>
                      <a:pt x="100" y="84"/>
                    </a:lnTo>
                    <a:lnTo>
                      <a:pt x="5" y="16"/>
                    </a:lnTo>
                    <a:close/>
                    <a:moveTo>
                      <a:pt x="109" y="70"/>
                    </a:moveTo>
                    <a:cubicBezTo>
                      <a:pt x="111" y="72"/>
                      <a:pt x="112" y="74"/>
                      <a:pt x="112" y="77"/>
                    </a:cubicBezTo>
                    <a:lnTo>
                      <a:pt x="113" y="121"/>
                    </a:lnTo>
                    <a:cubicBezTo>
                      <a:pt x="114" y="125"/>
                      <a:pt x="111" y="129"/>
                      <a:pt x="107" y="129"/>
                    </a:cubicBezTo>
                    <a:cubicBezTo>
                      <a:pt x="103" y="130"/>
                      <a:pt x="99" y="128"/>
                      <a:pt x="98" y="124"/>
                    </a:cubicBezTo>
                    <a:lnTo>
                      <a:pt x="75" y="63"/>
                    </a:lnTo>
                    <a:lnTo>
                      <a:pt x="78" y="67"/>
                    </a:lnTo>
                    <a:lnTo>
                      <a:pt x="5" y="16"/>
                    </a:lnTo>
                    <a:lnTo>
                      <a:pt x="14" y="3"/>
                    </a:lnTo>
                    <a:lnTo>
                      <a:pt x="109" y="70"/>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89" name="Freeform 245"/>
              <p:cNvSpPr>
                <a:spLocks/>
              </p:cNvSpPr>
              <p:nvPr/>
            </p:nvSpPr>
            <p:spPr bwMode="auto">
              <a:xfrm>
                <a:off x="1869" y="2380"/>
                <a:ext cx="111" cy="110"/>
              </a:xfrm>
              <a:custGeom>
                <a:avLst/>
                <a:gdLst/>
                <a:ahLst/>
                <a:cxnLst>
                  <a:cxn ang="0">
                    <a:pos x="0" y="41"/>
                  </a:cxn>
                  <a:cxn ang="0">
                    <a:pos x="8" y="7"/>
                  </a:cxn>
                  <a:cxn ang="0">
                    <a:pos x="48" y="0"/>
                  </a:cxn>
                  <a:cxn ang="0">
                    <a:pos x="62" y="12"/>
                  </a:cxn>
                  <a:cxn ang="0">
                    <a:pos x="65" y="38"/>
                  </a:cxn>
                  <a:cxn ang="0">
                    <a:pos x="93" y="43"/>
                  </a:cxn>
                  <a:cxn ang="0">
                    <a:pos x="97" y="60"/>
                  </a:cxn>
                  <a:cxn ang="0">
                    <a:pos x="111" y="63"/>
                  </a:cxn>
                  <a:cxn ang="0">
                    <a:pos x="109" y="87"/>
                  </a:cxn>
                  <a:cxn ang="0">
                    <a:pos x="95" y="110"/>
                  </a:cxn>
                  <a:cxn ang="0">
                    <a:pos x="58" y="108"/>
                  </a:cxn>
                  <a:cxn ang="0">
                    <a:pos x="66" y="82"/>
                  </a:cxn>
                  <a:cxn ang="0">
                    <a:pos x="0" y="41"/>
                  </a:cxn>
                </a:cxnLst>
                <a:rect l="0" t="0" r="r" b="b"/>
                <a:pathLst>
                  <a:path w="111" h="110">
                    <a:moveTo>
                      <a:pt x="0" y="41"/>
                    </a:moveTo>
                    <a:lnTo>
                      <a:pt x="8" y="7"/>
                    </a:lnTo>
                    <a:lnTo>
                      <a:pt x="48" y="0"/>
                    </a:lnTo>
                    <a:lnTo>
                      <a:pt x="62" y="12"/>
                    </a:lnTo>
                    <a:lnTo>
                      <a:pt x="65" y="38"/>
                    </a:lnTo>
                    <a:lnTo>
                      <a:pt x="93" y="43"/>
                    </a:lnTo>
                    <a:lnTo>
                      <a:pt x="97" y="60"/>
                    </a:lnTo>
                    <a:lnTo>
                      <a:pt x="111" y="63"/>
                    </a:lnTo>
                    <a:lnTo>
                      <a:pt x="109" y="87"/>
                    </a:lnTo>
                    <a:lnTo>
                      <a:pt x="95" y="110"/>
                    </a:lnTo>
                    <a:lnTo>
                      <a:pt x="58" y="108"/>
                    </a:lnTo>
                    <a:lnTo>
                      <a:pt x="66" y="82"/>
                    </a:lnTo>
                    <a:lnTo>
                      <a:pt x="0" y="4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90" name="Freeform 246"/>
              <p:cNvSpPr>
                <a:spLocks noEditPoints="1"/>
              </p:cNvSpPr>
              <p:nvPr/>
            </p:nvSpPr>
            <p:spPr bwMode="auto">
              <a:xfrm>
                <a:off x="1866" y="2378"/>
                <a:ext cx="117" cy="114"/>
              </a:xfrm>
              <a:custGeom>
                <a:avLst/>
                <a:gdLst/>
                <a:ahLst/>
                <a:cxnLst>
                  <a:cxn ang="0">
                    <a:pos x="4" y="194"/>
                  </a:cxn>
                  <a:cxn ang="0">
                    <a:pos x="1" y="186"/>
                  </a:cxn>
                  <a:cxn ang="0">
                    <a:pos x="29" y="35"/>
                  </a:cxn>
                  <a:cxn ang="0">
                    <a:pos x="35" y="28"/>
                  </a:cxn>
                  <a:cxn ang="0">
                    <a:pos x="174" y="1"/>
                  </a:cxn>
                  <a:cxn ang="0">
                    <a:pos x="181" y="3"/>
                  </a:cxn>
                  <a:cxn ang="0">
                    <a:pos x="227" y="55"/>
                  </a:cxn>
                  <a:cxn ang="0">
                    <a:pos x="229" y="60"/>
                  </a:cxn>
                  <a:cxn ang="0">
                    <a:pos x="242" y="172"/>
                  </a:cxn>
                  <a:cxn ang="0">
                    <a:pos x="235" y="165"/>
                  </a:cxn>
                  <a:cxn ang="0">
                    <a:pos x="333" y="186"/>
                  </a:cxn>
                  <a:cxn ang="0">
                    <a:pos x="339" y="193"/>
                  </a:cxn>
                  <a:cxn ang="0">
                    <a:pos x="353" y="269"/>
                  </a:cxn>
                  <a:cxn ang="0">
                    <a:pos x="347" y="263"/>
                  </a:cxn>
                  <a:cxn ang="0">
                    <a:pos x="395" y="277"/>
                  </a:cxn>
                  <a:cxn ang="0">
                    <a:pos x="400" y="286"/>
                  </a:cxn>
                  <a:cxn ang="0">
                    <a:pos x="392" y="387"/>
                  </a:cxn>
                  <a:cxn ang="0">
                    <a:pos x="392" y="389"/>
                  </a:cxn>
                  <a:cxn ang="0">
                    <a:pos x="343" y="492"/>
                  </a:cxn>
                  <a:cxn ang="0">
                    <a:pos x="335" y="496"/>
                  </a:cxn>
                  <a:cxn ang="0">
                    <a:pos x="207" y="488"/>
                  </a:cxn>
                  <a:cxn ang="0">
                    <a:pos x="201" y="485"/>
                  </a:cxn>
                  <a:cxn ang="0">
                    <a:pos x="200" y="478"/>
                  </a:cxn>
                  <a:cxn ang="0">
                    <a:pos x="227" y="365"/>
                  </a:cxn>
                  <a:cxn ang="0">
                    <a:pos x="230" y="373"/>
                  </a:cxn>
                  <a:cxn ang="0">
                    <a:pos x="4" y="194"/>
                  </a:cxn>
                  <a:cxn ang="0">
                    <a:pos x="240" y="360"/>
                  </a:cxn>
                  <a:cxn ang="0">
                    <a:pos x="243" y="368"/>
                  </a:cxn>
                  <a:cxn ang="0">
                    <a:pos x="216" y="482"/>
                  </a:cxn>
                  <a:cxn ang="0">
                    <a:pos x="208" y="472"/>
                  </a:cxn>
                  <a:cxn ang="0">
                    <a:pos x="336" y="480"/>
                  </a:cxn>
                  <a:cxn ang="0">
                    <a:pos x="328" y="485"/>
                  </a:cxn>
                  <a:cxn ang="0">
                    <a:pos x="377" y="383"/>
                  </a:cxn>
                  <a:cxn ang="0">
                    <a:pos x="376" y="385"/>
                  </a:cxn>
                  <a:cxn ang="0">
                    <a:pos x="384" y="284"/>
                  </a:cxn>
                  <a:cxn ang="0">
                    <a:pos x="390" y="293"/>
                  </a:cxn>
                  <a:cxn ang="0">
                    <a:pos x="343" y="278"/>
                  </a:cxn>
                  <a:cxn ang="0">
                    <a:pos x="337" y="272"/>
                  </a:cxn>
                  <a:cxn ang="0">
                    <a:pos x="324" y="195"/>
                  </a:cxn>
                  <a:cxn ang="0">
                    <a:pos x="330" y="202"/>
                  </a:cxn>
                  <a:cxn ang="0">
                    <a:pos x="232" y="181"/>
                  </a:cxn>
                  <a:cxn ang="0">
                    <a:pos x="226" y="174"/>
                  </a:cxn>
                  <a:cxn ang="0">
                    <a:pos x="214" y="61"/>
                  </a:cxn>
                  <a:cxn ang="0">
                    <a:pos x="216" y="66"/>
                  </a:cxn>
                  <a:cxn ang="0">
                    <a:pos x="169" y="14"/>
                  </a:cxn>
                  <a:cxn ang="0">
                    <a:pos x="177" y="16"/>
                  </a:cxn>
                  <a:cxn ang="0">
                    <a:pos x="39" y="44"/>
                  </a:cxn>
                  <a:cxn ang="0">
                    <a:pos x="45" y="38"/>
                  </a:cxn>
                  <a:cxn ang="0">
                    <a:pos x="16" y="189"/>
                  </a:cxn>
                  <a:cxn ang="0">
                    <a:pos x="13" y="181"/>
                  </a:cxn>
                  <a:cxn ang="0">
                    <a:pos x="240" y="360"/>
                  </a:cxn>
                </a:cxnLst>
                <a:rect l="0" t="0" r="r" b="b"/>
                <a:pathLst>
                  <a:path w="401" h="497">
                    <a:moveTo>
                      <a:pt x="4" y="194"/>
                    </a:moveTo>
                    <a:cubicBezTo>
                      <a:pt x="1" y="192"/>
                      <a:pt x="0" y="189"/>
                      <a:pt x="1" y="186"/>
                    </a:cubicBezTo>
                    <a:lnTo>
                      <a:pt x="29" y="35"/>
                    </a:lnTo>
                    <a:cubicBezTo>
                      <a:pt x="30" y="31"/>
                      <a:pt x="32" y="29"/>
                      <a:pt x="35" y="28"/>
                    </a:cubicBezTo>
                    <a:lnTo>
                      <a:pt x="174" y="1"/>
                    </a:lnTo>
                    <a:cubicBezTo>
                      <a:pt x="177" y="0"/>
                      <a:pt x="179" y="1"/>
                      <a:pt x="181" y="3"/>
                    </a:cubicBezTo>
                    <a:lnTo>
                      <a:pt x="227" y="55"/>
                    </a:lnTo>
                    <a:cubicBezTo>
                      <a:pt x="229" y="56"/>
                      <a:pt x="229" y="58"/>
                      <a:pt x="229" y="60"/>
                    </a:cubicBezTo>
                    <a:lnTo>
                      <a:pt x="242" y="172"/>
                    </a:lnTo>
                    <a:lnTo>
                      <a:pt x="235" y="165"/>
                    </a:lnTo>
                    <a:lnTo>
                      <a:pt x="333" y="186"/>
                    </a:lnTo>
                    <a:cubicBezTo>
                      <a:pt x="336" y="187"/>
                      <a:pt x="339" y="189"/>
                      <a:pt x="339" y="193"/>
                    </a:cubicBezTo>
                    <a:lnTo>
                      <a:pt x="353" y="269"/>
                    </a:lnTo>
                    <a:lnTo>
                      <a:pt x="347" y="263"/>
                    </a:lnTo>
                    <a:lnTo>
                      <a:pt x="395" y="277"/>
                    </a:lnTo>
                    <a:cubicBezTo>
                      <a:pt x="398" y="279"/>
                      <a:pt x="401" y="282"/>
                      <a:pt x="400" y="286"/>
                    </a:cubicBezTo>
                    <a:lnTo>
                      <a:pt x="392" y="387"/>
                    </a:lnTo>
                    <a:cubicBezTo>
                      <a:pt x="392" y="388"/>
                      <a:pt x="392" y="389"/>
                      <a:pt x="392" y="389"/>
                    </a:cubicBezTo>
                    <a:lnTo>
                      <a:pt x="343" y="492"/>
                    </a:lnTo>
                    <a:cubicBezTo>
                      <a:pt x="341" y="495"/>
                      <a:pt x="338" y="497"/>
                      <a:pt x="335" y="496"/>
                    </a:cubicBezTo>
                    <a:lnTo>
                      <a:pt x="207" y="488"/>
                    </a:lnTo>
                    <a:cubicBezTo>
                      <a:pt x="205" y="488"/>
                      <a:pt x="203" y="487"/>
                      <a:pt x="201" y="485"/>
                    </a:cubicBezTo>
                    <a:cubicBezTo>
                      <a:pt x="200" y="483"/>
                      <a:pt x="200" y="481"/>
                      <a:pt x="200" y="478"/>
                    </a:cubicBezTo>
                    <a:lnTo>
                      <a:pt x="227" y="365"/>
                    </a:lnTo>
                    <a:lnTo>
                      <a:pt x="230" y="373"/>
                    </a:lnTo>
                    <a:lnTo>
                      <a:pt x="4" y="194"/>
                    </a:lnTo>
                    <a:close/>
                    <a:moveTo>
                      <a:pt x="240" y="360"/>
                    </a:moveTo>
                    <a:cubicBezTo>
                      <a:pt x="242" y="362"/>
                      <a:pt x="244" y="365"/>
                      <a:pt x="243" y="368"/>
                    </a:cubicBezTo>
                    <a:lnTo>
                      <a:pt x="216" y="482"/>
                    </a:lnTo>
                    <a:lnTo>
                      <a:pt x="208" y="472"/>
                    </a:lnTo>
                    <a:lnTo>
                      <a:pt x="336" y="480"/>
                    </a:lnTo>
                    <a:lnTo>
                      <a:pt x="328" y="485"/>
                    </a:lnTo>
                    <a:lnTo>
                      <a:pt x="377" y="383"/>
                    </a:lnTo>
                    <a:lnTo>
                      <a:pt x="376" y="385"/>
                    </a:lnTo>
                    <a:lnTo>
                      <a:pt x="384" y="284"/>
                    </a:lnTo>
                    <a:lnTo>
                      <a:pt x="390" y="293"/>
                    </a:lnTo>
                    <a:lnTo>
                      <a:pt x="343" y="278"/>
                    </a:lnTo>
                    <a:cubicBezTo>
                      <a:pt x="340" y="277"/>
                      <a:pt x="338" y="275"/>
                      <a:pt x="337" y="272"/>
                    </a:cubicBezTo>
                    <a:lnTo>
                      <a:pt x="324" y="195"/>
                    </a:lnTo>
                    <a:lnTo>
                      <a:pt x="330" y="202"/>
                    </a:lnTo>
                    <a:lnTo>
                      <a:pt x="232" y="181"/>
                    </a:lnTo>
                    <a:cubicBezTo>
                      <a:pt x="229" y="180"/>
                      <a:pt x="226" y="177"/>
                      <a:pt x="226" y="174"/>
                    </a:cubicBezTo>
                    <a:lnTo>
                      <a:pt x="214" y="61"/>
                    </a:lnTo>
                    <a:lnTo>
                      <a:pt x="216" y="66"/>
                    </a:lnTo>
                    <a:lnTo>
                      <a:pt x="169" y="14"/>
                    </a:lnTo>
                    <a:lnTo>
                      <a:pt x="177" y="16"/>
                    </a:lnTo>
                    <a:lnTo>
                      <a:pt x="39" y="44"/>
                    </a:lnTo>
                    <a:lnTo>
                      <a:pt x="45" y="38"/>
                    </a:lnTo>
                    <a:lnTo>
                      <a:pt x="16" y="189"/>
                    </a:lnTo>
                    <a:lnTo>
                      <a:pt x="13" y="181"/>
                    </a:lnTo>
                    <a:lnTo>
                      <a:pt x="240" y="360"/>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91" name="Freeform 247"/>
              <p:cNvSpPr>
                <a:spLocks/>
              </p:cNvSpPr>
              <p:nvPr/>
            </p:nvSpPr>
            <p:spPr bwMode="auto">
              <a:xfrm>
                <a:off x="1604" y="2124"/>
                <a:ext cx="177" cy="242"/>
              </a:xfrm>
              <a:custGeom>
                <a:avLst/>
                <a:gdLst/>
                <a:ahLst/>
                <a:cxnLst>
                  <a:cxn ang="0">
                    <a:pos x="0" y="56"/>
                  </a:cxn>
                  <a:cxn ang="0">
                    <a:pos x="4" y="76"/>
                  </a:cxn>
                  <a:cxn ang="0">
                    <a:pos x="36" y="109"/>
                  </a:cxn>
                  <a:cxn ang="0">
                    <a:pos x="71" y="188"/>
                  </a:cxn>
                  <a:cxn ang="0">
                    <a:pos x="152" y="242"/>
                  </a:cxn>
                  <a:cxn ang="0">
                    <a:pos x="165" y="232"/>
                  </a:cxn>
                  <a:cxn ang="0">
                    <a:pos x="172" y="215"/>
                  </a:cxn>
                  <a:cxn ang="0">
                    <a:pos x="161" y="209"/>
                  </a:cxn>
                  <a:cxn ang="0">
                    <a:pos x="168" y="204"/>
                  </a:cxn>
                  <a:cxn ang="0">
                    <a:pos x="177" y="164"/>
                  </a:cxn>
                  <a:cxn ang="0">
                    <a:pos x="165" y="144"/>
                  </a:cxn>
                  <a:cxn ang="0">
                    <a:pos x="152" y="144"/>
                  </a:cxn>
                  <a:cxn ang="0">
                    <a:pos x="152" y="122"/>
                  </a:cxn>
                  <a:cxn ang="0">
                    <a:pos x="137" y="132"/>
                  </a:cxn>
                  <a:cxn ang="0">
                    <a:pos x="118" y="123"/>
                  </a:cxn>
                  <a:cxn ang="0">
                    <a:pos x="106" y="98"/>
                  </a:cxn>
                  <a:cxn ang="0">
                    <a:pos x="125" y="67"/>
                  </a:cxn>
                  <a:cxn ang="0">
                    <a:pos x="161" y="54"/>
                  </a:cxn>
                  <a:cxn ang="0">
                    <a:pos x="151" y="48"/>
                  </a:cxn>
                  <a:cxn ang="0">
                    <a:pos x="157" y="33"/>
                  </a:cxn>
                  <a:cxn ang="0">
                    <a:pos x="117" y="30"/>
                  </a:cxn>
                  <a:cxn ang="0">
                    <a:pos x="86" y="0"/>
                  </a:cxn>
                  <a:cxn ang="0">
                    <a:pos x="79" y="22"/>
                  </a:cxn>
                  <a:cxn ang="0">
                    <a:pos x="47" y="40"/>
                  </a:cxn>
                  <a:cxn ang="0">
                    <a:pos x="31" y="63"/>
                  </a:cxn>
                  <a:cxn ang="0">
                    <a:pos x="12" y="60"/>
                  </a:cxn>
                  <a:cxn ang="0">
                    <a:pos x="14" y="46"/>
                  </a:cxn>
                  <a:cxn ang="0">
                    <a:pos x="0" y="56"/>
                  </a:cxn>
                </a:cxnLst>
                <a:rect l="0" t="0" r="r" b="b"/>
                <a:pathLst>
                  <a:path w="177" h="242">
                    <a:moveTo>
                      <a:pt x="0" y="56"/>
                    </a:moveTo>
                    <a:lnTo>
                      <a:pt x="4" y="76"/>
                    </a:lnTo>
                    <a:lnTo>
                      <a:pt x="36" y="109"/>
                    </a:lnTo>
                    <a:lnTo>
                      <a:pt x="71" y="188"/>
                    </a:lnTo>
                    <a:lnTo>
                      <a:pt x="152" y="242"/>
                    </a:lnTo>
                    <a:lnTo>
                      <a:pt x="165" y="232"/>
                    </a:lnTo>
                    <a:lnTo>
                      <a:pt x="172" y="215"/>
                    </a:lnTo>
                    <a:lnTo>
                      <a:pt x="161" y="209"/>
                    </a:lnTo>
                    <a:lnTo>
                      <a:pt x="168" y="204"/>
                    </a:lnTo>
                    <a:lnTo>
                      <a:pt x="177" y="164"/>
                    </a:lnTo>
                    <a:lnTo>
                      <a:pt x="165" y="144"/>
                    </a:lnTo>
                    <a:lnTo>
                      <a:pt x="152" y="144"/>
                    </a:lnTo>
                    <a:lnTo>
                      <a:pt x="152" y="122"/>
                    </a:lnTo>
                    <a:lnTo>
                      <a:pt x="137" y="132"/>
                    </a:lnTo>
                    <a:lnTo>
                      <a:pt x="118" y="123"/>
                    </a:lnTo>
                    <a:lnTo>
                      <a:pt x="106" y="98"/>
                    </a:lnTo>
                    <a:lnTo>
                      <a:pt x="125" y="67"/>
                    </a:lnTo>
                    <a:lnTo>
                      <a:pt x="161" y="54"/>
                    </a:lnTo>
                    <a:lnTo>
                      <a:pt x="151" y="48"/>
                    </a:lnTo>
                    <a:lnTo>
                      <a:pt x="157" y="33"/>
                    </a:lnTo>
                    <a:lnTo>
                      <a:pt x="117" y="30"/>
                    </a:lnTo>
                    <a:lnTo>
                      <a:pt x="86" y="0"/>
                    </a:lnTo>
                    <a:lnTo>
                      <a:pt x="79" y="22"/>
                    </a:lnTo>
                    <a:lnTo>
                      <a:pt x="47" y="40"/>
                    </a:lnTo>
                    <a:lnTo>
                      <a:pt x="31" y="63"/>
                    </a:lnTo>
                    <a:lnTo>
                      <a:pt x="12" y="60"/>
                    </a:lnTo>
                    <a:lnTo>
                      <a:pt x="14" y="46"/>
                    </a:lnTo>
                    <a:lnTo>
                      <a:pt x="0" y="56"/>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92" name="Freeform 248"/>
              <p:cNvSpPr>
                <a:spLocks noEditPoints="1"/>
              </p:cNvSpPr>
              <p:nvPr/>
            </p:nvSpPr>
            <p:spPr bwMode="auto">
              <a:xfrm>
                <a:off x="1602" y="2122"/>
                <a:ext cx="181" cy="246"/>
              </a:xfrm>
              <a:custGeom>
                <a:avLst/>
                <a:gdLst/>
                <a:ahLst/>
                <a:cxnLst>
                  <a:cxn ang="0">
                    <a:pos x="16" y="253"/>
                  </a:cxn>
                  <a:cxn ang="0">
                    <a:pos x="26" y="334"/>
                  </a:cxn>
                  <a:cxn ang="0">
                    <a:pos x="138" y="482"/>
                  </a:cxn>
                  <a:cxn ang="0">
                    <a:pos x="258" y="826"/>
                  </a:cxn>
                  <a:cxn ang="0">
                    <a:pos x="524" y="1058"/>
                  </a:cxn>
                  <a:cxn ang="0">
                    <a:pos x="570" y="1020"/>
                  </a:cxn>
                  <a:cxn ang="0">
                    <a:pos x="598" y="955"/>
                  </a:cxn>
                  <a:cxn ang="0">
                    <a:pos x="554" y="924"/>
                  </a:cxn>
                  <a:cxn ang="0">
                    <a:pos x="582" y="895"/>
                  </a:cxn>
                  <a:cxn ang="0">
                    <a:pos x="609" y="721"/>
                  </a:cxn>
                  <a:cxn ang="0">
                    <a:pos x="567" y="642"/>
                  </a:cxn>
                  <a:cxn ang="0">
                    <a:pos x="531" y="646"/>
                  </a:cxn>
                  <a:cxn ang="0">
                    <a:pos x="523" y="541"/>
                  </a:cxn>
                  <a:cxn ang="0">
                    <a:pos x="485" y="589"/>
                  </a:cxn>
                  <a:cxn ang="0">
                    <a:pos x="410" y="553"/>
                  </a:cxn>
                  <a:cxn ang="0">
                    <a:pos x="364" y="441"/>
                  </a:cxn>
                  <a:cxn ang="0">
                    <a:pos x="432" y="298"/>
                  </a:cxn>
                  <a:cxn ang="0">
                    <a:pos x="558" y="235"/>
                  </a:cxn>
                  <a:cxn ang="0">
                    <a:pos x="524" y="224"/>
                  </a:cxn>
                  <a:cxn ang="0">
                    <a:pos x="540" y="148"/>
                  </a:cxn>
                  <a:cxn ang="0">
                    <a:pos x="409" y="146"/>
                  </a:cxn>
                  <a:cxn ang="0">
                    <a:pos x="297" y="14"/>
                  </a:cxn>
                  <a:cxn ang="0">
                    <a:pos x="287" y="105"/>
                  </a:cxn>
                  <a:cxn ang="0">
                    <a:pos x="175" y="190"/>
                  </a:cxn>
                  <a:cxn ang="0">
                    <a:pos x="122" y="287"/>
                  </a:cxn>
                  <a:cxn ang="0">
                    <a:pos x="49" y="276"/>
                  </a:cxn>
                  <a:cxn ang="0">
                    <a:pos x="49" y="206"/>
                  </a:cxn>
                  <a:cxn ang="0">
                    <a:pos x="14" y="260"/>
                  </a:cxn>
                  <a:cxn ang="0">
                    <a:pos x="61" y="200"/>
                  </a:cxn>
                  <a:cxn ang="0">
                    <a:pos x="58" y="269"/>
                  </a:cxn>
                  <a:cxn ang="0">
                    <a:pos x="117" y="275"/>
                  </a:cxn>
                  <a:cxn ang="0">
                    <a:pos x="164" y="180"/>
                  </a:cxn>
                  <a:cxn ang="0">
                    <a:pos x="275" y="96"/>
                  </a:cxn>
                  <a:cxn ang="0">
                    <a:pos x="296" y="7"/>
                  </a:cxn>
                  <a:cxn ang="0">
                    <a:pos x="310" y="3"/>
                  </a:cxn>
                  <a:cxn ang="0">
                    <a:pos x="410" y="130"/>
                  </a:cxn>
                  <a:cxn ang="0">
                    <a:pos x="555" y="145"/>
                  </a:cxn>
                  <a:cxn ang="0">
                    <a:pos x="536" y="220"/>
                  </a:cxn>
                  <a:cxn ang="0">
                    <a:pos x="567" y="236"/>
                  </a:cxn>
                  <a:cxn ang="0">
                    <a:pos x="565" y="250"/>
                  </a:cxn>
                  <a:cxn ang="0">
                    <a:pos x="446" y="305"/>
                  </a:cxn>
                  <a:cxn ang="0">
                    <a:pos x="379" y="435"/>
                  </a:cxn>
                  <a:cxn ang="0">
                    <a:pos x="418" y="539"/>
                  </a:cxn>
                  <a:cxn ang="0">
                    <a:pos x="474" y="577"/>
                  </a:cxn>
                  <a:cxn ang="0">
                    <a:pos x="535" y="533"/>
                  </a:cxn>
                  <a:cxn ang="0">
                    <a:pos x="539" y="638"/>
                  </a:cxn>
                  <a:cxn ang="0">
                    <a:pos x="575" y="630"/>
                  </a:cxn>
                  <a:cxn ang="0">
                    <a:pos x="624" y="719"/>
                  </a:cxn>
                  <a:cxn ang="0">
                    <a:pos x="595" y="902"/>
                  </a:cxn>
                  <a:cxn ang="0">
                    <a:pos x="567" y="929"/>
                  </a:cxn>
                  <a:cxn ang="0">
                    <a:pos x="607" y="941"/>
                  </a:cxn>
                  <a:cxn ang="0">
                    <a:pos x="585" y="1025"/>
                  </a:cxn>
                  <a:cxn ang="0">
                    <a:pos x="535" y="1070"/>
                  </a:cxn>
                  <a:cxn ang="0">
                    <a:pos x="248" y="838"/>
                  </a:cxn>
                  <a:cxn ang="0">
                    <a:pos x="123" y="488"/>
                  </a:cxn>
                  <a:cxn ang="0">
                    <a:pos x="13" y="343"/>
                  </a:cxn>
                  <a:cxn ang="0">
                    <a:pos x="1" y="255"/>
                  </a:cxn>
                  <a:cxn ang="0">
                    <a:pos x="52" y="201"/>
                  </a:cxn>
                </a:cxnLst>
                <a:rect l="0" t="0" r="r" b="b"/>
                <a:pathLst>
                  <a:path w="625" h="1073">
                    <a:moveTo>
                      <a:pt x="14" y="260"/>
                    </a:moveTo>
                    <a:lnTo>
                      <a:pt x="16" y="253"/>
                    </a:lnTo>
                    <a:lnTo>
                      <a:pt x="28" y="338"/>
                    </a:lnTo>
                    <a:lnTo>
                      <a:pt x="26" y="334"/>
                    </a:lnTo>
                    <a:lnTo>
                      <a:pt x="136" y="480"/>
                    </a:lnTo>
                    <a:cubicBezTo>
                      <a:pt x="137" y="481"/>
                      <a:pt x="137" y="482"/>
                      <a:pt x="138" y="482"/>
                    </a:cubicBezTo>
                    <a:lnTo>
                      <a:pt x="261" y="829"/>
                    </a:lnTo>
                    <a:lnTo>
                      <a:pt x="258" y="826"/>
                    </a:lnTo>
                    <a:lnTo>
                      <a:pt x="535" y="1058"/>
                    </a:lnTo>
                    <a:lnTo>
                      <a:pt x="524" y="1058"/>
                    </a:lnTo>
                    <a:lnTo>
                      <a:pt x="572" y="1016"/>
                    </a:lnTo>
                    <a:lnTo>
                      <a:pt x="570" y="1020"/>
                    </a:lnTo>
                    <a:lnTo>
                      <a:pt x="595" y="946"/>
                    </a:lnTo>
                    <a:lnTo>
                      <a:pt x="598" y="955"/>
                    </a:lnTo>
                    <a:lnTo>
                      <a:pt x="558" y="930"/>
                    </a:lnTo>
                    <a:cubicBezTo>
                      <a:pt x="556" y="928"/>
                      <a:pt x="554" y="926"/>
                      <a:pt x="554" y="924"/>
                    </a:cubicBezTo>
                    <a:cubicBezTo>
                      <a:pt x="554" y="921"/>
                      <a:pt x="555" y="919"/>
                      <a:pt x="557" y="917"/>
                    </a:cubicBezTo>
                    <a:lnTo>
                      <a:pt x="582" y="895"/>
                    </a:lnTo>
                    <a:lnTo>
                      <a:pt x="579" y="900"/>
                    </a:lnTo>
                    <a:lnTo>
                      <a:pt x="609" y="721"/>
                    </a:lnTo>
                    <a:lnTo>
                      <a:pt x="609" y="726"/>
                    </a:lnTo>
                    <a:lnTo>
                      <a:pt x="567" y="642"/>
                    </a:lnTo>
                    <a:lnTo>
                      <a:pt x="575" y="646"/>
                    </a:lnTo>
                    <a:lnTo>
                      <a:pt x="531" y="646"/>
                    </a:lnTo>
                    <a:cubicBezTo>
                      <a:pt x="527" y="646"/>
                      <a:pt x="523" y="643"/>
                      <a:pt x="523" y="638"/>
                    </a:cubicBezTo>
                    <a:lnTo>
                      <a:pt x="523" y="541"/>
                    </a:lnTo>
                    <a:lnTo>
                      <a:pt x="536" y="547"/>
                    </a:lnTo>
                    <a:lnTo>
                      <a:pt x="485" y="589"/>
                    </a:lnTo>
                    <a:cubicBezTo>
                      <a:pt x="482" y="591"/>
                      <a:pt x="478" y="591"/>
                      <a:pt x="476" y="590"/>
                    </a:cubicBezTo>
                    <a:lnTo>
                      <a:pt x="410" y="553"/>
                    </a:lnTo>
                    <a:cubicBezTo>
                      <a:pt x="408" y="552"/>
                      <a:pt x="407" y="550"/>
                      <a:pt x="406" y="549"/>
                    </a:cubicBezTo>
                    <a:lnTo>
                      <a:pt x="364" y="441"/>
                    </a:lnTo>
                    <a:cubicBezTo>
                      <a:pt x="364" y="439"/>
                      <a:pt x="364" y="436"/>
                      <a:pt x="365" y="434"/>
                    </a:cubicBezTo>
                    <a:lnTo>
                      <a:pt x="432" y="298"/>
                    </a:lnTo>
                    <a:cubicBezTo>
                      <a:pt x="433" y="296"/>
                      <a:pt x="434" y="295"/>
                      <a:pt x="435" y="294"/>
                    </a:cubicBezTo>
                    <a:lnTo>
                      <a:pt x="558" y="235"/>
                    </a:lnTo>
                    <a:lnTo>
                      <a:pt x="557" y="249"/>
                    </a:lnTo>
                    <a:lnTo>
                      <a:pt x="524" y="224"/>
                    </a:lnTo>
                    <a:cubicBezTo>
                      <a:pt x="521" y="222"/>
                      <a:pt x="520" y="218"/>
                      <a:pt x="521" y="215"/>
                    </a:cubicBezTo>
                    <a:lnTo>
                      <a:pt x="540" y="148"/>
                    </a:lnTo>
                    <a:lnTo>
                      <a:pt x="547" y="158"/>
                    </a:lnTo>
                    <a:lnTo>
                      <a:pt x="409" y="146"/>
                    </a:lnTo>
                    <a:cubicBezTo>
                      <a:pt x="407" y="146"/>
                      <a:pt x="405" y="145"/>
                      <a:pt x="403" y="143"/>
                    </a:cubicBezTo>
                    <a:lnTo>
                      <a:pt x="297" y="14"/>
                    </a:lnTo>
                    <a:lnTo>
                      <a:pt x="311" y="10"/>
                    </a:lnTo>
                    <a:lnTo>
                      <a:pt x="287" y="105"/>
                    </a:lnTo>
                    <a:cubicBezTo>
                      <a:pt x="287" y="107"/>
                      <a:pt x="286" y="108"/>
                      <a:pt x="284" y="109"/>
                    </a:cubicBezTo>
                    <a:lnTo>
                      <a:pt x="175" y="190"/>
                    </a:lnTo>
                    <a:lnTo>
                      <a:pt x="178" y="188"/>
                    </a:lnTo>
                    <a:lnTo>
                      <a:pt x="122" y="287"/>
                    </a:lnTo>
                    <a:cubicBezTo>
                      <a:pt x="120" y="290"/>
                      <a:pt x="116" y="292"/>
                      <a:pt x="113" y="291"/>
                    </a:cubicBezTo>
                    <a:lnTo>
                      <a:pt x="49" y="276"/>
                    </a:lnTo>
                    <a:cubicBezTo>
                      <a:pt x="45" y="275"/>
                      <a:pt x="42" y="271"/>
                      <a:pt x="42" y="267"/>
                    </a:cubicBezTo>
                    <a:lnTo>
                      <a:pt x="49" y="206"/>
                    </a:lnTo>
                    <a:lnTo>
                      <a:pt x="63" y="213"/>
                    </a:lnTo>
                    <a:lnTo>
                      <a:pt x="14" y="260"/>
                    </a:lnTo>
                    <a:close/>
                    <a:moveTo>
                      <a:pt x="52" y="201"/>
                    </a:moveTo>
                    <a:cubicBezTo>
                      <a:pt x="54" y="199"/>
                      <a:pt x="58" y="199"/>
                      <a:pt x="61" y="200"/>
                    </a:cubicBezTo>
                    <a:cubicBezTo>
                      <a:pt x="64" y="202"/>
                      <a:pt x="66" y="205"/>
                      <a:pt x="65" y="208"/>
                    </a:cubicBezTo>
                    <a:lnTo>
                      <a:pt x="58" y="269"/>
                    </a:lnTo>
                    <a:lnTo>
                      <a:pt x="52" y="260"/>
                    </a:lnTo>
                    <a:lnTo>
                      <a:pt x="117" y="275"/>
                    </a:lnTo>
                    <a:lnTo>
                      <a:pt x="108" y="279"/>
                    </a:lnTo>
                    <a:lnTo>
                      <a:pt x="164" y="180"/>
                    </a:lnTo>
                    <a:cubicBezTo>
                      <a:pt x="164" y="179"/>
                      <a:pt x="165" y="178"/>
                      <a:pt x="166" y="177"/>
                    </a:cubicBezTo>
                    <a:lnTo>
                      <a:pt x="275" y="96"/>
                    </a:lnTo>
                    <a:lnTo>
                      <a:pt x="272" y="101"/>
                    </a:lnTo>
                    <a:lnTo>
                      <a:pt x="296" y="7"/>
                    </a:lnTo>
                    <a:cubicBezTo>
                      <a:pt x="296" y="4"/>
                      <a:pt x="299" y="1"/>
                      <a:pt x="302" y="1"/>
                    </a:cubicBezTo>
                    <a:cubicBezTo>
                      <a:pt x="305" y="0"/>
                      <a:pt x="308" y="1"/>
                      <a:pt x="310" y="3"/>
                    </a:cubicBezTo>
                    <a:lnTo>
                      <a:pt x="416" y="133"/>
                    </a:lnTo>
                    <a:lnTo>
                      <a:pt x="410" y="130"/>
                    </a:lnTo>
                    <a:lnTo>
                      <a:pt x="549" y="142"/>
                    </a:lnTo>
                    <a:cubicBezTo>
                      <a:pt x="551" y="142"/>
                      <a:pt x="553" y="143"/>
                      <a:pt x="555" y="145"/>
                    </a:cubicBezTo>
                    <a:cubicBezTo>
                      <a:pt x="556" y="147"/>
                      <a:pt x="556" y="150"/>
                      <a:pt x="556" y="152"/>
                    </a:cubicBezTo>
                    <a:lnTo>
                      <a:pt x="536" y="220"/>
                    </a:lnTo>
                    <a:lnTo>
                      <a:pt x="533" y="211"/>
                    </a:lnTo>
                    <a:lnTo>
                      <a:pt x="567" y="236"/>
                    </a:lnTo>
                    <a:cubicBezTo>
                      <a:pt x="569" y="238"/>
                      <a:pt x="570" y="241"/>
                      <a:pt x="570" y="243"/>
                    </a:cubicBezTo>
                    <a:cubicBezTo>
                      <a:pt x="570" y="246"/>
                      <a:pt x="568" y="249"/>
                      <a:pt x="565" y="250"/>
                    </a:cubicBezTo>
                    <a:lnTo>
                      <a:pt x="442" y="309"/>
                    </a:lnTo>
                    <a:lnTo>
                      <a:pt x="446" y="305"/>
                    </a:lnTo>
                    <a:lnTo>
                      <a:pt x="379" y="441"/>
                    </a:lnTo>
                    <a:lnTo>
                      <a:pt x="379" y="435"/>
                    </a:lnTo>
                    <a:lnTo>
                      <a:pt x="421" y="543"/>
                    </a:lnTo>
                    <a:lnTo>
                      <a:pt x="418" y="539"/>
                    </a:lnTo>
                    <a:lnTo>
                      <a:pt x="483" y="576"/>
                    </a:lnTo>
                    <a:lnTo>
                      <a:pt x="474" y="577"/>
                    </a:lnTo>
                    <a:lnTo>
                      <a:pt x="526" y="534"/>
                    </a:lnTo>
                    <a:cubicBezTo>
                      <a:pt x="529" y="533"/>
                      <a:pt x="532" y="532"/>
                      <a:pt x="535" y="533"/>
                    </a:cubicBezTo>
                    <a:cubicBezTo>
                      <a:pt x="537" y="535"/>
                      <a:pt x="539" y="538"/>
                      <a:pt x="539" y="541"/>
                    </a:cubicBezTo>
                    <a:lnTo>
                      <a:pt x="539" y="638"/>
                    </a:lnTo>
                    <a:lnTo>
                      <a:pt x="531" y="630"/>
                    </a:lnTo>
                    <a:lnTo>
                      <a:pt x="575" y="630"/>
                    </a:lnTo>
                    <a:cubicBezTo>
                      <a:pt x="578" y="630"/>
                      <a:pt x="580" y="632"/>
                      <a:pt x="582" y="635"/>
                    </a:cubicBezTo>
                    <a:lnTo>
                      <a:pt x="624" y="719"/>
                    </a:lnTo>
                    <a:cubicBezTo>
                      <a:pt x="624" y="721"/>
                      <a:pt x="625" y="722"/>
                      <a:pt x="624" y="724"/>
                    </a:cubicBezTo>
                    <a:lnTo>
                      <a:pt x="595" y="902"/>
                    </a:lnTo>
                    <a:cubicBezTo>
                      <a:pt x="595" y="904"/>
                      <a:pt x="594" y="906"/>
                      <a:pt x="592" y="907"/>
                    </a:cubicBezTo>
                    <a:lnTo>
                      <a:pt x="567" y="929"/>
                    </a:lnTo>
                    <a:lnTo>
                      <a:pt x="566" y="916"/>
                    </a:lnTo>
                    <a:lnTo>
                      <a:pt x="607" y="941"/>
                    </a:lnTo>
                    <a:cubicBezTo>
                      <a:pt x="610" y="943"/>
                      <a:pt x="611" y="947"/>
                      <a:pt x="610" y="951"/>
                    </a:cubicBezTo>
                    <a:lnTo>
                      <a:pt x="585" y="1025"/>
                    </a:lnTo>
                    <a:cubicBezTo>
                      <a:pt x="584" y="1026"/>
                      <a:pt x="584" y="1027"/>
                      <a:pt x="583" y="1028"/>
                    </a:cubicBezTo>
                    <a:lnTo>
                      <a:pt x="535" y="1070"/>
                    </a:lnTo>
                    <a:cubicBezTo>
                      <a:pt x="532" y="1073"/>
                      <a:pt x="528" y="1073"/>
                      <a:pt x="525" y="1071"/>
                    </a:cubicBezTo>
                    <a:lnTo>
                      <a:pt x="248" y="838"/>
                    </a:lnTo>
                    <a:cubicBezTo>
                      <a:pt x="247" y="837"/>
                      <a:pt x="246" y="836"/>
                      <a:pt x="246" y="835"/>
                    </a:cubicBezTo>
                    <a:lnTo>
                      <a:pt x="123" y="488"/>
                    </a:lnTo>
                    <a:lnTo>
                      <a:pt x="124" y="490"/>
                    </a:lnTo>
                    <a:lnTo>
                      <a:pt x="13" y="343"/>
                    </a:lnTo>
                    <a:cubicBezTo>
                      <a:pt x="12" y="342"/>
                      <a:pt x="12" y="341"/>
                      <a:pt x="12" y="340"/>
                    </a:cubicBezTo>
                    <a:lnTo>
                      <a:pt x="1" y="255"/>
                    </a:lnTo>
                    <a:cubicBezTo>
                      <a:pt x="0" y="253"/>
                      <a:pt x="1" y="250"/>
                      <a:pt x="3" y="249"/>
                    </a:cubicBezTo>
                    <a:lnTo>
                      <a:pt x="52" y="20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93" name="Freeform 249"/>
              <p:cNvSpPr>
                <a:spLocks/>
              </p:cNvSpPr>
              <p:nvPr/>
            </p:nvSpPr>
            <p:spPr bwMode="auto">
              <a:xfrm>
                <a:off x="4379" y="1974"/>
                <a:ext cx="33" cy="37"/>
              </a:xfrm>
              <a:custGeom>
                <a:avLst/>
                <a:gdLst/>
                <a:ahLst/>
                <a:cxnLst>
                  <a:cxn ang="0">
                    <a:pos x="0" y="37"/>
                  </a:cxn>
                  <a:cxn ang="0">
                    <a:pos x="23" y="20"/>
                  </a:cxn>
                  <a:cxn ang="0">
                    <a:pos x="33" y="0"/>
                  </a:cxn>
                  <a:cxn ang="0">
                    <a:pos x="0" y="37"/>
                  </a:cxn>
                </a:cxnLst>
                <a:rect l="0" t="0" r="r" b="b"/>
                <a:pathLst>
                  <a:path w="33" h="37">
                    <a:moveTo>
                      <a:pt x="0" y="37"/>
                    </a:moveTo>
                    <a:lnTo>
                      <a:pt x="23" y="20"/>
                    </a:lnTo>
                    <a:lnTo>
                      <a:pt x="33" y="0"/>
                    </a:lnTo>
                    <a:lnTo>
                      <a:pt x="0" y="37"/>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94" name="Freeform 250"/>
              <p:cNvSpPr>
                <a:spLocks noEditPoints="1"/>
              </p:cNvSpPr>
              <p:nvPr/>
            </p:nvSpPr>
            <p:spPr bwMode="auto">
              <a:xfrm>
                <a:off x="4377" y="1972"/>
                <a:ext cx="37" cy="41"/>
              </a:xfrm>
              <a:custGeom>
                <a:avLst/>
                <a:gdLst/>
                <a:ahLst/>
                <a:cxnLst>
                  <a:cxn ang="0">
                    <a:pos x="15" y="174"/>
                  </a:cxn>
                  <a:cxn ang="0">
                    <a:pos x="3" y="164"/>
                  </a:cxn>
                  <a:cxn ang="0">
                    <a:pos x="80" y="89"/>
                  </a:cxn>
                  <a:cxn ang="0">
                    <a:pos x="78" y="91"/>
                  </a:cxn>
                  <a:cxn ang="0">
                    <a:pos x="113" y="6"/>
                  </a:cxn>
                  <a:cxn ang="0">
                    <a:pos x="127" y="14"/>
                  </a:cxn>
                  <a:cxn ang="0">
                    <a:pos x="15" y="174"/>
                  </a:cxn>
                  <a:cxn ang="0">
                    <a:pos x="114" y="5"/>
                  </a:cxn>
                  <a:cxn ang="0">
                    <a:pos x="124" y="2"/>
                  </a:cxn>
                  <a:cxn ang="0">
                    <a:pos x="128" y="13"/>
                  </a:cxn>
                  <a:cxn ang="0">
                    <a:pos x="93" y="97"/>
                  </a:cxn>
                  <a:cxn ang="0">
                    <a:pos x="91" y="100"/>
                  </a:cxn>
                  <a:cxn ang="0">
                    <a:pos x="14" y="175"/>
                  </a:cxn>
                  <a:cxn ang="0">
                    <a:pos x="3" y="176"/>
                  </a:cxn>
                  <a:cxn ang="0">
                    <a:pos x="2" y="165"/>
                  </a:cxn>
                  <a:cxn ang="0">
                    <a:pos x="114" y="5"/>
                  </a:cxn>
                </a:cxnLst>
                <a:rect l="0" t="0" r="r" b="b"/>
                <a:pathLst>
                  <a:path w="129" h="178">
                    <a:moveTo>
                      <a:pt x="15" y="174"/>
                    </a:moveTo>
                    <a:lnTo>
                      <a:pt x="3" y="164"/>
                    </a:lnTo>
                    <a:lnTo>
                      <a:pt x="80" y="89"/>
                    </a:lnTo>
                    <a:lnTo>
                      <a:pt x="78" y="91"/>
                    </a:lnTo>
                    <a:lnTo>
                      <a:pt x="113" y="6"/>
                    </a:lnTo>
                    <a:lnTo>
                      <a:pt x="127" y="14"/>
                    </a:lnTo>
                    <a:lnTo>
                      <a:pt x="15" y="174"/>
                    </a:lnTo>
                    <a:close/>
                    <a:moveTo>
                      <a:pt x="114" y="5"/>
                    </a:moveTo>
                    <a:cubicBezTo>
                      <a:pt x="116" y="2"/>
                      <a:pt x="121" y="0"/>
                      <a:pt x="124" y="2"/>
                    </a:cubicBezTo>
                    <a:cubicBezTo>
                      <a:pt x="128" y="4"/>
                      <a:pt x="129" y="9"/>
                      <a:pt x="128" y="13"/>
                    </a:cubicBezTo>
                    <a:lnTo>
                      <a:pt x="93" y="97"/>
                    </a:lnTo>
                    <a:cubicBezTo>
                      <a:pt x="92" y="98"/>
                      <a:pt x="92" y="99"/>
                      <a:pt x="91" y="100"/>
                    </a:cubicBezTo>
                    <a:lnTo>
                      <a:pt x="14" y="175"/>
                    </a:lnTo>
                    <a:cubicBezTo>
                      <a:pt x="11" y="178"/>
                      <a:pt x="6" y="178"/>
                      <a:pt x="3" y="176"/>
                    </a:cubicBezTo>
                    <a:cubicBezTo>
                      <a:pt x="0" y="173"/>
                      <a:pt x="0" y="168"/>
                      <a:pt x="2" y="165"/>
                    </a:cubicBezTo>
                    <a:lnTo>
                      <a:pt x="114" y="5"/>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95" name="Freeform 251"/>
              <p:cNvSpPr>
                <a:spLocks/>
              </p:cNvSpPr>
              <p:nvPr/>
            </p:nvSpPr>
            <p:spPr bwMode="auto">
              <a:xfrm>
                <a:off x="3632" y="1718"/>
                <a:ext cx="56" cy="84"/>
              </a:xfrm>
              <a:custGeom>
                <a:avLst/>
                <a:gdLst/>
                <a:ahLst/>
                <a:cxnLst>
                  <a:cxn ang="0">
                    <a:pos x="0" y="33"/>
                  </a:cxn>
                  <a:cxn ang="0">
                    <a:pos x="11" y="0"/>
                  </a:cxn>
                  <a:cxn ang="0">
                    <a:pos x="31" y="1"/>
                  </a:cxn>
                  <a:cxn ang="0">
                    <a:pos x="36" y="23"/>
                  </a:cxn>
                  <a:cxn ang="0">
                    <a:pos x="21" y="45"/>
                  </a:cxn>
                  <a:cxn ang="0">
                    <a:pos x="24" y="58"/>
                  </a:cxn>
                  <a:cxn ang="0">
                    <a:pos x="54" y="67"/>
                  </a:cxn>
                  <a:cxn ang="0">
                    <a:pos x="56" y="84"/>
                  </a:cxn>
                  <a:cxn ang="0">
                    <a:pos x="38" y="67"/>
                  </a:cxn>
                  <a:cxn ang="0">
                    <a:pos x="38" y="75"/>
                  </a:cxn>
                  <a:cxn ang="0">
                    <a:pos x="11" y="67"/>
                  </a:cxn>
                  <a:cxn ang="0">
                    <a:pos x="0" y="33"/>
                  </a:cxn>
                </a:cxnLst>
                <a:rect l="0" t="0" r="r" b="b"/>
                <a:pathLst>
                  <a:path w="56" h="84">
                    <a:moveTo>
                      <a:pt x="0" y="33"/>
                    </a:moveTo>
                    <a:lnTo>
                      <a:pt x="11" y="0"/>
                    </a:lnTo>
                    <a:lnTo>
                      <a:pt x="31" y="1"/>
                    </a:lnTo>
                    <a:lnTo>
                      <a:pt x="36" y="23"/>
                    </a:lnTo>
                    <a:lnTo>
                      <a:pt x="21" y="45"/>
                    </a:lnTo>
                    <a:lnTo>
                      <a:pt x="24" y="58"/>
                    </a:lnTo>
                    <a:lnTo>
                      <a:pt x="54" y="67"/>
                    </a:lnTo>
                    <a:lnTo>
                      <a:pt x="56" y="84"/>
                    </a:lnTo>
                    <a:lnTo>
                      <a:pt x="38" y="67"/>
                    </a:lnTo>
                    <a:lnTo>
                      <a:pt x="38" y="75"/>
                    </a:lnTo>
                    <a:lnTo>
                      <a:pt x="11" y="67"/>
                    </a:lnTo>
                    <a:lnTo>
                      <a:pt x="0" y="33"/>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96" name="Freeform 252"/>
              <p:cNvSpPr>
                <a:spLocks noEditPoints="1"/>
              </p:cNvSpPr>
              <p:nvPr/>
            </p:nvSpPr>
            <p:spPr bwMode="auto">
              <a:xfrm>
                <a:off x="3630" y="1716"/>
                <a:ext cx="60" cy="88"/>
              </a:xfrm>
              <a:custGeom>
                <a:avLst/>
                <a:gdLst/>
                <a:ahLst/>
                <a:cxnLst>
                  <a:cxn ang="0">
                    <a:pos x="1" y="155"/>
                  </a:cxn>
                  <a:cxn ang="0">
                    <a:pos x="1" y="151"/>
                  </a:cxn>
                  <a:cxn ang="0">
                    <a:pos x="37" y="7"/>
                  </a:cxn>
                  <a:cxn ang="0">
                    <a:pos x="45" y="0"/>
                  </a:cxn>
                  <a:cxn ang="0">
                    <a:pos x="114" y="4"/>
                  </a:cxn>
                  <a:cxn ang="0">
                    <a:pos x="122" y="11"/>
                  </a:cxn>
                  <a:cxn ang="0">
                    <a:pos x="138" y="107"/>
                  </a:cxn>
                  <a:cxn ang="0">
                    <a:pos x="137" y="112"/>
                  </a:cxn>
                  <a:cxn ang="0">
                    <a:pos x="86" y="209"/>
                  </a:cxn>
                  <a:cxn ang="0">
                    <a:pos x="87" y="204"/>
                  </a:cxn>
                  <a:cxn ang="0">
                    <a:pos x="97" y="262"/>
                  </a:cxn>
                  <a:cxn ang="0">
                    <a:pos x="92" y="256"/>
                  </a:cxn>
                  <a:cxn ang="0">
                    <a:pos x="195" y="292"/>
                  </a:cxn>
                  <a:cxn ang="0">
                    <a:pos x="200" y="299"/>
                  </a:cxn>
                  <a:cxn ang="0">
                    <a:pos x="208" y="376"/>
                  </a:cxn>
                  <a:cxn ang="0">
                    <a:pos x="204" y="384"/>
                  </a:cxn>
                  <a:cxn ang="0">
                    <a:pos x="194" y="382"/>
                  </a:cxn>
                  <a:cxn ang="0">
                    <a:pos x="132" y="305"/>
                  </a:cxn>
                  <a:cxn ang="0">
                    <a:pos x="146" y="300"/>
                  </a:cxn>
                  <a:cxn ang="0">
                    <a:pos x="146" y="336"/>
                  </a:cxn>
                  <a:cxn ang="0">
                    <a:pos x="143" y="343"/>
                  </a:cxn>
                  <a:cxn ang="0">
                    <a:pos x="135" y="344"/>
                  </a:cxn>
                  <a:cxn ang="0">
                    <a:pos x="42" y="307"/>
                  </a:cxn>
                  <a:cxn ang="0">
                    <a:pos x="37" y="302"/>
                  </a:cxn>
                  <a:cxn ang="0">
                    <a:pos x="1" y="155"/>
                  </a:cxn>
                  <a:cxn ang="0">
                    <a:pos x="53" y="298"/>
                  </a:cxn>
                  <a:cxn ang="0">
                    <a:pos x="48" y="292"/>
                  </a:cxn>
                  <a:cxn ang="0">
                    <a:pos x="141" y="329"/>
                  </a:cxn>
                  <a:cxn ang="0">
                    <a:pos x="130" y="336"/>
                  </a:cxn>
                  <a:cxn ang="0">
                    <a:pos x="130" y="300"/>
                  </a:cxn>
                  <a:cxn ang="0">
                    <a:pos x="136" y="292"/>
                  </a:cxn>
                  <a:cxn ang="0">
                    <a:pos x="144" y="295"/>
                  </a:cxn>
                  <a:cxn ang="0">
                    <a:pos x="207" y="371"/>
                  </a:cxn>
                  <a:cxn ang="0">
                    <a:pos x="193" y="377"/>
                  </a:cxn>
                  <a:cxn ang="0">
                    <a:pos x="184" y="301"/>
                  </a:cxn>
                  <a:cxn ang="0">
                    <a:pos x="190" y="307"/>
                  </a:cxn>
                  <a:cxn ang="0">
                    <a:pos x="87" y="271"/>
                  </a:cxn>
                  <a:cxn ang="0">
                    <a:pos x="82" y="265"/>
                  </a:cxn>
                  <a:cxn ang="0">
                    <a:pos x="71" y="207"/>
                  </a:cxn>
                  <a:cxn ang="0">
                    <a:pos x="72" y="202"/>
                  </a:cxn>
                  <a:cxn ang="0">
                    <a:pos x="123" y="104"/>
                  </a:cxn>
                  <a:cxn ang="0">
                    <a:pos x="122" y="109"/>
                  </a:cxn>
                  <a:cxn ang="0">
                    <a:pos x="106" y="13"/>
                  </a:cxn>
                  <a:cxn ang="0">
                    <a:pos x="114" y="20"/>
                  </a:cxn>
                  <a:cxn ang="0">
                    <a:pos x="45" y="16"/>
                  </a:cxn>
                  <a:cxn ang="0">
                    <a:pos x="53" y="10"/>
                  </a:cxn>
                  <a:cxn ang="0">
                    <a:pos x="16" y="155"/>
                  </a:cxn>
                  <a:cxn ang="0">
                    <a:pos x="16" y="151"/>
                  </a:cxn>
                  <a:cxn ang="0">
                    <a:pos x="53" y="298"/>
                  </a:cxn>
                </a:cxnLst>
                <a:rect l="0" t="0" r="r" b="b"/>
                <a:pathLst>
                  <a:path w="209" h="385">
                    <a:moveTo>
                      <a:pt x="1" y="155"/>
                    </a:moveTo>
                    <a:cubicBezTo>
                      <a:pt x="0" y="154"/>
                      <a:pt x="0" y="153"/>
                      <a:pt x="1" y="151"/>
                    </a:cubicBezTo>
                    <a:lnTo>
                      <a:pt x="37" y="7"/>
                    </a:lnTo>
                    <a:cubicBezTo>
                      <a:pt x="38" y="3"/>
                      <a:pt x="42" y="0"/>
                      <a:pt x="45" y="0"/>
                    </a:cubicBezTo>
                    <a:lnTo>
                      <a:pt x="114" y="4"/>
                    </a:lnTo>
                    <a:cubicBezTo>
                      <a:pt x="118" y="4"/>
                      <a:pt x="121" y="7"/>
                      <a:pt x="122" y="11"/>
                    </a:cubicBezTo>
                    <a:lnTo>
                      <a:pt x="138" y="107"/>
                    </a:lnTo>
                    <a:cubicBezTo>
                      <a:pt x="138" y="108"/>
                      <a:pt x="138" y="110"/>
                      <a:pt x="137" y="112"/>
                    </a:cubicBezTo>
                    <a:lnTo>
                      <a:pt x="86" y="209"/>
                    </a:lnTo>
                    <a:lnTo>
                      <a:pt x="87" y="204"/>
                    </a:lnTo>
                    <a:lnTo>
                      <a:pt x="97" y="262"/>
                    </a:lnTo>
                    <a:lnTo>
                      <a:pt x="92" y="256"/>
                    </a:lnTo>
                    <a:lnTo>
                      <a:pt x="195" y="292"/>
                    </a:lnTo>
                    <a:cubicBezTo>
                      <a:pt x="198" y="293"/>
                      <a:pt x="200" y="296"/>
                      <a:pt x="200" y="299"/>
                    </a:cubicBezTo>
                    <a:lnTo>
                      <a:pt x="208" y="376"/>
                    </a:lnTo>
                    <a:cubicBezTo>
                      <a:pt x="209" y="379"/>
                      <a:pt x="207" y="383"/>
                      <a:pt x="204" y="384"/>
                    </a:cubicBezTo>
                    <a:cubicBezTo>
                      <a:pt x="200" y="385"/>
                      <a:pt x="196" y="384"/>
                      <a:pt x="194" y="382"/>
                    </a:cubicBezTo>
                    <a:lnTo>
                      <a:pt x="132" y="305"/>
                    </a:lnTo>
                    <a:lnTo>
                      <a:pt x="146" y="300"/>
                    </a:lnTo>
                    <a:lnTo>
                      <a:pt x="146" y="336"/>
                    </a:lnTo>
                    <a:cubicBezTo>
                      <a:pt x="146" y="339"/>
                      <a:pt x="145" y="341"/>
                      <a:pt x="143" y="343"/>
                    </a:cubicBezTo>
                    <a:cubicBezTo>
                      <a:pt x="141" y="344"/>
                      <a:pt x="138" y="345"/>
                      <a:pt x="135" y="344"/>
                    </a:cubicBezTo>
                    <a:lnTo>
                      <a:pt x="42" y="307"/>
                    </a:lnTo>
                    <a:cubicBezTo>
                      <a:pt x="40" y="306"/>
                      <a:pt x="38" y="304"/>
                      <a:pt x="37" y="302"/>
                    </a:cubicBezTo>
                    <a:lnTo>
                      <a:pt x="1" y="155"/>
                    </a:lnTo>
                    <a:close/>
                    <a:moveTo>
                      <a:pt x="53" y="298"/>
                    </a:moveTo>
                    <a:lnTo>
                      <a:pt x="48" y="292"/>
                    </a:lnTo>
                    <a:lnTo>
                      <a:pt x="141" y="329"/>
                    </a:lnTo>
                    <a:lnTo>
                      <a:pt x="130" y="336"/>
                    </a:lnTo>
                    <a:lnTo>
                      <a:pt x="130" y="300"/>
                    </a:lnTo>
                    <a:cubicBezTo>
                      <a:pt x="130" y="296"/>
                      <a:pt x="132" y="293"/>
                      <a:pt x="136" y="292"/>
                    </a:cubicBezTo>
                    <a:cubicBezTo>
                      <a:pt x="139" y="291"/>
                      <a:pt x="142" y="292"/>
                      <a:pt x="144" y="295"/>
                    </a:cubicBezTo>
                    <a:lnTo>
                      <a:pt x="207" y="371"/>
                    </a:lnTo>
                    <a:lnTo>
                      <a:pt x="193" y="377"/>
                    </a:lnTo>
                    <a:lnTo>
                      <a:pt x="184" y="301"/>
                    </a:lnTo>
                    <a:lnTo>
                      <a:pt x="190" y="307"/>
                    </a:lnTo>
                    <a:lnTo>
                      <a:pt x="87" y="271"/>
                    </a:lnTo>
                    <a:cubicBezTo>
                      <a:pt x="84" y="270"/>
                      <a:pt x="82" y="267"/>
                      <a:pt x="82" y="265"/>
                    </a:cubicBezTo>
                    <a:lnTo>
                      <a:pt x="71" y="207"/>
                    </a:lnTo>
                    <a:cubicBezTo>
                      <a:pt x="71" y="205"/>
                      <a:pt x="71" y="203"/>
                      <a:pt x="72" y="202"/>
                    </a:cubicBezTo>
                    <a:lnTo>
                      <a:pt x="123" y="104"/>
                    </a:lnTo>
                    <a:lnTo>
                      <a:pt x="122" y="109"/>
                    </a:lnTo>
                    <a:lnTo>
                      <a:pt x="106" y="13"/>
                    </a:lnTo>
                    <a:lnTo>
                      <a:pt x="114" y="20"/>
                    </a:lnTo>
                    <a:lnTo>
                      <a:pt x="45" y="16"/>
                    </a:lnTo>
                    <a:lnTo>
                      <a:pt x="53" y="10"/>
                    </a:lnTo>
                    <a:lnTo>
                      <a:pt x="16" y="155"/>
                    </a:lnTo>
                    <a:lnTo>
                      <a:pt x="16" y="151"/>
                    </a:lnTo>
                    <a:lnTo>
                      <a:pt x="53" y="298"/>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97" name="Freeform 253"/>
              <p:cNvSpPr>
                <a:spLocks/>
              </p:cNvSpPr>
              <p:nvPr/>
            </p:nvSpPr>
            <p:spPr bwMode="auto">
              <a:xfrm>
                <a:off x="4421" y="1945"/>
                <a:ext cx="19" cy="14"/>
              </a:xfrm>
              <a:custGeom>
                <a:avLst/>
                <a:gdLst/>
                <a:ahLst/>
                <a:cxnLst>
                  <a:cxn ang="0">
                    <a:pos x="0" y="0"/>
                  </a:cxn>
                  <a:cxn ang="0">
                    <a:pos x="10" y="0"/>
                  </a:cxn>
                  <a:cxn ang="0">
                    <a:pos x="19" y="3"/>
                  </a:cxn>
                  <a:cxn ang="0">
                    <a:pos x="14" y="14"/>
                  </a:cxn>
                  <a:cxn ang="0">
                    <a:pos x="0" y="0"/>
                  </a:cxn>
                </a:cxnLst>
                <a:rect l="0" t="0" r="r" b="b"/>
                <a:pathLst>
                  <a:path w="19" h="14">
                    <a:moveTo>
                      <a:pt x="0" y="0"/>
                    </a:moveTo>
                    <a:lnTo>
                      <a:pt x="10" y="0"/>
                    </a:lnTo>
                    <a:lnTo>
                      <a:pt x="19" y="3"/>
                    </a:lnTo>
                    <a:lnTo>
                      <a:pt x="14" y="14"/>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98" name="Freeform 254"/>
              <p:cNvSpPr>
                <a:spLocks noEditPoints="1"/>
              </p:cNvSpPr>
              <p:nvPr/>
            </p:nvSpPr>
            <p:spPr bwMode="auto">
              <a:xfrm>
                <a:off x="4419" y="1943"/>
                <a:ext cx="23" cy="19"/>
              </a:xfrm>
              <a:custGeom>
                <a:avLst/>
                <a:gdLst/>
                <a:ahLst/>
                <a:cxnLst>
                  <a:cxn ang="0">
                    <a:pos x="2" y="13"/>
                  </a:cxn>
                  <a:cxn ang="0">
                    <a:pos x="1" y="5"/>
                  </a:cxn>
                  <a:cxn ang="0">
                    <a:pos x="8" y="0"/>
                  </a:cxn>
                  <a:cxn ang="0">
                    <a:pos x="42" y="0"/>
                  </a:cxn>
                  <a:cxn ang="0">
                    <a:pos x="45" y="1"/>
                  </a:cxn>
                  <a:cxn ang="0">
                    <a:pos x="75" y="13"/>
                  </a:cxn>
                  <a:cxn ang="0">
                    <a:pos x="80" y="23"/>
                  </a:cxn>
                  <a:cxn ang="0">
                    <a:pos x="64" y="75"/>
                  </a:cxn>
                  <a:cxn ang="0">
                    <a:pos x="58" y="80"/>
                  </a:cxn>
                  <a:cxn ang="0">
                    <a:pos x="50" y="77"/>
                  </a:cxn>
                  <a:cxn ang="0">
                    <a:pos x="2" y="13"/>
                  </a:cxn>
                  <a:cxn ang="0">
                    <a:pos x="63" y="68"/>
                  </a:cxn>
                  <a:cxn ang="0">
                    <a:pos x="49" y="70"/>
                  </a:cxn>
                  <a:cxn ang="0">
                    <a:pos x="65" y="18"/>
                  </a:cxn>
                  <a:cxn ang="0">
                    <a:pos x="69" y="28"/>
                  </a:cxn>
                  <a:cxn ang="0">
                    <a:pos x="39" y="16"/>
                  </a:cxn>
                  <a:cxn ang="0">
                    <a:pos x="42" y="16"/>
                  </a:cxn>
                  <a:cxn ang="0">
                    <a:pos x="8" y="16"/>
                  </a:cxn>
                  <a:cxn ang="0">
                    <a:pos x="15" y="4"/>
                  </a:cxn>
                  <a:cxn ang="0">
                    <a:pos x="63" y="68"/>
                  </a:cxn>
                </a:cxnLst>
                <a:rect l="0" t="0" r="r" b="b"/>
                <a:pathLst>
                  <a:path w="81" h="81">
                    <a:moveTo>
                      <a:pt x="2" y="13"/>
                    </a:moveTo>
                    <a:cubicBezTo>
                      <a:pt x="0" y="11"/>
                      <a:pt x="0" y="8"/>
                      <a:pt x="1" y="5"/>
                    </a:cubicBezTo>
                    <a:cubicBezTo>
                      <a:pt x="3" y="2"/>
                      <a:pt x="5" y="0"/>
                      <a:pt x="8" y="0"/>
                    </a:cubicBezTo>
                    <a:lnTo>
                      <a:pt x="42" y="0"/>
                    </a:lnTo>
                    <a:cubicBezTo>
                      <a:pt x="43" y="0"/>
                      <a:pt x="44" y="1"/>
                      <a:pt x="45" y="1"/>
                    </a:cubicBezTo>
                    <a:lnTo>
                      <a:pt x="75" y="13"/>
                    </a:lnTo>
                    <a:cubicBezTo>
                      <a:pt x="79" y="15"/>
                      <a:pt x="81" y="19"/>
                      <a:pt x="80" y="23"/>
                    </a:cubicBezTo>
                    <a:lnTo>
                      <a:pt x="64" y="75"/>
                    </a:lnTo>
                    <a:cubicBezTo>
                      <a:pt x="63" y="78"/>
                      <a:pt x="61" y="80"/>
                      <a:pt x="58" y="80"/>
                    </a:cubicBezTo>
                    <a:cubicBezTo>
                      <a:pt x="55" y="81"/>
                      <a:pt x="52" y="80"/>
                      <a:pt x="50" y="77"/>
                    </a:cubicBezTo>
                    <a:lnTo>
                      <a:pt x="2" y="13"/>
                    </a:lnTo>
                    <a:close/>
                    <a:moveTo>
                      <a:pt x="63" y="68"/>
                    </a:moveTo>
                    <a:lnTo>
                      <a:pt x="49" y="70"/>
                    </a:lnTo>
                    <a:lnTo>
                      <a:pt x="65" y="18"/>
                    </a:lnTo>
                    <a:lnTo>
                      <a:pt x="69" y="28"/>
                    </a:lnTo>
                    <a:lnTo>
                      <a:pt x="39" y="16"/>
                    </a:lnTo>
                    <a:lnTo>
                      <a:pt x="42" y="16"/>
                    </a:lnTo>
                    <a:lnTo>
                      <a:pt x="8" y="16"/>
                    </a:lnTo>
                    <a:lnTo>
                      <a:pt x="15" y="4"/>
                    </a:lnTo>
                    <a:lnTo>
                      <a:pt x="63" y="68"/>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99" name="Freeform 255"/>
              <p:cNvSpPr>
                <a:spLocks/>
              </p:cNvSpPr>
              <p:nvPr/>
            </p:nvSpPr>
            <p:spPr bwMode="auto">
              <a:xfrm>
                <a:off x="4444" y="1967"/>
                <a:ext cx="19" cy="18"/>
              </a:xfrm>
              <a:custGeom>
                <a:avLst/>
                <a:gdLst/>
                <a:ahLst/>
                <a:cxnLst>
                  <a:cxn ang="0">
                    <a:pos x="0" y="0"/>
                  </a:cxn>
                  <a:cxn ang="0">
                    <a:pos x="1" y="18"/>
                  </a:cxn>
                  <a:cxn ang="0">
                    <a:pos x="19" y="11"/>
                  </a:cxn>
                  <a:cxn ang="0">
                    <a:pos x="0" y="0"/>
                  </a:cxn>
                </a:cxnLst>
                <a:rect l="0" t="0" r="r" b="b"/>
                <a:pathLst>
                  <a:path w="19" h="18">
                    <a:moveTo>
                      <a:pt x="0" y="0"/>
                    </a:moveTo>
                    <a:lnTo>
                      <a:pt x="1" y="18"/>
                    </a:lnTo>
                    <a:lnTo>
                      <a:pt x="19" y="11"/>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00" name="Freeform 256"/>
              <p:cNvSpPr>
                <a:spLocks noEditPoints="1"/>
              </p:cNvSpPr>
              <p:nvPr/>
            </p:nvSpPr>
            <p:spPr bwMode="auto">
              <a:xfrm>
                <a:off x="4442" y="1965"/>
                <a:ext cx="23" cy="22"/>
              </a:xfrm>
              <a:custGeom>
                <a:avLst/>
                <a:gdLst/>
                <a:ahLst/>
                <a:cxnLst>
                  <a:cxn ang="0">
                    <a:pos x="4" y="15"/>
                  </a:cxn>
                  <a:cxn ang="0">
                    <a:pos x="16" y="8"/>
                  </a:cxn>
                  <a:cxn ang="0">
                    <a:pos x="20" y="88"/>
                  </a:cxn>
                  <a:cxn ang="0">
                    <a:pos x="8" y="81"/>
                  </a:cxn>
                  <a:cxn ang="0">
                    <a:pos x="69" y="48"/>
                  </a:cxn>
                  <a:cxn ang="0">
                    <a:pos x="68" y="61"/>
                  </a:cxn>
                  <a:cxn ang="0">
                    <a:pos x="4" y="15"/>
                  </a:cxn>
                  <a:cxn ang="0">
                    <a:pos x="77" y="49"/>
                  </a:cxn>
                  <a:cxn ang="0">
                    <a:pos x="80" y="56"/>
                  </a:cxn>
                  <a:cxn ang="0">
                    <a:pos x="76" y="62"/>
                  </a:cxn>
                  <a:cxn ang="0">
                    <a:pos x="16" y="95"/>
                  </a:cxn>
                  <a:cxn ang="0">
                    <a:pos x="8" y="95"/>
                  </a:cxn>
                  <a:cxn ang="0">
                    <a:pos x="4" y="89"/>
                  </a:cxn>
                  <a:cxn ang="0">
                    <a:pos x="0" y="9"/>
                  </a:cxn>
                  <a:cxn ang="0">
                    <a:pos x="5" y="1"/>
                  </a:cxn>
                  <a:cxn ang="0">
                    <a:pos x="13" y="2"/>
                  </a:cxn>
                  <a:cxn ang="0">
                    <a:pos x="77" y="49"/>
                  </a:cxn>
                </a:cxnLst>
                <a:rect l="0" t="0" r="r" b="b"/>
                <a:pathLst>
                  <a:path w="81" h="97">
                    <a:moveTo>
                      <a:pt x="4" y="15"/>
                    </a:moveTo>
                    <a:lnTo>
                      <a:pt x="16" y="8"/>
                    </a:lnTo>
                    <a:lnTo>
                      <a:pt x="20" y="88"/>
                    </a:lnTo>
                    <a:lnTo>
                      <a:pt x="8" y="81"/>
                    </a:lnTo>
                    <a:lnTo>
                      <a:pt x="69" y="48"/>
                    </a:lnTo>
                    <a:lnTo>
                      <a:pt x="68" y="61"/>
                    </a:lnTo>
                    <a:lnTo>
                      <a:pt x="4" y="15"/>
                    </a:lnTo>
                    <a:close/>
                    <a:moveTo>
                      <a:pt x="77" y="49"/>
                    </a:moveTo>
                    <a:cubicBezTo>
                      <a:pt x="79" y="50"/>
                      <a:pt x="81" y="53"/>
                      <a:pt x="80" y="56"/>
                    </a:cubicBezTo>
                    <a:cubicBezTo>
                      <a:pt x="80" y="58"/>
                      <a:pt x="79" y="61"/>
                      <a:pt x="76" y="62"/>
                    </a:cubicBezTo>
                    <a:lnTo>
                      <a:pt x="16" y="95"/>
                    </a:lnTo>
                    <a:cubicBezTo>
                      <a:pt x="13" y="97"/>
                      <a:pt x="10" y="97"/>
                      <a:pt x="8" y="95"/>
                    </a:cubicBezTo>
                    <a:cubicBezTo>
                      <a:pt x="6" y="94"/>
                      <a:pt x="4" y="92"/>
                      <a:pt x="4" y="89"/>
                    </a:cubicBezTo>
                    <a:lnTo>
                      <a:pt x="0" y="9"/>
                    </a:lnTo>
                    <a:cubicBezTo>
                      <a:pt x="0" y="6"/>
                      <a:pt x="2" y="3"/>
                      <a:pt x="5" y="1"/>
                    </a:cubicBezTo>
                    <a:cubicBezTo>
                      <a:pt x="7" y="0"/>
                      <a:pt x="11" y="0"/>
                      <a:pt x="13" y="2"/>
                    </a:cubicBezTo>
                    <a:lnTo>
                      <a:pt x="77" y="49"/>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01" name="Freeform 257"/>
              <p:cNvSpPr>
                <a:spLocks/>
              </p:cNvSpPr>
              <p:nvPr/>
            </p:nvSpPr>
            <p:spPr bwMode="auto">
              <a:xfrm>
                <a:off x="4444" y="1992"/>
                <a:ext cx="61" cy="55"/>
              </a:xfrm>
              <a:custGeom>
                <a:avLst/>
                <a:gdLst/>
                <a:ahLst/>
                <a:cxnLst>
                  <a:cxn ang="0">
                    <a:pos x="0" y="38"/>
                  </a:cxn>
                  <a:cxn ang="0">
                    <a:pos x="14" y="19"/>
                  </a:cxn>
                  <a:cxn ang="0">
                    <a:pos x="29" y="22"/>
                  </a:cxn>
                  <a:cxn ang="0">
                    <a:pos x="50" y="0"/>
                  </a:cxn>
                  <a:cxn ang="0">
                    <a:pos x="61" y="13"/>
                  </a:cxn>
                  <a:cxn ang="0">
                    <a:pos x="59" y="46"/>
                  </a:cxn>
                  <a:cxn ang="0">
                    <a:pos x="54" y="32"/>
                  </a:cxn>
                  <a:cxn ang="0">
                    <a:pos x="48" y="55"/>
                  </a:cxn>
                  <a:cxn ang="0">
                    <a:pos x="33" y="49"/>
                  </a:cxn>
                  <a:cxn ang="0">
                    <a:pos x="24" y="25"/>
                  </a:cxn>
                  <a:cxn ang="0">
                    <a:pos x="0" y="38"/>
                  </a:cxn>
                </a:cxnLst>
                <a:rect l="0" t="0" r="r" b="b"/>
                <a:pathLst>
                  <a:path w="61" h="55">
                    <a:moveTo>
                      <a:pt x="0" y="38"/>
                    </a:moveTo>
                    <a:lnTo>
                      <a:pt x="14" y="19"/>
                    </a:lnTo>
                    <a:lnTo>
                      <a:pt x="29" y="22"/>
                    </a:lnTo>
                    <a:lnTo>
                      <a:pt x="50" y="0"/>
                    </a:lnTo>
                    <a:lnTo>
                      <a:pt x="61" y="13"/>
                    </a:lnTo>
                    <a:lnTo>
                      <a:pt x="59" y="46"/>
                    </a:lnTo>
                    <a:lnTo>
                      <a:pt x="54" y="32"/>
                    </a:lnTo>
                    <a:lnTo>
                      <a:pt x="48" y="55"/>
                    </a:lnTo>
                    <a:lnTo>
                      <a:pt x="33" y="49"/>
                    </a:lnTo>
                    <a:lnTo>
                      <a:pt x="24" y="25"/>
                    </a:lnTo>
                    <a:lnTo>
                      <a:pt x="0" y="38"/>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02" name="Freeform 258"/>
              <p:cNvSpPr>
                <a:spLocks noEditPoints="1"/>
              </p:cNvSpPr>
              <p:nvPr/>
            </p:nvSpPr>
            <p:spPr bwMode="auto">
              <a:xfrm>
                <a:off x="4442" y="1991"/>
                <a:ext cx="65" cy="58"/>
              </a:xfrm>
              <a:custGeom>
                <a:avLst/>
                <a:gdLst/>
                <a:ahLst/>
                <a:cxnLst>
                  <a:cxn ang="0">
                    <a:pos x="13" y="180"/>
                  </a:cxn>
                  <a:cxn ang="0">
                    <a:pos x="3" y="179"/>
                  </a:cxn>
                  <a:cxn ang="0">
                    <a:pos x="1" y="170"/>
                  </a:cxn>
                  <a:cxn ang="0">
                    <a:pos x="47" y="85"/>
                  </a:cxn>
                  <a:cxn ang="0">
                    <a:pos x="56" y="81"/>
                  </a:cxn>
                  <a:cxn ang="0">
                    <a:pos x="110" y="94"/>
                  </a:cxn>
                  <a:cxn ang="0">
                    <a:pos x="102" y="97"/>
                  </a:cxn>
                  <a:cxn ang="0">
                    <a:pos x="175" y="4"/>
                  </a:cxn>
                  <a:cxn ang="0">
                    <a:pos x="181" y="0"/>
                  </a:cxn>
                  <a:cxn ang="0">
                    <a:pos x="188" y="4"/>
                  </a:cxn>
                  <a:cxn ang="0">
                    <a:pos x="223" y="59"/>
                  </a:cxn>
                  <a:cxn ang="0">
                    <a:pos x="224" y="64"/>
                  </a:cxn>
                  <a:cxn ang="0">
                    <a:pos x="219" y="207"/>
                  </a:cxn>
                  <a:cxn ang="0">
                    <a:pos x="212" y="215"/>
                  </a:cxn>
                  <a:cxn ang="0">
                    <a:pos x="203" y="209"/>
                  </a:cxn>
                  <a:cxn ang="0">
                    <a:pos x="186" y="149"/>
                  </a:cxn>
                  <a:cxn ang="0">
                    <a:pos x="201" y="148"/>
                  </a:cxn>
                  <a:cxn ang="0">
                    <a:pos x="181" y="250"/>
                  </a:cxn>
                  <a:cxn ang="0">
                    <a:pos x="176" y="256"/>
                  </a:cxn>
                  <a:cxn ang="0">
                    <a:pos x="169" y="255"/>
                  </a:cxn>
                  <a:cxn ang="0">
                    <a:pos x="117" y="227"/>
                  </a:cxn>
                  <a:cxn ang="0">
                    <a:pos x="113" y="222"/>
                  </a:cxn>
                  <a:cxn ang="0">
                    <a:pos x="82" y="119"/>
                  </a:cxn>
                  <a:cxn ang="0">
                    <a:pos x="94" y="123"/>
                  </a:cxn>
                  <a:cxn ang="0">
                    <a:pos x="13" y="180"/>
                  </a:cxn>
                  <a:cxn ang="0">
                    <a:pos x="85" y="110"/>
                  </a:cxn>
                  <a:cxn ang="0">
                    <a:pos x="92" y="109"/>
                  </a:cxn>
                  <a:cxn ang="0">
                    <a:pos x="97" y="114"/>
                  </a:cxn>
                  <a:cxn ang="0">
                    <a:pos x="128" y="218"/>
                  </a:cxn>
                  <a:cxn ang="0">
                    <a:pos x="125" y="213"/>
                  </a:cxn>
                  <a:cxn ang="0">
                    <a:pos x="177" y="241"/>
                  </a:cxn>
                  <a:cxn ang="0">
                    <a:pos x="165" y="247"/>
                  </a:cxn>
                  <a:cxn ang="0">
                    <a:pos x="185" y="145"/>
                  </a:cxn>
                  <a:cxn ang="0">
                    <a:pos x="193" y="139"/>
                  </a:cxn>
                  <a:cxn ang="0">
                    <a:pos x="201" y="145"/>
                  </a:cxn>
                  <a:cxn ang="0">
                    <a:pos x="219" y="205"/>
                  </a:cxn>
                  <a:cxn ang="0">
                    <a:pos x="203" y="206"/>
                  </a:cxn>
                  <a:cxn ang="0">
                    <a:pos x="208" y="63"/>
                  </a:cxn>
                  <a:cxn ang="0">
                    <a:pos x="210" y="68"/>
                  </a:cxn>
                  <a:cxn ang="0">
                    <a:pos x="174" y="13"/>
                  </a:cxn>
                  <a:cxn ang="0">
                    <a:pos x="187" y="13"/>
                  </a:cxn>
                  <a:cxn ang="0">
                    <a:pos x="115" y="107"/>
                  </a:cxn>
                  <a:cxn ang="0">
                    <a:pos x="106" y="110"/>
                  </a:cxn>
                  <a:cxn ang="0">
                    <a:pos x="52" y="96"/>
                  </a:cxn>
                  <a:cxn ang="0">
                    <a:pos x="61" y="92"/>
                  </a:cxn>
                  <a:cxn ang="0">
                    <a:pos x="16" y="177"/>
                  </a:cxn>
                  <a:cxn ang="0">
                    <a:pos x="4" y="167"/>
                  </a:cxn>
                  <a:cxn ang="0">
                    <a:pos x="85" y="110"/>
                  </a:cxn>
                </a:cxnLst>
                <a:rect l="0" t="0" r="r" b="b"/>
                <a:pathLst>
                  <a:path w="225" h="257">
                    <a:moveTo>
                      <a:pt x="13" y="180"/>
                    </a:moveTo>
                    <a:cubicBezTo>
                      <a:pt x="10" y="182"/>
                      <a:pt x="6" y="182"/>
                      <a:pt x="3" y="179"/>
                    </a:cubicBezTo>
                    <a:cubicBezTo>
                      <a:pt x="0" y="177"/>
                      <a:pt x="0" y="173"/>
                      <a:pt x="1" y="170"/>
                    </a:cubicBezTo>
                    <a:lnTo>
                      <a:pt x="47" y="85"/>
                    </a:lnTo>
                    <a:cubicBezTo>
                      <a:pt x="48" y="81"/>
                      <a:pt x="52" y="80"/>
                      <a:pt x="56" y="81"/>
                    </a:cubicBezTo>
                    <a:lnTo>
                      <a:pt x="110" y="94"/>
                    </a:lnTo>
                    <a:lnTo>
                      <a:pt x="102" y="97"/>
                    </a:lnTo>
                    <a:lnTo>
                      <a:pt x="175" y="4"/>
                    </a:lnTo>
                    <a:cubicBezTo>
                      <a:pt x="176" y="2"/>
                      <a:pt x="179" y="0"/>
                      <a:pt x="181" y="0"/>
                    </a:cubicBezTo>
                    <a:cubicBezTo>
                      <a:pt x="184" y="1"/>
                      <a:pt x="186" y="2"/>
                      <a:pt x="188" y="4"/>
                    </a:cubicBezTo>
                    <a:lnTo>
                      <a:pt x="223" y="59"/>
                    </a:lnTo>
                    <a:cubicBezTo>
                      <a:pt x="224" y="61"/>
                      <a:pt x="225" y="62"/>
                      <a:pt x="224" y="64"/>
                    </a:cubicBezTo>
                    <a:lnTo>
                      <a:pt x="219" y="207"/>
                    </a:lnTo>
                    <a:cubicBezTo>
                      <a:pt x="219" y="211"/>
                      <a:pt x="216" y="214"/>
                      <a:pt x="212" y="215"/>
                    </a:cubicBezTo>
                    <a:cubicBezTo>
                      <a:pt x="208" y="215"/>
                      <a:pt x="204" y="213"/>
                      <a:pt x="203" y="209"/>
                    </a:cubicBezTo>
                    <a:lnTo>
                      <a:pt x="186" y="149"/>
                    </a:lnTo>
                    <a:lnTo>
                      <a:pt x="201" y="148"/>
                    </a:lnTo>
                    <a:lnTo>
                      <a:pt x="181" y="250"/>
                    </a:lnTo>
                    <a:cubicBezTo>
                      <a:pt x="180" y="253"/>
                      <a:pt x="178" y="255"/>
                      <a:pt x="176" y="256"/>
                    </a:cubicBezTo>
                    <a:cubicBezTo>
                      <a:pt x="174" y="257"/>
                      <a:pt x="171" y="257"/>
                      <a:pt x="169" y="255"/>
                    </a:cubicBezTo>
                    <a:lnTo>
                      <a:pt x="117" y="227"/>
                    </a:lnTo>
                    <a:cubicBezTo>
                      <a:pt x="115" y="226"/>
                      <a:pt x="114" y="224"/>
                      <a:pt x="113" y="222"/>
                    </a:cubicBezTo>
                    <a:lnTo>
                      <a:pt x="82" y="119"/>
                    </a:lnTo>
                    <a:lnTo>
                      <a:pt x="94" y="123"/>
                    </a:lnTo>
                    <a:lnTo>
                      <a:pt x="13" y="180"/>
                    </a:lnTo>
                    <a:close/>
                    <a:moveTo>
                      <a:pt x="85" y="110"/>
                    </a:moveTo>
                    <a:cubicBezTo>
                      <a:pt x="87" y="109"/>
                      <a:pt x="89" y="108"/>
                      <a:pt x="92" y="109"/>
                    </a:cubicBezTo>
                    <a:cubicBezTo>
                      <a:pt x="94" y="110"/>
                      <a:pt x="96" y="112"/>
                      <a:pt x="97" y="114"/>
                    </a:cubicBezTo>
                    <a:lnTo>
                      <a:pt x="128" y="218"/>
                    </a:lnTo>
                    <a:lnTo>
                      <a:pt x="125" y="213"/>
                    </a:lnTo>
                    <a:lnTo>
                      <a:pt x="177" y="241"/>
                    </a:lnTo>
                    <a:lnTo>
                      <a:pt x="165" y="247"/>
                    </a:lnTo>
                    <a:lnTo>
                      <a:pt x="185" y="145"/>
                    </a:lnTo>
                    <a:cubicBezTo>
                      <a:pt x="186" y="142"/>
                      <a:pt x="189" y="139"/>
                      <a:pt x="193" y="139"/>
                    </a:cubicBezTo>
                    <a:cubicBezTo>
                      <a:pt x="197" y="139"/>
                      <a:pt x="200" y="141"/>
                      <a:pt x="201" y="145"/>
                    </a:cubicBezTo>
                    <a:lnTo>
                      <a:pt x="219" y="205"/>
                    </a:lnTo>
                    <a:lnTo>
                      <a:pt x="203" y="206"/>
                    </a:lnTo>
                    <a:lnTo>
                      <a:pt x="208" y="63"/>
                    </a:lnTo>
                    <a:lnTo>
                      <a:pt x="210" y="68"/>
                    </a:lnTo>
                    <a:lnTo>
                      <a:pt x="174" y="13"/>
                    </a:lnTo>
                    <a:lnTo>
                      <a:pt x="187" y="13"/>
                    </a:lnTo>
                    <a:lnTo>
                      <a:pt x="115" y="107"/>
                    </a:lnTo>
                    <a:cubicBezTo>
                      <a:pt x="113" y="109"/>
                      <a:pt x="110" y="110"/>
                      <a:pt x="106" y="110"/>
                    </a:cubicBezTo>
                    <a:lnTo>
                      <a:pt x="52" y="96"/>
                    </a:lnTo>
                    <a:lnTo>
                      <a:pt x="61" y="92"/>
                    </a:lnTo>
                    <a:lnTo>
                      <a:pt x="16" y="177"/>
                    </a:lnTo>
                    <a:lnTo>
                      <a:pt x="4" y="167"/>
                    </a:lnTo>
                    <a:lnTo>
                      <a:pt x="85" y="110"/>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03" name="Freeform 259"/>
              <p:cNvSpPr>
                <a:spLocks/>
              </p:cNvSpPr>
              <p:nvPr/>
            </p:nvSpPr>
            <p:spPr bwMode="auto">
              <a:xfrm>
                <a:off x="4454" y="1981"/>
                <a:ext cx="13" cy="22"/>
              </a:xfrm>
              <a:custGeom>
                <a:avLst/>
                <a:gdLst/>
                <a:ahLst/>
                <a:cxnLst>
                  <a:cxn ang="0">
                    <a:pos x="0" y="15"/>
                  </a:cxn>
                  <a:cxn ang="0">
                    <a:pos x="3" y="10"/>
                  </a:cxn>
                  <a:cxn ang="0">
                    <a:pos x="13" y="0"/>
                  </a:cxn>
                  <a:cxn ang="0">
                    <a:pos x="9" y="22"/>
                  </a:cxn>
                  <a:cxn ang="0">
                    <a:pos x="0" y="15"/>
                  </a:cxn>
                </a:cxnLst>
                <a:rect l="0" t="0" r="r" b="b"/>
                <a:pathLst>
                  <a:path w="13" h="22">
                    <a:moveTo>
                      <a:pt x="0" y="15"/>
                    </a:moveTo>
                    <a:lnTo>
                      <a:pt x="3" y="10"/>
                    </a:lnTo>
                    <a:lnTo>
                      <a:pt x="13" y="0"/>
                    </a:lnTo>
                    <a:lnTo>
                      <a:pt x="9" y="22"/>
                    </a:lnTo>
                    <a:lnTo>
                      <a:pt x="0" y="15"/>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04" name="Freeform 260"/>
              <p:cNvSpPr>
                <a:spLocks noEditPoints="1"/>
              </p:cNvSpPr>
              <p:nvPr/>
            </p:nvSpPr>
            <p:spPr bwMode="auto">
              <a:xfrm>
                <a:off x="4451" y="1980"/>
                <a:ext cx="19" cy="25"/>
              </a:xfrm>
              <a:custGeom>
                <a:avLst/>
                <a:gdLst/>
                <a:ahLst/>
                <a:cxnLst>
                  <a:cxn ang="0">
                    <a:pos x="3" y="77"/>
                  </a:cxn>
                  <a:cxn ang="0">
                    <a:pos x="1" y="68"/>
                  </a:cxn>
                  <a:cxn ang="0">
                    <a:pos x="13" y="46"/>
                  </a:cxn>
                  <a:cxn ang="0">
                    <a:pos x="14" y="45"/>
                  </a:cxn>
                  <a:cxn ang="0">
                    <a:pos x="50" y="3"/>
                  </a:cxn>
                  <a:cxn ang="0">
                    <a:pos x="60" y="1"/>
                  </a:cxn>
                  <a:cxn ang="0">
                    <a:pos x="64" y="10"/>
                  </a:cxn>
                  <a:cxn ang="0">
                    <a:pos x="49" y="106"/>
                  </a:cxn>
                  <a:cxn ang="0">
                    <a:pos x="43" y="112"/>
                  </a:cxn>
                  <a:cxn ang="0">
                    <a:pos x="35" y="110"/>
                  </a:cxn>
                  <a:cxn ang="0">
                    <a:pos x="3" y="77"/>
                  </a:cxn>
                  <a:cxn ang="0">
                    <a:pos x="47" y="99"/>
                  </a:cxn>
                  <a:cxn ang="0">
                    <a:pos x="33" y="103"/>
                  </a:cxn>
                  <a:cxn ang="0">
                    <a:pos x="49" y="7"/>
                  </a:cxn>
                  <a:cxn ang="0">
                    <a:pos x="62" y="14"/>
                  </a:cxn>
                  <a:cxn ang="0">
                    <a:pos x="26" y="55"/>
                  </a:cxn>
                  <a:cxn ang="0">
                    <a:pos x="27" y="54"/>
                  </a:cxn>
                  <a:cxn ang="0">
                    <a:pos x="16" y="75"/>
                  </a:cxn>
                  <a:cxn ang="0">
                    <a:pos x="14" y="66"/>
                  </a:cxn>
                  <a:cxn ang="0">
                    <a:pos x="47" y="99"/>
                  </a:cxn>
                </a:cxnLst>
                <a:rect l="0" t="0" r="r" b="b"/>
                <a:pathLst>
                  <a:path w="65" h="113">
                    <a:moveTo>
                      <a:pt x="3" y="77"/>
                    </a:moveTo>
                    <a:cubicBezTo>
                      <a:pt x="0" y="74"/>
                      <a:pt x="0" y="71"/>
                      <a:pt x="1" y="68"/>
                    </a:cubicBezTo>
                    <a:lnTo>
                      <a:pt x="13" y="46"/>
                    </a:lnTo>
                    <a:cubicBezTo>
                      <a:pt x="13" y="46"/>
                      <a:pt x="13" y="45"/>
                      <a:pt x="14" y="45"/>
                    </a:cubicBezTo>
                    <a:lnTo>
                      <a:pt x="50" y="3"/>
                    </a:lnTo>
                    <a:cubicBezTo>
                      <a:pt x="53" y="0"/>
                      <a:pt x="57" y="0"/>
                      <a:pt x="60" y="1"/>
                    </a:cubicBezTo>
                    <a:cubicBezTo>
                      <a:pt x="63" y="3"/>
                      <a:pt x="65" y="6"/>
                      <a:pt x="64" y="10"/>
                    </a:cubicBezTo>
                    <a:lnTo>
                      <a:pt x="49" y="106"/>
                    </a:lnTo>
                    <a:cubicBezTo>
                      <a:pt x="48" y="109"/>
                      <a:pt x="46" y="111"/>
                      <a:pt x="43" y="112"/>
                    </a:cubicBezTo>
                    <a:cubicBezTo>
                      <a:pt x="40" y="113"/>
                      <a:pt x="37" y="112"/>
                      <a:pt x="35" y="110"/>
                    </a:cubicBezTo>
                    <a:lnTo>
                      <a:pt x="3" y="77"/>
                    </a:lnTo>
                    <a:close/>
                    <a:moveTo>
                      <a:pt x="47" y="99"/>
                    </a:moveTo>
                    <a:lnTo>
                      <a:pt x="33" y="103"/>
                    </a:lnTo>
                    <a:lnTo>
                      <a:pt x="49" y="7"/>
                    </a:lnTo>
                    <a:lnTo>
                      <a:pt x="62" y="14"/>
                    </a:lnTo>
                    <a:lnTo>
                      <a:pt x="26" y="55"/>
                    </a:lnTo>
                    <a:lnTo>
                      <a:pt x="27" y="54"/>
                    </a:lnTo>
                    <a:lnTo>
                      <a:pt x="16" y="75"/>
                    </a:lnTo>
                    <a:lnTo>
                      <a:pt x="14" y="66"/>
                    </a:lnTo>
                    <a:lnTo>
                      <a:pt x="47" y="99"/>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05" name="Freeform 261"/>
              <p:cNvSpPr>
                <a:spLocks/>
              </p:cNvSpPr>
              <p:nvPr/>
            </p:nvSpPr>
            <p:spPr bwMode="auto">
              <a:xfrm>
                <a:off x="2611" y="1539"/>
                <a:ext cx="47" cy="73"/>
              </a:xfrm>
              <a:custGeom>
                <a:avLst/>
                <a:gdLst/>
                <a:ahLst/>
                <a:cxnLst>
                  <a:cxn ang="0">
                    <a:pos x="0" y="48"/>
                  </a:cxn>
                  <a:cxn ang="0">
                    <a:pos x="8" y="0"/>
                  </a:cxn>
                  <a:cxn ang="0">
                    <a:pos x="47" y="3"/>
                  </a:cxn>
                  <a:cxn ang="0">
                    <a:pos x="30" y="33"/>
                  </a:cxn>
                  <a:cxn ang="0">
                    <a:pos x="30" y="71"/>
                  </a:cxn>
                  <a:cxn ang="0">
                    <a:pos x="7" y="73"/>
                  </a:cxn>
                  <a:cxn ang="0">
                    <a:pos x="10" y="50"/>
                  </a:cxn>
                  <a:cxn ang="0">
                    <a:pos x="0" y="48"/>
                  </a:cxn>
                </a:cxnLst>
                <a:rect l="0" t="0" r="r" b="b"/>
                <a:pathLst>
                  <a:path w="47" h="73">
                    <a:moveTo>
                      <a:pt x="0" y="48"/>
                    </a:moveTo>
                    <a:lnTo>
                      <a:pt x="8" y="0"/>
                    </a:lnTo>
                    <a:lnTo>
                      <a:pt x="47" y="3"/>
                    </a:lnTo>
                    <a:lnTo>
                      <a:pt x="30" y="33"/>
                    </a:lnTo>
                    <a:lnTo>
                      <a:pt x="30" y="71"/>
                    </a:lnTo>
                    <a:lnTo>
                      <a:pt x="7" y="73"/>
                    </a:lnTo>
                    <a:lnTo>
                      <a:pt x="10" y="50"/>
                    </a:lnTo>
                    <a:lnTo>
                      <a:pt x="0" y="48"/>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06" name="Freeform 262"/>
              <p:cNvSpPr>
                <a:spLocks noEditPoints="1"/>
              </p:cNvSpPr>
              <p:nvPr/>
            </p:nvSpPr>
            <p:spPr bwMode="auto">
              <a:xfrm>
                <a:off x="2609" y="1537"/>
                <a:ext cx="51" cy="77"/>
              </a:xfrm>
              <a:custGeom>
                <a:avLst/>
                <a:gdLst/>
                <a:ahLst/>
                <a:cxnLst>
                  <a:cxn ang="0">
                    <a:pos x="6" y="224"/>
                  </a:cxn>
                  <a:cxn ang="0">
                    <a:pos x="1" y="216"/>
                  </a:cxn>
                  <a:cxn ang="0">
                    <a:pos x="28" y="7"/>
                  </a:cxn>
                  <a:cxn ang="0">
                    <a:pos x="37" y="0"/>
                  </a:cxn>
                  <a:cxn ang="0">
                    <a:pos x="169" y="14"/>
                  </a:cxn>
                  <a:cxn ang="0">
                    <a:pos x="175" y="18"/>
                  </a:cxn>
                  <a:cxn ang="0">
                    <a:pos x="176" y="25"/>
                  </a:cxn>
                  <a:cxn ang="0">
                    <a:pos x="117" y="158"/>
                  </a:cxn>
                  <a:cxn ang="0">
                    <a:pos x="118" y="155"/>
                  </a:cxn>
                  <a:cxn ang="0">
                    <a:pos x="118" y="320"/>
                  </a:cxn>
                  <a:cxn ang="0">
                    <a:pos x="111" y="328"/>
                  </a:cxn>
                  <a:cxn ang="0">
                    <a:pos x="33" y="336"/>
                  </a:cxn>
                  <a:cxn ang="0">
                    <a:pos x="26" y="334"/>
                  </a:cxn>
                  <a:cxn ang="0">
                    <a:pos x="24" y="328"/>
                  </a:cxn>
                  <a:cxn ang="0">
                    <a:pos x="34" y="228"/>
                  </a:cxn>
                  <a:cxn ang="0">
                    <a:pos x="40" y="236"/>
                  </a:cxn>
                  <a:cxn ang="0">
                    <a:pos x="6" y="224"/>
                  </a:cxn>
                  <a:cxn ang="0">
                    <a:pos x="45" y="221"/>
                  </a:cxn>
                  <a:cxn ang="0">
                    <a:pos x="50" y="229"/>
                  </a:cxn>
                  <a:cxn ang="0">
                    <a:pos x="40" y="329"/>
                  </a:cxn>
                  <a:cxn ang="0">
                    <a:pos x="31" y="321"/>
                  </a:cxn>
                  <a:cxn ang="0">
                    <a:pos x="109" y="312"/>
                  </a:cxn>
                  <a:cxn ang="0">
                    <a:pos x="102" y="320"/>
                  </a:cxn>
                  <a:cxn ang="0">
                    <a:pos x="102" y="155"/>
                  </a:cxn>
                  <a:cxn ang="0">
                    <a:pos x="102" y="152"/>
                  </a:cxn>
                  <a:cxn ang="0">
                    <a:pos x="161" y="19"/>
                  </a:cxn>
                  <a:cxn ang="0">
                    <a:pos x="168" y="30"/>
                  </a:cxn>
                  <a:cxn ang="0">
                    <a:pos x="36" y="16"/>
                  </a:cxn>
                  <a:cxn ang="0">
                    <a:pos x="44" y="10"/>
                  </a:cxn>
                  <a:cxn ang="0">
                    <a:pos x="16" y="218"/>
                  </a:cxn>
                  <a:cxn ang="0">
                    <a:pos x="11" y="209"/>
                  </a:cxn>
                  <a:cxn ang="0">
                    <a:pos x="45" y="221"/>
                  </a:cxn>
                </a:cxnLst>
                <a:rect l="0" t="0" r="r" b="b"/>
                <a:pathLst>
                  <a:path w="177" h="337">
                    <a:moveTo>
                      <a:pt x="6" y="224"/>
                    </a:moveTo>
                    <a:cubicBezTo>
                      <a:pt x="2" y="223"/>
                      <a:pt x="0" y="220"/>
                      <a:pt x="1" y="216"/>
                    </a:cubicBezTo>
                    <a:lnTo>
                      <a:pt x="28" y="7"/>
                    </a:lnTo>
                    <a:cubicBezTo>
                      <a:pt x="29" y="3"/>
                      <a:pt x="33" y="0"/>
                      <a:pt x="37" y="0"/>
                    </a:cubicBezTo>
                    <a:lnTo>
                      <a:pt x="169" y="14"/>
                    </a:lnTo>
                    <a:cubicBezTo>
                      <a:pt x="172" y="14"/>
                      <a:pt x="174" y="16"/>
                      <a:pt x="175" y="18"/>
                    </a:cubicBezTo>
                    <a:cubicBezTo>
                      <a:pt x="177" y="20"/>
                      <a:pt x="177" y="23"/>
                      <a:pt x="176" y="25"/>
                    </a:cubicBezTo>
                    <a:lnTo>
                      <a:pt x="117" y="158"/>
                    </a:lnTo>
                    <a:lnTo>
                      <a:pt x="118" y="155"/>
                    </a:lnTo>
                    <a:lnTo>
                      <a:pt x="118" y="320"/>
                    </a:lnTo>
                    <a:cubicBezTo>
                      <a:pt x="118" y="324"/>
                      <a:pt x="115" y="328"/>
                      <a:pt x="111" y="328"/>
                    </a:cubicBezTo>
                    <a:lnTo>
                      <a:pt x="33" y="336"/>
                    </a:lnTo>
                    <a:cubicBezTo>
                      <a:pt x="30" y="337"/>
                      <a:pt x="28" y="336"/>
                      <a:pt x="26" y="334"/>
                    </a:cubicBezTo>
                    <a:cubicBezTo>
                      <a:pt x="25" y="332"/>
                      <a:pt x="24" y="330"/>
                      <a:pt x="24" y="328"/>
                    </a:cubicBezTo>
                    <a:lnTo>
                      <a:pt x="34" y="228"/>
                    </a:lnTo>
                    <a:lnTo>
                      <a:pt x="40" y="236"/>
                    </a:lnTo>
                    <a:lnTo>
                      <a:pt x="6" y="224"/>
                    </a:lnTo>
                    <a:close/>
                    <a:moveTo>
                      <a:pt x="45" y="221"/>
                    </a:moveTo>
                    <a:cubicBezTo>
                      <a:pt x="48" y="222"/>
                      <a:pt x="51" y="226"/>
                      <a:pt x="50" y="229"/>
                    </a:cubicBezTo>
                    <a:lnTo>
                      <a:pt x="40" y="329"/>
                    </a:lnTo>
                    <a:lnTo>
                      <a:pt x="31" y="321"/>
                    </a:lnTo>
                    <a:lnTo>
                      <a:pt x="109" y="312"/>
                    </a:lnTo>
                    <a:lnTo>
                      <a:pt x="102" y="320"/>
                    </a:lnTo>
                    <a:lnTo>
                      <a:pt x="102" y="155"/>
                    </a:lnTo>
                    <a:cubicBezTo>
                      <a:pt x="102" y="154"/>
                      <a:pt x="102" y="153"/>
                      <a:pt x="102" y="152"/>
                    </a:cubicBezTo>
                    <a:lnTo>
                      <a:pt x="161" y="19"/>
                    </a:lnTo>
                    <a:lnTo>
                      <a:pt x="168" y="30"/>
                    </a:lnTo>
                    <a:lnTo>
                      <a:pt x="36" y="16"/>
                    </a:lnTo>
                    <a:lnTo>
                      <a:pt x="44" y="10"/>
                    </a:lnTo>
                    <a:lnTo>
                      <a:pt x="16" y="218"/>
                    </a:lnTo>
                    <a:lnTo>
                      <a:pt x="11" y="209"/>
                    </a:lnTo>
                    <a:lnTo>
                      <a:pt x="45" y="22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07" name="Freeform 263"/>
              <p:cNvSpPr>
                <a:spLocks/>
              </p:cNvSpPr>
              <p:nvPr/>
            </p:nvSpPr>
            <p:spPr bwMode="auto">
              <a:xfrm>
                <a:off x="3024" y="1436"/>
                <a:ext cx="135" cy="73"/>
              </a:xfrm>
              <a:custGeom>
                <a:avLst/>
                <a:gdLst/>
                <a:ahLst/>
                <a:cxnLst>
                  <a:cxn ang="0">
                    <a:pos x="0" y="36"/>
                  </a:cxn>
                  <a:cxn ang="0">
                    <a:pos x="37" y="66"/>
                  </a:cxn>
                  <a:cxn ang="0">
                    <a:pos x="120" y="73"/>
                  </a:cxn>
                  <a:cxn ang="0">
                    <a:pos x="135" y="48"/>
                  </a:cxn>
                  <a:cxn ang="0">
                    <a:pos x="114" y="47"/>
                  </a:cxn>
                  <a:cxn ang="0">
                    <a:pos x="112" y="24"/>
                  </a:cxn>
                  <a:cxn ang="0">
                    <a:pos x="93" y="0"/>
                  </a:cxn>
                  <a:cxn ang="0">
                    <a:pos x="37" y="5"/>
                  </a:cxn>
                  <a:cxn ang="0">
                    <a:pos x="0" y="36"/>
                  </a:cxn>
                </a:cxnLst>
                <a:rect l="0" t="0" r="r" b="b"/>
                <a:pathLst>
                  <a:path w="135" h="73">
                    <a:moveTo>
                      <a:pt x="0" y="36"/>
                    </a:moveTo>
                    <a:lnTo>
                      <a:pt x="37" y="66"/>
                    </a:lnTo>
                    <a:lnTo>
                      <a:pt x="120" y="73"/>
                    </a:lnTo>
                    <a:lnTo>
                      <a:pt x="135" y="48"/>
                    </a:lnTo>
                    <a:lnTo>
                      <a:pt x="114" y="47"/>
                    </a:lnTo>
                    <a:lnTo>
                      <a:pt x="112" y="24"/>
                    </a:lnTo>
                    <a:lnTo>
                      <a:pt x="93" y="0"/>
                    </a:lnTo>
                    <a:lnTo>
                      <a:pt x="37" y="5"/>
                    </a:lnTo>
                    <a:lnTo>
                      <a:pt x="0" y="36"/>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08" name="Freeform 264"/>
              <p:cNvSpPr>
                <a:spLocks noEditPoints="1"/>
              </p:cNvSpPr>
              <p:nvPr/>
            </p:nvSpPr>
            <p:spPr bwMode="auto">
              <a:xfrm>
                <a:off x="3022" y="1435"/>
                <a:ext cx="139" cy="77"/>
              </a:xfrm>
              <a:custGeom>
                <a:avLst/>
                <a:gdLst/>
                <a:ahLst/>
                <a:cxnLst>
                  <a:cxn ang="0">
                    <a:pos x="14" y="170"/>
                  </a:cxn>
                  <a:cxn ang="0">
                    <a:pos x="14" y="159"/>
                  </a:cxn>
                  <a:cxn ang="0">
                    <a:pos x="140" y="291"/>
                  </a:cxn>
                  <a:cxn ang="0">
                    <a:pos x="135" y="289"/>
                  </a:cxn>
                  <a:cxn ang="0">
                    <a:pos x="423" y="321"/>
                  </a:cxn>
                  <a:cxn ang="0">
                    <a:pos x="414" y="325"/>
                  </a:cxn>
                  <a:cxn ang="0">
                    <a:pos x="465" y="214"/>
                  </a:cxn>
                  <a:cxn ang="0">
                    <a:pos x="472" y="225"/>
                  </a:cxn>
                  <a:cxn ang="0">
                    <a:pos x="398" y="219"/>
                  </a:cxn>
                  <a:cxn ang="0">
                    <a:pos x="391" y="211"/>
                  </a:cxn>
                  <a:cxn ang="0">
                    <a:pos x="384" y="113"/>
                  </a:cxn>
                  <a:cxn ang="0">
                    <a:pos x="385" y="117"/>
                  </a:cxn>
                  <a:cxn ang="0">
                    <a:pos x="320" y="13"/>
                  </a:cxn>
                  <a:cxn ang="0">
                    <a:pos x="328" y="16"/>
                  </a:cxn>
                  <a:cxn ang="0">
                    <a:pos x="135" y="38"/>
                  </a:cxn>
                  <a:cxn ang="0">
                    <a:pos x="140" y="35"/>
                  </a:cxn>
                  <a:cxn ang="0">
                    <a:pos x="14" y="170"/>
                  </a:cxn>
                  <a:cxn ang="0">
                    <a:pos x="128" y="25"/>
                  </a:cxn>
                  <a:cxn ang="0">
                    <a:pos x="133" y="22"/>
                  </a:cxn>
                  <a:cxn ang="0">
                    <a:pos x="326" y="1"/>
                  </a:cxn>
                  <a:cxn ang="0">
                    <a:pos x="334" y="4"/>
                  </a:cxn>
                  <a:cxn ang="0">
                    <a:pos x="399" y="109"/>
                  </a:cxn>
                  <a:cxn ang="0">
                    <a:pos x="400" y="112"/>
                  </a:cxn>
                  <a:cxn ang="0">
                    <a:pos x="407" y="210"/>
                  </a:cxn>
                  <a:cxn ang="0">
                    <a:pos x="400" y="203"/>
                  </a:cxn>
                  <a:cxn ang="0">
                    <a:pos x="473" y="209"/>
                  </a:cxn>
                  <a:cxn ang="0">
                    <a:pos x="479" y="213"/>
                  </a:cxn>
                  <a:cxn ang="0">
                    <a:pos x="480" y="221"/>
                  </a:cxn>
                  <a:cxn ang="0">
                    <a:pos x="429" y="332"/>
                  </a:cxn>
                  <a:cxn ang="0">
                    <a:pos x="421" y="336"/>
                  </a:cxn>
                  <a:cxn ang="0">
                    <a:pos x="133" y="305"/>
                  </a:cxn>
                  <a:cxn ang="0">
                    <a:pos x="128" y="302"/>
                  </a:cxn>
                  <a:cxn ang="0">
                    <a:pos x="3" y="170"/>
                  </a:cxn>
                  <a:cxn ang="0">
                    <a:pos x="3" y="159"/>
                  </a:cxn>
                  <a:cxn ang="0">
                    <a:pos x="128" y="25"/>
                  </a:cxn>
                </a:cxnLst>
                <a:rect l="0" t="0" r="r" b="b"/>
                <a:pathLst>
                  <a:path w="481" h="337">
                    <a:moveTo>
                      <a:pt x="14" y="170"/>
                    </a:moveTo>
                    <a:lnTo>
                      <a:pt x="14" y="159"/>
                    </a:lnTo>
                    <a:lnTo>
                      <a:pt x="140" y="291"/>
                    </a:lnTo>
                    <a:lnTo>
                      <a:pt x="135" y="289"/>
                    </a:lnTo>
                    <a:lnTo>
                      <a:pt x="423" y="321"/>
                    </a:lnTo>
                    <a:lnTo>
                      <a:pt x="414" y="325"/>
                    </a:lnTo>
                    <a:lnTo>
                      <a:pt x="465" y="214"/>
                    </a:lnTo>
                    <a:lnTo>
                      <a:pt x="472" y="225"/>
                    </a:lnTo>
                    <a:lnTo>
                      <a:pt x="398" y="219"/>
                    </a:lnTo>
                    <a:cubicBezTo>
                      <a:pt x="394" y="218"/>
                      <a:pt x="391" y="215"/>
                      <a:pt x="391" y="211"/>
                    </a:cubicBezTo>
                    <a:lnTo>
                      <a:pt x="384" y="113"/>
                    </a:lnTo>
                    <a:lnTo>
                      <a:pt x="385" y="117"/>
                    </a:lnTo>
                    <a:lnTo>
                      <a:pt x="320" y="13"/>
                    </a:lnTo>
                    <a:lnTo>
                      <a:pt x="328" y="16"/>
                    </a:lnTo>
                    <a:lnTo>
                      <a:pt x="135" y="38"/>
                    </a:lnTo>
                    <a:lnTo>
                      <a:pt x="140" y="35"/>
                    </a:lnTo>
                    <a:lnTo>
                      <a:pt x="14" y="170"/>
                    </a:lnTo>
                    <a:close/>
                    <a:moveTo>
                      <a:pt x="128" y="25"/>
                    </a:moveTo>
                    <a:cubicBezTo>
                      <a:pt x="129" y="23"/>
                      <a:pt x="131" y="22"/>
                      <a:pt x="133" y="22"/>
                    </a:cubicBezTo>
                    <a:lnTo>
                      <a:pt x="326" y="1"/>
                    </a:lnTo>
                    <a:cubicBezTo>
                      <a:pt x="329" y="0"/>
                      <a:pt x="332" y="2"/>
                      <a:pt x="334" y="4"/>
                    </a:cubicBezTo>
                    <a:lnTo>
                      <a:pt x="399" y="109"/>
                    </a:lnTo>
                    <a:cubicBezTo>
                      <a:pt x="400" y="110"/>
                      <a:pt x="400" y="111"/>
                      <a:pt x="400" y="112"/>
                    </a:cubicBezTo>
                    <a:lnTo>
                      <a:pt x="407" y="210"/>
                    </a:lnTo>
                    <a:lnTo>
                      <a:pt x="400" y="203"/>
                    </a:lnTo>
                    <a:lnTo>
                      <a:pt x="473" y="209"/>
                    </a:lnTo>
                    <a:cubicBezTo>
                      <a:pt x="476" y="210"/>
                      <a:pt x="478" y="211"/>
                      <a:pt x="479" y="213"/>
                    </a:cubicBezTo>
                    <a:cubicBezTo>
                      <a:pt x="481" y="216"/>
                      <a:pt x="481" y="218"/>
                      <a:pt x="480" y="221"/>
                    </a:cubicBezTo>
                    <a:lnTo>
                      <a:pt x="429" y="332"/>
                    </a:lnTo>
                    <a:cubicBezTo>
                      <a:pt x="428" y="335"/>
                      <a:pt x="424" y="337"/>
                      <a:pt x="421" y="336"/>
                    </a:cubicBezTo>
                    <a:lnTo>
                      <a:pt x="133" y="305"/>
                    </a:lnTo>
                    <a:cubicBezTo>
                      <a:pt x="131" y="305"/>
                      <a:pt x="129" y="304"/>
                      <a:pt x="128" y="302"/>
                    </a:cubicBezTo>
                    <a:lnTo>
                      <a:pt x="3" y="170"/>
                    </a:lnTo>
                    <a:cubicBezTo>
                      <a:pt x="0" y="167"/>
                      <a:pt x="0" y="162"/>
                      <a:pt x="3" y="159"/>
                    </a:cubicBezTo>
                    <a:lnTo>
                      <a:pt x="128" y="25"/>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09" name="Freeform 265"/>
              <p:cNvSpPr>
                <a:spLocks/>
              </p:cNvSpPr>
              <p:nvPr/>
            </p:nvSpPr>
            <p:spPr bwMode="auto">
              <a:xfrm>
                <a:off x="3228" y="1685"/>
                <a:ext cx="293" cy="231"/>
              </a:xfrm>
              <a:custGeom>
                <a:avLst/>
                <a:gdLst/>
                <a:ahLst/>
                <a:cxnLst>
                  <a:cxn ang="0">
                    <a:pos x="0" y="60"/>
                  </a:cxn>
                  <a:cxn ang="0">
                    <a:pos x="4" y="40"/>
                  </a:cxn>
                  <a:cxn ang="0">
                    <a:pos x="20" y="45"/>
                  </a:cxn>
                  <a:cxn ang="0">
                    <a:pos x="39" y="33"/>
                  </a:cxn>
                  <a:cxn ang="0">
                    <a:pos x="47" y="23"/>
                  </a:cxn>
                  <a:cxn ang="0">
                    <a:pos x="31" y="10"/>
                  </a:cxn>
                  <a:cxn ang="0">
                    <a:pos x="63" y="0"/>
                  </a:cxn>
                  <a:cxn ang="0">
                    <a:pos x="125" y="27"/>
                  </a:cxn>
                  <a:cxn ang="0">
                    <a:pos x="126" y="37"/>
                  </a:cxn>
                  <a:cxn ang="0">
                    <a:pos x="140" y="43"/>
                  </a:cxn>
                  <a:cxn ang="0">
                    <a:pos x="154" y="49"/>
                  </a:cxn>
                  <a:cxn ang="0">
                    <a:pos x="166" y="45"/>
                  </a:cxn>
                  <a:cxn ang="0">
                    <a:pos x="191" y="52"/>
                  </a:cxn>
                  <a:cxn ang="0">
                    <a:pos x="225" y="105"/>
                  </a:cxn>
                  <a:cxn ang="0">
                    <a:pos x="228" y="108"/>
                  </a:cxn>
                  <a:cxn ang="0">
                    <a:pos x="242" y="129"/>
                  </a:cxn>
                  <a:cxn ang="0">
                    <a:pos x="286" y="134"/>
                  </a:cxn>
                  <a:cxn ang="0">
                    <a:pos x="293" y="144"/>
                  </a:cxn>
                  <a:cxn ang="0">
                    <a:pos x="283" y="171"/>
                  </a:cxn>
                  <a:cxn ang="0">
                    <a:pos x="242" y="185"/>
                  </a:cxn>
                  <a:cxn ang="0">
                    <a:pos x="197" y="194"/>
                  </a:cxn>
                  <a:cxn ang="0">
                    <a:pos x="162" y="231"/>
                  </a:cxn>
                  <a:cxn ang="0">
                    <a:pos x="162" y="217"/>
                  </a:cxn>
                  <a:cxn ang="0">
                    <a:pos x="136" y="207"/>
                  </a:cxn>
                  <a:cxn ang="0">
                    <a:pos x="112" y="220"/>
                  </a:cxn>
                  <a:cxn ang="0">
                    <a:pos x="86" y="178"/>
                  </a:cxn>
                  <a:cxn ang="0">
                    <a:pos x="66" y="162"/>
                  </a:cxn>
                  <a:cxn ang="0">
                    <a:pos x="53" y="118"/>
                  </a:cxn>
                  <a:cxn ang="0">
                    <a:pos x="0" y="60"/>
                  </a:cxn>
                </a:cxnLst>
                <a:rect l="0" t="0" r="r" b="b"/>
                <a:pathLst>
                  <a:path w="293" h="231">
                    <a:moveTo>
                      <a:pt x="0" y="60"/>
                    </a:moveTo>
                    <a:lnTo>
                      <a:pt x="4" y="40"/>
                    </a:lnTo>
                    <a:lnTo>
                      <a:pt x="20" y="45"/>
                    </a:lnTo>
                    <a:lnTo>
                      <a:pt x="39" y="33"/>
                    </a:lnTo>
                    <a:lnTo>
                      <a:pt x="47" y="23"/>
                    </a:lnTo>
                    <a:lnTo>
                      <a:pt x="31" y="10"/>
                    </a:lnTo>
                    <a:lnTo>
                      <a:pt x="63" y="0"/>
                    </a:lnTo>
                    <a:lnTo>
                      <a:pt x="125" y="27"/>
                    </a:lnTo>
                    <a:lnTo>
                      <a:pt x="126" y="37"/>
                    </a:lnTo>
                    <a:lnTo>
                      <a:pt x="140" y="43"/>
                    </a:lnTo>
                    <a:lnTo>
                      <a:pt x="154" y="49"/>
                    </a:lnTo>
                    <a:lnTo>
                      <a:pt x="166" y="45"/>
                    </a:lnTo>
                    <a:lnTo>
                      <a:pt x="191" y="52"/>
                    </a:lnTo>
                    <a:lnTo>
                      <a:pt x="225" y="105"/>
                    </a:lnTo>
                    <a:lnTo>
                      <a:pt x="228" y="108"/>
                    </a:lnTo>
                    <a:lnTo>
                      <a:pt x="242" y="129"/>
                    </a:lnTo>
                    <a:lnTo>
                      <a:pt x="286" y="134"/>
                    </a:lnTo>
                    <a:lnTo>
                      <a:pt x="293" y="144"/>
                    </a:lnTo>
                    <a:lnTo>
                      <a:pt x="283" y="171"/>
                    </a:lnTo>
                    <a:lnTo>
                      <a:pt x="242" y="185"/>
                    </a:lnTo>
                    <a:lnTo>
                      <a:pt x="197" y="194"/>
                    </a:lnTo>
                    <a:lnTo>
                      <a:pt x="162" y="231"/>
                    </a:lnTo>
                    <a:lnTo>
                      <a:pt x="162" y="217"/>
                    </a:lnTo>
                    <a:lnTo>
                      <a:pt x="136" y="207"/>
                    </a:lnTo>
                    <a:lnTo>
                      <a:pt x="112" y="220"/>
                    </a:lnTo>
                    <a:lnTo>
                      <a:pt x="86" y="178"/>
                    </a:lnTo>
                    <a:lnTo>
                      <a:pt x="66" y="162"/>
                    </a:lnTo>
                    <a:lnTo>
                      <a:pt x="53" y="118"/>
                    </a:lnTo>
                    <a:lnTo>
                      <a:pt x="0" y="6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10" name="Freeform 266"/>
              <p:cNvSpPr>
                <a:spLocks noEditPoints="1"/>
              </p:cNvSpPr>
              <p:nvPr/>
            </p:nvSpPr>
            <p:spPr bwMode="auto">
              <a:xfrm>
                <a:off x="3226" y="1683"/>
                <a:ext cx="297" cy="235"/>
              </a:xfrm>
              <a:custGeom>
                <a:avLst/>
                <a:gdLst/>
                <a:ahLst/>
                <a:cxnLst>
                  <a:cxn ang="0">
                    <a:pos x="1" y="270"/>
                  </a:cxn>
                  <a:cxn ang="0">
                    <a:pos x="18" y="178"/>
                  </a:cxn>
                  <a:cxn ang="0">
                    <a:pos x="79" y="195"/>
                  </a:cxn>
                  <a:cxn ang="0">
                    <a:pos x="136" y="143"/>
                  </a:cxn>
                  <a:cxn ang="0">
                    <a:pos x="160" y="105"/>
                  </a:cxn>
                  <a:cxn ang="0">
                    <a:pos x="109" y="57"/>
                  </a:cxn>
                  <a:cxn ang="0">
                    <a:pos x="112" y="44"/>
                  </a:cxn>
                  <a:cxn ang="0">
                    <a:pos x="227" y="1"/>
                  </a:cxn>
                  <a:cxn ang="0">
                    <a:pos x="447" y="124"/>
                  </a:cxn>
                  <a:cxn ang="0">
                    <a:pos x="445" y="161"/>
                  </a:cxn>
                  <a:cxn ang="0">
                    <a:pos x="541" y="218"/>
                  </a:cxn>
                  <a:cxn ang="0">
                    <a:pos x="576" y="196"/>
                  </a:cxn>
                  <a:cxn ang="0">
                    <a:pos x="668" y="229"/>
                  </a:cxn>
                  <a:cxn ang="0">
                    <a:pos x="789" y="463"/>
                  </a:cxn>
                  <a:cxn ang="0">
                    <a:pos x="801" y="477"/>
                  </a:cxn>
                  <a:cxn ang="0">
                    <a:pos x="847" y="570"/>
                  </a:cxn>
                  <a:cxn ang="0">
                    <a:pos x="993" y="587"/>
                  </a:cxn>
                  <a:cxn ang="0">
                    <a:pos x="1023" y="632"/>
                  </a:cxn>
                  <a:cxn ang="0">
                    <a:pos x="988" y="758"/>
                  </a:cxn>
                  <a:cxn ang="0">
                    <a:pos x="843" y="823"/>
                  </a:cxn>
                  <a:cxn ang="0">
                    <a:pos x="689" y="863"/>
                  </a:cxn>
                  <a:cxn ang="0">
                    <a:pos x="571" y="1021"/>
                  </a:cxn>
                  <a:cxn ang="0">
                    <a:pos x="556" y="1016"/>
                  </a:cxn>
                  <a:cxn ang="0">
                    <a:pos x="561" y="962"/>
                  </a:cxn>
                  <a:cxn ang="0">
                    <a:pos x="482" y="922"/>
                  </a:cxn>
                  <a:cxn ang="0">
                    <a:pos x="390" y="978"/>
                  </a:cxn>
                  <a:cxn ang="0">
                    <a:pos x="296" y="791"/>
                  </a:cxn>
                  <a:cxn ang="0">
                    <a:pos x="228" y="722"/>
                  </a:cxn>
                  <a:cxn ang="0">
                    <a:pos x="180" y="527"/>
                  </a:cxn>
                  <a:cxn ang="0">
                    <a:pos x="2" y="275"/>
                  </a:cxn>
                  <a:cxn ang="0">
                    <a:pos x="196" y="523"/>
                  </a:cxn>
                  <a:cxn ang="0">
                    <a:pos x="239" y="710"/>
                  </a:cxn>
                  <a:cxn ang="0">
                    <a:pos x="311" y="784"/>
                  </a:cxn>
                  <a:cxn ang="0">
                    <a:pos x="387" y="963"/>
                  </a:cxn>
                  <a:cxn ang="0">
                    <a:pos x="481" y="908"/>
                  </a:cxn>
                  <a:cxn ang="0">
                    <a:pos x="572" y="955"/>
                  </a:cxn>
                  <a:cxn ang="0">
                    <a:pos x="558" y="1012"/>
                  </a:cxn>
                  <a:cxn ang="0">
                    <a:pos x="685" y="848"/>
                  </a:cxn>
                  <a:cxn ang="0">
                    <a:pos x="837" y="808"/>
                  </a:cxn>
                  <a:cxn ang="0">
                    <a:pos x="973" y="753"/>
                  </a:cxn>
                  <a:cxn ang="0">
                    <a:pos x="1010" y="640"/>
                  </a:cxn>
                  <a:cxn ang="0">
                    <a:pos x="991" y="603"/>
                  </a:cxn>
                  <a:cxn ang="0">
                    <a:pos x="833" y="577"/>
                  </a:cxn>
                  <a:cxn ang="0">
                    <a:pos x="788" y="487"/>
                  </a:cxn>
                  <a:cxn ang="0">
                    <a:pos x="775" y="470"/>
                  </a:cxn>
                  <a:cxn ang="0">
                    <a:pos x="662" y="243"/>
                  </a:cxn>
                  <a:cxn ang="0">
                    <a:pos x="583" y="210"/>
                  </a:cxn>
                  <a:cxn ang="0">
                    <a:pos x="532" y="231"/>
                  </a:cxn>
                  <a:cxn ang="0">
                    <a:pos x="437" y="175"/>
                  </a:cxn>
                  <a:cxn ang="0">
                    <a:pos x="431" y="125"/>
                  </a:cxn>
                  <a:cxn ang="0">
                    <a:pos x="220" y="16"/>
                  </a:cxn>
                  <a:cxn ang="0">
                    <a:pos x="118" y="59"/>
                  </a:cxn>
                  <a:cxn ang="0">
                    <a:pos x="173" y="104"/>
                  </a:cxn>
                  <a:cxn ang="0">
                    <a:pos x="148" y="154"/>
                  </a:cxn>
                  <a:cxn ang="0">
                    <a:pos x="81" y="209"/>
                  </a:cxn>
                  <a:cxn ang="0">
                    <a:pos x="20" y="192"/>
                  </a:cxn>
                  <a:cxn ang="0">
                    <a:pos x="16" y="272"/>
                  </a:cxn>
                  <a:cxn ang="0">
                    <a:pos x="194" y="520"/>
                  </a:cxn>
                </a:cxnLst>
                <a:rect l="0" t="0" r="r" b="b"/>
                <a:pathLst>
                  <a:path w="1025" h="1025">
                    <a:moveTo>
                      <a:pt x="2" y="275"/>
                    </a:moveTo>
                    <a:cubicBezTo>
                      <a:pt x="1" y="274"/>
                      <a:pt x="0" y="272"/>
                      <a:pt x="1" y="270"/>
                    </a:cubicBezTo>
                    <a:lnTo>
                      <a:pt x="14" y="183"/>
                    </a:lnTo>
                    <a:cubicBezTo>
                      <a:pt x="15" y="181"/>
                      <a:pt x="16" y="179"/>
                      <a:pt x="18" y="178"/>
                    </a:cubicBezTo>
                    <a:cubicBezTo>
                      <a:pt x="20" y="176"/>
                      <a:pt x="23" y="176"/>
                      <a:pt x="25" y="177"/>
                    </a:cubicBezTo>
                    <a:lnTo>
                      <a:pt x="79" y="195"/>
                    </a:lnTo>
                    <a:lnTo>
                      <a:pt x="71" y="197"/>
                    </a:lnTo>
                    <a:lnTo>
                      <a:pt x="136" y="143"/>
                    </a:lnTo>
                    <a:lnTo>
                      <a:pt x="134" y="145"/>
                    </a:lnTo>
                    <a:lnTo>
                      <a:pt x="160" y="105"/>
                    </a:lnTo>
                    <a:lnTo>
                      <a:pt x="161" y="115"/>
                    </a:lnTo>
                    <a:lnTo>
                      <a:pt x="109" y="57"/>
                    </a:lnTo>
                    <a:cubicBezTo>
                      <a:pt x="107" y="55"/>
                      <a:pt x="106" y="52"/>
                      <a:pt x="107" y="50"/>
                    </a:cubicBezTo>
                    <a:cubicBezTo>
                      <a:pt x="107" y="47"/>
                      <a:pt x="109" y="45"/>
                      <a:pt x="112" y="44"/>
                    </a:cubicBezTo>
                    <a:lnTo>
                      <a:pt x="221" y="1"/>
                    </a:lnTo>
                    <a:cubicBezTo>
                      <a:pt x="223" y="0"/>
                      <a:pt x="225" y="0"/>
                      <a:pt x="227" y="1"/>
                    </a:cubicBezTo>
                    <a:lnTo>
                      <a:pt x="443" y="118"/>
                    </a:lnTo>
                    <a:cubicBezTo>
                      <a:pt x="445" y="119"/>
                      <a:pt x="447" y="121"/>
                      <a:pt x="447" y="124"/>
                    </a:cubicBezTo>
                    <a:lnTo>
                      <a:pt x="449" y="167"/>
                    </a:lnTo>
                    <a:lnTo>
                      <a:pt x="445" y="161"/>
                    </a:lnTo>
                    <a:lnTo>
                      <a:pt x="495" y="189"/>
                    </a:lnTo>
                    <a:lnTo>
                      <a:pt x="541" y="218"/>
                    </a:lnTo>
                    <a:lnTo>
                      <a:pt x="533" y="217"/>
                    </a:lnTo>
                    <a:lnTo>
                      <a:pt x="576" y="196"/>
                    </a:lnTo>
                    <a:cubicBezTo>
                      <a:pt x="578" y="195"/>
                      <a:pt x="580" y="194"/>
                      <a:pt x="582" y="195"/>
                    </a:cubicBezTo>
                    <a:lnTo>
                      <a:pt x="668" y="229"/>
                    </a:lnTo>
                    <a:cubicBezTo>
                      <a:pt x="670" y="229"/>
                      <a:pt x="671" y="231"/>
                      <a:pt x="672" y="232"/>
                    </a:cubicBezTo>
                    <a:lnTo>
                      <a:pt x="789" y="463"/>
                    </a:lnTo>
                    <a:lnTo>
                      <a:pt x="788" y="462"/>
                    </a:lnTo>
                    <a:lnTo>
                      <a:pt x="801" y="477"/>
                    </a:lnTo>
                    <a:cubicBezTo>
                      <a:pt x="801" y="477"/>
                      <a:pt x="801" y="478"/>
                      <a:pt x="802" y="478"/>
                    </a:cubicBezTo>
                    <a:lnTo>
                      <a:pt x="847" y="570"/>
                    </a:lnTo>
                    <a:lnTo>
                      <a:pt x="841" y="565"/>
                    </a:lnTo>
                    <a:lnTo>
                      <a:pt x="993" y="587"/>
                    </a:lnTo>
                    <a:cubicBezTo>
                      <a:pt x="995" y="587"/>
                      <a:pt x="997" y="588"/>
                      <a:pt x="999" y="591"/>
                    </a:cubicBezTo>
                    <a:lnTo>
                      <a:pt x="1023" y="632"/>
                    </a:lnTo>
                    <a:cubicBezTo>
                      <a:pt x="1024" y="634"/>
                      <a:pt x="1025" y="636"/>
                      <a:pt x="1024" y="638"/>
                    </a:cubicBezTo>
                    <a:lnTo>
                      <a:pt x="988" y="758"/>
                    </a:lnTo>
                    <a:cubicBezTo>
                      <a:pt x="988" y="760"/>
                      <a:pt x="986" y="762"/>
                      <a:pt x="984" y="763"/>
                    </a:cubicBezTo>
                    <a:lnTo>
                      <a:pt x="843" y="823"/>
                    </a:lnTo>
                    <a:cubicBezTo>
                      <a:pt x="843" y="823"/>
                      <a:pt x="842" y="823"/>
                      <a:pt x="842" y="823"/>
                    </a:cubicBezTo>
                    <a:lnTo>
                      <a:pt x="689" y="863"/>
                    </a:lnTo>
                    <a:lnTo>
                      <a:pt x="693" y="860"/>
                    </a:lnTo>
                    <a:lnTo>
                      <a:pt x="571" y="1021"/>
                    </a:lnTo>
                    <a:cubicBezTo>
                      <a:pt x="568" y="1024"/>
                      <a:pt x="565" y="1025"/>
                      <a:pt x="562" y="1024"/>
                    </a:cubicBezTo>
                    <a:cubicBezTo>
                      <a:pt x="558" y="1023"/>
                      <a:pt x="556" y="1020"/>
                      <a:pt x="556" y="1016"/>
                    </a:cubicBezTo>
                    <a:lnTo>
                      <a:pt x="556" y="955"/>
                    </a:lnTo>
                    <a:lnTo>
                      <a:pt x="561" y="962"/>
                    </a:lnTo>
                    <a:lnTo>
                      <a:pt x="474" y="922"/>
                    </a:lnTo>
                    <a:lnTo>
                      <a:pt x="482" y="922"/>
                    </a:lnTo>
                    <a:lnTo>
                      <a:pt x="396" y="977"/>
                    </a:lnTo>
                    <a:cubicBezTo>
                      <a:pt x="394" y="978"/>
                      <a:pt x="392" y="978"/>
                      <a:pt x="390" y="978"/>
                    </a:cubicBezTo>
                    <a:cubicBezTo>
                      <a:pt x="387" y="977"/>
                      <a:pt x="386" y="976"/>
                      <a:pt x="385" y="973"/>
                    </a:cubicBezTo>
                    <a:lnTo>
                      <a:pt x="296" y="791"/>
                    </a:lnTo>
                    <a:lnTo>
                      <a:pt x="298" y="793"/>
                    </a:lnTo>
                    <a:lnTo>
                      <a:pt x="228" y="722"/>
                    </a:lnTo>
                    <a:cubicBezTo>
                      <a:pt x="227" y="720"/>
                      <a:pt x="226" y="719"/>
                      <a:pt x="225" y="718"/>
                    </a:cubicBezTo>
                    <a:lnTo>
                      <a:pt x="180" y="527"/>
                    </a:lnTo>
                    <a:lnTo>
                      <a:pt x="181" y="530"/>
                    </a:lnTo>
                    <a:lnTo>
                      <a:pt x="2" y="275"/>
                    </a:lnTo>
                    <a:close/>
                    <a:moveTo>
                      <a:pt x="194" y="520"/>
                    </a:moveTo>
                    <a:cubicBezTo>
                      <a:pt x="195" y="521"/>
                      <a:pt x="195" y="522"/>
                      <a:pt x="196" y="523"/>
                    </a:cubicBezTo>
                    <a:lnTo>
                      <a:pt x="241" y="714"/>
                    </a:lnTo>
                    <a:lnTo>
                      <a:pt x="239" y="710"/>
                    </a:lnTo>
                    <a:lnTo>
                      <a:pt x="309" y="782"/>
                    </a:lnTo>
                    <a:cubicBezTo>
                      <a:pt x="310" y="782"/>
                      <a:pt x="310" y="783"/>
                      <a:pt x="311" y="784"/>
                    </a:cubicBezTo>
                    <a:lnTo>
                      <a:pt x="399" y="966"/>
                    </a:lnTo>
                    <a:lnTo>
                      <a:pt x="387" y="963"/>
                    </a:lnTo>
                    <a:lnTo>
                      <a:pt x="473" y="908"/>
                    </a:lnTo>
                    <a:cubicBezTo>
                      <a:pt x="475" y="907"/>
                      <a:pt x="478" y="907"/>
                      <a:pt x="481" y="908"/>
                    </a:cubicBezTo>
                    <a:lnTo>
                      <a:pt x="568" y="948"/>
                    </a:lnTo>
                    <a:cubicBezTo>
                      <a:pt x="570" y="949"/>
                      <a:pt x="572" y="952"/>
                      <a:pt x="572" y="955"/>
                    </a:cubicBezTo>
                    <a:lnTo>
                      <a:pt x="572" y="1016"/>
                    </a:lnTo>
                    <a:lnTo>
                      <a:pt x="558" y="1012"/>
                    </a:lnTo>
                    <a:lnTo>
                      <a:pt x="681" y="851"/>
                    </a:lnTo>
                    <a:cubicBezTo>
                      <a:pt x="682" y="849"/>
                      <a:pt x="683" y="848"/>
                      <a:pt x="685" y="848"/>
                    </a:cubicBezTo>
                    <a:lnTo>
                      <a:pt x="838" y="808"/>
                    </a:lnTo>
                    <a:lnTo>
                      <a:pt x="837" y="808"/>
                    </a:lnTo>
                    <a:lnTo>
                      <a:pt x="977" y="748"/>
                    </a:lnTo>
                    <a:lnTo>
                      <a:pt x="973" y="753"/>
                    </a:lnTo>
                    <a:lnTo>
                      <a:pt x="1009" y="634"/>
                    </a:lnTo>
                    <a:lnTo>
                      <a:pt x="1010" y="640"/>
                    </a:lnTo>
                    <a:lnTo>
                      <a:pt x="985" y="599"/>
                    </a:lnTo>
                    <a:lnTo>
                      <a:pt x="991" y="603"/>
                    </a:lnTo>
                    <a:lnTo>
                      <a:pt x="839" y="581"/>
                    </a:lnTo>
                    <a:cubicBezTo>
                      <a:pt x="836" y="581"/>
                      <a:pt x="834" y="579"/>
                      <a:pt x="833" y="577"/>
                    </a:cubicBezTo>
                    <a:lnTo>
                      <a:pt x="787" y="485"/>
                    </a:lnTo>
                    <a:lnTo>
                      <a:pt x="788" y="487"/>
                    </a:lnTo>
                    <a:lnTo>
                      <a:pt x="776" y="472"/>
                    </a:lnTo>
                    <a:cubicBezTo>
                      <a:pt x="776" y="471"/>
                      <a:pt x="775" y="471"/>
                      <a:pt x="775" y="470"/>
                    </a:cubicBezTo>
                    <a:lnTo>
                      <a:pt x="658" y="240"/>
                    </a:lnTo>
                    <a:lnTo>
                      <a:pt x="662" y="243"/>
                    </a:lnTo>
                    <a:lnTo>
                      <a:pt x="576" y="210"/>
                    </a:lnTo>
                    <a:lnTo>
                      <a:pt x="583" y="210"/>
                    </a:lnTo>
                    <a:lnTo>
                      <a:pt x="540" y="231"/>
                    </a:lnTo>
                    <a:cubicBezTo>
                      <a:pt x="538" y="233"/>
                      <a:pt x="535" y="233"/>
                      <a:pt x="532" y="231"/>
                    </a:cubicBezTo>
                    <a:lnTo>
                      <a:pt x="487" y="203"/>
                    </a:lnTo>
                    <a:lnTo>
                      <a:pt x="437" y="175"/>
                    </a:lnTo>
                    <a:cubicBezTo>
                      <a:pt x="435" y="174"/>
                      <a:pt x="434" y="171"/>
                      <a:pt x="433" y="168"/>
                    </a:cubicBezTo>
                    <a:lnTo>
                      <a:pt x="431" y="125"/>
                    </a:lnTo>
                    <a:lnTo>
                      <a:pt x="435" y="132"/>
                    </a:lnTo>
                    <a:lnTo>
                      <a:pt x="220" y="16"/>
                    </a:lnTo>
                    <a:lnTo>
                      <a:pt x="227" y="16"/>
                    </a:lnTo>
                    <a:lnTo>
                      <a:pt x="118" y="59"/>
                    </a:lnTo>
                    <a:lnTo>
                      <a:pt x="121" y="46"/>
                    </a:lnTo>
                    <a:lnTo>
                      <a:pt x="173" y="104"/>
                    </a:lnTo>
                    <a:cubicBezTo>
                      <a:pt x="175" y="107"/>
                      <a:pt x="176" y="111"/>
                      <a:pt x="174" y="114"/>
                    </a:cubicBezTo>
                    <a:lnTo>
                      <a:pt x="148" y="154"/>
                    </a:lnTo>
                    <a:cubicBezTo>
                      <a:pt x="147" y="155"/>
                      <a:pt x="147" y="155"/>
                      <a:pt x="146" y="156"/>
                    </a:cubicBezTo>
                    <a:lnTo>
                      <a:pt x="81" y="209"/>
                    </a:lnTo>
                    <a:cubicBezTo>
                      <a:pt x="79" y="211"/>
                      <a:pt x="76" y="211"/>
                      <a:pt x="73" y="210"/>
                    </a:cubicBezTo>
                    <a:lnTo>
                      <a:pt x="20" y="192"/>
                    </a:lnTo>
                    <a:lnTo>
                      <a:pt x="30" y="186"/>
                    </a:lnTo>
                    <a:lnTo>
                      <a:pt x="16" y="272"/>
                    </a:lnTo>
                    <a:lnTo>
                      <a:pt x="15" y="266"/>
                    </a:lnTo>
                    <a:lnTo>
                      <a:pt x="194" y="520"/>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11" name="Freeform 267"/>
              <p:cNvSpPr>
                <a:spLocks/>
              </p:cNvSpPr>
              <p:nvPr/>
            </p:nvSpPr>
            <p:spPr bwMode="auto">
              <a:xfrm>
                <a:off x="3395" y="716"/>
                <a:ext cx="65" cy="29"/>
              </a:xfrm>
              <a:custGeom>
                <a:avLst/>
                <a:gdLst/>
                <a:ahLst/>
                <a:cxnLst>
                  <a:cxn ang="0">
                    <a:pos x="0" y="21"/>
                  </a:cxn>
                  <a:cxn ang="0">
                    <a:pos x="14" y="14"/>
                  </a:cxn>
                  <a:cxn ang="0">
                    <a:pos x="4" y="9"/>
                  </a:cxn>
                  <a:cxn ang="0">
                    <a:pos x="50" y="0"/>
                  </a:cxn>
                  <a:cxn ang="0">
                    <a:pos x="59" y="0"/>
                  </a:cxn>
                  <a:cxn ang="0">
                    <a:pos x="50" y="8"/>
                  </a:cxn>
                  <a:cxn ang="0">
                    <a:pos x="65" y="7"/>
                  </a:cxn>
                  <a:cxn ang="0">
                    <a:pos x="24" y="24"/>
                  </a:cxn>
                  <a:cxn ang="0">
                    <a:pos x="14" y="29"/>
                  </a:cxn>
                  <a:cxn ang="0">
                    <a:pos x="16" y="22"/>
                  </a:cxn>
                  <a:cxn ang="0">
                    <a:pos x="0" y="21"/>
                  </a:cxn>
                </a:cxnLst>
                <a:rect l="0" t="0" r="r" b="b"/>
                <a:pathLst>
                  <a:path w="65" h="29">
                    <a:moveTo>
                      <a:pt x="0" y="21"/>
                    </a:moveTo>
                    <a:lnTo>
                      <a:pt x="14" y="14"/>
                    </a:lnTo>
                    <a:lnTo>
                      <a:pt x="4" y="9"/>
                    </a:lnTo>
                    <a:lnTo>
                      <a:pt x="50" y="0"/>
                    </a:lnTo>
                    <a:lnTo>
                      <a:pt x="59" y="0"/>
                    </a:lnTo>
                    <a:lnTo>
                      <a:pt x="50" y="8"/>
                    </a:lnTo>
                    <a:lnTo>
                      <a:pt x="65" y="7"/>
                    </a:lnTo>
                    <a:lnTo>
                      <a:pt x="24" y="24"/>
                    </a:lnTo>
                    <a:lnTo>
                      <a:pt x="14" y="29"/>
                    </a:lnTo>
                    <a:lnTo>
                      <a:pt x="16" y="22"/>
                    </a:lnTo>
                    <a:lnTo>
                      <a:pt x="0" y="2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12" name="Freeform 268"/>
              <p:cNvSpPr>
                <a:spLocks noEditPoints="1"/>
              </p:cNvSpPr>
              <p:nvPr/>
            </p:nvSpPr>
            <p:spPr bwMode="auto">
              <a:xfrm>
                <a:off x="3393" y="714"/>
                <a:ext cx="70" cy="33"/>
              </a:xfrm>
              <a:custGeom>
                <a:avLst/>
                <a:gdLst/>
                <a:ahLst/>
                <a:cxnLst>
                  <a:cxn ang="0">
                    <a:pos x="8" y="108"/>
                  </a:cxn>
                  <a:cxn ang="0">
                    <a:pos x="1" y="102"/>
                  </a:cxn>
                  <a:cxn ang="0">
                    <a:pos x="4" y="93"/>
                  </a:cxn>
                  <a:cxn ang="0">
                    <a:pos x="50" y="64"/>
                  </a:cxn>
                  <a:cxn ang="0">
                    <a:pos x="49" y="77"/>
                  </a:cxn>
                  <a:cxn ang="0">
                    <a:pos x="16" y="53"/>
                  </a:cxn>
                  <a:cxn ang="0">
                    <a:pos x="12" y="45"/>
                  </a:cxn>
                  <a:cxn ang="0">
                    <a:pos x="18" y="39"/>
                  </a:cxn>
                  <a:cxn ang="0">
                    <a:pos x="179" y="1"/>
                  </a:cxn>
                  <a:cxn ang="0">
                    <a:pos x="181" y="0"/>
                  </a:cxn>
                  <a:cxn ang="0">
                    <a:pos x="210" y="2"/>
                  </a:cxn>
                  <a:cxn ang="0">
                    <a:pos x="216" y="7"/>
                  </a:cxn>
                  <a:cxn ang="0">
                    <a:pos x="215" y="16"/>
                  </a:cxn>
                  <a:cxn ang="0">
                    <a:pos x="184" y="49"/>
                  </a:cxn>
                  <a:cxn ang="0">
                    <a:pos x="177" y="35"/>
                  </a:cxn>
                  <a:cxn ang="0">
                    <a:pos x="232" y="32"/>
                  </a:cxn>
                  <a:cxn ang="0">
                    <a:pos x="240" y="37"/>
                  </a:cxn>
                  <a:cxn ang="0">
                    <a:pos x="236" y="47"/>
                  </a:cxn>
                  <a:cxn ang="0">
                    <a:pos x="92" y="123"/>
                  </a:cxn>
                  <a:cxn ang="0">
                    <a:pos x="58" y="143"/>
                  </a:cxn>
                  <a:cxn ang="0">
                    <a:pos x="49" y="143"/>
                  </a:cxn>
                  <a:cxn ang="0">
                    <a:pos x="46" y="134"/>
                  </a:cxn>
                  <a:cxn ang="0">
                    <a:pos x="55" y="103"/>
                  </a:cxn>
                  <a:cxn ang="0">
                    <a:pos x="62" y="113"/>
                  </a:cxn>
                  <a:cxn ang="0">
                    <a:pos x="8" y="108"/>
                  </a:cxn>
                  <a:cxn ang="0">
                    <a:pos x="64" y="97"/>
                  </a:cxn>
                  <a:cxn ang="0">
                    <a:pos x="70" y="101"/>
                  </a:cxn>
                  <a:cxn ang="0">
                    <a:pos x="71" y="108"/>
                  </a:cxn>
                  <a:cxn ang="0">
                    <a:pos x="62" y="139"/>
                  </a:cxn>
                  <a:cxn ang="0">
                    <a:pos x="50" y="130"/>
                  </a:cxn>
                  <a:cxn ang="0">
                    <a:pos x="84" y="109"/>
                  </a:cxn>
                  <a:cxn ang="0">
                    <a:pos x="229" y="33"/>
                  </a:cxn>
                  <a:cxn ang="0">
                    <a:pos x="233" y="48"/>
                  </a:cxn>
                  <a:cxn ang="0">
                    <a:pos x="178" y="51"/>
                  </a:cxn>
                  <a:cxn ang="0">
                    <a:pos x="171" y="46"/>
                  </a:cxn>
                  <a:cxn ang="0">
                    <a:pos x="172" y="38"/>
                  </a:cxn>
                  <a:cxn ang="0">
                    <a:pos x="203" y="5"/>
                  </a:cxn>
                  <a:cxn ang="0">
                    <a:pos x="209" y="18"/>
                  </a:cxn>
                  <a:cxn ang="0">
                    <a:pos x="180" y="16"/>
                  </a:cxn>
                  <a:cxn ang="0">
                    <a:pos x="182" y="16"/>
                  </a:cxn>
                  <a:cxn ang="0">
                    <a:pos x="22" y="54"/>
                  </a:cxn>
                  <a:cxn ang="0">
                    <a:pos x="25" y="40"/>
                  </a:cxn>
                  <a:cxn ang="0">
                    <a:pos x="59" y="64"/>
                  </a:cxn>
                  <a:cxn ang="0">
                    <a:pos x="62" y="71"/>
                  </a:cxn>
                  <a:cxn ang="0">
                    <a:pos x="58" y="77"/>
                  </a:cxn>
                  <a:cxn ang="0">
                    <a:pos x="13" y="107"/>
                  </a:cxn>
                  <a:cxn ang="0">
                    <a:pos x="9" y="92"/>
                  </a:cxn>
                  <a:cxn ang="0">
                    <a:pos x="64" y="97"/>
                  </a:cxn>
                </a:cxnLst>
                <a:rect l="0" t="0" r="r" b="b"/>
                <a:pathLst>
                  <a:path w="241" h="145">
                    <a:moveTo>
                      <a:pt x="8" y="108"/>
                    </a:moveTo>
                    <a:cubicBezTo>
                      <a:pt x="4" y="108"/>
                      <a:pt x="1" y="105"/>
                      <a:pt x="1" y="102"/>
                    </a:cubicBezTo>
                    <a:cubicBezTo>
                      <a:pt x="0" y="99"/>
                      <a:pt x="1" y="95"/>
                      <a:pt x="4" y="93"/>
                    </a:cubicBezTo>
                    <a:lnTo>
                      <a:pt x="50" y="64"/>
                    </a:lnTo>
                    <a:lnTo>
                      <a:pt x="49" y="77"/>
                    </a:lnTo>
                    <a:lnTo>
                      <a:pt x="16" y="53"/>
                    </a:lnTo>
                    <a:cubicBezTo>
                      <a:pt x="13" y="51"/>
                      <a:pt x="12" y="48"/>
                      <a:pt x="12" y="45"/>
                    </a:cubicBezTo>
                    <a:cubicBezTo>
                      <a:pt x="13" y="42"/>
                      <a:pt x="15" y="39"/>
                      <a:pt x="18" y="39"/>
                    </a:cubicBezTo>
                    <a:lnTo>
                      <a:pt x="179" y="1"/>
                    </a:lnTo>
                    <a:cubicBezTo>
                      <a:pt x="179" y="0"/>
                      <a:pt x="180" y="0"/>
                      <a:pt x="181" y="0"/>
                    </a:cubicBezTo>
                    <a:lnTo>
                      <a:pt x="210" y="2"/>
                    </a:lnTo>
                    <a:cubicBezTo>
                      <a:pt x="213" y="2"/>
                      <a:pt x="215" y="4"/>
                      <a:pt x="216" y="7"/>
                    </a:cubicBezTo>
                    <a:cubicBezTo>
                      <a:pt x="218" y="10"/>
                      <a:pt x="217" y="13"/>
                      <a:pt x="215" y="16"/>
                    </a:cubicBezTo>
                    <a:lnTo>
                      <a:pt x="184" y="49"/>
                    </a:lnTo>
                    <a:lnTo>
                      <a:pt x="177" y="35"/>
                    </a:lnTo>
                    <a:lnTo>
                      <a:pt x="232" y="32"/>
                    </a:lnTo>
                    <a:cubicBezTo>
                      <a:pt x="236" y="31"/>
                      <a:pt x="239" y="34"/>
                      <a:pt x="240" y="37"/>
                    </a:cubicBezTo>
                    <a:cubicBezTo>
                      <a:pt x="241" y="41"/>
                      <a:pt x="240" y="45"/>
                      <a:pt x="236" y="47"/>
                    </a:cubicBezTo>
                    <a:lnTo>
                      <a:pt x="92" y="123"/>
                    </a:lnTo>
                    <a:lnTo>
                      <a:pt x="58" y="143"/>
                    </a:lnTo>
                    <a:cubicBezTo>
                      <a:pt x="55" y="145"/>
                      <a:pt x="52" y="145"/>
                      <a:pt x="49" y="143"/>
                    </a:cubicBezTo>
                    <a:cubicBezTo>
                      <a:pt x="47" y="141"/>
                      <a:pt x="45" y="137"/>
                      <a:pt x="46" y="134"/>
                    </a:cubicBezTo>
                    <a:lnTo>
                      <a:pt x="55" y="103"/>
                    </a:lnTo>
                    <a:lnTo>
                      <a:pt x="62" y="113"/>
                    </a:lnTo>
                    <a:lnTo>
                      <a:pt x="8" y="108"/>
                    </a:lnTo>
                    <a:close/>
                    <a:moveTo>
                      <a:pt x="64" y="97"/>
                    </a:moveTo>
                    <a:cubicBezTo>
                      <a:pt x="66" y="98"/>
                      <a:pt x="68" y="99"/>
                      <a:pt x="70" y="101"/>
                    </a:cubicBezTo>
                    <a:cubicBezTo>
                      <a:pt x="71" y="103"/>
                      <a:pt x="72" y="105"/>
                      <a:pt x="71" y="108"/>
                    </a:cubicBezTo>
                    <a:lnTo>
                      <a:pt x="62" y="139"/>
                    </a:lnTo>
                    <a:lnTo>
                      <a:pt x="50" y="130"/>
                    </a:lnTo>
                    <a:lnTo>
                      <a:pt x="84" y="109"/>
                    </a:lnTo>
                    <a:lnTo>
                      <a:pt x="229" y="33"/>
                    </a:lnTo>
                    <a:lnTo>
                      <a:pt x="233" y="48"/>
                    </a:lnTo>
                    <a:lnTo>
                      <a:pt x="178" y="51"/>
                    </a:lnTo>
                    <a:cubicBezTo>
                      <a:pt x="175" y="51"/>
                      <a:pt x="172" y="49"/>
                      <a:pt x="171" y="46"/>
                    </a:cubicBezTo>
                    <a:cubicBezTo>
                      <a:pt x="169" y="43"/>
                      <a:pt x="170" y="40"/>
                      <a:pt x="172" y="38"/>
                    </a:cubicBezTo>
                    <a:lnTo>
                      <a:pt x="203" y="5"/>
                    </a:lnTo>
                    <a:lnTo>
                      <a:pt x="209" y="18"/>
                    </a:lnTo>
                    <a:lnTo>
                      <a:pt x="180" y="16"/>
                    </a:lnTo>
                    <a:lnTo>
                      <a:pt x="182" y="16"/>
                    </a:lnTo>
                    <a:lnTo>
                      <a:pt x="22" y="54"/>
                    </a:lnTo>
                    <a:lnTo>
                      <a:pt x="25" y="40"/>
                    </a:lnTo>
                    <a:lnTo>
                      <a:pt x="59" y="64"/>
                    </a:lnTo>
                    <a:cubicBezTo>
                      <a:pt x="61" y="66"/>
                      <a:pt x="62" y="68"/>
                      <a:pt x="62" y="71"/>
                    </a:cubicBezTo>
                    <a:cubicBezTo>
                      <a:pt x="62" y="74"/>
                      <a:pt x="61" y="76"/>
                      <a:pt x="58" y="77"/>
                    </a:cubicBezTo>
                    <a:lnTo>
                      <a:pt x="13" y="107"/>
                    </a:lnTo>
                    <a:lnTo>
                      <a:pt x="9" y="92"/>
                    </a:lnTo>
                    <a:lnTo>
                      <a:pt x="64" y="97"/>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13" name="Freeform 269"/>
              <p:cNvSpPr>
                <a:spLocks/>
              </p:cNvSpPr>
              <p:nvPr/>
            </p:nvSpPr>
            <p:spPr bwMode="auto">
              <a:xfrm>
                <a:off x="3414" y="1019"/>
                <a:ext cx="28" cy="19"/>
              </a:xfrm>
              <a:custGeom>
                <a:avLst/>
                <a:gdLst/>
                <a:ahLst/>
                <a:cxnLst>
                  <a:cxn ang="0">
                    <a:pos x="0" y="19"/>
                  </a:cxn>
                  <a:cxn ang="0">
                    <a:pos x="8" y="0"/>
                  </a:cxn>
                  <a:cxn ang="0">
                    <a:pos x="28" y="11"/>
                  </a:cxn>
                  <a:cxn ang="0">
                    <a:pos x="0" y="19"/>
                  </a:cxn>
                </a:cxnLst>
                <a:rect l="0" t="0" r="r" b="b"/>
                <a:pathLst>
                  <a:path w="28" h="19">
                    <a:moveTo>
                      <a:pt x="0" y="19"/>
                    </a:moveTo>
                    <a:lnTo>
                      <a:pt x="8" y="0"/>
                    </a:lnTo>
                    <a:lnTo>
                      <a:pt x="28" y="11"/>
                    </a:lnTo>
                    <a:lnTo>
                      <a:pt x="0" y="19"/>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14" name="Freeform 270"/>
              <p:cNvSpPr>
                <a:spLocks noEditPoints="1"/>
              </p:cNvSpPr>
              <p:nvPr/>
            </p:nvSpPr>
            <p:spPr bwMode="auto">
              <a:xfrm>
                <a:off x="3412" y="1017"/>
                <a:ext cx="32" cy="23"/>
              </a:xfrm>
              <a:custGeom>
                <a:avLst/>
                <a:gdLst/>
                <a:ahLst/>
                <a:cxnLst>
                  <a:cxn ang="0">
                    <a:pos x="11" y="96"/>
                  </a:cxn>
                  <a:cxn ang="0">
                    <a:pos x="3" y="94"/>
                  </a:cxn>
                  <a:cxn ang="0">
                    <a:pos x="1" y="86"/>
                  </a:cxn>
                  <a:cxn ang="0">
                    <a:pos x="28" y="6"/>
                  </a:cxn>
                  <a:cxn ang="0">
                    <a:pos x="33" y="1"/>
                  </a:cxn>
                  <a:cxn ang="0">
                    <a:pos x="40" y="2"/>
                  </a:cxn>
                  <a:cxn ang="0">
                    <a:pos x="109" y="47"/>
                  </a:cxn>
                  <a:cxn ang="0">
                    <a:pos x="112" y="55"/>
                  </a:cxn>
                  <a:cxn ang="0">
                    <a:pos x="107" y="61"/>
                  </a:cxn>
                  <a:cxn ang="0">
                    <a:pos x="11" y="96"/>
                  </a:cxn>
                  <a:cxn ang="0">
                    <a:pos x="102" y="46"/>
                  </a:cxn>
                  <a:cxn ang="0">
                    <a:pos x="100" y="60"/>
                  </a:cxn>
                  <a:cxn ang="0">
                    <a:pos x="31" y="15"/>
                  </a:cxn>
                  <a:cxn ang="0">
                    <a:pos x="43" y="11"/>
                  </a:cxn>
                  <a:cxn ang="0">
                    <a:pos x="16" y="91"/>
                  </a:cxn>
                  <a:cxn ang="0">
                    <a:pos x="6" y="81"/>
                  </a:cxn>
                  <a:cxn ang="0">
                    <a:pos x="102" y="46"/>
                  </a:cxn>
                </a:cxnLst>
                <a:rect l="0" t="0" r="r" b="b"/>
                <a:pathLst>
                  <a:path w="113" h="97">
                    <a:moveTo>
                      <a:pt x="11" y="96"/>
                    </a:moveTo>
                    <a:cubicBezTo>
                      <a:pt x="8" y="97"/>
                      <a:pt x="5" y="96"/>
                      <a:pt x="3" y="94"/>
                    </a:cubicBezTo>
                    <a:cubicBezTo>
                      <a:pt x="1" y="92"/>
                      <a:pt x="0" y="89"/>
                      <a:pt x="1" y="86"/>
                    </a:cubicBezTo>
                    <a:lnTo>
                      <a:pt x="28" y="6"/>
                    </a:lnTo>
                    <a:cubicBezTo>
                      <a:pt x="28" y="4"/>
                      <a:pt x="30" y="2"/>
                      <a:pt x="33" y="1"/>
                    </a:cubicBezTo>
                    <a:cubicBezTo>
                      <a:pt x="35" y="0"/>
                      <a:pt x="38" y="0"/>
                      <a:pt x="40" y="2"/>
                    </a:cubicBezTo>
                    <a:lnTo>
                      <a:pt x="109" y="47"/>
                    </a:lnTo>
                    <a:cubicBezTo>
                      <a:pt x="111" y="49"/>
                      <a:pt x="113" y="51"/>
                      <a:pt x="112" y="55"/>
                    </a:cubicBezTo>
                    <a:cubicBezTo>
                      <a:pt x="112" y="58"/>
                      <a:pt x="110" y="60"/>
                      <a:pt x="107" y="61"/>
                    </a:cubicBezTo>
                    <a:lnTo>
                      <a:pt x="11" y="96"/>
                    </a:lnTo>
                    <a:close/>
                    <a:moveTo>
                      <a:pt x="102" y="46"/>
                    </a:moveTo>
                    <a:lnTo>
                      <a:pt x="100" y="60"/>
                    </a:lnTo>
                    <a:lnTo>
                      <a:pt x="31" y="15"/>
                    </a:lnTo>
                    <a:lnTo>
                      <a:pt x="43" y="11"/>
                    </a:lnTo>
                    <a:lnTo>
                      <a:pt x="16" y="91"/>
                    </a:lnTo>
                    <a:lnTo>
                      <a:pt x="6" y="81"/>
                    </a:lnTo>
                    <a:lnTo>
                      <a:pt x="102" y="46"/>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15" name="Freeform 271"/>
              <p:cNvSpPr>
                <a:spLocks/>
              </p:cNvSpPr>
              <p:nvPr/>
            </p:nvSpPr>
            <p:spPr bwMode="auto">
              <a:xfrm>
                <a:off x="3460" y="928"/>
                <a:ext cx="89" cy="62"/>
              </a:xfrm>
              <a:custGeom>
                <a:avLst/>
                <a:gdLst/>
                <a:ahLst/>
                <a:cxnLst>
                  <a:cxn ang="0">
                    <a:pos x="0" y="31"/>
                  </a:cxn>
                  <a:cxn ang="0">
                    <a:pos x="8" y="44"/>
                  </a:cxn>
                  <a:cxn ang="0">
                    <a:pos x="18" y="39"/>
                  </a:cxn>
                  <a:cxn ang="0">
                    <a:pos x="28" y="48"/>
                  </a:cxn>
                  <a:cxn ang="0">
                    <a:pos x="36" y="44"/>
                  </a:cxn>
                  <a:cxn ang="0">
                    <a:pos x="34" y="59"/>
                  </a:cxn>
                  <a:cxn ang="0">
                    <a:pos x="89" y="62"/>
                  </a:cxn>
                  <a:cxn ang="0">
                    <a:pos x="67" y="51"/>
                  </a:cxn>
                  <a:cxn ang="0">
                    <a:pos x="57" y="32"/>
                  </a:cxn>
                  <a:cxn ang="0">
                    <a:pos x="58" y="12"/>
                  </a:cxn>
                  <a:cxn ang="0">
                    <a:pos x="71" y="0"/>
                  </a:cxn>
                  <a:cxn ang="0">
                    <a:pos x="23" y="4"/>
                  </a:cxn>
                  <a:cxn ang="0">
                    <a:pos x="12" y="31"/>
                  </a:cxn>
                  <a:cxn ang="0">
                    <a:pos x="0" y="31"/>
                  </a:cxn>
                </a:cxnLst>
                <a:rect l="0" t="0" r="r" b="b"/>
                <a:pathLst>
                  <a:path w="89" h="62">
                    <a:moveTo>
                      <a:pt x="0" y="31"/>
                    </a:moveTo>
                    <a:lnTo>
                      <a:pt x="8" y="44"/>
                    </a:lnTo>
                    <a:lnTo>
                      <a:pt x="18" y="39"/>
                    </a:lnTo>
                    <a:lnTo>
                      <a:pt x="28" y="48"/>
                    </a:lnTo>
                    <a:lnTo>
                      <a:pt x="36" y="44"/>
                    </a:lnTo>
                    <a:lnTo>
                      <a:pt x="34" y="59"/>
                    </a:lnTo>
                    <a:lnTo>
                      <a:pt x="89" y="62"/>
                    </a:lnTo>
                    <a:lnTo>
                      <a:pt x="67" y="51"/>
                    </a:lnTo>
                    <a:lnTo>
                      <a:pt x="57" y="32"/>
                    </a:lnTo>
                    <a:lnTo>
                      <a:pt x="58" y="12"/>
                    </a:lnTo>
                    <a:lnTo>
                      <a:pt x="71" y="0"/>
                    </a:lnTo>
                    <a:lnTo>
                      <a:pt x="23" y="4"/>
                    </a:lnTo>
                    <a:lnTo>
                      <a:pt x="12" y="31"/>
                    </a:lnTo>
                    <a:lnTo>
                      <a:pt x="0" y="3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16" name="Freeform 272"/>
              <p:cNvSpPr>
                <a:spLocks noEditPoints="1"/>
              </p:cNvSpPr>
              <p:nvPr/>
            </p:nvSpPr>
            <p:spPr bwMode="auto">
              <a:xfrm>
                <a:off x="3458" y="926"/>
                <a:ext cx="93" cy="66"/>
              </a:xfrm>
              <a:custGeom>
                <a:avLst/>
                <a:gdLst/>
                <a:ahLst/>
                <a:cxnLst>
                  <a:cxn ang="0">
                    <a:pos x="8" y="151"/>
                  </a:cxn>
                  <a:cxn ang="0">
                    <a:pos x="16" y="140"/>
                  </a:cxn>
                  <a:cxn ang="0">
                    <a:pos x="40" y="197"/>
                  </a:cxn>
                  <a:cxn ang="0">
                    <a:pos x="29" y="194"/>
                  </a:cxn>
                  <a:cxn ang="0">
                    <a:pos x="63" y="173"/>
                  </a:cxn>
                  <a:cxn ang="0">
                    <a:pos x="73" y="175"/>
                  </a:cxn>
                  <a:cxn ang="0">
                    <a:pos x="109" y="214"/>
                  </a:cxn>
                  <a:cxn ang="0">
                    <a:pos x="99" y="213"/>
                  </a:cxn>
                  <a:cxn ang="0">
                    <a:pos x="127" y="194"/>
                  </a:cxn>
                  <a:cxn ang="0">
                    <a:pos x="136" y="194"/>
                  </a:cxn>
                  <a:cxn ang="0">
                    <a:pos x="140" y="202"/>
                  </a:cxn>
                  <a:cxn ang="0">
                    <a:pos x="130" y="268"/>
                  </a:cxn>
                  <a:cxn ang="0">
                    <a:pos x="122" y="259"/>
                  </a:cxn>
                  <a:cxn ang="0">
                    <a:pos x="313" y="272"/>
                  </a:cxn>
                  <a:cxn ang="0">
                    <a:pos x="308" y="287"/>
                  </a:cxn>
                  <a:cxn ang="0">
                    <a:pos x="234" y="240"/>
                  </a:cxn>
                  <a:cxn ang="0">
                    <a:pos x="231" y="236"/>
                  </a:cxn>
                  <a:cxn ang="0">
                    <a:pos x="195" y="151"/>
                  </a:cxn>
                  <a:cxn ang="0">
                    <a:pos x="194" y="148"/>
                  </a:cxn>
                  <a:cxn ang="0">
                    <a:pos x="197" y="59"/>
                  </a:cxn>
                  <a:cxn ang="0">
                    <a:pos x="199" y="54"/>
                  </a:cxn>
                  <a:cxn ang="0">
                    <a:pos x="246" y="3"/>
                  </a:cxn>
                  <a:cxn ang="0">
                    <a:pos x="253" y="16"/>
                  </a:cxn>
                  <a:cxn ang="0">
                    <a:pos x="87" y="35"/>
                  </a:cxn>
                  <a:cxn ang="0">
                    <a:pos x="93" y="30"/>
                  </a:cxn>
                  <a:cxn ang="0">
                    <a:pos x="55" y="145"/>
                  </a:cxn>
                  <a:cxn ang="0">
                    <a:pos x="47" y="151"/>
                  </a:cxn>
                  <a:cxn ang="0">
                    <a:pos x="8" y="151"/>
                  </a:cxn>
                  <a:cxn ang="0">
                    <a:pos x="47" y="135"/>
                  </a:cxn>
                  <a:cxn ang="0">
                    <a:pos x="40" y="140"/>
                  </a:cxn>
                  <a:cxn ang="0">
                    <a:pos x="78" y="25"/>
                  </a:cxn>
                  <a:cxn ang="0">
                    <a:pos x="85" y="19"/>
                  </a:cxn>
                  <a:cxn ang="0">
                    <a:pos x="251" y="1"/>
                  </a:cxn>
                  <a:cxn ang="0">
                    <a:pos x="259" y="5"/>
                  </a:cxn>
                  <a:cxn ang="0">
                    <a:pos x="258" y="14"/>
                  </a:cxn>
                  <a:cxn ang="0">
                    <a:pos x="211" y="65"/>
                  </a:cxn>
                  <a:cxn ang="0">
                    <a:pos x="213" y="60"/>
                  </a:cxn>
                  <a:cxn ang="0">
                    <a:pos x="210" y="148"/>
                  </a:cxn>
                  <a:cxn ang="0">
                    <a:pos x="209" y="145"/>
                  </a:cxn>
                  <a:cxn ang="0">
                    <a:pos x="245" y="230"/>
                  </a:cxn>
                  <a:cxn ang="0">
                    <a:pos x="242" y="226"/>
                  </a:cxn>
                  <a:cxn ang="0">
                    <a:pos x="317" y="274"/>
                  </a:cxn>
                  <a:cxn ang="0">
                    <a:pos x="320" y="283"/>
                  </a:cxn>
                  <a:cxn ang="0">
                    <a:pos x="312" y="288"/>
                  </a:cxn>
                  <a:cxn ang="0">
                    <a:pos x="121" y="275"/>
                  </a:cxn>
                  <a:cxn ang="0">
                    <a:pos x="115" y="272"/>
                  </a:cxn>
                  <a:cxn ang="0">
                    <a:pos x="114" y="266"/>
                  </a:cxn>
                  <a:cxn ang="0">
                    <a:pos x="124" y="199"/>
                  </a:cxn>
                  <a:cxn ang="0">
                    <a:pos x="136" y="207"/>
                  </a:cxn>
                  <a:cxn ang="0">
                    <a:pos x="107" y="226"/>
                  </a:cxn>
                  <a:cxn ang="0">
                    <a:pos x="97" y="225"/>
                  </a:cxn>
                  <a:cxn ang="0">
                    <a:pos x="61" y="186"/>
                  </a:cxn>
                  <a:cxn ang="0">
                    <a:pos x="71" y="187"/>
                  </a:cxn>
                  <a:cxn ang="0">
                    <a:pos x="37" y="207"/>
                  </a:cxn>
                  <a:cxn ang="0">
                    <a:pos x="30" y="208"/>
                  </a:cxn>
                  <a:cxn ang="0">
                    <a:pos x="25" y="204"/>
                  </a:cxn>
                  <a:cxn ang="0">
                    <a:pos x="1" y="146"/>
                  </a:cxn>
                  <a:cxn ang="0">
                    <a:pos x="2" y="138"/>
                  </a:cxn>
                  <a:cxn ang="0">
                    <a:pos x="8" y="135"/>
                  </a:cxn>
                  <a:cxn ang="0">
                    <a:pos x="47" y="135"/>
                  </a:cxn>
                </a:cxnLst>
                <a:rect l="0" t="0" r="r" b="b"/>
                <a:pathLst>
                  <a:path w="321" h="289">
                    <a:moveTo>
                      <a:pt x="8" y="151"/>
                    </a:moveTo>
                    <a:lnTo>
                      <a:pt x="16" y="140"/>
                    </a:lnTo>
                    <a:lnTo>
                      <a:pt x="40" y="197"/>
                    </a:lnTo>
                    <a:lnTo>
                      <a:pt x="29" y="194"/>
                    </a:lnTo>
                    <a:lnTo>
                      <a:pt x="63" y="173"/>
                    </a:lnTo>
                    <a:cubicBezTo>
                      <a:pt x="66" y="171"/>
                      <a:pt x="71" y="172"/>
                      <a:pt x="73" y="175"/>
                    </a:cubicBezTo>
                    <a:lnTo>
                      <a:pt x="109" y="214"/>
                    </a:lnTo>
                    <a:lnTo>
                      <a:pt x="99" y="213"/>
                    </a:lnTo>
                    <a:lnTo>
                      <a:pt x="127" y="194"/>
                    </a:lnTo>
                    <a:cubicBezTo>
                      <a:pt x="130" y="192"/>
                      <a:pt x="133" y="192"/>
                      <a:pt x="136" y="194"/>
                    </a:cubicBezTo>
                    <a:cubicBezTo>
                      <a:pt x="139" y="196"/>
                      <a:pt x="140" y="199"/>
                      <a:pt x="140" y="202"/>
                    </a:cubicBezTo>
                    <a:lnTo>
                      <a:pt x="130" y="268"/>
                    </a:lnTo>
                    <a:lnTo>
                      <a:pt x="122" y="259"/>
                    </a:lnTo>
                    <a:lnTo>
                      <a:pt x="313" y="272"/>
                    </a:lnTo>
                    <a:lnTo>
                      <a:pt x="308" y="287"/>
                    </a:lnTo>
                    <a:lnTo>
                      <a:pt x="234" y="240"/>
                    </a:lnTo>
                    <a:cubicBezTo>
                      <a:pt x="232" y="239"/>
                      <a:pt x="231" y="237"/>
                      <a:pt x="231" y="236"/>
                    </a:cubicBezTo>
                    <a:lnTo>
                      <a:pt x="195" y="151"/>
                    </a:lnTo>
                    <a:cubicBezTo>
                      <a:pt x="194" y="150"/>
                      <a:pt x="194" y="149"/>
                      <a:pt x="194" y="148"/>
                    </a:cubicBezTo>
                    <a:lnTo>
                      <a:pt x="197" y="59"/>
                    </a:lnTo>
                    <a:cubicBezTo>
                      <a:pt x="197" y="57"/>
                      <a:pt x="198" y="55"/>
                      <a:pt x="199" y="54"/>
                    </a:cubicBezTo>
                    <a:lnTo>
                      <a:pt x="246" y="3"/>
                    </a:lnTo>
                    <a:lnTo>
                      <a:pt x="253" y="16"/>
                    </a:lnTo>
                    <a:lnTo>
                      <a:pt x="87" y="35"/>
                    </a:lnTo>
                    <a:lnTo>
                      <a:pt x="93" y="30"/>
                    </a:lnTo>
                    <a:lnTo>
                      <a:pt x="55" y="145"/>
                    </a:lnTo>
                    <a:cubicBezTo>
                      <a:pt x="54" y="149"/>
                      <a:pt x="51" y="151"/>
                      <a:pt x="47" y="151"/>
                    </a:cubicBezTo>
                    <a:lnTo>
                      <a:pt x="8" y="151"/>
                    </a:lnTo>
                    <a:close/>
                    <a:moveTo>
                      <a:pt x="47" y="135"/>
                    </a:moveTo>
                    <a:lnTo>
                      <a:pt x="40" y="140"/>
                    </a:lnTo>
                    <a:lnTo>
                      <a:pt x="78" y="25"/>
                    </a:lnTo>
                    <a:cubicBezTo>
                      <a:pt x="79" y="22"/>
                      <a:pt x="82" y="20"/>
                      <a:pt x="85" y="19"/>
                    </a:cubicBezTo>
                    <a:lnTo>
                      <a:pt x="251" y="1"/>
                    </a:lnTo>
                    <a:cubicBezTo>
                      <a:pt x="255" y="0"/>
                      <a:pt x="258" y="2"/>
                      <a:pt x="259" y="5"/>
                    </a:cubicBezTo>
                    <a:cubicBezTo>
                      <a:pt x="261" y="8"/>
                      <a:pt x="260" y="11"/>
                      <a:pt x="258" y="14"/>
                    </a:cubicBezTo>
                    <a:lnTo>
                      <a:pt x="211" y="65"/>
                    </a:lnTo>
                    <a:lnTo>
                      <a:pt x="213" y="60"/>
                    </a:lnTo>
                    <a:lnTo>
                      <a:pt x="210" y="148"/>
                    </a:lnTo>
                    <a:lnTo>
                      <a:pt x="209" y="145"/>
                    </a:lnTo>
                    <a:lnTo>
                      <a:pt x="245" y="230"/>
                    </a:lnTo>
                    <a:lnTo>
                      <a:pt x="242" y="226"/>
                    </a:lnTo>
                    <a:lnTo>
                      <a:pt x="317" y="274"/>
                    </a:lnTo>
                    <a:cubicBezTo>
                      <a:pt x="320" y="276"/>
                      <a:pt x="321" y="280"/>
                      <a:pt x="320" y="283"/>
                    </a:cubicBezTo>
                    <a:cubicBezTo>
                      <a:pt x="319" y="286"/>
                      <a:pt x="316" y="289"/>
                      <a:pt x="312" y="288"/>
                    </a:cubicBezTo>
                    <a:lnTo>
                      <a:pt x="121" y="275"/>
                    </a:lnTo>
                    <a:cubicBezTo>
                      <a:pt x="119" y="275"/>
                      <a:pt x="117" y="274"/>
                      <a:pt x="115" y="272"/>
                    </a:cubicBezTo>
                    <a:cubicBezTo>
                      <a:pt x="114" y="270"/>
                      <a:pt x="113" y="268"/>
                      <a:pt x="114" y="266"/>
                    </a:cubicBezTo>
                    <a:lnTo>
                      <a:pt x="124" y="199"/>
                    </a:lnTo>
                    <a:lnTo>
                      <a:pt x="136" y="207"/>
                    </a:lnTo>
                    <a:lnTo>
                      <a:pt x="107" y="226"/>
                    </a:lnTo>
                    <a:cubicBezTo>
                      <a:pt x="104" y="228"/>
                      <a:pt x="100" y="228"/>
                      <a:pt x="97" y="225"/>
                    </a:cubicBezTo>
                    <a:lnTo>
                      <a:pt x="61" y="186"/>
                    </a:lnTo>
                    <a:lnTo>
                      <a:pt x="71" y="187"/>
                    </a:lnTo>
                    <a:lnTo>
                      <a:pt x="37" y="207"/>
                    </a:lnTo>
                    <a:cubicBezTo>
                      <a:pt x="35" y="209"/>
                      <a:pt x="33" y="209"/>
                      <a:pt x="30" y="208"/>
                    </a:cubicBezTo>
                    <a:cubicBezTo>
                      <a:pt x="28" y="207"/>
                      <a:pt x="26" y="206"/>
                      <a:pt x="25" y="204"/>
                    </a:cubicBezTo>
                    <a:lnTo>
                      <a:pt x="1" y="146"/>
                    </a:lnTo>
                    <a:cubicBezTo>
                      <a:pt x="0" y="143"/>
                      <a:pt x="0" y="141"/>
                      <a:pt x="2" y="138"/>
                    </a:cubicBezTo>
                    <a:cubicBezTo>
                      <a:pt x="3" y="136"/>
                      <a:pt x="6" y="135"/>
                      <a:pt x="8" y="135"/>
                    </a:cubicBezTo>
                    <a:lnTo>
                      <a:pt x="47" y="135"/>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17" name="Freeform 273"/>
              <p:cNvSpPr>
                <a:spLocks/>
              </p:cNvSpPr>
              <p:nvPr/>
            </p:nvSpPr>
            <p:spPr bwMode="auto">
              <a:xfrm>
                <a:off x="3493" y="829"/>
                <a:ext cx="213" cy="99"/>
              </a:xfrm>
              <a:custGeom>
                <a:avLst/>
                <a:gdLst/>
                <a:ahLst/>
                <a:cxnLst>
                  <a:cxn ang="0">
                    <a:pos x="0" y="85"/>
                  </a:cxn>
                  <a:cxn ang="0">
                    <a:pos x="20" y="88"/>
                  </a:cxn>
                  <a:cxn ang="0">
                    <a:pos x="7" y="96"/>
                  </a:cxn>
                  <a:cxn ang="0">
                    <a:pos x="42" y="99"/>
                  </a:cxn>
                  <a:cxn ang="0">
                    <a:pos x="43" y="88"/>
                  </a:cxn>
                  <a:cxn ang="0">
                    <a:pos x="53" y="90"/>
                  </a:cxn>
                  <a:cxn ang="0">
                    <a:pos x="43" y="83"/>
                  </a:cxn>
                  <a:cxn ang="0">
                    <a:pos x="57" y="86"/>
                  </a:cxn>
                  <a:cxn ang="0">
                    <a:pos x="53" y="73"/>
                  </a:cxn>
                  <a:cxn ang="0">
                    <a:pos x="61" y="80"/>
                  </a:cxn>
                  <a:cxn ang="0">
                    <a:pos x="71" y="73"/>
                  </a:cxn>
                  <a:cxn ang="0">
                    <a:pos x="65" y="65"/>
                  </a:cxn>
                  <a:cxn ang="0">
                    <a:pos x="86" y="66"/>
                  </a:cxn>
                  <a:cxn ang="0">
                    <a:pos x="80" y="62"/>
                  </a:cxn>
                  <a:cxn ang="0">
                    <a:pos x="90" y="62"/>
                  </a:cxn>
                  <a:cxn ang="0">
                    <a:pos x="96" y="53"/>
                  </a:cxn>
                  <a:cxn ang="0">
                    <a:pos x="203" y="21"/>
                  </a:cxn>
                  <a:cxn ang="0">
                    <a:pos x="213" y="9"/>
                  </a:cxn>
                  <a:cxn ang="0">
                    <a:pos x="193" y="0"/>
                  </a:cxn>
                  <a:cxn ang="0">
                    <a:pos x="148" y="20"/>
                  </a:cxn>
                  <a:cxn ang="0">
                    <a:pos x="102" y="20"/>
                  </a:cxn>
                  <a:cxn ang="0">
                    <a:pos x="53" y="46"/>
                  </a:cxn>
                  <a:cxn ang="0">
                    <a:pos x="25" y="50"/>
                  </a:cxn>
                  <a:cxn ang="0">
                    <a:pos x="27" y="62"/>
                  </a:cxn>
                  <a:cxn ang="0">
                    <a:pos x="42" y="62"/>
                  </a:cxn>
                  <a:cxn ang="0">
                    <a:pos x="25" y="63"/>
                  </a:cxn>
                  <a:cxn ang="0">
                    <a:pos x="33" y="68"/>
                  </a:cxn>
                  <a:cxn ang="0">
                    <a:pos x="20" y="73"/>
                  </a:cxn>
                  <a:cxn ang="0">
                    <a:pos x="34" y="79"/>
                  </a:cxn>
                  <a:cxn ang="0">
                    <a:pos x="0" y="85"/>
                  </a:cxn>
                </a:cxnLst>
                <a:rect l="0" t="0" r="r" b="b"/>
                <a:pathLst>
                  <a:path w="213" h="99">
                    <a:moveTo>
                      <a:pt x="0" y="85"/>
                    </a:moveTo>
                    <a:lnTo>
                      <a:pt x="20" y="88"/>
                    </a:lnTo>
                    <a:lnTo>
                      <a:pt x="7" y="96"/>
                    </a:lnTo>
                    <a:lnTo>
                      <a:pt x="42" y="99"/>
                    </a:lnTo>
                    <a:lnTo>
                      <a:pt x="43" y="88"/>
                    </a:lnTo>
                    <a:lnTo>
                      <a:pt x="53" y="90"/>
                    </a:lnTo>
                    <a:lnTo>
                      <a:pt x="43" y="83"/>
                    </a:lnTo>
                    <a:lnTo>
                      <a:pt x="57" y="86"/>
                    </a:lnTo>
                    <a:lnTo>
                      <a:pt x="53" y="73"/>
                    </a:lnTo>
                    <a:lnTo>
                      <a:pt x="61" y="80"/>
                    </a:lnTo>
                    <a:lnTo>
                      <a:pt x="71" y="73"/>
                    </a:lnTo>
                    <a:lnTo>
                      <a:pt x="65" y="65"/>
                    </a:lnTo>
                    <a:lnTo>
                      <a:pt x="86" y="66"/>
                    </a:lnTo>
                    <a:lnTo>
                      <a:pt x="80" y="62"/>
                    </a:lnTo>
                    <a:lnTo>
                      <a:pt x="90" y="62"/>
                    </a:lnTo>
                    <a:lnTo>
                      <a:pt x="96" y="53"/>
                    </a:lnTo>
                    <a:lnTo>
                      <a:pt x="203" y="21"/>
                    </a:lnTo>
                    <a:lnTo>
                      <a:pt x="213" y="9"/>
                    </a:lnTo>
                    <a:lnTo>
                      <a:pt x="193" y="0"/>
                    </a:lnTo>
                    <a:lnTo>
                      <a:pt x="148" y="20"/>
                    </a:lnTo>
                    <a:lnTo>
                      <a:pt x="102" y="20"/>
                    </a:lnTo>
                    <a:lnTo>
                      <a:pt x="53" y="46"/>
                    </a:lnTo>
                    <a:lnTo>
                      <a:pt x="25" y="50"/>
                    </a:lnTo>
                    <a:lnTo>
                      <a:pt x="27" y="62"/>
                    </a:lnTo>
                    <a:lnTo>
                      <a:pt x="42" y="62"/>
                    </a:lnTo>
                    <a:lnTo>
                      <a:pt x="25" y="63"/>
                    </a:lnTo>
                    <a:lnTo>
                      <a:pt x="33" y="68"/>
                    </a:lnTo>
                    <a:lnTo>
                      <a:pt x="20" y="73"/>
                    </a:lnTo>
                    <a:lnTo>
                      <a:pt x="34" y="79"/>
                    </a:lnTo>
                    <a:lnTo>
                      <a:pt x="0" y="85"/>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18" name="Freeform 274"/>
              <p:cNvSpPr>
                <a:spLocks noEditPoints="1"/>
              </p:cNvSpPr>
              <p:nvPr/>
            </p:nvSpPr>
            <p:spPr bwMode="auto">
              <a:xfrm>
                <a:off x="3491" y="827"/>
                <a:ext cx="218" cy="103"/>
              </a:xfrm>
              <a:custGeom>
                <a:avLst/>
                <a:gdLst/>
                <a:ahLst/>
                <a:cxnLst>
                  <a:cxn ang="0">
                    <a:pos x="79" y="384"/>
                  </a:cxn>
                  <a:cxn ang="0">
                    <a:pos x="37" y="435"/>
                  </a:cxn>
                  <a:cxn ang="0">
                    <a:pos x="146" y="440"/>
                  </a:cxn>
                  <a:cxn ang="0">
                    <a:pos x="158" y="384"/>
                  </a:cxn>
                  <a:cxn ang="0">
                    <a:pos x="150" y="378"/>
                  </a:cxn>
                  <a:cxn ang="0">
                    <a:pos x="208" y="374"/>
                  </a:cxn>
                  <a:cxn ang="0">
                    <a:pos x="189" y="320"/>
                  </a:cxn>
                  <a:cxn ang="0">
                    <a:pos x="215" y="352"/>
                  </a:cxn>
                  <a:cxn ang="0">
                    <a:pos x="224" y="297"/>
                  </a:cxn>
                  <a:cxn ang="0">
                    <a:pos x="306" y="290"/>
                  </a:cxn>
                  <a:cxn ang="0">
                    <a:pos x="278" y="275"/>
                  </a:cxn>
                  <a:cxn ang="0">
                    <a:pos x="313" y="278"/>
                  </a:cxn>
                  <a:cxn ang="0">
                    <a:pos x="704" y="91"/>
                  </a:cxn>
                  <a:cxn ang="0">
                    <a:pos x="741" y="52"/>
                  </a:cxn>
                  <a:cxn ang="0">
                    <a:pos x="523" y="103"/>
                  </a:cxn>
                  <a:cxn ang="0">
                    <a:pos x="364" y="102"/>
                  </a:cxn>
                  <a:cxn ang="0">
                    <a:pos x="97" y="234"/>
                  </a:cxn>
                  <a:cxn ang="0">
                    <a:pos x="102" y="270"/>
                  </a:cxn>
                  <a:cxn ang="0">
                    <a:pos x="153" y="289"/>
                  </a:cxn>
                  <a:cxn ang="0">
                    <a:pos x="126" y="301"/>
                  </a:cxn>
                  <a:cxn ang="0">
                    <a:pos x="81" y="335"/>
                  </a:cxn>
                  <a:cxn ang="0">
                    <a:pos x="134" y="354"/>
                  </a:cxn>
                  <a:cxn ang="0">
                    <a:pos x="124" y="346"/>
                  </a:cxn>
                  <a:cxn ang="0">
                    <a:pos x="70" y="328"/>
                  </a:cxn>
                  <a:cxn ang="0">
                    <a:pos x="115" y="312"/>
                  </a:cxn>
                  <a:cxn ang="0">
                    <a:pos x="94" y="275"/>
                  </a:cxn>
                  <a:cxn ang="0">
                    <a:pos x="101" y="286"/>
                  </a:cxn>
                  <a:cxn ang="0">
                    <a:pos x="94" y="218"/>
                  </a:cxn>
                  <a:cxn ang="0">
                    <a:pos x="355" y="89"/>
                  </a:cxn>
                  <a:cxn ang="0">
                    <a:pos x="515" y="89"/>
                  </a:cxn>
                  <a:cxn ang="0">
                    <a:pos x="748" y="38"/>
                  </a:cxn>
                  <a:cxn ang="0">
                    <a:pos x="714" y="103"/>
                  </a:cxn>
                  <a:cxn ang="0">
                    <a:pos x="348" y="241"/>
                  </a:cxn>
                  <a:cxn ang="0">
                    <a:pos x="284" y="286"/>
                  </a:cxn>
                  <a:cxn ang="0">
                    <a:pos x="313" y="301"/>
                  </a:cxn>
                  <a:cxn ang="0">
                    <a:pos x="238" y="289"/>
                  </a:cxn>
                  <a:cxn ang="0">
                    <a:pos x="226" y="364"/>
                  </a:cxn>
                  <a:cxn ang="0">
                    <a:pos x="186" y="332"/>
                  </a:cxn>
                  <a:cxn ang="0">
                    <a:pos x="212" y="387"/>
                  </a:cxn>
                  <a:cxn ang="0">
                    <a:pos x="160" y="366"/>
                  </a:cxn>
                  <a:cxn ang="0">
                    <a:pos x="189" y="408"/>
                  </a:cxn>
                  <a:cxn ang="0">
                    <a:pos x="162" y="441"/>
                  </a:cxn>
                  <a:cxn ang="0">
                    <a:pos x="31" y="437"/>
                  </a:cxn>
                  <a:cxn ang="0">
                    <a:pos x="73" y="386"/>
                  </a:cxn>
                  <a:cxn ang="0">
                    <a:pos x="0" y="380"/>
                  </a:cxn>
                </a:cxnLst>
                <a:rect l="0" t="0" r="r" b="b"/>
                <a:pathLst>
                  <a:path w="753" h="449">
                    <a:moveTo>
                      <a:pt x="10" y="388"/>
                    </a:moveTo>
                    <a:lnTo>
                      <a:pt x="10" y="372"/>
                    </a:lnTo>
                    <a:lnTo>
                      <a:pt x="79" y="384"/>
                    </a:lnTo>
                    <a:cubicBezTo>
                      <a:pt x="82" y="385"/>
                      <a:pt x="85" y="387"/>
                      <a:pt x="85" y="390"/>
                    </a:cubicBezTo>
                    <a:cubicBezTo>
                      <a:pt x="86" y="393"/>
                      <a:pt x="85" y="396"/>
                      <a:pt x="83" y="398"/>
                    </a:cubicBezTo>
                    <a:lnTo>
                      <a:pt x="37" y="435"/>
                    </a:lnTo>
                    <a:lnTo>
                      <a:pt x="33" y="421"/>
                    </a:lnTo>
                    <a:lnTo>
                      <a:pt x="154" y="432"/>
                    </a:lnTo>
                    <a:lnTo>
                      <a:pt x="146" y="440"/>
                    </a:lnTo>
                    <a:lnTo>
                      <a:pt x="149" y="391"/>
                    </a:lnTo>
                    <a:cubicBezTo>
                      <a:pt x="149" y="389"/>
                      <a:pt x="150" y="387"/>
                      <a:pt x="152" y="385"/>
                    </a:cubicBezTo>
                    <a:cubicBezTo>
                      <a:pt x="154" y="384"/>
                      <a:pt x="156" y="384"/>
                      <a:pt x="158" y="384"/>
                    </a:cubicBezTo>
                    <a:lnTo>
                      <a:pt x="193" y="392"/>
                    </a:lnTo>
                    <a:lnTo>
                      <a:pt x="186" y="407"/>
                    </a:lnTo>
                    <a:lnTo>
                      <a:pt x="150" y="378"/>
                    </a:lnTo>
                    <a:cubicBezTo>
                      <a:pt x="147" y="376"/>
                      <a:pt x="146" y="372"/>
                      <a:pt x="148" y="368"/>
                    </a:cubicBezTo>
                    <a:cubicBezTo>
                      <a:pt x="149" y="365"/>
                      <a:pt x="153" y="363"/>
                      <a:pt x="157" y="364"/>
                    </a:cubicBezTo>
                    <a:lnTo>
                      <a:pt x="208" y="374"/>
                    </a:lnTo>
                    <a:lnTo>
                      <a:pt x="199" y="384"/>
                    </a:lnTo>
                    <a:lnTo>
                      <a:pt x="185" y="329"/>
                    </a:lnTo>
                    <a:cubicBezTo>
                      <a:pt x="184" y="325"/>
                      <a:pt x="185" y="321"/>
                      <a:pt x="189" y="320"/>
                    </a:cubicBezTo>
                    <a:cubicBezTo>
                      <a:pt x="192" y="318"/>
                      <a:pt x="196" y="319"/>
                      <a:pt x="199" y="321"/>
                    </a:cubicBezTo>
                    <a:lnTo>
                      <a:pt x="226" y="353"/>
                    </a:lnTo>
                    <a:lnTo>
                      <a:pt x="215" y="352"/>
                    </a:lnTo>
                    <a:lnTo>
                      <a:pt x="248" y="322"/>
                    </a:lnTo>
                    <a:lnTo>
                      <a:pt x="247" y="333"/>
                    </a:lnTo>
                    <a:lnTo>
                      <a:pt x="224" y="297"/>
                    </a:lnTo>
                    <a:cubicBezTo>
                      <a:pt x="223" y="295"/>
                      <a:pt x="223" y="292"/>
                      <a:pt x="224" y="289"/>
                    </a:cubicBezTo>
                    <a:cubicBezTo>
                      <a:pt x="226" y="286"/>
                      <a:pt x="229" y="285"/>
                      <a:pt x="232" y="285"/>
                    </a:cubicBezTo>
                    <a:lnTo>
                      <a:pt x="306" y="290"/>
                    </a:lnTo>
                    <a:lnTo>
                      <a:pt x="300" y="304"/>
                    </a:lnTo>
                    <a:lnTo>
                      <a:pt x="280" y="284"/>
                    </a:lnTo>
                    <a:cubicBezTo>
                      <a:pt x="277" y="281"/>
                      <a:pt x="276" y="278"/>
                      <a:pt x="278" y="275"/>
                    </a:cubicBezTo>
                    <a:cubicBezTo>
                      <a:pt x="279" y="272"/>
                      <a:pt x="283" y="270"/>
                      <a:pt x="286" y="270"/>
                    </a:cubicBezTo>
                    <a:lnTo>
                      <a:pt x="321" y="273"/>
                    </a:lnTo>
                    <a:lnTo>
                      <a:pt x="313" y="278"/>
                    </a:lnTo>
                    <a:lnTo>
                      <a:pt x="333" y="234"/>
                    </a:lnTo>
                    <a:cubicBezTo>
                      <a:pt x="334" y="233"/>
                      <a:pt x="336" y="231"/>
                      <a:pt x="338" y="230"/>
                    </a:cubicBezTo>
                    <a:lnTo>
                      <a:pt x="704" y="91"/>
                    </a:lnTo>
                    <a:lnTo>
                      <a:pt x="701" y="94"/>
                    </a:lnTo>
                    <a:lnTo>
                      <a:pt x="738" y="41"/>
                    </a:lnTo>
                    <a:lnTo>
                      <a:pt x="741" y="52"/>
                    </a:lnTo>
                    <a:lnTo>
                      <a:pt x="670" y="16"/>
                    </a:lnTo>
                    <a:lnTo>
                      <a:pt x="678" y="15"/>
                    </a:lnTo>
                    <a:lnTo>
                      <a:pt x="523" y="103"/>
                    </a:lnTo>
                    <a:cubicBezTo>
                      <a:pt x="522" y="103"/>
                      <a:pt x="520" y="104"/>
                      <a:pt x="519" y="104"/>
                    </a:cubicBezTo>
                    <a:lnTo>
                      <a:pt x="360" y="104"/>
                    </a:lnTo>
                    <a:lnTo>
                      <a:pt x="364" y="102"/>
                    </a:lnTo>
                    <a:lnTo>
                      <a:pt x="194" y="218"/>
                    </a:lnTo>
                    <a:cubicBezTo>
                      <a:pt x="193" y="218"/>
                      <a:pt x="192" y="219"/>
                      <a:pt x="191" y="219"/>
                    </a:cubicBezTo>
                    <a:lnTo>
                      <a:pt x="97" y="234"/>
                    </a:lnTo>
                    <a:lnTo>
                      <a:pt x="104" y="225"/>
                    </a:lnTo>
                    <a:lnTo>
                      <a:pt x="109" y="277"/>
                    </a:lnTo>
                    <a:lnTo>
                      <a:pt x="102" y="270"/>
                    </a:lnTo>
                    <a:lnTo>
                      <a:pt x="153" y="273"/>
                    </a:lnTo>
                    <a:cubicBezTo>
                      <a:pt x="157" y="274"/>
                      <a:pt x="160" y="277"/>
                      <a:pt x="160" y="282"/>
                    </a:cubicBezTo>
                    <a:cubicBezTo>
                      <a:pt x="160" y="286"/>
                      <a:pt x="157" y="289"/>
                      <a:pt x="153" y="289"/>
                    </a:cubicBezTo>
                    <a:lnTo>
                      <a:pt x="94" y="291"/>
                    </a:lnTo>
                    <a:lnTo>
                      <a:pt x="100" y="277"/>
                    </a:lnTo>
                    <a:lnTo>
                      <a:pt x="126" y="301"/>
                    </a:lnTo>
                    <a:cubicBezTo>
                      <a:pt x="128" y="302"/>
                      <a:pt x="129" y="305"/>
                      <a:pt x="128" y="308"/>
                    </a:cubicBezTo>
                    <a:cubicBezTo>
                      <a:pt x="128" y="310"/>
                      <a:pt x="127" y="312"/>
                      <a:pt x="124" y="314"/>
                    </a:cubicBezTo>
                    <a:lnTo>
                      <a:pt x="81" y="335"/>
                    </a:lnTo>
                    <a:lnTo>
                      <a:pt x="81" y="321"/>
                    </a:lnTo>
                    <a:lnTo>
                      <a:pt x="130" y="346"/>
                    </a:lnTo>
                    <a:cubicBezTo>
                      <a:pt x="133" y="348"/>
                      <a:pt x="134" y="351"/>
                      <a:pt x="134" y="354"/>
                    </a:cubicBezTo>
                    <a:cubicBezTo>
                      <a:pt x="134" y="358"/>
                      <a:pt x="131" y="360"/>
                      <a:pt x="128" y="361"/>
                    </a:cubicBezTo>
                    <a:lnTo>
                      <a:pt x="10" y="388"/>
                    </a:lnTo>
                    <a:close/>
                    <a:moveTo>
                      <a:pt x="124" y="346"/>
                    </a:moveTo>
                    <a:lnTo>
                      <a:pt x="122" y="361"/>
                    </a:lnTo>
                    <a:lnTo>
                      <a:pt x="74" y="335"/>
                    </a:lnTo>
                    <a:cubicBezTo>
                      <a:pt x="71" y="334"/>
                      <a:pt x="70" y="331"/>
                      <a:pt x="70" y="328"/>
                    </a:cubicBezTo>
                    <a:cubicBezTo>
                      <a:pt x="70" y="325"/>
                      <a:pt x="71" y="322"/>
                      <a:pt x="74" y="321"/>
                    </a:cubicBezTo>
                    <a:lnTo>
                      <a:pt x="117" y="299"/>
                    </a:lnTo>
                    <a:lnTo>
                      <a:pt x="115" y="312"/>
                    </a:lnTo>
                    <a:lnTo>
                      <a:pt x="89" y="289"/>
                    </a:lnTo>
                    <a:cubicBezTo>
                      <a:pt x="86" y="287"/>
                      <a:pt x="86" y="283"/>
                      <a:pt x="87" y="280"/>
                    </a:cubicBezTo>
                    <a:cubicBezTo>
                      <a:pt x="88" y="277"/>
                      <a:pt x="91" y="275"/>
                      <a:pt x="94" y="275"/>
                    </a:cubicBezTo>
                    <a:lnTo>
                      <a:pt x="152" y="273"/>
                    </a:lnTo>
                    <a:lnTo>
                      <a:pt x="152" y="289"/>
                    </a:lnTo>
                    <a:lnTo>
                      <a:pt x="101" y="286"/>
                    </a:lnTo>
                    <a:cubicBezTo>
                      <a:pt x="97" y="286"/>
                      <a:pt x="94" y="283"/>
                      <a:pt x="93" y="279"/>
                    </a:cubicBezTo>
                    <a:lnTo>
                      <a:pt x="88" y="227"/>
                    </a:lnTo>
                    <a:cubicBezTo>
                      <a:pt x="87" y="223"/>
                      <a:pt x="90" y="219"/>
                      <a:pt x="94" y="218"/>
                    </a:cubicBezTo>
                    <a:lnTo>
                      <a:pt x="188" y="203"/>
                    </a:lnTo>
                    <a:lnTo>
                      <a:pt x="185" y="204"/>
                    </a:lnTo>
                    <a:lnTo>
                      <a:pt x="355" y="89"/>
                    </a:lnTo>
                    <a:cubicBezTo>
                      <a:pt x="357" y="88"/>
                      <a:pt x="358" y="88"/>
                      <a:pt x="360" y="88"/>
                    </a:cubicBezTo>
                    <a:lnTo>
                      <a:pt x="519" y="88"/>
                    </a:lnTo>
                    <a:lnTo>
                      <a:pt x="515" y="89"/>
                    </a:lnTo>
                    <a:lnTo>
                      <a:pt x="670" y="1"/>
                    </a:lnTo>
                    <a:cubicBezTo>
                      <a:pt x="672" y="0"/>
                      <a:pt x="675" y="0"/>
                      <a:pt x="678" y="1"/>
                    </a:cubicBezTo>
                    <a:lnTo>
                      <a:pt x="748" y="38"/>
                    </a:lnTo>
                    <a:cubicBezTo>
                      <a:pt x="750" y="39"/>
                      <a:pt x="752" y="41"/>
                      <a:pt x="752" y="43"/>
                    </a:cubicBezTo>
                    <a:cubicBezTo>
                      <a:pt x="753" y="46"/>
                      <a:pt x="752" y="48"/>
                      <a:pt x="751" y="50"/>
                    </a:cubicBezTo>
                    <a:lnTo>
                      <a:pt x="714" y="103"/>
                    </a:lnTo>
                    <a:cubicBezTo>
                      <a:pt x="713" y="105"/>
                      <a:pt x="711" y="106"/>
                      <a:pt x="710" y="106"/>
                    </a:cubicBezTo>
                    <a:lnTo>
                      <a:pt x="343" y="245"/>
                    </a:lnTo>
                    <a:lnTo>
                      <a:pt x="348" y="241"/>
                    </a:lnTo>
                    <a:lnTo>
                      <a:pt x="327" y="285"/>
                    </a:lnTo>
                    <a:cubicBezTo>
                      <a:pt x="326" y="288"/>
                      <a:pt x="322" y="290"/>
                      <a:pt x="319" y="289"/>
                    </a:cubicBezTo>
                    <a:lnTo>
                      <a:pt x="284" y="286"/>
                    </a:lnTo>
                    <a:lnTo>
                      <a:pt x="291" y="272"/>
                    </a:lnTo>
                    <a:lnTo>
                      <a:pt x="311" y="292"/>
                    </a:lnTo>
                    <a:cubicBezTo>
                      <a:pt x="314" y="295"/>
                      <a:pt x="315" y="298"/>
                      <a:pt x="313" y="301"/>
                    </a:cubicBezTo>
                    <a:cubicBezTo>
                      <a:pt x="312" y="304"/>
                      <a:pt x="309" y="306"/>
                      <a:pt x="305" y="306"/>
                    </a:cubicBezTo>
                    <a:lnTo>
                      <a:pt x="231" y="301"/>
                    </a:lnTo>
                    <a:lnTo>
                      <a:pt x="238" y="289"/>
                    </a:lnTo>
                    <a:lnTo>
                      <a:pt x="260" y="324"/>
                    </a:lnTo>
                    <a:cubicBezTo>
                      <a:pt x="262" y="327"/>
                      <a:pt x="262" y="332"/>
                      <a:pt x="259" y="334"/>
                    </a:cubicBezTo>
                    <a:lnTo>
                      <a:pt x="226" y="364"/>
                    </a:lnTo>
                    <a:cubicBezTo>
                      <a:pt x="224" y="366"/>
                      <a:pt x="222" y="367"/>
                      <a:pt x="220" y="366"/>
                    </a:cubicBezTo>
                    <a:cubicBezTo>
                      <a:pt x="218" y="366"/>
                      <a:pt x="216" y="365"/>
                      <a:pt x="214" y="364"/>
                    </a:cubicBezTo>
                    <a:lnTo>
                      <a:pt x="186" y="332"/>
                    </a:lnTo>
                    <a:lnTo>
                      <a:pt x="200" y="325"/>
                    </a:lnTo>
                    <a:lnTo>
                      <a:pt x="214" y="380"/>
                    </a:lnTo>
                    <a:cubicBezTo>
                      <a:pt x="215" y="383"/>
                      <a:pt x="214" y="385"/>
                      <a:pt x="212" y="387"/>
                    </a:cubicBezTo>
                    <a:cubicBezTo>
                      <a:pt x="210" y="389"/>
                      <a:pt x="207" y="390"/>
                      <a:pt x="205" y="390"/>
                    </a:cubicBezTo>
                    <a:lnTo>
                      <a:pt x="154" y="380"/>
                    </a:lnTo>
                    <a:lnTo>
                      <a:pt x="160" y="366"/>
                    </a:lnTo>
                    <a:lnTo>
                      <a:pt x="196" y="394"/>
                    </a:lnTo>
                    <a:cubicBezTo>
                      <a:pt x="199" y="396"/>
                      <a:pt x="200" y="400"/>
                      <a:pt x="198" y="404"/>
                    </a:cubicBezTo>
                    <a:cubicBezTo>
                      <a:pt x="197" y="407"/>
                      <a:pt x="193" y="409"/>
                      <a:pt x="189" y="408"/>
                    </a:cubicBezTo>
                    <a:lnTo>
                      <a:pt x="155" y="400"/>
                    </a:lnTo>
                    <a:lnTo>
                      <a:pt x="164" y="392"/>
                    </a:lnTo>
                    <a:lnTo>
                      <a:pt x="162" y="441"/>
                    </a:lnTo>
                    <a:cubicBezTo>
                      <a:pt x="162" y="443"/>
                      <a:pt x="161" y="445"/>
                      <a:pt x="159" y="447"/>
                    </a:cubicBezTo>
                    <a:cubicBezTo>
                      <a:pt x="157" y="448"/>
                      <a:pt x="155" y="449"/>
                      <a:pt x="153" y="448"/>
                    </a:cubicBezTo>
                    <a:lnTo>
                      <a:pt x="31" y="437"/>
                    </a:lnTo>
                    <a:cubicBezTo>
                      <a:pt x="28" y="436"/>
                      <a:pt x="25" y="434"/>
                      <a:pt x="24" y="431"/>
                    </a:cubicBezTo>
                    <a:cubicBezTo>
                      <a:pt x="23" y="428"/>
                      <a:pt x="24" y="425"/>
                      <a:pt x="27" y="423"/>
                    </a:cubicBezTo>
                    <a:lnTo>
                      <a:pt x="73" y="386"/>
                    </a:lnTo>
                    <a:lnTo>
                      <a:pt x="76" y="400"/>
                    </a:lnTo>
                    <a:lnTo>
                      <a:pt x="7" y="388"/>
                    </a:lnTo>
                    <a:cubicBezTo>
                      <a:pt x="3" y="387"/>
                      <a:pt x="1" y="384"/>
                      <a:pt x="0" y="380"/>
                    </a:cubicBezTo>
                    <a:cubicBezTo>
                      <a:pt x="0" y="377"/>
                      <a:pt x="3" y="373"/>
                      <a:pt x="7" y="372"/>
                    </a:cubicBezTo>
                    <a:lnTo>
                      <a:pt x="124" y="346"/>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19" name="Freeform 275"/>
              <p:cNvSpPr>
                <a:spLocks/>
              </p:cNvSpPr>
              <p:nvPr/>
            </p:nvSpPr>
            <p:spPr bwMode="auto">
              <a:xfrm>
                <a:off x="3618" y="701"/>
                <a:ext cx="37" cy="18"/>
              </a:xfrm>
              <a:custGeom>
                <a:avLst/>
                <a:gdLst/>
                <a:ahLst/>
                <a:cxnLst>
                  <a:cxn ang="0">
                    <a:pos x="0" y="13"/>
                  </a:cxn>
                  <a:cxn ang="0">
                    <a:pos x="11" y="18"/>
                  </a:cxn>
                  <a:cxn ang="0">
                    <a:pos x="37" y="12"/>
                  </a:cxn>
                  <a:cxn ang="0">
                    <a:pos x="22" y="0"/>
                  </a:cxn>
                  <a:cxn ang="0">
                    <a:pos x="0" y="13"/>
                  </a:cxn>
                </a:cxnLst>
                <a:rect l="0" t="0" r="r" b="b"/>
                <a:pathLst>
                  <a:path w="37" h="18">
                    <a:moveTo>
                      <a:pt x="0" y="13"/>
                    </a:moveTo>
                    <a:lnTo>
                      <a:pt x="11" y="18"/>
                    </a:lnTo>
                    <a:lnTo>
                      <a:pt x="37" y="12"/>
                    </a:lnTo>
                    <a:lnTo>
                      <a:pt x="22" y="0"/>
                    </a:lnTo>
                    <a:lnTo>
                      <a:pt x="0" y="13"/>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20" name="Freeform 276"/>
              <p:cNvSpPr>
                <a:spLocks noEditPoints="1"/>
              </p:cNvSpPr>
              <p:nvPr/>
            </p:nvSpPr>
            <p:spPr bwMode="auto">
              <a:xfrm>
                <a:off x="3616" y="699"/>
                <a:ext cx="42" cy="22"/>
              </a:xfrm>
              <a:custGeom>
                <a:avLst/>
                <a:gdLst/>
                <a:ahLst/>
                <a:cxnLst>
                  <a:cxn ang="0">
                    <a:pos x="13" y="71"/>
                  </a:cxn>
                  <a:cxn ang="0">
                    <a:pos x="13" y="58"/>
                  </a:cxn>
                  <a:cxn ang="0">
                    <a:pos x="50" y="82"/>
                  </a:cxn>
                  <a:cxn ang="0">
                    <a:pos x="44" y="81"/>
                  </a:cxn>
                  <a:cxn ang="0">
                    <a:pos x="134" y="54"/>
                  </a:cxn>
                  <a:cxn ang="0">
                    <a:pos x="131" y="67"/>
                  </a:cxn>
                  <a:cxn ang="0">
                    <a:pos x="78" y="14"/>
                  </a:cxn>
                  <a:cxn ang="0">
                    <a:pos x="89" y="15"/>
                  </a:cxn>
                  <a:cxn ang="0">
                    <a:pos x="13" y="71"/>
                  </a:cxn>
                  <a:cxn ang="0">
                    <a:pos x="79" y="2"/>
                  </a:cxn>
                  <a:cxn ang="0">
                    <a:pos x="89" y="3"/>
                  </a:cxn>
                  <a:cxn ang="0">
                    <a:pos x="142" y="56"/>
                  </a:cxn>
                  <a:cxn ang="0">
                    <a:pos x="144" y="63"/>
                  </a:cxn>
                  <a:cxn ang="0">
                    <a:pos x="139" y="69"/>
                  </a:cxn>
                  <a:cxn ang="0">
                    <a:pos x="48" y="96"/>
                  </a:cxn>
                  <a:cxn ang="0">
                    <a:pos x="42" y="95"/>
                  </a:cxn>
                  <a:cxn ang="0">
                    <a:pos x="4" y="71"/>
                  </a:cxn>
                  <a:cxn ang="0">
                    <a:pos x="0" y="65"/>
                  </a:cxn>
                  <a:cxn ang="0">
                    <a:pos x="4" y="58"/>
                  </a:cxn>
                  <a:cxn ang="0">
                    <a:pos x="79" y="2"/>
                  </a:cxn>
                </a:cxnLst>
                <a:rect l="0" t="0" r="r" b="b"/>
                <a:pathLst>
                  <a:path w="145" h="97">
                    <a:moveTo>
                      <a:pt x="13" y="71"/>
                    </a:moveTo>
                    <a:lnTo>
                      <a:pt x="13" y="58"/>
                    </a:lnTo>
                    <a:lnTo>
                      <a:pt x="50" y="82"/>
                    </a:lnTo>
                    <a:lnTo>
                      <a:pt x="44" y="81"/>
                    </a:lnTo>
                    <a:lnTo>
                      <a:pt x="134" y="54"/>
                    </a:lnTo>
                    <a:lnTo>
                      <a:pt x="131" y="67"/>
                    </a:lnTo>
                    <a:lnTo>
                      <a:pt x="78" y="14"/>
                    </a:lnTo>
                    <a:lnTo>
                      <a:pt x="89" y="15"/>
                    </a:lnTo>
                    <a:lnTo>
                      <a:pt x="13" y="71"/>
                    </a:lnTo>
                    <a:close/>
                    <a:moveTo>
                      <a:pt x="79" y="2"/>
                    </a:moveTo>
                    <a:cubicBezTo>
                      <a:pt x="82" y="0"/>
                      <a:pt x="87" y="0"/>
                      <a:pt x="89" y="3"/>
                    </a:cubicBezTo>
                    <a:lnTo>
                      <a:pt x="142" y="56"/>
                    </a:lnTo>
                    <a:cubicBezTo>
                      <a:pt x="144" y="58"/>
                      <a:pt x="145" y="61"/>
                      <a:pt x="144" y="63"/>
                    </a:cubicBezTo>
                    <a:cubicBezTo>
                      <a:pt x="144" y="66"/>
                      <a:pt x="141" y="68"/>
                      <a:pt x="139" y="69"/>
                    </a:cubicBezTo>
                    <a:lnTo>
                      <a:pt x="48" y="96"/>
                    </a:lnTo>
                    <a:cubicBezTo>
                      <a:pt x="46" y="97"/>
                      <a:pt x="44" y="96"/>
                      <a:pt x="42" y="95"/>
                    </a:cubicBezTo>
                    <a:lnTo>
                      <a:pt x="4" y="71"/>
                    </a:lnTo>
                    <a:cubicBezTo>
                      <a:pt x="2" y="70"/>
                      <a:pt x="1" y="67"/>
                      <a:pt x="0" y="65"/>
                    </a:cubicBezTo>
                    <a:cubicBezTo>
                      <a:pt x="0" y="62"/>
                      <a:pt x="2" y="59"/>
                      <a:pt x="4" y="58"/>
                    </a:cubicBezTo>
                    <a:lnTo>
                      <a:pt x="79" y="2"/>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21" name="Freeform 277"/>
              <p:cNvSpPr>
                <a:spLocks/>
              </p:cNvSpPr>
              <p:nvPr/>
            </p:nvSpPr>
            <p:spPr bwMode="auto">
              <a:xfrm>
                <a:off x="4013" y="741"/>
                <a:ext cx="37" cy="11"/>
              </a:xfrm>
              <a:custGeom>
                <a:avLst/>
                <a:gdLst/>
                <a:ahLst/>
                <a:cxnLst>
                  <a:cxn ang="0">
                    <a:pos x="0" y="0"/>
                  </a:cxn>
                  <a:cxn ang="0">
                    <a:pos x="17" y="9"/>
                  </a:cxn>
                  <a:cxn ang="0">
                    <a:pos x="11" y="11"/>
                  </a:cxn>
                  <a:cxn ang="0">
                    <a:pos x="26" y="11"/>
                  </a:cxn>
                  <a:cxn ang="0">
                    <a:pos x="37" y="5"/>
                  </a:cxn>
                  <a:cxn ang="0">
                    <a:pos x="0" y="0"/>
                  </a:cxn>
                </a:cxnLst>
                <a:rect l="0" t="0" r="r" b="b"/>
                <a:pathLst>
                  <a:path w="37" h="11">
                    <a:moveTo>
                      <a:pt x="0" y="0"/>
                    </a:moveTo>
                    <a:lnTo>
                      <a:pt x="17" y="9"/>
                    </a:lnTo>
                    <a:lnTo>
                      <a:pt x="11" y="11"/>
                    </a:lnTo>
                    <a:lnTo>
                      <a:pt x="26" y="11"/>
                    </a:lnTo>
                    <a:lnTo>
                      <a:pt x="37" y="5"/>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22" name="Freeform 278"/>
              <p:cNvSpPr>
                <a:spLocks noEditPoints="1"/>
              </p:cNvSpPr>
              <p:nvPr/>
            </p:nvSpPr>
            <p:spPr bwMode="auto">
              <a:xfrm>
                <a:off x="4010" y="739"/>
                <a:ext cx="42" cy="15"/>
              </a:xfrm>
              <a:custGeom>
                <a:avLst/>
                <a:gdLst/>
                <a:ahLst/>
                <a:cxnLst>
                  <a:cxn ang="0">
                    <a:pos x="7" y="16"/>
                  </a:cxn>
                  <a:cxn ang="0">
                    <a:pos x="13" y="2"/>
                  </a:cxn>
                  <a:cxn ang="0">
                    <a:pos x="71" y="39"/>
                  </a:cxn>
                  <a:cxn ang="0">
                    <a:pos x="74" y="46"/>
                  </a:cxn>
                  <a:cxn ang="0">
                    <a:pos x="70" y="52"/>
                  </a:cxn>
                  <a:cxn ang="0">
                    <a:pos x="51" y="63"/>
                  </a:cxn>
                  <a:cxn ang="0">
                    <a:pos x="47" y="48"/>
                  </a:cxn>
                  <a:cxn ang="0">
                    <a:pos x="97" y="46"/>
                  </a:cxn>
                  <a:cxn ang="0">
                    <a:pos x="94" y="47"/>
                  </a:cxn>
                  <a:cxn ang="0">
                    <a:pos x="132" y="24"/>
                  </a:cxn>
                  <a:cxn ang="0">
                    <a:pos x="135" y="38"/>
                  </a:cxn>
                  <a:cxn ang="0">
                    <a:pos x="7" y="16"/>
                  </a:cxn>
                  <a:cxn ang="0">
                    <a:pos x="138" y="23"/>
                  </a:cxn>
                  <a:cxn ang="0">
                    <a:pos x="144" y="29"/>
                  </a:cxn>
                  <a:cxn ang="0">
                    <a:pos x="141" y="37"/>
                  </a:cxn>
                  <a:cxn ang="0">
                    <a:pos x="102" y="61"/>
                  </a:cxn>
                  <a:cxn ang="0">
                    <a:pos x="98" y="62"/>
                  </a:cxn>
                  <a:cxn ang="0">
                    <a:pos x="47" y="64"/>
                  </a:cxn>
                  <a:cxn ang="0">
                    <a:pos x="39" y="59"/>
                  </a:cxn>
                  <a:cxn ang="0">
                    <a:pos x="43" y="50"/>
                  </a:cxn>
                  <a:cxn ang="0">
                    <a:pos x="62" y="39"/>
                  </a:cxn>
                  <a:cxn ang="0">
                    <a:pos x="62" y="52"/>
                  </a:cxn>
                  <a:cxn ang="0">
                    <a:pos x="4" y="15"/>
                  </a:cxn>
                  <a:cxn ang="0">
                    <a:pos x="1" y="6"/>
                  </a:cxn>
                  <a:cxn ang="0">
                    <a:pos x="10" y="1"/>
                  </a:cxn>
                  <a:cxn ang="0">
                    <a:pos x="138" y="23"/>
                  </a:cxn>
                </a:cxnLst>
                <a:rect l="0" t="0" r="r" b="b"/>
                <a:pathLst>
                  <a:path w="145" h="65">
                    <a:moveTo>
                      <a:pt x="7" y="16"/>
                    </a:moveTo>
                    <a:lnTo>
                      <a:pt x="13" y="2"/>
                    </a:lnTo>
                    <a:lnTo>
                      <a:pt x="71" y="39"/>
                    </a:lnTo>
                    <a:cubicBezTo>
                      <a:pt x="73" y="40"/>
                      <a:pt x="74" y="43"/>
                      <a:pt x="74" y="46"/>
                    </a:cubicBezTo>
                    <a:cubicBezTo>
                      <a:pt x="74" y="49"/>
                      <a:pt x="73" y="51"/>
                      <a:pt x="70" y="52"/>
                    </a:cubicBezTo>
                    <a:lnTo>
                      <a:pt x="51" y="63"/>
                    </a:lnTo>
                    <a:lnTo>
                      <a:pt x="47" y="48"/>
                    </a:lnTo>
                    <a:lnTo>
                      <a:pt x="97" y="46"/>
                    </a:lnTo>
                    <a:lnTo>
                      <a:pt x="94" y="47"/>
                    </a:lnTo>
                    <a:lnTo>
                      <a:pt x="132" y="24"/>
                    </a:lnTo>
                    <a:lnTo>
                      <a:pt x="135" y="38"/>
                    </a:lnTo>
                    <a:lnTo>
                      <a:pt x="7" y="16"/>
                    </a:lnTo>
                    <a:close/>
                    <a:moveTo>
                      <a:pt x="138" y="23"/>
                    </a:moveTo>
                    <a:cubicBezTo>
                      <a:pt x="141" y="23"/>
                      <a:pt x="144" y="26"/>
                      <a:pt x="144" y="29"/>
                    </a:cubicBezTo>
                    <a:cubicBezTo>
                      <a:pt x="145" y="32"/>
                      <a:pt x="143" y="36"/>
                      <a:pt x="141" y="37"/>
                    </a:cubicBezTo>
                    <a:lnTo>
                      <a:pt x="102" y="61"/>
                    </a:lnTo>
                    <a:cubicBezTo>
                      <a:pt x="101" y="61"/>
                      <a:pt x="100" y="62"/>
                      <a:pt x="98" y="62"/>
                    </a:cubicBezTo>
                    <a:lnTo>
                      <a:pt x="47" y="64"/>
                    </a:lnTo>
                    <a:cubicBezTo>
                      <a:pt x="44" y="65"/>
                      <a:pt x="40" y="62"/>
                      <a:pt x="39" y="59"/>
                    </a:cubicBezTo>
                    <a:cubicBezTo>
                      <a:pt x="38" y="55"/>
                      <a:pt x="40" y="51"/>
                      <a:pt x="43" y="50"/>
                    </a:cubicBezTo>
                    <a:lnTo>
                      <a:pt x="62" y="39"/>
                    </a:lnTo>
                    <a:lnTo>
                      <a:pt x="62" y="52"/>
                    </a:lnTo>
                    <a:lnTo>
                      <a:pt x="4" y="15"/>
                    </a:lnTo>
                    <a:cubicBezTo>
                      <a:pt x="1" y="13"/>
                      <a:pt x="0" y="9"/>
                      <a:pt x="1" y="6"/>
                    </a:cubicBezTo>
                    <a:cubicBezTo>
                      <a:pt x="2" y="2"/>
                      <a:pt x="6" y="0"/>
                      <a:pt x="10" y="1"/>
                    </a:cubicBezTo>
                    <a:lnTo>
                      <a:pt x="138" y="23"/>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23" name="Freeform 279"/>
              <p:cNvSpPr>
                <a:spLocks/>
              </p:cNvSpPr>
              <p:nvPr/>
            </p:nvSpPr>
            <p:spPr bwMode="auto">
              <a:xfrm>
                <a:off x="4022" y="705"/>
                <a:ext cx="88" cy="36"/>
              </a:xfrm>
              <a:custGeom>
                <a:avLst/>
                <a:gdLst/>
                <a:ahLst/>
                <a:cxnLst>
                  <a:cxn ang="0">
                    <a:pos x="0" y="30"/>
                  </a:cxn>
                  <a:cxn ang="0">
                    <a:pos x="24" y="10"/>
                  </a:cxn>
                  <a:cxn ang="0">
                    <a:pos x="57" y="0"/>
                  </a:cxn>
                  <a:cxn ang="0">
                    <a:pos x="88" y="17"/>
                  </a:cxn>
                  <a:cxn ang="0">
                    <a:pos x="78" y="21"/>
                  </a:cxn>
                  <a:cxn ang="0">
                    <a:pos x="81" y="29"/>
                  </a:cxn>
                  <a:cxn ang="0">
                    <a:pos x="35" y="36"/>
                  </a:cxn>
                  <a:cxn ang="0">
                    <a:pos x="0" y="30"/>
                  </a:cxn>
                </a:cxnLst>
                <a:rect l="0" t="0" r="r" b="b"/>
                <a:pathLst>
                  <a:path w="88" h="36">
                    <a:moveTo>
                      <a:pt x="0" y="30"/>
                    </a:moveTo>
                    <a:lnTo>
                      <a:pt x="24" y="10"/>
                    </a:lnTo>
                    <a:lnTo>
                      <a:pt x="57" y="0"/>
                    </a:lnTo>
                    <a:lnTo>
                      <a:pt x="88" y="17"/>
                    </a:lnTo>
                    <a:lnTo>
                      <a:pt x="78" y="21"/>
                    </a:lnTo>
                    <a:lnTo>
                      <a:pt x="81" y="29"/>
                    </a:lnTo>
                    <a:lnTo>
                      <a:pt x="35" y="36"/>
                    </a:lnTo>
                    <a:lnTo>
                      <a:pt x="0" y="3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24" name="Freeform 280"/>
              <p:cNvSpPr>
                <a:spLocks noEditPoints="1"/>
              </p:cNvSpPr>
              <p:nvPr/>
            </p:nvSpPr>
            <p:spPr bwMode="auto">
              <a:xfrm>
                <a:off x="4020" y="703"/>
                <a:ext cx="93" cy="40"/>
              </a:xfrm>
              <a:custGeom>
                <a:avLst/>
                <a:gdLst/>
                <a:ahLst/>
                <a:cxnLst>
                  <a:cxn ang="0">
                    <a:pos x="7" y="148"/>
                  </a:cxn>
                  <a:cxn ang="0">
                    <a:pos x="1" y="142"/>
                  </a:cxn>
                  <a:cxn ang="0">
                    <a:pos x="3" y="134"/>
                  </a:cxn>
                  <a:cxn ang="0">
                    <a:pos x="84" y="45"/>
                  </a:cxn>
                  <a:cxn ang="0">
                    <a:pos x="87" y="43"/>
                  </a:cxn>
                  <a:cxn ang="0">
                    <a:pos x="202" y="1"/>
                  </a:cxn>
                  <a:cxn ang="0">
                    <a:pos x="209" y="2"/>
                  </a:cxn>
                  <a:cxn ang="0">
                    <a:pos x="317" y="78"/>
                  </a:cxn>
                  <a:cxn ang="0">
                    <a:pos x="320" y="85"/>
                  </a:cxn>
                  <a:cxn ang="0">
                    <a:pos x="316" y="92"/>
                  </a:cxn>
                  <a:cxn ang="0">
                    <a:pos x="280" y="108"/>
                  </a:cxn>
                  <a:cxn ang="0">
                    <a:pos x="284" y="99"/>
                  </a:cxn>
                  <a:cxn ang="0">
                    <a:pos x="295" y="132"/>
                  </a:cxn>
                  <a:cxn ang="0">
                    <a:pos x="295" y="139"/>
                  </a:cxn>
                  <a:cxn ang="0">
                    <a:pos x="289" y="143"/>
                  </a:cxn>
                  <a:cxn ang="0">
                    <a:pos x="132" y="176"/>
                  </a:cxn>
                  <a:cxn ang="0">
                    <a:pos x="128" y="176"/>
                  </a:cxn>
                  <a:cxn ang="0">
                    <a:pos x="7" y="148"/>
                  </a:cxn>
                  <a:cxn ang="0">
                    <a:pos x="132" y="161"/>
                  </a:cxn>
                  <a:cxn ang="0">
                    <a:pos x="128" y="161"/>
                  </a:cxn>
                  <a:cxn ang="0">
                    <a:pos x="286" y="127"/>
                  </a:cxn>
                  <a:cxn ang="0">
                    <a:pos x="280" y="137"/>
                  </a:cxn>
                  <a:cxn ang="0">
                    <a:pos x="269" y="104"/>
                  </a:cxn>
                  <a:cxn ang="0">
                    <a:pos x="273" y="94"/>
                  </a:cxn>
                  <a:cxn ang="0">
                    <a:pos x="309" y="77"/>
                  </a:cxn>
                  <a:cxn ang="0">
                    <a:pos x="308" y="91"/>
                  </a:cxn>
                  <a:cxn ang="0">
                    <a:pos x="200" y="15"/>
                  </a:cxn>
                  <a:cxn ang="0">
                    <a:pos x="207" y="16"/>
                  </a:cxn>
                  <a:cxn ang="0">
                    <a:pos x="93" y="58"/>
                  </a:cxn>
                  <a:cxn ang="0">
                    <a:pos x="96" y="56"/>
                  </a:cxn>
                  <a:cxn ang="0">
                    <a:pos x="14" y="145"/>
                  </a:cxn>
                  <a:cxn ang="0">
                    <a:pos x="10" y="132"/>
                  </a:cxn>
                  <a:cxn ang="0">
                    <a:pos x="132" y="161"/>
                  </a:cxn>
                </a:cxnLst>
                <a:rect l="0" t="0" r="r" b="b"/>
                <a:pathLst>
                  <a:path w="321" h="177">
                    <a:moveTo>
                      <a:pt x="7" y="148"/>
                    </a:moveTo>
                    <a:cubicBezTo>
                      <a:pt x="4" y="147"/>
                      <a:pt x="2" y="145"/>
                      <a:pt x="1" y="142"/>
                    </a:cubicBezTo>
                    <a:cubicBezTo>
                      <a:pt x="0" y="139"/>
                      <a:pt x="1" y="137"/>
                      <a:pt x="3" y="134"/>
                    </a:cubicBezTo>
                    <a:lnTo>
                      <a:pt x="84" y="45"/>
                    </a:lnTo>
                    <a:cubicBezTo>
                      <a:pt x="85" y="44"/>
                      <a:pt x="86" y="43"/>
                      <a:pt x="87" y="43"/>
                    </a:cubicBezTo>
                    <a:lnTo>
                      <a:pt x="202" y="1"/>
                    </a:lnTo>
                    <a:cubicBezTo>
                      <a:pt x="204" y="0"/>
                      <a:pt x="207" y="0"/>
                      <a:pt x="209" y="2"/>
                    </a:cubicBezTo>
                    <a:lnTo>
                      <a:pt x="317" y="78"/>
                    </a:lnTo>
                    <a:cubicBezTo>
                      <a:pt x="319" y="79"/>
                      <a:pt x="321" y="82"/>
                      <a:pt x="320" y="85"/>
                    </a:cubicBezTo>
                    <a:cubicBezTo>
                      <a:pt x="320" y="88"/>
                      <a:pt x="318" y="90"/>
                      <a:pt x="316" y="92"/>
                    </a:cubicBezTo>
                    <a:lnTo>
                      <a:pt x="280" y="108"/>
                    </a:lnTo>
                    <a:lnTo>
                      <a:pt x="284" y="99"/>
                    </a:lnTo>
                    <a:lnTo>
                      <a:pt x="295" y="132"/>
                    </a:lnTo>
                    <a:cubicBezTo>
                      <a:pt x="296" y="134"/>
                      <a:pt x="296" y="137"/>
                      <a:pt x="295" y="139"/>
                    </a:cubicBezTo>
                    <a:cubicBezTo>
                      <a:pt x="293" y="141"/>
                      <a:pt x="291" y="142"/>
                      <a:pt x="289" y="143"/>
                    </a:cubicBezTo>
                    <a:lnTo>
                      <a:pt x="132" y="176"/>
                    </a:lnTo>
                    <a:cubicBezTo>
                      <a:pt x="131" y="177"/>
                      <a:pt x="129" y="177"/>
                      <a:pt x="128" y="176"/>
                    </a:cubicBezTo>
                    <a:lnTo>
                      <a:pt x="7" y="148"/>
                    </a:lnTo>
                    <a:close/>
                    <a:moveTo>
                      <a:pt x="132" y="161"/>
                    </a:moveTo>
                    <a:lnTo>
                      <a:pt x="128" y="161"/>
                    </a:lnTo>
                    <a:lnTo>
                      <a:pt x="286" y="127"/>
                    </a:lnTo>
                    <a:lnTo>
                      <a:pt x="280" y="137"/>
                    </a:lnTo>
                    <a:lnTo>
                      <a:pt x="269" y="104"/>
                    </a:lnTo>
                    <a:cubicBezTo>
                      <a:pt x="268" y="100"/>
                      <a:pt x="269" y="96"/>
                      <a:pt x="273" y="94"/>
                    </a:cubicBezTo>
                    <a:lnTo>
                      <a:pt x="309" y="77"/>
                    </a:lnTo>
                    <a:lnTo>
                      <a:pt x="308" y="91"/>
                    </a:lnTo>
                    <a:lnTo>
                      <a:pt x="200" y="15"/>
                    </a:lnTo>
                    <a:lnTo>
                      <a:pt x="207" y="16"/>
                    </a:lnTo>
                    <a:lnTo>
                      <a:pt x="93" y="58"/>
                    </a:lnTo>
                    <a:lnTo>
                      <a:pt x="96" y="56"/>
                    </a:lnTo>
                    <a:lnTo>
                      <a:pt x="14" y="145"/>
                    </a:lnTo>
                    <a:lnTo>
                      <a:pt x="10" y="132"/>
                    </a:lnTo>
                    <a:lnTo>
                      <a:pt x="132" y="16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25" name="Freeform 281"/>
              <p:cNvSpPr>
                <a:spLocks/>
              </p:cNvSpPr>
              <p:nvPr/>
            </p:nvSpPr>
            <p:spPr bwMode="auto">
              <a:xfrm>
                <a:off x="4041" y="738"/>
                <a:ext cx="97" cy="44"/>
              </a:xfrm>
              <a:custGeom>
                <a:avLst/>
                <a:gdLst/>
                <a:ahLst/>
                <a:cxnLst>
                  <a:cxn ang="0">
                    <a:pos x="0" y="19"/>
                  </a:cxn>
                  <a:cxn ang="0">
                    <a:pos x="17" y="21"/>
                  </a:cxn>
                  <a:cxn ang="0">
                    <a:pos x="30" y="36"/>
                  </a:cxn>
                  <a:cxn ang="0">
                    <a:pos x="39" y="31"/>
                  </a:cxn>
                  <a:cxn ang="0">
                    <a:pos x="80" y="44"/>
                  </a:cxn>
                  <a:cxn ang="0">
                    <a:pos x="93" y="39"/>
                  </a:cxn>
                  <a:cxn ang="0">
                    <a:pos x="83" y="27"/>
                  </a:cxn>
                  <a:cxn ang="0">
                    <a:pos x="91" y="30"/>
                  </a:cxn>
                  <a:cxn ang="0">
                    <a:pos x="97" y="13"/>
                  </a:cxn>
                  <a:cxn ang="0">
                    <a:pos x="76" y="4"/>
                  </a:cxn>
                  <a:cxn ang="0">
                    <a:pos x="56" y="16"/>
                  </a:cxn>
                  <a:cxn ang="0">
                    <a:pos x="72" y="9"/>
                  </a:cxn>
                  <a:cxn ang="0">
                    <a:pos x="62" y="0"/>
                  </a:cxn>
                  <a:cxn ang="0">
                    <a:pos x="28" y="3"/>
                  </a:cxn>
                  <a:cxn ang="0">
                    <a:pos x="0" y="19"/>
                  </a:cxn>
                </a:cxnLst>
                <a:rect l="0" t="0" r="r" b="b"/>
                <a:pathLst>
                  <a:path w="97" h="44">
                    <a:moveTo>
                      <a:pt x="0" y="19"/>
                    </a:moveTo>
                    <a:lnTo>
                      <a:pt x="17" y="21"/>
                    </a:lnTo>
                    <a:lnTo>
                      <a:pt x="30" y="36"/>
                    </a:lnTo>
                    <a:lnTo>
                      <a:pt x="39" y="31"/>
                    </a:lnTo>
                    <a:lnTo>
                      <a:pt x="80" y="44"/>
                    </a:lnTo>
                    <a:lnTo>
                      <a:pt x="93" y="39"/>
                    </a:lnTo>
                    <a:lnTo>
                      <a:pt x="83" y="27"/>
                    </a:lnTo>
                    <a:lnTo>
                      <a:pt x="91" y="30"/>
                    </a:lnTo>
                    <a:lnTo>
                      <a:pt x="97" y="13"/>
                    </a:lnTo>
                    <a:lnTo>
                      <a:pt x="76" y="4"/>
                    </a:lnTo>
                    <a:lnTo>
                      <a:pt x="56" y="16"/>
                    </a:lnTo>
                    <a:lnTo>
                      <a:pt x="72" y="9"/>
                    </a:lnTo>
                    <a:lnTo>
                      <a:pt x="62" y="0"/>
                    </a:lnTo>
                    <a:lnTo>
                      <a:pt x="28" y="3"/>
                    </a:lnTo>
                    <a:lnTo>
                      <a:pt x="0" y="19"/>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26" name="Freeform 282"/>
              <p:cNvSpPr>
                <a:spLocks noEditPoints="1"/>
              </p:cNvSpPr>
              <p:nvPr/>
            </p:nvSpPr>
            <p:spPr bwMode="auto">
              <a:xfrm>
                <a:off x="4038" y="736"/>
                <a:ext cx="103" cy="48"/>
              </a:xfrm>
              <a:custGeom>
                <a:avLst/>
                <a:gdLst/>
                <a:ahLst/>
                <a:cxnLst>
                  <a:cxn ang="0">
                    <a:pos x="10" y="85"/>
                  </a:cxn>
                  <a:cxn ang="0">
                    <a:pos x="76" y="98"/>
                  </a:cxn>
                  <a:cxn ang="0">
                    <a:pos x="108" y="163"/>
                  </a:cxn>
                  <a:cxn ang="0">
                    <a:pos x="148" y="139"/>
                  </a:cxn>
                  <a:cxn ang="0">
                    <a:pos x="282" y="193"/>
                  </a:cxn>
                  <a:cxn ang="0">
                    <a:pos x="324" y="184"/>
                  </a:cxn>
                  <a:cxn ang="0">
                    <a:pos x="291" y="122"/>
                  </a:cxn>
                  <a:cxn ang="0">
                    <a:pos x="327" y="135"/>
                  </a:cxn>
                  <a:cxn ang="0">
                    <a:pos x="337" y="63"/>
                  </a:cxn>
                  <a:cxn ang="0">
                    <a:pos x="267" y="33"/>
                  </a:cxn>
                  <a:cxn ang="0">
                    <a:pos x="206" y="86"/>
                  </a:cxn>
                  <a:cxn ang="0">
                    <a:pos x="254" y="43"/>
                  </a:cxn>
                  <a:cxn ang="0">
                    <a:pos x="218" y="14"/>
                  </a:cxn>
                  <a:cxn ang="0">
                    <a:pos x="107" y="30"/>
                  </a:cxn>
                  <a:cxn ang="0">
                    <a:pos x="13" y="100"/>
                  </a:cxn>
                  <a:cxn ang="0">
                    <a:pos x="105" y="14"/>
                  </a:cxn>
                  <a:cxn ang="0">
                    <a:pos x="230" y="3"/>
                  </a:cxn>
                  <a:cxn ang="0">
                    <a:pos x="266" y="52"/>
                  </a:cxn>
                  <a:cxn ang="0">
                    <a:pos x="205" y="87"/>
                  </a:cxn>
                  <a:cxn ang="0">
                    <a:pos x="196" y="73"/>
                  </a:cxn>
                  <a:cxn ang="0">
                    <a:pos x="275" y="19"/>
                  </a:cxn>
                  <a:cxn ang="0">
                    <a:pos x="352" y="68"/>
                  </a:cxn>
                  <a:cxn ang="0">
                    <a:pos x="326" y="149"/>
                  </a:cxn>
                  <a:cxn ang="0">
                    <a:pos x="293" y="135"/>
                  </a:cxn>
                  <a:cxn ang="0">
                    <a:pos x="338" y="175"/>
                  </a:cxn>
                  <a:cxn ang="0">
                    <a:pos x="334" y="187"/>
                  </a:cxn>
                  <a:cxn ang="0">
                    <a:pos x="282" y="208"/>
                  </a:cxn>
                  <a:cxn ang="0">
                    <a:pos x="150" y="153"/>
                  </a:cxn>
                  <a:cxn ang="0">
                    <a:pos x="111" y="177"/>
                  </a:cxn>
                  <a:cxn ang="0">
                    <a:pos x="63" y="106"/>
                  </a:cxn>
                  <a:cxn ang="0">
                    <a:pos x="7" y="101"/>
                  </a:cxn>
                  <a:cxn ang="0">
                    <a:pos x="4" y="87"/>
                  </a:cxn>
                </a:cxnLst>
                <a:rect l="0" t="0" r="r" b="b"/>
                <a:pathLst>
                  <a:path w="353" h="209">
                    <a:moveTo>
                      <a:pt x="13" y="100"/>
                    </a:moveTo>
                    <a:lnTo>
                      <a:pt x="10" y="85"/>
                    </a:lnTo>
                    <a:lnTo>
                      <a:pt x="71" y="94"/>
                    </a:lnTo>
                    <a:cubicBezTo>
                      <a:pt x="73" y="94"/>
                      <a:pt x="75" y="96"/>
                      <a:pt x="76" y="98"/>
                    </a:cubicBezTo>
                    <a:lnTo>
                      <a:pt x="120" y="165"/>
                    </a:lnTo>
                    <a:lnTo>
                      <a:pt x="108" y="163"/>
                    </a:lnTo>
                    <a:lnTo>
                      <a:pt x="141" y="140"/>
                    </a:lnTo>
                    <a:cubicBezTo>
                      <a:pt x="143" y="139"/>
                      <a:pt x="146" y="138"/>
                      <a:pt x="148" y="139"/>
                    </a:cubicBezTo>
                    <a:lnTo>
                      <a:pt x="288" y="193"/>
                    </a:lnTo>
                    <a:lnTo>
                      <a:pt x="282" y="193"/>
                    </a:lnTo>
                    <a:lnTo>
                      <a:pt x="328" y="172"/>
                    </a:lnTo>
                    <a:lnTo>
                      <a:pt x="324" y="184"/>
                    </a:lnTo>
                    <a:lnTo>
                      <a:pt x="290" y="132"/>
                    </a:lnTo>
                    <a:cubicBezTo>
                      <a:pt x="288" y="129"/>
                      <a:pt x="289" y="125"/>
                      <a:pt x="291" y="122"/>
                    </a:cubicBezTo>
                    <a:cubicBezTo>
                      <a:pt x="294" y="120"/>
                      <a:pt x="298" y="119"/>
                      <a:pt x="301" y="121"/>
                    </a:cubicBezTo>
                    <a:lnTo>
                      <a:pt x="327" y="135"/>
                    </a:lnTo>
                    <a:lnTo>
                      <a:pt x="315" y="139"/>
                    </a:lnTo>
                    <a:lnTo>
                      <a:pt x="337" y="63"/>
                    </a:lnTo>
                    <a:lnTo>
                      <a:pt x="341" y="73"/>
                    </a:lnTo>
                    <a:lnTo>
                      <a:pt x="267" y="33"/>
                    </a:lnTo>
                    <a:lnTo>
                      <a:pt x="276" y="32"/>
                    </a:lnTo>
                    <a:lnTo>
                      <a:pt x="206" y="86"/>
                    </a:lnTo>
                    <a:lnTo>
                      <a:pt x="197" y="72"/>
                    </a:lnTo>
                    <a:lnTo>
                      <a:pt x="254" y="43"/>
                    </a:lnTo>
                    <a:lnTo>
                      <a:pt x="252" y="55"/>
                    </a:lnTo>
                    <a:lnTo>
                      <a:pt x="218" y="14"/>
                    </a:lnTo>
                    <a:lnTo>
                      <a:pt x="225" y="16"/>
                    </a:lnTo>
                    <a:lnTo>
                      <a:pt x="107" y="30"/>
                    </a:lnTo>
                    <a:lnTo>
                      <a:pt x="111" y="29"/>
                    </a:lnTo>
                    <a:lnTo>
                      <a:pt x="13" y="100"/>
                    </a:lnTo>
                    <a:close/>
                    <a:moveTo>
                      <a:pt x="101" y="16"/>
                    </a:moveTo>
                    <a:cubicBezTo>
                      <a:pt x="102" y="15"/>
                      <a:pt x="104" y="15"/>
                      <a:pt x="105" y="14"/>
                    </a:cubicBezTo>
                    <a:lnTo>
                      <a:pt x="223" y="1"/>
                    </a:lnTo>
                    <a:cubicBezTo>
                      <a:pt x="226" y="0"/>
                      <a:pt x="228" y="1"/>
                      <a:pt x="230" y="3"/>
                    </a:cubicBezTo>
                    <a:lnTo>
                      <a:pt x="264" y="45"/>
                    </a:lnTo>
                    <a:cubicBezTo>
                      <a:pt x="265" y="47"/>
                      <a:pt x="266" y="49"/>
                      <a:pt x="266" y="52"/>
                    </a:cubicBezTo>
                    <a:cubicBezTo>
                      <a:pt x="265" y="54"/>
                      <a:pt x="264" y="56"/>
                      <a:pt x="261" y="57"/>
                    </a:cubicBezTo>
                    <a:lnTo>
                      <a:pt x="205" y="87"/>
                    </a:lnTo>
                    <a:cubicBezTo>
                      <a:pt x="201" y="88"/>
                      <a:pt x="196" y="87"/>
                      <a:pt x="194" y="84"/>
                    </a:cubicBezTo>
                    <a:cubicBezTo>
                      <a:pt x="192" y="80"/>
                      <a:pt x="193" y="76"/>
                      <a:pt x="196" y="73"/>
                    </a:cubicBezTo>
                    <a:lnTo>
                      <a:pt x="266" y="19"/>
                    </a:lnTo>
                    <a:cubicBezTo>
                      <a:pt x="269" y="17"/>
                      <a:pt x="272" y="17"/>
                      <a:pt x="275" y="19"/>
                    </a:cubicBezTo>
                    <a:lnTo>
                      <a:pt x="348" y="59"/>
                    </a:lnTo>
                    <a:cubicBezTo>
                      <a:pt x="352" y="60"/>
                      <a:pt x="353" y="64"/>
                      <a:pt x="352" y="68"/>
                    </a:cubicBezTo>
                    <a:lnTo>
                      <a:pt x="330" y="144"/>
                    </a:lnTo>
                    <a:cubicBezTo>
                      <a:pt x="330" y="146"/>
                      <a:pt x="328" y="148"/>
                      <a:pt x="326" y="149"/>
                    </a:cubicBezTo>
                    <a:cubicBezTo>
                      <a:pt x="324" y="150"/>
                      <a:pt x="321" y="150"/>
                      <a:pt x="319" y="149"/>
                    </a:cubicBezTo>
                    <a:lnTo>
                      <a:pt x="293" y="135"/>
                    </a:lnTo>
                    <a:lnTo>
                      <a:pt x="304" y="123"/>
                    </a:lnTo>
                    <a:lnTo>
                      <a:pt x="338" y="175"/>
                    </a:lnTo>
                    <a:cubicBezTo>
                      <a:pt x="339" y="177"/>
                      <a:pt x="339" y="180"/>
                      <a:pt x="339" y="182"/>
                    </a:cubicBezTo>
                    <a:cubicBezTo>
                      <a:pt x="338" y="184"/>
                      <a:pt x="336" y="186"/>
                      <a:pt x="334" y="187"/>
                    </a:cubicBezTo>
                    <a:lnTo>
                      <a:pt x="288" y="208"/>
                    </a:lnTo>
                    <a:cubicBezTo>
                      <a:pt x="286" y="209"/>
                      <a:pt x="284" y="209"/>
                      <a:pt x="282" y="208"/>
                    </a:cubicBezTo>
                    <a:lnTo>
                      <a:pt x="142" y="154"/>
                    </a:lnTo>
                    <a:lnTo>
                      <a:pt x="150" y="153"/>
                    </a:lnTo>
                    <a:lnTo>
                      <a:pt x="117" y="176"/>
                    </a:lnTo>
                    <a:cubicBezTo>
                      <a:pt x="116" y="177"/>
                      <a:pt x="113" y="178"/>
                      <a:pt x="111" y="177"/>
                    </a:cubicBezTo>
                    <a:cubicBezTo>
                      <a:pt x="109" y="177"/>
                      <a:pt x="107" y="175"/>
                      <a:pt x="106" y="174"/>
                    </a:cubicBezTo>
                    <a:lnTo>
                      <a:pt x="63" y="106"/>
                    </a:lnTo>
                    <a:lnTo>
                      <a:pt x="68" y="110"/>
                    </a:lnTo>
                    <a:lnTo>
                      <a:pt x="7" y="101"/>
                    </a:lnTo>
                    <a:cubicBezTo>
                      <a:pt x="4" y="101"/>
                      <a:pt x="1" y="98"/>
                      <a:pt x="1" y="95"/>
                    </a:cubicBezTo>
                    <a:cubicBezTo>
                      <a:pt x="0" y="92"/>
                      <a:pt x="1" y="89"/>
                      <a:pt x="4" y="87"/>
                    </a:cubicBezTo>
                    <a:lnTo>
                      <a:pt x="101" y="16"/>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27" name="Freeform 283"/>
              <p:cNvSpPr>
                <a:spLocks/>
              </p:cNvSpPr>
              <p:nvPr/>
            </p:nvSpPr>
            <p:spPr bwMode="auto">
              <a:xfrm>
                <a:off x="4133" y="760"/>
                <a:ext cx="84" cy="43"/>
              </a:xfrm>
              <a:custGeom>
                <a:avLst/>
                <a:gdLst/>
                <a:ahLst/>
                <a:cxnLst>
                  <a:cxn ang="0">
                    <a:pos x="0" y="37"/>
                  </a:cxn>
                  <a:cxn ang="0">
                    <a:pos x="7" y="43"/>
                  </a:cxn>
                  <a:cxn ang="0">
                    <a:pos x="77" y="35"/>
                  </a:cxn>
                  <a:cxn ang="0">
                    <a:pos x="84" y="20"/>
                  </a:cxn>
                  <a:cxn ang="0">
                    <a:pos x="64" y="8"/>
                  </a:cxn>
                  <a:cxn ang="0">
                    <a:pos x="47" y="13"/>
                  </a:cxn>
                  <a:cxn ang="0">
                    <a:pos x="51" y="3"/>
                  </a:cxn>
                  <a:cxn ang="0">
                    <a:pos x="41" y="0"/>
                  </a:cxn>
                  <a:cxn ang="0">
                    <a:pos x="9" y="33"/>
                  </a:cxn>
                  <a:cxn ang="0">
                    <a:pos x="0" y="37"/>
                  </a:cxn>
                </a:cxnLst>
                <a:rect l="0" t="0" r="r" b="b"/>
                <a:pathLst>
                  <a:path w="84" h="43">
                    <a:moveTo>
                      <a:pt x="0" y="37"/>
                    </a:moveTo>
                    <a:lnTo>
                      <a:pt x="7" y="43"/>
                    </a:lnTo>
                    <a:lnTo>
                      <a:pt x="77" y="35"/>
                    </a:lnTo>
                    <a:lnTo>
                      <a:pt x="84" y="20"/>
                    </a:lnTo>
                    <a:lnTo>
                      <a:pt x="64" y="8"/>
                    </a:lnTo>
                    <a:lnTo>
                      <a:pt x="47" y="13"/>
                    </a:lnTo>
                    <a:lnTo>
                      <a:pt x="51" y="3"/>
                    </a:lnTo>
                    <a:lnTo>
                      <a:pt x="41" y="0"/>
                    </a:lnTo>
                    <a:lnTo>
                      <a:pt x="9" y="33"/>
                    </a:lnTo>
                    <a:lnTo>
                      <a:pt x="0" y="37"/>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28" name="Freeform 284"/>
              <p:cNvSpPr>
                <a:spLocks noEditPoints="1"/>
              </p:cNvSpPr>
              <p:nvPr/>
            </p:nvSpPr>
            <p:spPr bwMode="auto">
              <a:xfrm>
                <a:off x="4131" y="758"/>
                <a:ext cx="88" cy="48"/>
              </a:xfrm>
              <a:custGeom>
                <a:avLst/>
                <a:gdLst/>
                <a:ahLst/>
                <a:cxnLst>
                  <a:cxn ang="0">
                    <a:pos x="13" y="178"/>
                  </a:cxn>
                  <a:cxn ang="0">
                    <a:pos x="15" y="167"/>
                  </a:cxn>
                  <a:cxn ang="0">
                    <a:pos x="37" y="196"/>
                  </a:cxn>
                  <a:cxn ang="0">
                    <a:pos x="29" y="193"/>
                  </a:cxn>
                  <a:cxn ang="0">
                    <a:pos x="272" y="153"/>
                  </a:cxn>
                  <a:cxn ang="0">
                    <a:pos x="265" y="159"/>
                  </a:cxn>
                  <a:cxn ang="0">
                    <a:pos x="289" y="96"/>
                  </a:cxn>
                  <a:cxn ang="0">
                    <a:pos x="292" y="105"/>
                  </a:cxn>
                  <a:cxn ang="0">
                    <a:pos x="224" y="52"/>
                  </a:cxn>
                  <a:cxn ang="0">
                    <a:pos x="231" y="53"/>
                  </a:cxn>
                  <a:cxn ang="0">
                    <a:pos x="173" y="75"/>
                  </a:cxn>
                  <a:cxn ang="0">
                    <a:pos x="165" y="74"/>
                  </a:cxn>
                  <a:cxn ang="0">
                    <a:pos x="163" y="66"/>
                  </a:cxn>
                  <a:cxn ang="0">
                    <a:pos x="174" y="23"/>
                  </a:cxn>
                  <a:cxn ang="0">
                    <a:pos x="178" y="33"/>
                  </a:cxn>
                  <a:cxn ang="0">
                    <a:pos x="143" y="16"/>
                  </a:cxn>
                  <a:cxn ang="0">
                    <a:pos x="153" y="13"/>
                  </a:cxn>
                  <a:cxn ang="0">
                    <a:pos x="44" y="158"/>
                  </a:cxn>
                  <a:cxn ang="0">
                    <a:pos x="42" y="160"/>
                  </a:cxn>
                  <a:cxn ang="0">
                    <a:pos x="13" y="178"/>
                  </a:cxn>
                  <a:cxn ang="0">
                    <a:pos x="33" y="146"/>
                  </a:cxn>
                  <a:cxn ang="0">
                    <a:pos x="31" y="148"/>
                  </a:cxn>
                  <a:cxn ang="0">
                    <a:pos x="141" y="4"/>
                  </a:cxn>
                  <a:cxn ang="0">
                    <a:pos x="150" y="1"/>
                  </a:cxn>
                  <a:cxn ang="0">
                    <a:pos x="185" y="18"/>
                  </a:cxn>
                  <a:cxn ang="0">
                    <a:pos x="189" y="27"/>
                  </a:cxn>
                  <a:cxn ang="0">
                    <a:pos x="178" y="70"/>
                  </a:cxn>
                  <a:cxn ang="0">
                    <a:pos x="168" y="60"/>
                  </a:cxn>
                  <a:cxn ang="0">
                    <a:pos x="226" y="38"/>
                  </a:cxn>
                  <a:cxn ang="0">
                    <a:pos x="234" y="40"/>
                  </a:cxn>
                  <a:cxn ang="0">
                    <a:pos x="301" y="92"/>
                  </a:cxn>
                  <a:cxn ang="0">
                    <a:pos x="304" y="101"/>
                  </a:cxn>
                  <a:cxn ang="0">
                    <a:pos x="280" y="164"/>
                  </a:cxn>
                  <a:cxn ang="0">
                    <a:pos x="274" y="169"/>
                  </a:cxn>
                  <a:cxn ang="0">
                    <a:pos x="32" y="208"/>
                  </a:cxn>
                  <a:cxn ang="0">
                    <a:pos x="24" y="205"/>
                  </a:cxn>
                  <a:cxn ang="0">
                    <a:pos x="2" y="176"/>
                  </a:cxn>
                  <a:cxn ang="0">
                    <a:pos x="1" y="170"/>
                  </a:cxn>
                  <a:cxn ang="0">
                    <a:pos x="4" y="165"/>
                  </a:cxn>
                  <a:cxn ang="0">
                    <a:pos x="33" y="146"/>
                  </a:cxn>
                </a:cxnLst>
                <a:rect l="0" t="0" r="r" b="b"/>
                <a:pathLst>
                  <a:path w="305" h="209">
                    <a:moveTo>
                      <a:pt x="13" y="178"/>
                    </a:moveTo>
                    <a:lnTo>
                      <a:pt x="15" y="167"/>
                    </a:lnTo>
                    <a:lnTo>
                      <a:pt x="37" y="196"/>
                    </a:lnTo>
                    <a:lnTo>
                      <a:pt x="29" y="193"/>
                    </a:lnTo>
                    <a:lnTo>
                      <a:pt x="272" y="153"/>
                    </a:lnTo>
                    <a:lnTo>
                      <a:pt x="265" y="159"/>
                    </a:lnTo>
                    <a:lnTo>
                      <a:pt x="289" y="96"/>
                    </a:lnTo>
                    <a:lnTo>
                      <a:pt x="292" y="105"/>
                    </a:lnTo>
                    <a:lnTo>
                      <a:pt x="224" y="52"/>
                    </a:lnTo>
                    <a:lnTo>
                      <a:pt x="231" y="53"/>
                    </a:lnTo>
                    <a:lnTo>
                      <a:pt x="173" y="75"/>
                    </a:lnTo>
                    <a:cubicBezTo>
                      <a:pt x="171" y="76"/>
                      <a:pt x="167" y="76"/>
                      <a:pt x="165" y="74"/>
                    </a:cubicBezTo>
                    <a:cubicBezTo>
                      <a:pt x="163" y="72"/>
                      <a:pt x="162" y="69"/>
                      <a:pt x="163" y="66"/>
                    </a:cubicBezTo>
                    <a:lnTo>
                      <a:pt x="174" y="23"/>
                    </a:lnTo>
                    <a:lnTo>
                      <a:pt x="178" y="33"/>
                    </a:lnTo>
                    <a:lnTo>
                      <a:pt x="143" y="16"/>
                    </a:lnTo>
                    <a:lnTo>
                      <a:pt x="153" y="13"/>
                    </a:lnTo>
                    <a:lnTo>
                      <a:pt x="44" y="158"/>
                    </a:lnTo>
                    <a:cubicBezTo>
                      <a:pt x="43" y="158"/>
                      <a:pt x="43" y="159"/>
                      <a:pt x="42" y="160"/>
                    </a:cubicBezTo>
                    <a:lnTo>
                      <a:pt x="13" y="178"/>
                    </a:lnTo>
                    <a:close/>
                    <a:moveTo>
                      <a:pt x="33" y="146"/>
                    </a:moveTo>
                    <a:lnTo>
                      <a:pt x="31" y="148"/>
                    </a:lnTo>
                    <a:lnTo>
                      <a:pt x="141" y="4"/>
                    </a:lnTo>
                    <a:cubicBezTo>
                      <a:pt x="143" y="1"/>
                      <a:pt x="147" y="0"/>
                      <a:pt x="150" y="1"/>
                    </a:cubicBezTo>
                    <a:lnTo>
                      <a:pt x="185" y="18"/>
                    </a:lnTo>
                    <a:cubicBezTo>
                      <a:pt x="188" y="20"/>
                      <a:pt x="190" y="24"/>
                      <a:pt x="189" y="27"/>
                    </a:cubicBezTo>
                    <a:lnTo>
                      <a:pt x="178" y="70"/>
                    </a:lnTo>
                    <a:lnTo>
                      <a:pt x="168" y="60"/>
                    </a:lnTo>
                    <a:lnTo>
                      <a:pt x="226" y="38"/>
                    </a:lnTo>
                    <a:cubicBezTo>
                      <a:pt x="228" y="37"/>
                      <a:pt x="231" y="38"/>
                      <a:pt x="234" y="40"/>
                    </a:cubicBezTo>
                    <a:lnTo>
                      <a:pt x="301" y="92"/>
                    </a:lnTo>
                    <a:cubicBezTo>
                      <a:pt x="304" y="94"/>
                      <a:pt x="305" y="98"/>
                      <a:pt x="304" y="101"/>
                    </a:cubicBezTo>
                    <a:lnTo>
                      <a:pt x="280" y="164"/>
                    </a:lnTo>
                    <a:cubicBezTo>
                      <a:pt x="279" y="167"/>
                      <a:pt x="277" y="169"/>
                      <a:pt x="274" y="169"/>
                    </a:cubicBezTo>
                    <a:lnTo>
                      <a:pt x="32" y="208"/>
                    </a:lnTo>
                    <a:cubicBezTo>
                      <a:pt x="29" y="209"/>
                      <a:pt x="26" y="208"/>
                      <a:pt x="24" y="205"/>
                    </a:cubicBezTo>
                    <a:lnTo>
                      <a:pt x="2" y="176"/>
                    </a:lnTo>
                    <a:cubicBezTo>
                      <a:pt x="1" y="175"/>
                      <a:pt x="0" y="172"/>
                      <a:pt x="1" y="170"/>
                    </a:cubicBezTo>
                    <a:cubicBezTo>
                      <a:pt x="1" y="168"/>
                      <a:pt x="2" y="166"/>
                      <a:pt x="4" y="165"/>
                    </a:cubicBezTo>
                    <a:lnTo>
                      <a:pt x="33" y="146"/>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29" name="Freeform 285"/>
              <p:cNvSpPr>
                <a:spLocks/>
              </p:cNvSpPr>
              <p:nvPr/>
            </p:nvSpPr>
            <p:spPr bwMode="auto">
              <a:xfrm>
                <a:off x="4653" y="851"/>
                <a:ext cx="93" cy="40"/>
              </a:xfrm>
              <a:custGeom>
                <a:avLst/>
                <a:gdLst/>
                <a:ahLst/>
                <a:cxnLst>
                  <a:cxn ang="0">
                    <a:pos x="0" y="22"/>
                  </a:cxn>
                  <a:cxn ang="0">
                    <a:pos x="19" y="2"/>
                  </a:cxn>
                  <a:cxn ang="0">
                    <a:pos x="33" y="0"/>
                  </a:cxn>
                  <a:cxn ang="0">
                    <a:pos x="54" y="16"/>
                  </a:cxn>
                  <a:cxn ang="0">
                    <a:pos x="57" y="4"/>
                  </a:cxn>
                  <a:cxn ang="0">
                    <a:pos x="80" y="14"/>
                  </a:cxn>
                  <a:cxn ang="0">
                    <a:pos x="78" y="28"/>
                  </a:cxn>
                  <a:cxn ang="0">
                    <a:pos x="93" y="33"/>
                  </a:cxn>
                  <a:cxn ang="0">
                    <a:pos x="44" y="36"/>
                  </a:cxn>
                  <a:cxn ang="0">
                    <a:pos x="41" y="29"/>
                  </a:cxn>
                  <a:cxn ang="0">
                    <a:pos x="33" y="40"/>
                  </a:cxn>
                  <a:cxn ang="0">
                    <a:pos x="0" y="22"/>
                  </a:cxn>
                </a:cxnLst>
                <a:rect l="0" t="0" r="r" b="b"/>
                <a:pathLst>
                  <a:path w="93" h="40">
                    <a:moveTo>
                      <a:pt x="0" y="22"/>
                    </a:moveTo>
                    <a:lnTo>
                      <a:pt x="19" y="2"/>
                    </a:lnTo>
                    <a:lnTo>
                      <a:pt x="33" y="0"/>
                    </a:lnTo>
                    <a:lnTo>
                      <a:pt x="54" y="16"/>
                    </a:lnTo>
                    <a:lnTo>
                      <a:pt x="57" y="4"/>
                    </a:lnTo>
                    <a:lnTo>
                      <a:pt x="80" y="14"/>
                    </a:lnTo>
                    <a:lnTo>
                      <a:pt x="78" y="28"/>
                    </a:lnTo>
                    <a:lnTo>
                      <a:pt x="93" y="33"/>
                    </a:lnTo>
                    <a:lnTo>
                      <a:pt x="44" y="36"/>
                    </a:lnTo>
                    <a:lnTo>
                      <a:pt x="41" y="29"/>
                    </a:lnTo>
                    <a:lnTo>
                      <a:pt x="33" y="40"/>
                    </a:lnTo>
                    <a:lnTo>
                      <a:pt x="0" y="22"/>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30" name="Freeform 286"/>
              <p:cNvSpPr>
                <a:spLocks noEditPoints="1"/>
              </p:cNvSpPr>
              <p:nvPr/>
            </p:nvSpPr>
            <p:spPr bwMode="auto">
              <a:xfrm>
                <a:off x="4651" y="849"/>
                <a:ext cx="98" cy="44"/>
              </a:xfrm>
              <a:custGeom>
                <a:avLst/>
                <a:gdLst/>
                <a:ahLst/>
                <a:cxnLst>
                  <a:cxn ang="0">
                    <a:pos x="4" y="111"/>
                  </a:cxn>
                  <a:cxn ang="0">
                    <a:pos x="1" y="106"/>
                  </a:cxn>
                  <a:cxn ang="0">
                    <a:pos x="2" y="100"/>
                  </a:cxn>
                  <a:cxn ang="0">
                    <a:pos x="68" y="12"/>
                  </a:cxn>
                  <a:cxn ang="0">
                    <a:pos x="73" y="9"/>
                  </a:cxn>
                  <a:cxn ang="0">
                    <a:pos x="118" y="1"/>
                  </a:cxn>
                  <a:cxn ang="0">
                    <a:pos x="125" y="3"/>
                  </a:cxn>
                  <a:cxn ang="0">
                    <a:pos x="198" y="71"/>
                  </a:cxn>
                  <a:cxn ang="0">
                    <a:pos x="185" y="75"/>
                  </a:cxn>
                  <a:cxn ang="0">
                    <a:pos x="196" y="25"/>
                  </a:cxn>
                  <a:cxn ang="0">
                    <a:pos x="200" y="19"/>
                  </a:cxn>
                  <a:cxn ang="0">
                    <a:pos x="207" y="19"/>
                  </a:cxn>
                  <a:cxn ang="0">
                    <a:pos x="288" y="60"/>
                  </a:cxn>
                  <a:cxn ang="0">
                    <a:pos x="292" y="68"/>
                  </a:cxn>
                  <a:cxn ang="0">
                    <a:pos x="284" y="132"/>
                  </a:cxn>
                  <a:cxn ang="0">
                    <a:pos x="279" y="123"/>
                  </a:cxn>
                  <a:cxn ang="0">
                    <a:pos x="332" y="146"/>
                  </a:cxn>
                  <a:cxn ang="0">
                    <a:pos x="336" y="155"/>
                  </a:cxn>
                  <a:cxn ang="0">
                    <a:pos x="329" y="161"/>
                  </a:cxn>
                  <a:cxn ang="0">
                    <a:pos x="160" y="173"/>
                  </a:cxn>
                  <a:cxn ang="0">
                    <a:pos x="152" y="167"/>
                  </a:cxn>
                  <a:cxn ang="0">
                    <a:pos x="142" y="138"/>
                  </a:cxn>
                  <a:cxn ang="0">
                    <a:pos x="157" y="140"/>
                  </a:cxn>
                  <a:cxn ang="0">
                    <a:pos x="129" y="188"/>
                  </a:cxn>
                  <a:cxn ang="0">
                    <a:pos x="124" y="192"/>
                  </a:cxn>
                  <a:cxn ang="0">
                    <a:pos x="118" y="191"/>
                  </a:cxn>
                  <a:cxn ang="0">
                    <a:pos x="4" y="111"/>
                  </a:cxn>
                  <a:cxn ang="0">
                    <a:pos x="127" y="178"/>
                  </a:cxn>
                  <a:cxn ang="0">
                    <a:pos x="115" y="181"/>
                  </a:cxn>
                  <a:cxn ang="0">
                    <a:pos x="143" y="132"/>
                  </a:cxn>
                  <a:cxn ang="0">
                    <a:pos x="151" y="128"/>
                  </a:cxn>
                  <a:cxn ang="0">
                    <a:pos x="158" y="133"/>
                  </a:cxn>
                  <a:cxn ang="0">
                    <a:pos x="167" y="162"/>
                  </a:cxn>
                  <a:cxn ang="0">
                    <a:pos x="159" y="157"/>
                  </a:cxn>
                  <a:cxn ang="0">
                    <a:pos x="328" y="146"/>
                  </a:cxn>
                  <a:cxn ang="0">
                    <a:pos x="325" y="161"/>
                  </a:cxn>
                  <a:cxn ang="0">
                    <a:pos x="273" y="138"/>
                  </a:cxn>
                  <a:cxn ang="0">
                    <a:pos x="268" y="130"/>
                  </a:cxn>
                  <a:cxn ang="0">
                    <a:pos x="277" y="66"/>
                  </a:cxn>
                  <a:cxn ang="0">
                    <a:pos x="281" y="74"/>
                  </a:cxn>
                  <a:cxn ang="0">
                    <a:pos x="200" y="34"/>
                  </a:cxn>
                  <a:cxn ang="0">
                    <a:pos x="211" y="28"/>
                  </a:cxn>
                  <a:cxn ang="0">
                    <a:pos x="200" y="79"/>
                  </a:cxn>
                  <a:cxn ang="0">
                    <a:pos x="195" y="85"/>
                  </a:cxn>
                  <a:cxn ang="0">
                    <a:pos x="187" y="83"/>
                  </a:cxn>
                  <a:cxn ang="0">
                    <a:pos x="114" y="14"/>
                  </a:cxn>
                  <a:cxn ang="0">
                    <a:pos x="121" y="16"/>
                  </a:cxn>
                  <a:cxn ang="0">
                    <a:pos x="76" y="24"/>
                  </a:cxn>
                  <a:cxn ang="0">
                    <a:pos x="81" y="21"/>
                  </a:cxn>
                  <a:cxn ang="0">
                    <a:pos x="15" y="109"/>
                  </a:cxn>
                  <a:cxn ang="0">
                    <a:pos x="13" y="98"/>
                  </a:cxn>
                  <a:cxn ang="0">
                    <a:pos x="127" y="178"/>
                  </a:cxn>
                </a:cxnLst>
                <a:rect l="0" t="0" r="r" b="b"/>
                <a:pathLst>
                  <a:path w="337" h="193">
                    <a:moveTo>
                      <a:pt x="4" y="111"/>
                    </a:moveTo>
                    <a:cubicBezTo>
                      <a:pt x="2" y="110"/>
                      <a:pt x="1" y="108"/>
                      <a:pt x="1" y="106"/>
                    </a:cubicBezTo>
                    <a:cubicBezTo>
                      <a:pt x="0" y="104"/>
                      <a:pt x="1" y="102"/>
                      <a:pt x="2" y="100"/>
                    </a:cubicBezTo>
                    <a:lnTo>
                      <a:pt x="68" y="12"/>
                    </a:lnTo>
                    <a:cubicBezTo>
                      <a:pt x="69" y="10"/>
                      <a:pt x="71" y="9"/>
                      <a:pt x="73" y="9"/>
                    </a:cubicBezTo>
                    <a:lnTo>
                      <a:pt x="118" y="1"/>
                    </a:lnTo>
                    <a:cubicBezTo>
                      <a:pt x="121" y="0"/>
                      <a:pt x="123" y="1"/>
                      <a:pt x="125" y="3"/>
                    </a:cubicBezTo>
                    <a:lnTo>
                      <a:pt x="198" y="71"/>
                    </a:lnTo>
                    <a:lnTo>
                      <a:pt x="185" y="75"/>
                    </a:lnTo>
                    <a:lnTo>
                      <a:pt x="196" y="25"/>
                    </a:lnTo>
                    <a:cubicBezTo>
                      <a:pt x="196" y="22"/>
                      <a:pt x="198" y="20"/>
                      <a:pt x="200" y="19"/>
                    </a:cubicBezTo>
                    <a:cubicBezTo>
                      <a:pt x="202" y="18"/>
                      <a:pt x="205" y="18"/>
                      <a:pt x="207" y="19"/>
                    </a:cubicBezTo>
                    <a:lnTo>
                      <a:pt x="288" y="60"/>
                    </a:lnTo>
                    <a:cubicBezTo>
                      <a:pt x="291" y="62"/>
                      <a:pt x="293" y="65"/>
                      <a:pt x="292" y="68"/>
                    </a:cubicBezTo>
                    <a:lnTo>
                      <a:pt x="284" y="132"/>
                    </a:lnTo>
                    <a:lnTo>
                      <a:pt x="279" y="123"/>
                    </a:lnTo>
                    <a:lnTo>
                      <a:pt x="332" y="146"/>
                    </a:lnTo>
                    <a:cubicBezTo>
                      <a:pt x="335" y="148"/>
                      <a:pt x="337" y="151"/>
                      <a:pt x="336" y="155"/>
                    </a:cubicBezTo>
                    <a:cubicBezTo>
                      <a:pt x="336" y="159"/>
                      <a:pt x="333" y="161"/>
                      <a:pt x="329" y="161"/>
                    </a:cubicBezTo>
                    <a:lnTo>
                      <a:pt x="160" y="173"/>
                    </a:lnTo>
                    <a:cubicBezTo>
                      <a:pt x="156" y="173"/>
                      <a:pt x="153" y="171"/>
                      <a:pt x="152" y="167"/>
                    </a:cubicBezTo>
                    <a:lnTo>
                      <a:pt x="142" y="138"/>
                    </a:lnTo>
                    <a:lnTo>
                      <a:pt x="157" y="140"/>
                    </a:lnTo>
                    <a:lnTo>
                      <a:pt x="129" y="188"/>
                    </a:lnTo>
                    <a:cubicBezTo>
                      <a:pt x="128" y="190"/>
                      <a:pt x="126" y="192"/>
                      <a:pt x="124" y="192"/>
                    </a:cubicBezTo>
                    <a:cubicBezTo>
                      <a:pt x="122" y="193"/>
                      <a:pt x="120" y="192"/>
                      <a:pt x="118" y="191"/>
                    </a:cubicBezTo>
                    <a:lnTo>
                      <a:pt x="4" y="111"/>
                    </a:lnTo>
                    <a:close/>
                    <a:moveTo>
                      <a:pt x="127" y="178"/>
                    </a:moveTo>
                    <a:lnTo>
                      <a:pt x="115" y="181"/>
                    </a:lnTo>
                    <a:lnTo>
                      <a:pt x="143" y="132"/>
                    </a:lnTo>
                    <a:cubicBezTo>
                      <a:pt x="144" y="129"/>
                      <a:pt x="148" y="127"/>
                      <a:pt x="151" y="128"/>
                    </a:cubicBezTo>
                    <a:cubicBezTo>
                      <a:pt x="154" y="128"/>
                      <a:pt x="157" y="130"/>
                      <a:pt x="158" y="133"/>
                    </a:cubicBezTo>
                    <a:lnTo>
                      <a:pt x="167" y="162"/>
                    </a:lnTo>
                    <a:lnTo>
                      <a:pt x="159" y="157"/>
                    </a:lnTo>
                    <a:lnTo>
                      <a:pt x="328" y="146"/>
                    </a:lnTo>
                    <a:lnTo>
                      <a:pt x="325" y="161"/>
                    </a:lnTo>
                    <a:lnTo>
                      <a:pt x="273" y="138"/>
                    </a:lnTo>
                    <a:cubicBezTo>
                      <a:pt x="270" y="137"/>
                      <a:pt x="268" y="133"/>
                      <a:pt x="268" y="130"/>
                    </a:cubicBezTo>
                    <a:lnTo>
                      <a:pt x="277" y="66"/>
                    </a:lnTo>
                    <a:lnTo>
                      <a:pt x="281" y="74"/>
                    </a:lnTo>
                    <a:lnTo>
                      <a:pt x="200" y="34"/>
                    </a:lnTo>
                    <a:lnTo>
                      <a:pt x="211" y="28"/>
                    </a:lnTo>
                    <a:lnTo>
                      <a:pt x="200" y="79"/>
                    </a:lnTo>
                    <a:cubicBezTo>
                      <a:pt x="200" y="81"/>
                      <a:pt x="198" y="84"/>
                      <a:pt x="195" y="85"/>
                    </a:cubicBezTo>
                    <a:cubicBezTo>
                      <a:pt x="192" y="85"/>
                      <a:pt x="189" y="85"/>
                      <a:pt x="187" y="83"/>
                    </a:cubicBezTo>
                    <a:lnTo>
                      <a:pt x="114" y="14"/>
                    </a:lnTo>
                    <a:lnTo>
                      <a:pt x="121" y="16"/>
                    </a:lnTo>
                    <a:lnTo>
                      <a:pt x="76" y="24"/>
                    </a:lnTo>
                    <a:lnTo>
                      <a:pt x="81" y="21"/>
                    </a:lnTo>
                    <a:lnTo>
                      <a:pt x="15" y="109"/>
                    </a:lnTo>
                    <a:lnTo>
                      <a:pt x="13" y="98"/>
                    </a:lnTo>
                    <a:lnTo>
                      <a:pt x="127" y="178"/>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31" name="Freeform 287"/>
              <p:cNvSpPr>
                <a:spLocks/>
              </p:cNvSpPr>
              <p:nvPr/>
            </p:nvSpPr>
            <p:spPr bwMode="auto">
              <a:xfrm>
                <a:off x="4718" y="851"/>
                <a:ext cx="56" cy="29"/>
              </a:xfrm>
              <a:custGeom>
                <a:avLst/>
                <a:gdLst/>
                <a:ahLst/>
                <a:cxnLst>
                  <a:cxn ang="0">
                    <a:pos x="0" y="0"/>
                  </a:cxn>
                  <a:cxn ang="0">
                    <a:pos x="19" y="11"/>
                  </a:cxn>
                  <a:cxn ang="0">
                    <a:pos x="13" y="21"/>
                  </a:cxn>
                  <a:cxn ang="0">
                    <a:pos x="23" y="29"/>
                  </a:cxn>
                  <a:cxn ang="0">
                    <a:pos x="40" y="29"/>
                  </a:cxn>
                  <a:cxn ang="0">
                    <a:pos x="56" y="18"/>
                  </a:cxn>
                  <a:cxn ang="0">
                    <a:pos x="0" y="0"/>
                  </a:cxn>
                </a:cxnLst>
                <a:rect l="0" t="0" r="r" b="b"/>
                <a:pathLst>
                  <a:path w="56" h="29">
                    <a:moveTo>
                      <a:pt x="0" y="0"/>
                    </a:moveTo>
                    <a:lnTo>
                      <a:pt x="19" y="11"/>
                    </a:lnTo>
                    <a:lnTo>
                      <a:pt x="13" y="21"/>
                    </a:lnTo>
                    <a:lnTo>
                      <a:pt x="23" y="29"/>
                    </a:lnTo>
                    <a:lnTo>
                      <a:pt x="40" y="29"/>
                    </a:lnTo>
                    <a:lnTo>
                      <a:pt x="56" y="18"/>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32" name="Freeform 288"/>
              <p:cNvSpPr>
                <a:spLocks noEditPoints="1"/>
              </p:cNvSpPr>
              <p:nvPr/>
            </p:nvSpPr>
            <p:spPr bwMode="auto">
              <a:xfrm>
                <a:off x="4716" y="849"/>
                <a:ext cx="60" cy="33"/>
              </a:xfrm>
              <a:custGeom>
                <a:avLst/>
                <a:gdLst/>
                <a:ahLst/>
                <a:cxnLst>
                  <a:cxn ang="0">
                    <a:pos x="5" y="16"/>
                  </a:cxn>
                  <a:cxn ang="0">
                    <a:pos x="13" y="2"/>
                  </a:cxn>
                  <a:cxn ang="0">
                    <a:pos x="76" y="50"/>
                  </a:cxn>
                  <a:cxn ang="0">
                    <a:pos x="79" y="59"/>
                  </a:cxn>
                  <a:cxn ang="0">
                    <a:pos x="62" y="102"/>
                  </a:cxn>
                  <a:cxn ang="0">
                    <a:pos x="60" y="94"/>
                  </a:cxn>
                  <a:cxn ang="0">
                    <a:pos x="92" y="131"/>
                  </a:cxn>
                  <a:cxn ang="0">
                    <a:pos x="86" y="128"/>
                  </a:cxn>
                  <a:cxn ang="0">
                    <a:pos x="144" y="128"/>
                  </a:cxn>
                  <a:cxn ang="0">
                    <a:pos x="139" y="130"/>
                  </a:cxn>
                  <a:cxn ang="0">
                    <a:pos x="195" y="82"/>
                  </a:cxn>
                  <a:cxn ang="0">
                    <a:pos x="197" y="96"/>
                  </a:cxn>
                  <a:cxn ang="0">
                    <a:pos x="5" y="16"/>
                  </a:cxn>
                  <a:cxn ang="0">
                    <a:pos x="204" y="81"/>
                  </a:cxn>
                  <a:cxn ang="0">
                    <a:pos x="208" y="87"/>
                  </a:cxn>
                  <a:cxn ang="0">
                    <a:pos x="206" y="95"/>
                  </a:cxn>
                  <a:cxn ang="0">
                    <a:pos x="149" y="143"/>
                  </a:cxn>
                  <a:cxn ang="0">
                    <a:pos x="144" y="144"/>
                  </a:cxn>
                  <a:cxn ang="0">
                    <a:pos x="86" y="144"/>
                  </a:cxn>
                  <a:cxn ang="0">
                    <a:pos x="80" y="142"/>
                  </a:cxn>
                  <a:cxn ang="0">
                    <a:pos x="48" y="104"/>
                  </a:cxn>
                  <a:cxn ang="0">
                    <a:pos x="47" y="96"/>
                  </a:cxn>
                  <a:cxn ang="0">
                    <a:pos x="64" y="53"/>
                  </a:cxn>
                  <a:cxn ang="0">
                    <a:pos x="67" y="63"/>
                  </a:cxn>
                  <a:cxn ang="0">
                    <a:pos x="4" y="15"/>
                  </a:cxn>
                  <a:cxn ang="0">
                    <a:pos x="2" y="4"/>
                  </a:cxn>
                  <a:cxn ang="0">
                    <a:pos x="12" y="1"/>
                  </a:cxn>
                  <a:cxn ang="0">
                    <a:pos x="204" y="81"/>
                  </a:cxn>
                </a:cxnLst>
                <a:rect l="0" t="0" r="r" b="b"/>
                <a:pathLst>
                  <a:path w="209" h="144">
                    <a:moveTo>
                      <a:pt x="5" y="16"/>
                    </a:moveTo>
                    <a:lnTo>
                      <a:pt x="13" y="2"/>
                    </a:lnTo>
                    <a:lnTo>
                      <a:pt x="76" y="50"/>
                    </a:lnTo>
                    <a:cubicBezTo>
                      <a:pt x="79" y="52"/>
                      <a:pt x="80" y="56"/>
                      <a:pt x="79" y="59"/>
                    </a:cubicBezTo>
                    <a:lnTo>
                      <a:pt x="62" y="102"/>
                    </a:lnTo>
                    <a:lnTo>
                      <a:pt x="60" y="94"/>
                    </a:lnTo>
                    <a:lnTo>
                      <a:pt x="92" y="131"/>
                    </a:lnTo>
                    <a:lnTo>
                      <a:pt x="86" y="128"/>
                    </a:lnTo>
                    <a:lnTo>
                      <a:pt x="144" y="128"/>
                    </a:lnTo>
                    <a:lnTo>
                      <a:pt x="139" y="130"/>
                    </a:lnTo>
                    <a:lnTo>
                      <a:pt x="195" y="82"/>
                    </a:lnTo>
                    <a:lnTo>
                      <a:pt x="197" y="96"/>
                    </a:lnTo>
                    <a:lnTo>
                      <a:pt x="5" y="16"/>
                    </a:lnTo>
                    <a:close/>
                    <a:moveTo>
                      <a:pt x="204" y="81"/>
                    </a:moveTo>
                    <a:cubicBezTo>
                      <a:pt x="206" y="82"/>
                      <a:pt x="208" y="84"/>
                      <a:pt x="208" y="87"/>
                    </a:cubicBezTo>
                    <a:cubicBezTo>
                      <a:pt x="209" y="90"/>
                      <a:pt x="208" y="93"/>
                      <a:pt x="206" y="95"/>
                    </a:cubicBezTo>
                    <a:lnTo>
                      <a:pt x="149" y="143"/>
                    </a:lnTo>
                    <a:cubicBezTo>
                      <a:pt x="148" y="144"/>
                      <a:pt x="146" y="144"/>
                      <a:pt x="144" y="144"/>
                    </a:cubicBezTo>
                    <a:lnTo>
                      <a:pt x="86" y="144"/>
                    </a:lnTo>
                    <a:cubicBezTo>
                      <a:pt x="84" y="144"/>
                      <a:pt x="82" y="143"/>
                      <a:pt x="80" y="142"/>
                    </a:cubicBezTo>
                    <a:lnTo>
                      <a:pt x="48" y="104"/>
                    </a:lnTo>
                    <a:cubicBezTo>
                      <a:pt x="46" y="102"/>
                      <a:pt x="46" y="99"/>
                      <a:pt x="47" y="96"/>
                    </a:cubicBezTo>
                    <a:lnTo>
                      <a:pt x="64" y="53"/>
                    </a:lnTo>
                    <a:lnTo>
                      <a:pt x="67" y="63"/>
                    </a:lnTo>
                    <a:lnTo>
                      <a:pt x="4" y="15"/>
                    </a:lnTo>
                    <a:cubicBezTo>
                      <a:pt x="0" y="12"/>
                      <a:pt x="0" y="8"/>
                      <a:pt x="2" y="4"/>
                    </a:cubicBezTo>
                    <a:cubicBezTo>
                      <a:pt x="4" y="1"/>
                      <a:pt x="8" y="0"/>
                      <a:pt x="12" y="1"/>
                    </a:cubicBezTo>
                    <a:lnTo>
                      <a:pt x="204" y="8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33" name="Freeform 289"/>
              <p:cNvSpPr>
                <a:spLocks/>
              </p:cNvSpPr>
              <p:nvPr/>
            </p:nvSpPr>
            <p:spPr bwMode="auto">
              <a:xfrm>
                <a:off x="4723" y="1330"/>
                <a:ext cx="41" cy="143"/>
              </a:xfrm>
              <a:custGeom>
                <a:avLst/>
                <a:gdLst/>
                <a:ahLst/>
                <a:cxnLst>
                  <a:cxn ang="0">
                    <a:pos x="0" y="37"/>
                  </a:cxn>
                  <a:cxn ang="0">
                    <a:pos x="7" y="54"/>
                  </a:cxn>
                  <a:cxn ang="0">
                    <a:pos x="7" y="143"/>
                  </a:cxn>
                  <a:cxn ang="0">
                    <a:pos x="14" y="132"/>
                  </a:cxn>
                  <a:cxn ang="0">
                    <a:pos x="25" y="139"/>
                  </a:cxn>
                  <a:cxn ang="0">
                    <a:pos x="12" y="115"/>
                  </a:cxn>
                  <a:cxn ang="0">
                    <a:pos x="19" y="90"/>
                  </a:cxn>
                  <a:cxn ang="0">
                    <a:pos x="41" y="98"/>
                  </a:cxn>
                  <a:cxn ang="0">
                    <a:pos x="20" y="50"/>
                  </a:cxn>
                  <a:cxn ang="0">
                    <a:pos x="14" y="0"/>
                  </a:cxn>
                  <a:cxn ang="0">
                    <a:pos x="0" y="37"/>
                  </a:cxn>
                </a:cxnLst>
                <a:rect l="0" t="0" r="r" b="b"/>
                <a:pathLst>
                  <a:path w="41" h="143">
                    <a:moveTo>
                      <a:pt x="0" y="37"/>
                    </a:moveTo>
                    <a:lnTo>
                      <a:pt x="7" y="54"/>
                    </a:lnTo>
                    <a:lnTo>
                      <a:pt x="7" y="143"/>
                    </a:lnTo>
                    <a:lnTo>
                      <a:pt x="14" y="132"/>
                    </a:lnTo>
                    <a:lnTo>
                      <a:pt x="25" y="139"/>
                    </a:lnTo>
                    <a:lnTo>
                      <a:pt x="12" y="115"/>
                    </a:lnTo>
                    <a:lnTo>
                      <a:pt x="19" y="90"/>
                    </a:lnTo>
                    <a:lnTo>
                      <a:pt x="41" y="98"/>
                    </a:lnTo>
                    <a:lnTo>
                      <a:pt x="20" y="50"/>
                    </a:lnTo>
                    <a:lnTo>
                      <a:pt x="14" y="0"/>
                    </a:lnTo>
                    <a:lnTo>
                      <a:pt x="0" y="37"/>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34" name="Freeform 290"/>
              <p:cNvSpPr>
                <a:spLocks noEditPoints="1"/>
              </p:cNvSpPr>
              <p:nvPr/>
            </p:nvSpPr>
            <p:spPr bwMode="auto">
              <a:xfrm>
                <a:off x="4720" y="1328"/>
                <a:ext cx="47" cy="147"/>
              </a:xfrm>
              <a:custGeom>
                <a:avLst/>
                <a:gdLst/>
                <a:ahLst/>
                <a:cxnLst>
                  <a:cxn ang="0">
                    <a:pos x="16" y="170"/>
                  </a:cxn>
                  <a:cxn ang="0">
                    <a:pos x="16" y="165"/>
                  </a:cxn>
                  <a:cxn ang="0">
                    <a:pos x="41" y="241"/>
                  </a:cxn>
                  <a:cxn ang="0">
                    <a:pos x="42" y="244"/>
                  </a:cxn>
                  <a:cxn ang="0">
                    <a:pos x="42" y="632"/>
                  </a:cxn>
                  <a:cxn ang="0">
                    <a:pos x="27" y="629"/>
                  </a:cxn>
                  <a:cxn ang="0">
                    <a:pos x="51" y="582"/>
                  </a:cxn>
                  <a:cxn ang="0">
                    <a:pos x="56" y="578"/>
                  </a:cxn>
                  <a:cxn ang="0">
                    <a:pos x="63" y="580"/>
                  </a:cxn>
                  <a:cxn ang="0">
                    <a:pos x="100" y="610"/>
                  </a:cxn>
                  <a:cxn ang="0">
                    <a:pos x="88" y="619"/>
                  </a:cxn>
                  <a:cxn ang="0">
                    <a:pos x="45" y="511"/>
                  </a:cxn>
                  <a:cxn ang="0">
                    <a:pos x="45" y="507"/>
                  </a:cxn>
                  <a:cxn ang="0">
                    <a:pos x="67" y="399"/>
                  </a:cxn>
                  <a:cxn ang="0">
                    <a:pos x="71" y="394"/>
                  </a:cxn>
                  <a:cxn ang="0">
                    <a:pos x="78" y="393"/>
                  </a:cxn>
                  <a:cxn ang="0">
                    <a:pos x="156" y="426"/>
                  </a:cxn>
                  <a:cxn ang="0">
                    <a:pos x="145" y="437"/>
                  </a:cxn>
                  <a:cxn ang="0">
                    <a:pos x="72" y="230"/>
                  </a:cxn>
                  <a:cxn ang="0">
                    <a:pos x="71" y="228"/>
                  </a:cxn>
                  <a:cxn ang="0">
                    <a:pos x="50" y="9"/>
                  </a:cxn>
                  <a:cxn ang="0">
                    <a:pos x="65" y="11"/>
                  </a:cxn>
                  <a:cxn ang="0">
                    <a:pos x="16" y="170"/>
                  </a:cxn>
                  <a:cxn ang="0">
                    <a:pos x="50" y="6"/>
                  </a:cxn>
                  <a:cxn ang="0">
                    <a:pos x="59" y="1"/>
                  </a:cxn>
                  <a:cxn ang="0">
                    <a:pos x="66" y="8"/>
                  </a:cxn>
                  <a:cxn ang="0">
                    <a:pos x="87" y="226"/>
                  </a:cxn>
                  <a:cxn ang="0">
                    <a:pos x="87" y="224"/>
                  </a:cxn>
                  <a:cxn ang="0">
                    <a:pos x="160" y="431"/>
                  </a:cxn>
                  <a:cxn ang="0">
                    <a:pos x="158" y="440"/>
                  </a:cxn>
                  <a:cxn ang="0">
                    <a:pos x="149" y="441"/>
                  </a:cxn>
                  <a:cxn ang="0">
                    <a:pos x="72" y="408"/>
                  </a:cxn>
                  <a:cxn ang="0">
                    <a:pos x="83" y="402"/>
                  </a:cxn>
                  <a:cxn ang="0">
                    <a:pos x="60" y="510"/>
                  </a:cxn>
                  <a:cxn ang="0">
                    <a:pos x="60" y="505"/>
                  </a:cxn>
                  <a:cxn ang="0">
                    <a:pos x="103" y="613"/>
                  </a:cxn>
                  <a:cxn ang="0">
                    <a:pos x="100" y="622"/>
                  </a:cxn>
                  <a:cxn ang="0">
                    <a:pos x="90" y="622"/>
                  </a:cxn>
                  <a:cxn ang="0">
                    <a:pos x="53" y="592"/>
                  </a:cxn>
                  <a:cxn ang="0">
                    <a:pos x="65" y="590"/>
                  </a:cxn>
                  <a:cxn ang="0">
                    <a:pos x="41" y="636"/>
                  </a:cxn>
                  <a:cxn ang="0">
                    <a:pos x="32" y="640"/>
                  </a:cxn>
                  <a:cxn ang="0">
                    <a:pos x="26" y="632"/>
                  </a:cxn>
                  <a:cxn ang="0">
                    <a:pos x="26" y="244"/>
                  </a:cxn>
                  <a:cxn ang="0">
                    <a:pos x="26" y="246"/>
                  </a:cxn>
                  <a:cxn ang="0">
                    <a:pos x="1" y="170"/>
                  </a:cxn>
                  <a:cxn ang="0">
                    <a:pos x="1" y="165"/>
                  </a:cxn>
                  <a:cxn ang="0">
                    <a:pos x="50" y="6"/>
                  </a:cxn>
                </a:cxnLst>
                <a:rect l="0" t="0" r="r" b="b"/>
                <a:pathLst>
                  <a:path w="161" h="641">
                    <a:moveTo>
                      <a:pt x="16" y="170"/>
                    </a:moveTo>
                    <a:lnTo>
                      <a:pt x="16" y="165"/>
                    </a:lnTo>
                    <a:lnTo>
                      <a:pt x="41" y="241"/>
                    </a:lnTo>
                    <a:cubicBezTo>
                      <a:pt x="42" y="242"/>
                      <a:pt x="42" y="243"/>
                      <a:pt x="42" y="244"/>
                    </a:cubicBezTo>
                    <a:lnTo>
                      <a:pt x="42" y="632"/>
                    </a:lnTo>
                    <a:lnTo>
                      <a:pt x="27" y="629"/>
                    </a:lnTo>
                    <a:lnTo>
                      <a:pt x="51" y="582"/>
                    </a:lnTo>
                    <a:cubicBezTo>
                      <a:pt x="52" y="580"/>
                      <a:pt x="54" y="579"/>
                      <a:pt x="56" y="578"/>
                    </a:cubicBezTo>
                    <a:cubicBezTo>
                      <a:pt x="58" y="578"/>
                      <a:pt x="61" y="578"/>
                      <a:pt x="63" y="580"/>
                    </a:cubicBezTo>
                    <a:lnTo>
                      <a:pt x="100" y="610"/>
                    </a:lnTo>
                    <a:lnTo>
                      <a:pt x="88" y="619"/>
                    </a:lnTo>
                    <a:lnTo>
                      <a:pt x="45" y="511"/>
                    </a:lnTo>
                    <a:cubicBezTo>
                      <a:pt x="44" y="510"/>
                      <a:pt x="44" y="508"/>
                      <a:pt x="45" y="507"/>
                    </a:cubicBezTo>
                    <a:lnTo>
                      <a:pt x="67" y="399"/>
                    </a:lnTo>
                    <a:cubicBezTo>
                      <a:pt x="68" y="397"/>
                      <a:pt x="69" y="395"/>
                      <a:pt x="71" y="394"/>
                    </a:cubicBezTo>
                    <a:cubicBezTo>
                      <a:pt x="74" y="393"/>
                      <a:pt x="76" y="392"/>
                      <a:pt x="78" y="393"/>
                    </a:cubicBezTo>
                    <a:lnTo>
                      <a:pt x="156" y="426"/>
                    </a:lnTo>
                    <a:lnTo>
                      <a:pt x="145" y="437"/>
                    </a:lnTo>
                    <a:lnTo>
                      <a:pt x="72" y="230"/>
                    </a:lnTo>
                    <a:cubicBezTo>
                      <a:pt x="71" y="229"/>
                      <a:pt x="71" y="228"/>
                      <a:pt x="71" y="228"/>
                    </a:cubicBezTo>
                    <a:lnTo>
                      <a:pt x="50" y="9"/>
                    </a:lnTo>
                    <a:lnTo>
                      <a:pt x="65" y="11"/>
                    </a:lnTo>
                    <a:lnTo>
                      <a:pt x="16" y="170"/>
                    </a:lnTo>
                    <a:close/>
                    <a:moveTo>
                      <a:pt x="50" y="6"/>
                    </a:moveTo>
                    <a:cubicBezTo>
                      <a:pt x="51" y="2"/>
                      <a:pt x="55" y="0"/>
                      <a:pt x="59" y="1"/>
                    </a:cubicBezTo>
                    <a:cubicBezTo>
                      <a:pt x="62" y="1"/>
                      <a:pt x="65" y="4"/>
                      <a:pt x="66" y="8"/>
                    </a:cubicBezTo>
                    <a:lnTo>
                      <a:pt x="87" y="226"/>
                    </a:lnTo>
                    <a:lnTo>
                      <a:pt x="87" y="224"/>
                    </a:lnTo>
                    <a:lnTo>
                      <a:pt x="160" y="431"/>
                    </a:lnTo>
                    <a:cubicBezTo>
                      <a:pt x="161" y="434"/>
                      <a:pt x="160" y="438"/>
                      <a:pt x="158" y="440"/>
                    </a:cubicBezTo>
                    <a:cubicBezTo>
                      <a:pt x="156" y="442"/>
                      <a:pt x="152" y="442"/>
                      <a:pt x="149" y="441"/>
                    </a:cubicBezTo>
                    <a:lnTo>
                      <a:pt x="72" y="408"/>
                    </a:lnTo>
                    <a:lnTo>
                      <a:pt x="83" y="402"/>
                    </a:lnTo>
                    <a:lnTo>
                      <a:pt x="60" y="510"/>
                    </a:lnTo>
                    <a:lnTo>
                      <a:pt x="60" y="505"/>
                    </a:lnTo>
                    <a:lnTo>
                      <a:pt x="103" y="613"/>
                    </a:lnTo>
                    <a:cubicBezTo>
                      <a:pt x="104" y="616"/>
                      <a:pt x="103" y="620"/>
                      <a:pt x="100" y="622"/>
                    </a:cubicBezTo>
                    <a:cubicBezTo>
                      <a:pt x="97" y="625"/>
                      <a:pt x="93" y="624"/>
                      <a:pt x="90" y="622"/>
                    </a:cubicBezTo>
                    <a:lnTo>
                      <a:pt x="53" y="592"/>
                    </a:lnTo>
                    <a:lnTo>
                      <a:pt x="65" y="590"/>
                    </a:lnTo>
                    <a:lnTo>
                      <a:pt x="41" y="636"/>
                    </a:lnTo>
                    <a:cubicBezTo>
                      <a:pt x="39" y="639"/>
                      <a:pt x="35" y="641"/>
                      <a:pt x="32" y="640"/>
                    </a:cubicBezTo>
                    <a:cubicBezTo>
                      <a:pt x="28" y="639"/>
                      <a:pt x="26" y="636"/>
                      <a:pt x="26" y="632"/>
                    </a:cubicBezTo>
                    <a:lnTo>
                      <a:pt x="26" y="244"/>
                    </a:lnTo>
                    <a:lnTo>
                      <a:pt x="26" y="246"/>
                    </a:lnTo>
                    <a:lnTo>
                      <a:pt x="1" y="170"/>
                    </a:lnTo>
                    <a:cubicBezTo>
                      <a:pt x="0" y="168"/>
                      <a:pt x="0" y="167"/>
                      <a:pt x="1" y="165"/>
                    </a:cubicBezTo>
                    <a:lnTo>
                      <a:pt x="50" y="6"/>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35" name="Freeform 291"/>
              <p:cNvSpPr>
                <a:spLocks/>
              </p:cNvSpPr>
              <p:nvPr/>
            </p:nvSpPr>
            <p:spPr bwMode="auto">
              <a:xfrm>
                <a:off x="4783" y="869"/>
                <a:ext cx="70" cy="19"/>
              </a:xfrm>
              <a:custGeom>
                <a:avLst/>
                <a:gdLst/>
                <a:ahLst/>
                <a:cxnLst>
                  <a:cxn ang="0">
                    <a:pos x="0" y="0"/>
                  </a:cxn>
                  <a:cxn ang="0">
                    <a:pos x="12" y="13"/>
                  </a:cxn>
                  <a:cxn ang="0">
                    <a:pos x="44" y="19"/>
                  </a:cxn>
                  <a:cxn ang="0">
                    <a:pos x="70" y="15"/>
                  </a:cxn>
                  <a:cxn ang="0">
                    <a:pos x="0" y="0"/>
                  </a:cxn>
                </a:cxnLst>
                <a:rect l="0" t="0" r="r" b="b"/>
                <a:pathLst>
                  <a:path w="70" h="19">
                    <a:moveTo>
                      <a:pt x="0" y="0"/>
                    </a:moveTo>
                    <a:lnTo>
                      <a:pt x="12" y="13"/>
                    </a:lnTo>
                    <a:lnTo>
                      <a:pt x="44" y="19"/>
                    </a:lnTo>
                    <a:lnTo>
                      <a:pt x="70" y="15"/>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36" name="Freeform 292"/>
              <p:cNvSpPr>
                <a:spLocks noEditPoints="1"/>
              </p:cNvSpPr>
              <p:nvPr/>
            </p:nvSpPr>
            <p:spPr bwMode="auto">
              <a:xfrm>
                <a:off x="4781" y="867"/>
                <a:ext cx="74" cy="23"/>
              </a:xfrm>
              <a:custGeom>
                <a:avLst/>
                <a:gdLst/>
                <a:ahLst/>
                <a:cxnLst>
                  <a:cxn ang="0">
                    <a:pos x="6" y="16"/>
                  </a:cxn>
                  <a:cxn ang="0">
                    <a:pos x="15" y="4"/>
                  </a:cxn>
                  <a:cxn ang="0">
                    <a:pos x="56" y="59"/>
                  </a:cxn>
                  <a:cxn ang="0">
                    <a:pos x="52" y="56"/>
                  </a:cxn>
                  <a:cxn ang="0">
                    <a:pos x="163" y="81"/>
                  </a:cxn>
                  <a:cxn ang="0">
                    <a:pos x="160" y="81"/>
                  </a:cxn>
                  <a:cxn ang="0">
                    <a:pos x="247" y="65"/>
                  </a:cxn>
                  <a:cxn ang="0">
                    <a:pos x="246" y="80"/>
                  </a:cxn>
                  <a:cxn ang="0">
                    <a:pos x="6" y="16"/>
                  </a:cxn>
                  <a:cxn ang="0">
                    <a:pos x="251" y="65"/>
                  </a:cxn>
                  <a:cxn ang="0">
                    <a:pos x="256" y="73"/>
                  </a:cxn>
                  <a:cxn ang="0">
                    <a:pos x="250" y="80"/>
                  </a:cxn>
                  <a:cxn ang="0">
                    <a:pos x="162" y="96"/>
                  </a:cxn>
                  <a:cxn ang="0">
                    <a:pos x="159" y="96"/>
                  </a:cxn>
                  <a:cxn ang="0">
                    <a:pos x="48" y="72"/>
                  </a:cxn>
                  <a:cxn ang="0">
                    <a:pos x="44" y="69"/>
                  </a:cxn>
                  <a:cxn ang="0">
                    <a:pos x="2" y="13"/>
                  </a:cxn>
                  <a:cxn ang="0">
                    <a:pos x="2" y="4"/>
                  </a:cxn>
                  <a:cxn ang="0">
                    <a:pos x="11" y="1"/>
                  </a:cxn>
                  <a:cxn ang="0">
                    <a:pos x="251" y="65"/>
                  </a:cxn>
                </a:cxnLst>
                <a:rect l="0" t="0" r="r" b="b"/>
                <a:pathLst>
                  <a:path w="257" h="97">
                    <a:moveTo>
                      <a:pt x="6" y="16"/>
                    </a:moveTo>
                    <a:lnTo>
                      <a:pt x="15" y="4"/>
                    </a:lnTo>
                    <a:lnTo>
                      <a:pt x="56" y="59"/>
                    </a:lnTo>
                    <a:lnTo>
                      <a:pt x="52" y="56"/>
                    </a:lnTo>
                    <a:lnTo>
                      <a:pt x="163" y="81"/>
                    </a:lnTo>
                    <a:lnTo>
                      <a:pt x="160" y="81"/>
                    </a:lnTo>
                    <a:lnTo>
                      <a:pt x="247" y="65"/>
                    </a:lnTo>
                    <a:lnTo>
                      <a:pt x="246" y="80"/>
                    </a:lnTo>
                    <a:lnTo>
                      <a:pt x="6" y="16"/>
                    </a:lnTo>
                    <a:close/>
                    <a:moveTo>
                      <a:pt x="251" y="65"/>
                    </a:moveTo>
                    <a:cubicBezTo>
                      <a:pt x="254" y="66"/>
                      <a:pt x="257" y="69"/>
                      <a:pt x="256" y="73"/>
                    </a:cubicBezTo>
                    <a:cubicBezTo>
                      <a:pt x="256" y="77"/>
                      <a:pt x="254" y="80"/>
                      <a:pt x="250" y="80"/>
                    </a:cubicBezTo>
                    <a:lnTo>
                      <a:pt x="162" y="96"/>
                    </a:lnTo>
                    <a:cubicBezTo>
                      <a:pt x="161" y="97"/>
                      <a:pt x="160" y="97"/>
                      <a:pt x="159" y="96"/>
                    </a:cubicBezTo>
                    <a:lnTo>
                      <a:pt x="48" y="72"/>
                    </a:lnTo>
                    <a:cubicBezTo>
                      <a:pt x="46" y="71"/>
                      <a:pt x="45" y="70"/>
                      <a:pt x="44" y="69"/>
                    </a:cubicBezTo>
                    <a:lnTo>
                      <a:pt x="2" y="13"/>
                    </a:lnTo>
                    <a:cubicBezTo>
                      <a:pt x="0" y="11"/>
                      <a:pt x="0" y="7"/>
                      <a:pt x="2" y="4"/>
                    </a:cubicBezTo>
                    <a:cubicBezTo>
                      <a:pt x="4" y="1"/>
                      <a:pt x="7" y="0"/>
                      <a:pt x="11" y="1"/>
                    </a:cubicBezTo>
                    <a:lnTo>
                      <a:pt x="251" y="65"/>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37" name="Freeform 293"/>
              <p:cNvSpPr>
                <a:spLocks/>
              </p:cNvSpPr>
              <p:nvPr/>
            </p:nvSpPr>
            <p:spPr bwMode="auto">
              <a:xfrm>
                <a:off x="2616" y="1509"/>
                <a:ext cx="172" cy="118"/>
              </a:xfrm>
              <a:custGeom>
                <a:avLst/>
                <a:gdLst/>
                <a:ahLst/>
                <a:cxnLst>
                  <a:cxn ang="0">
                    <a:pos x="0" y="11"/>
                  </a:cxn>
                  <a:cxn ang="0">
                    <a:pos x="6" y="30"/>
                  </a:cxn>
                  <a:cxn ang="0">
                    <a:pos x="42" y="33"/>
                  </a:cxn>
                  <a:cxn ang="0">
                    <a:pos x="26" y="63"/>
                  </a:cxn>
                  <a:cxn ang="0">
                    <a:pos x="26" y="101"/>
                  </a:cxn>
                  <a:cxn ang="0">
                    <a:pos x="51" y="118"/>
                  </a:cxn>
                  <a:cxn ang="0">
                    <a:pos x="102" y="107"/>
                  </a:cxn>
                  <a:cxn ang="0">
                    <a:pos x="130" y="78"/>
                  </a:cxn>
                  <a:cxn ang="0">
                    <a:pos x="124" y="67"/>
                  </a:cxn>
                  <a:cxn ang="0">
                    <a:pos x="139" y="46"/>
                  </a:cxn>
                  <a:cxn ang="0">
                    <a:pos x="171" y="30"/>
                  </a:cxn>
                  <a:cxn ang="0">
                    <a:pos x="172" y="21"/>
                  </a:cxn>
                  <a:cxn ang="0">
                    <a:pos x="151" y="18"/>
                  </a:cxn>
                  <a:cxn ang="0">
                    <a:pos x="147" y="17"/>
                  </a:cxn>
                  <a:cxn ang="0">
                    <a:pos x="103" y="5"/>
                  </a:cxn>
                  <a:cxn ang="0">
                    <a:pos x="14" y="0"/>
                  </a:cxn>
                  <a:cxn ang="0">
                    <a:pos x="0" y="11"/>
                  </a:cxn>
                </a:cxnLst>
                <a:rect l="0" t="0" r="r" b="b"/>
                <a:pathLst>
                  <a:path w="172" h="118">
                    <a:moveTo>
                      <a:pt x="0" y="11"/>
                    </a:moveTo>
                    <a:lnTo>
                      <a:pt x="6" y="30"/>
                    </a:lnTo>
                    <a:lnTo>
                      <a:pt x="42" y="33"/>
                    </a:lnTo>
                    <a:lnTo>
                      <a:pt x="26" y="63"/>
                    </a:lnTo>
                    <a:lnTo>
                      <a:pt x="26" y="101"/>
                    </a:lnTo>
                    <a:lnTo>
                      <a:pt x="51" y="118"/>
                    </a:lnTo>
                    <a:lnTo>
                      <a:pt x="102" y="107"/>
                    </a:lnTo>
                    <a:lnTo>
                      <a:pt x="130" y="78"/>
                    </a:lnTo>
                    <a:lnTo>
                      <a:pt x="124" y="67"/>
                    </a:lnTo>
                    <a:lnTo>
                      <a:pt x="139" y="46"/>
                    </a:lnTo>
                    <a:lnTo>
                      <a:pt x="171" y="30"/>
                    </a:lnTo>
                    <a:lnTo>
                      <a:pt x="172" y="21"/>
                    </a:lnTo>
                    <a:lnTo>
                      <a:pt x="151" y="18"/>
                    </a:lnTo>
                    <a:lnTo>
                      <a:pt x="147" y="17"/>
                    </a:lnTo>
                    <a:lnTo>
                      <a:pt x="103" y="5"/>
                    </a:lnTo>
                    <a:lnTo>
                      <a:pt x="14" y="0"/>
                    </a:lnTo>
                    <a:lnTo>
                      <a:pt x="0" y="1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38" name="Freeform 294"/>
              <p:cNvSpPr>
                <a:spLocks noEditPoints="1"/>
              </p:cNvSpPr>
              <p:nvPr/>
            </p:nvSpPr>
            <p:spPr bwMode="auto">
              <a:xfrm>
                <a:off x="2614" y="1508"/>
                <a:ext cx="176" cy="121"/>
              </a:xfrm>
              <a:custGeom>
                <a:avLst/>
                <a:gdLst/>
                <a:ahLst/>
                <a:cxnLst>
                  <a:cxn ang="0">
                    <a:pos x="16" y="50"/>
                  </a:cxn>
                  <a:cxn ang="0">
                    <a:pos x="29" y="127"/>
                  </a:cxn>
                  <a:cxn ang="0">
                    <a:pos x="160" y="144"/>
                  </a:cxn>
                  <a:cxn ang="0">
                    <a:pos x="105" y="285"/>
                  </a:cxn>
                  <a:cxn ang="0">
                    <a:pos x="105" y="447"/>
                  </a:cxn>
                  <a:cxn ang="0">
                    <a:pos x="191" y="514"/>
                  </a:cxn>
                  <a:cxn ang="0">
                    <a:pos x="358" y="466"/>
                  </a:cxn>
                  <a:cxn ang="0">
                    <a:pos x="450" y="344"/>
                  </a:cxn>
                  <a:cxn ang="0">
                    <a:pos x="429" y="302"/>
                  </a:cxn>
                  <a:cxn ang="0">
                    <a:pos x="482" y="205"/>
                  </a:cxn>
                  <a:cxn ang="0">
                    <a:pos x="595" y="130"/>
                  </a:cxn>
                  <a:cxn ang="0">
                    <a:pos x="592" y="97"/>
                  </a:cxn>
                  <a:cxn ang="0">
                    <a:pos x="528" y="93"/>
                  </a:cxn>
                  <a:cxn ang="0">
                    <a:pos x="512" y="88"/>
                  </a:cxn>
                  <a:cxn ang="0">
                    <a:pos x="362" y="35"/>
                  </a:cxn>
                  <a:cxn ang="0">
                    <a:pos x="64" y="15"/>
                  </a:cxn>
                  <a:cxn ang="0">
                    <a:pos x="53" y="2"/>
                  </a:cxn>
                  <a:cxn ang="0">
                    <a:pos x="363" y="19"/>
                  </a:cxn>
                  <a:cxn ang="0">
                    <a:pos x="517" y="73"/>
                  </a:cxn>
                  <a:cxn ang="0">
                    <a:pos x="531" y="77"/>
                  </a:cxn>
                  <a:cxn ang="0">
                    <a:pos x="608" y="97"/>
                  </a:cxn>
                  <a:cxn ang="0">
                    <a:pos x="603" y="144"/>
                  </a:cxn>
                  <a:cxn ang="0">
                    <a:pos x="496" y="213"/>
                  </a:cxn>
                  <a:cxn ang="0">
                    <a:pos x="444" y="296"/>
                  </a:cxn>
                  <a:cxn ang="0">
                    <a:pos x="462" y="354"/>
                  </a:cxn>
                  <a:cxn ang="0">
                    <a:pos x="362" y="482"/>
                  </a:cxn>
                  <a:cxn ang="0">
                    <a:pos x="181" y="527"/>
                  </a:cxn>
                  <a:cxn ang="0">
                    <a:pos x="89" y="447"/>
                  </a:cxn>
                  <a:cxn ang="0">
                    <a:pos x="90" y="279"/>
                  </a:cxn>
                  <a:cxn ang="0">
                    <a:pos x="152" y="157"/>
                  </a:cxn>
                  <a:cxn ang="0">
                    <a:pos x="20" y="137"/>
                  </a:cxn>
                  <a:cxn ang="0">
                    <a:pos x="3" y="46"/>
                  </a:cxn>
                </a:cxnLst>
                <a:rect l="0" t="0" r="r" b="b"/>
                <a:pathLst>
                  <a:path w="609" h="529">
                    <a:moveTo>
                      <a:pt x="14" y="58"/>
                    </a:moveTo>
                    <a:lnTo>
                      <a:pt x="16" y="50"/>
                    </a:lnTo>
                    <a:lnTo>
                      <a:pt x="36" y="133"/>
                    </a:lnTo>
                    <a:lnTo>
                      <a:pt x="29" y="127"/>
                    </a:lnTo>
                    <a:lnTo>
                      <a:pt x="154" y="141"/>
                    </a:lnTo>
                    <a:cubicBezTo>
                      <a:pt x="156" y="141"/>
                      <a:pt x="159" y="142"/>
                      <a:pt x="160" y="144"/>
                    </a:cubicBezTo>
                    <a:cubicBezTo>
                      <a:pt x="161" y="147"/>
                      <a:pt x="161" y="149"/>
                      <a:pt x="160" y="152"/>
                    </a:cubicBezTo>
                    <a:lnTo>
                      <a:pt x="105" y="285"/>
                    </a:lnTo>
                    <a:lnTo>
                      <a:pt x="105" y="282"/>
                    </a:lnTo>
                    <a:lnTo>
                      <a:pt x="105" y="447"/>
                    </a:lnTo>
                    <a:lnTo>
                      <a:pt x="103" y="441"/>
                    </a:lnTo>
                    <a:lnTo>
                      <a:pt x="191" y="514"/>
                    </a:lnTo>
                    <a:lnTo>
                      <a:pt x="184" y="513"/>
                    </a:lnTo>
                    <a:lnTo>
                      <a:pt x="358" y="466"/>
                    </a:lnTo>
                    <a:lnTo>
                      <a:pt x="354" y="469"/>
                    </a:lnTo>
                    <a:lnTo>
                      <a:pt x="450" y="344"/>
                    </a:lnTo>
                    <a:lnTo>
                      <a:pt x="448" y="352"/>
                    </a:lnTo>
                    <a:lnTo>
                      <a:pt x="429" y="302"/>
                    </a:lnTo>
                    <a:cubicBezTo>
                      <a:pt x="428" y="299"/>
                      <a:pt x="428" y="297"/>
                      <a:pt x="430" y="295"/>
                    </a:cubicBezTo>
                    <a:lnTo>
                      <a:pt x="482" y="205"/>
                    </a:lnTo>
                    <a:cubicBezTo>
                      <a:pt x="483" y="203"/>
                      <a:pt x="484" y="203"/>
                      <a:pt x="485" y="202"/>
                    </a:cubicBezTo>
                    <a:lnTo>
                      <a:pt x="595" y="130"/>
                    </a:lnTo>
                    <a:lnTo>
                      <a:pt x="591" y="137"/>
                    </a:lnTo>
                    <a:lnTo>
                      <a:pt x="592" y="97"/>
                    </a:lnTo>
                    <a:lnTo>
                      <a:pt x="599" y="105"/>
                    </a:lnTo>
                    <a:lnTo>
                      <a:pt x="528" y="93"/>
                    </a:lnTo>
                    <a:cubicBezTo>
                      <a:pt x="528" y="93"/>
                      <a:pt x="527" y="93"/>
                      <a:pt x="527" y="93"/>
                    </a:cubicBezTo>
                    <a:lnTo>
                      <a:pt x="512" y="88"/>
                    </a:lnTo>
                    <a:lnTo>
                      <a:pt x="360" y="34"/>
                    </a:lnTo>
                    <a:lnTo>
                      <a:pt x="362" y="35"/>
                    </a:lnTo>
                    <a:lnTo>
                      <a:pt x="58" y="16"/>
                    </a:lnTo>
                    <a:lnTo>
                      <a:pt x="64" y="15"/>
                    </a:lnTo>
                    <a:lnTo>
                      <a:pt x="14" y="58"/>
                    </a:lnTo>
                    <a:close/>
                    <a:moveTo>
                      <a:pt x="53" y="2"/>
                    </a:moveTo>
                    <a:cubicBezTo>
                      <a:pt x="55" y="1"/>
                      <a:pt x="57" y="0"/>
                      <a:pt x="59" y="0"/>
                    </a:cubicBezTo>
                    <a:lnTo>
                      <a:pt x="363" y="19"/>
                    </a:lnTo>
                    <a:cubicBezTo>
                      <a:pt x="364" y="19"/>
                      <a:pt x="365" y="19"/>
                      <a:pt x="365" y="19"/>
                    </a:cubicBezTo>
                    <a:lnTo>
                      <a:pt x="517" y="73"/>
                    </a:lnTo>
                    <a:lnTo>
                      <a:pt x="532" y="78"/>
                    </a:lnTo>
                    <a:lnTo>
                      <a:pt x="531" y="77"/>
                    </a:lnTo>
                    <a:lnTo>
                      <a:pt x="602" y="89"/>
                    </a:lnTo>
                    <a:cubicBezTo>
                      <a:pt x="606" y="90"/>
                      <a:pt x="609" y="93"/>
                      <a:pt x="608" y="97"/>
                    </a:cubicBezTo>
                    <a:lnTo>
                      <a:pt x="607" y="137"/>
                    </a:lnTo>
                    <a:cubicBezTo>
                      <a:pt x="607" y="140"/>
                      <a:pt x="606" y="142"/>
                      <a:pt x="603" y="144"/>
                    </a:cubicBezTo>
                    <a:lnTo>
                      <a:pt x="494" y="215"/>
                    </a:lnTo>
                    <a:lnTo>
                      <a:pt x="496" y="213"/>
                    </a:lnTo>
                    <a:lnTo>
                      <a:pt x="443" y="303"/>
                    </a:lnTo>
                    <a:lnTo>
                      <a:pt x="444" y="296"/>
                    </a:lnTo>
                    <a:lnTo>
                      <a:pt x="463" y="346"/>
                    </a:lnTo>
                    <a:cubicBezTo>
                      <a:pt x="464" y="348"/>
                      <a:pt x="464" y="351"/>
                      <a:pt x="462" y="354"/>
                    </a:cubicBezTo>
                    <a:lnTo>
                      <a:pt x="366" y="479"/>
                    </a:lnTo>
                    <a:cubicBezTo>
                      <a:pt x="365" y="480"/>
                      <a:pt x="364" y="481"/>
                      <a:pt x="362" y="482"/>
                    </a:cubicBezTo>
                    <a:lnTo>
                      <a:pt x="188" y="528"/>
                    </a:lnTo>
                    <a:cubicBezTo>
                      <a:pt x="186" y="529"/>
                      <a:pt x="183" y="528"/>
                      <a:pt x="181" y="527"/>
                    </a:cubicBezTo>
                    <a:lnTo>
                      <a:pt x="92" y="453"/>
                    </a:lnTo>
                    <a:cubicBezTo>
                      <a:pt x="90" y="452"/>
                      <a:pt x="89" y="449"/>
                      <a:pt x="89" y="447"/>
                    </a:cubicBezTo>
                    <a:lnTo>
                      <a:pt x="89" y="282"/>
                    </a:lnTo>
                    <a:cubicBezTo>
                      <a:pt x="89" y="281"/>
                      <a:pt x="90" y="280"/>
                      <a:pt x="90" y="279"/>
                    </a:cubicBezTo>
                    <a:lnTo>
                      <a:pt x="146" y="145"/>
                    </a:lnTo>
                    <a:lnTo>
                      <a:pt x="152" y="157"/>
                    </a:lnTo>
                    <a:lnTo>
                      <a:pt x="27" y="143"/>
                    </a:lnTo>
                    <a:cubicBezTo>
                      <a:pt x="24" y="143"/>
                      <a:pt x="21" y="140"/>
                      <a:pt x="20" y="137"/>
                    </a:cubicBezTo>
                    <a:lnTo>
                      <a:pt x="1" y="54"/>
                    </a:lnTo>
                    <a:cubicBezTo>
                      <a:pt x="0" y="51"/>
                      <a:pt x="1" y="48"/>
                      <a:pt x="3" y="46"/>
                    </a:cubicBezTo>
                    <a:lnTo>
                      <a:pt x="53" y="2"/>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39" name="Freeform 295"/>
              <p:cNvSpPr>
                <a:spLocks/>
              </p:cNvSpPr>
              <p:nvPr/>
            </p:nvSpPr>
            <p:spPr bwMode="auto">
              <a:xfrm>
                <a:off x="1929" y="2047"/>
                <a:ext cx="60" cy="51"/>
              </a:xfrm>
              <a:custGeom>
                <a:avLst/>
                <a:gdLst/>
                <a:ahLst/>
                <a:cxnLst>
                  <a:cxn ang="0">
                    <a:pos x="0" y="24"/>
                  </a:cxn>
                  <a:cxn ang="0">
                    <a:pos x="17" y="0"/>
                  </a:cxn>
                  <a:cxn ang="0">
                    <a:pos x="60" y="5"/>
                  </a:cxn>
                  <a:cxn ang="0">
                    <a:pos x="54" y="48"/>
                  </a:cxn>
                  <a:cxn ang="0">
                    <a:pos x="24" y="51"/>
                  </a:cxn>
                  <a:cxn ang="0">
                    <a:pos x="0" y="24"/>
                  </a:cxn>
                </a:cxnLst>
                <a:rect l="0" t="0" r="r" b="b"/>
                <a:pathLst>
                  <a:path w="60" h="51">
                    <a:moveTo>
                      <a:pt x="0" y="24"/>
                    </a:moveTo>
                    <a:lnTo>
                      <a:pt x="17" y="0"/>
                    </a:lnTo>
                    <a:lnTo>
                      <a:pt x="60" y="5"/>
                    </a:lnTo>
                    <a:lnTo>
                      <a:pt x="54" y="48"/>
                    </a:lnTo>
                    <a:lnTo>
                      <a:pt x="24" y="51"/>
                    </a:lnTo>
                    <a:lnTo>
                      <a:pt x="0" y="24"/>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40" name="Freeform 296"/>
              <p:cNvSpPr>
                <a:spLocks noEditPoints="1"/>
              </p:cNvSpPr>
              <p:nvPr/>
            </p:nvSpPr>
            <p:spPr bwMode="auto">
              <a:xfrm>
                <a:off x="1927" y="2045"/>
                <a:ext cx="65" cy="56"/>
              </a:xfrm>
              <a:custGeom>
                <a:avLst/>
                <a:gdLst/>
                <a:ahLst/>
                <a:cxnLst>
                  <a:cxn ang="0">
                    <a:pos x="2" y="117"/>
                  </a:cxn>
                  <a:cxn ang="0">
                    <a:pos x="1" y="108"/>
                  </a:cxn>
                  <a:cxn ang="0">
                    <a:pos x="58" y="5"/>
                  </a:cxn>
                  <a:cxn ang="0">
                    <a:pos x="66" y="1"/>
                  </a:cxn>
                  <a:cxn ang="0">
                    <a:pos x="218" y="20"/>
                  </a:cxn>
                  <a:cxn ang="0">
                    <a:pos x="224" y="29"/>
                  </a:cxn>
                  <a:cxn ang="0">
                    <a:pos x="203" y="217"/>
                  </a:cxn>
                  <a:cxn ang="0">
                    <a:pos x="196" y="224"/>
                  </a:cxn>
                  <a:cxn ang="0">
                    <a:pos x="91" y="240"/>
                  </a:cxn>
                  <a:cxn ang="0">
                    <a:pos x="83" y="237"/>
                  </a:cxn>
                  <a:cxn ang="0">
                    <a:pos x="2" y="117"/>
                  </a:cxn>
                  <a:cxn ang="0">
                    <a:pos x="97" y="228"/>
                  </a:cxn>
                  <a:cxn ang="0">
                    <a:pos x="89" y="225"/>
                  </a:cxn>
                  <a:cxn ang="0">
                    <a:pos x="193" y="208"/>
                  </a:cxn>
                  <a:cxn ang="0">
                    <a:pos x="187" y="215"/>
                  </a:cxn>
                  <a:cxn ang="0">
                    <a:pos x="209" y="27"/>
                  </a:cxn>
                  <a:cxn ang="0">
                    <a:pos x="215" y="36"/>
                  </a:cxn>
                  <a:cxn ang="0">
                    <a:pos x="64" y="16"/>
                  </a:cxn>
                  <a:cxn ang="0">
                    <a:pos x="72" y="12"/>
                  </a:cxn>
                  <a:cxn ang="0">
                    <a:pos x="15" y="116"/>
                  </a:cxn>
                  <a:cxn ang="0">
                    <a:pos x="15" y="108"/>
                  </a:cxn>
                  <a:cxn ang="0">
                    <a:pos x="97" y="228"/>
                  </a:cxn>
                </a:cxnLst>
                <a:rect l="0" t="0" r="r" b="b"/>
                <a:pathLst>
                  <a:path w="225" h="241">
                    <a:moveTo>
                      <a:pt x="2" y="117"/>
                    </a:moveTo>
                    <a:cubicBezTo>
                      <a:pt x="0" y="114"/>
                      <a:pt x="0" y="111"/>
                      <a:pt x="1" y="108"/>
                    </a:cubicBezTo>
                    <a:lnTo>
                      <a:pt x="58" y="5"/>
                    </a:lnTo>
                    <a:cubicBezTo>
                      <a:pt x="60" y="2"/>
                      <a:pt x="63" y="0"/>
                      <a:pt x="66" y="1"/>
                    </a:cubicBezTo>
                    <a:lnTo>
                      <a:pt x="218" y="20"/>
                    </a:lnTo>
                    <a:cubicBezTo>
                      <a:pt x="222" y="21"/>
                      <a:pt x="225" y="25"/>
                      <a:pt x="224" y="29"/>
                    </a:cubicBezTo>
                    <a:lnTo>
                      <a:pt x="203" y="217"/>
                    </a:lnTo>
                    <a:cubicBezTo>
                      <a:pt x="202" y="220"/>
                      <a:pt x="199" y="223"/>
                      <a:pt x="196" y="224"/>
                    </a:cubicBezTo>
                    <a:lnTo>
                      <a:pt x="91" y="240"/>
                    </a:lnTo>
                    <a:cubicBezTo>
                      <a:pt x="88" y="241"/>
                      <a:pt x="85" y="240"/>
                      <a:pt x="83" y="237"/>
                    </a:cubicBezTo>
                    <a:lnTo>
                      <a:pt x="2" y="117"/>
                    </a:lnTo>
                    <a:close/>
                    <a:moveTo>
                      <a:pt x="97" y="228"/>
                    </a:moveTo>
                    <a:lnTo>
                      <a:pt x="89" y="225"/>
                    </a:lnTo>
                    <a:lnTo>
                      <a:pt x="193" y="208"/>
                    </a:lnTo>
                    <a:lnTo>
                      <a:pt x="187" y="215"/>
                    </a:lnTo>
                    <a:lnTo>
                      <a:pt x="209" y="27"/>
                    </a:lnTo>
                    <a:lnTo>
                      <a:pt x="215" y="36"/>
                    </a:lnTo>
                    <a:lnTo>
                      <a:pt x="64" y="16"/>
                    </a:lnTo>
                    <a:lnTo>
                      <a:pt x="72" y="12"/>
                    </a:lnTo>
                    <a:lnTo>
                      <a:pt x="15" y="116"/>
                    </a:lnTo>
                    <a:lnTo>
                      <a:pt x="15" y="108"/>
                    </a:lnTo>
                    <a:lnTo>
                      <a:pt x="97" y="228"/>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41" name="Freeform 297"/>
              <p:cNvSpPr>
                <a:spLocks/>
              </p:cNvSpPr>
              <p:nvPr/>
            </p:nvSpPr>
            <p:spPr bwMode="auto">
              <a:xfrm>
                <a:off x="2894" y="741"/>
                <a:ext cx="149" cy="99"/>
              </a:xfrm>
              <a:custGeom>
                <a:avLst/>
                <a:gdLst/>
                <a:ahLst/>
                <a:cxnLst>
                  <a:cxn ang="0">
                    <a:pos x="0" y="13"/>
                  </a:cxn>
                  <a:cxn ang="0">
                    <a:pos x="2" y="25"/>
                  </a:cxn>
                  <a:cxn ang="0">
                    <a:pos x="17" y="25"/>
                  </a:cxn>
                  <a:cxn ang="0">
                    <a:pos x="12" y="30"/>
                  </a:cxn>
                  <a:cxn ang="0">
                    <a:pos x="23" y="35"/>
                  </a:cxn>
                  <a:cxn ang="0">
                    <a:pos x="8" y="34"/>
                  </a:cxn>
                  <a:cxn ang="0">
                    <a:pos x="35" y="44"/>
                  </a:cxn>
                  <a:cxn ang="0">
                    <a:pos x="24" y="48"/>
                  </a:cxn>
                  <a:cxn ang="0">
                    <a:pos x="32" y="55"/>
                  </a:cxn>
                  <a:cxn ang="0">
                    <a:pos x="55" y="51"/>
                  </a:cxn>
                  <a:cxn ang="0">
                    <a:pos x="54" y="41"/>
                  </a:cxn>
                  <a:cxn ang="0">
                    <a:pos x="66" y="37"/>
                  </a:cxn>
                  <a:cxn ang="0">
                    <a:pos x="68" y="49"/>
                  </a:cxn>
                  <a:cxn ang="0">
                    <a:pos x="83" y="41"/>
                  </a:cxn>
                  <a:cxn ang="0">
                    <a:pos x="80" y="49"/>
                  </a:cxn>
                  <a:cxn ang="0">
                    <a:pos x="93" y="49"/>
                  </a:cxn>
                  <a:cxn ang="0">
                    <a:pos x="42" y="60"/>
                  </a:cxn>
                  <a:cxn ang="0">
                    <a:pos x="44" y="69"/>
                  </a:cxn>
                  <a:cxn ang="0">
                    <a:pos x="86" y="62"/>
                  </a:cxn>
                  <a:cxn ang="0">
                    <a:pos x="57" y="70"/>
                  </a:cxn>
                  <a:cxn ang="0">
                    <a:pos x="74" y="75"/>
                  </a:cxn>
                  <a:cxn ang="0">
                    <a:pos x="45" y="79"/>
                  </a:cxn>
                  <a:cxn ang="0">
                    <a:pos x="89" y="99"/>
                  </a:cxn>
                  <a:cxn ang="0">
                    <a:pos x="116" y="49"/>
                  </a:cxn>
                  <a:cxn ang="0">
                    <a:pos x="149" y="37"/>
                  </a:cxn>
                  <a:cxn ang="0">
                    <a:pos x="113" y="27"/>
                  </a:cxn>
                  <a:cxn ang="0">
                    <a:pos x="107" y="15"/>
                  </a:cxn>
                  <a:cxn ang="0">
                    <a:pos x="97" y="23"/>
                  </a:cxn>
                  <a:cxn ang="0">
                    <a:pos x="102" y="11"/>
                  </a:cxn>
                  <a:cxn ang="0">
                    <a:pos x="77" y="0"/>
                  </a:cxn>
                  <a:cxn ang="0">
                    <a:pos x="69" y="11"/>
                  </a:cxn>
                  <a:cxn ang="0">
                    <a:pos x="80" y="35"/>
                  </a:cxn>
                  <a:cxn ang="0">
                    <a:pos x="52" y="10"/>
                  </a:cxn>
                  <a:cxn ang="0">
                    <a:pos x="44" y="15"/>
                  </a:cxn>
                  <a:cxn ang="0">
                    <a:pos x="49" y="27"/>
                  </a:cxn>
                  <a:cxn ang="0">
                    <a:pos x="23" y="16"/>
                  </a:cxn>
                  <a:cxn ang="0">
                    <a:pos x="42" y="9"/>
                  </a:cxn>
                  <a:cxn ang="0">
                    <a:pos x="0" y="13"/>
                  </a:cxn>
                </a:cxnLst>
                <a:rect l="0" t="0" r="r" b="b"/>
                <a:pathLst>
                  <a:path w="149" h="99">
                    <a:moveTo>
                      <a:pt x="0" y="13"/>
                    </a:moveTo>
                    <a:lnTo>
                      <a:pt x="2" y="25"/>
                    </a:lnTo>
                    <a:lnTo>
                      <a:pt x="17" y="25"/>
                    </a:lnTo>
                    <a:lnTo>
                      <a:pt x="12" y="30"/>
                    </a:lnTo>
                    <a:lnTo>
                      <a:pt x="23" y="35"/>
                    </a:lnTo>
                    <a:lnTo>
                      <a:pt x="8" y="34"/>
                    </a:lnTo>
                    <a:lnTo>
                      <a:pt x="35" y="44"/>
                    </a:lnTo>
                    <a:lnTo>
                      <a:pt x="24" y="48"/>
                    </a:lnTo>
                    <a:lnTo>
                      <a:pt x="32" y="55"/>
                    </a:lnTo>
                    <a:lnTo>
                      <a:pt x="55" y="51"/>
                    </a:lnTo>
                    <a:lnTo>
                      <a:pt x="54" y="41"/>
                    </a:lnTo>
                    <a:lnTo>
                      <a:pt x="66" y="37"/>
                    </a:lnTo>
                    <a:lnTo>
                      <a:pt x="68" y="49"/>
                    </a:lnTo>
                    <a:lnTo>
                      <a:pt x="83" y="41"/>
                    </a:lnTo>
                    <a:lnTo>
                      <a:pt x="80" y="49"/>
                    </a:lnTo>
                    <a:lnTo>
                      <a:pt x="93" y="49"/>
                    </a:lnTo>
                    <a:lnTo>
                      <a:pt x="42" y="60"/>
                    </a:lnTo>
                    <a:lnTo>
                      <a:pt x="44" y="69"/>
                    </a:lnTo>
                    <a:lnTo>
                      <a:pt x="86" y="62"/>
                    </a:lnTo>
                    <a:lnTo>
                      <a:pt x="57" y="70"/>
                    </a:lnTo>
                    <a:lnTo>
                      <a:pt x="74" y="75"/>
                    </a:lnTo>
                    <a:lnTo>
                      <a:pt x="45" y="79"/>
                    </a:lnTo>
                    <a:lnTo>
                      <a:pt x="89" y="99"/>
                    </a:lnTo>
                    <a:lnTo>
                      <a:pt x="116" y="49"/>
                    </a:lnTo>
                    <a:lnTo>
                      <a:pt x="149" y="37"/>
                    </a:lnTo>
                    <a:lnTo>
                      <a:pt x="113" y="27"/>
                    </a:lnTo>
                    <a:lnTo>
                      <a:pt x="107" y="15"/>
                    </a:lnTo>
                    <a:lnTo>
                      <a:pt x="97" y="23"/>
                    </a:lnTo>
                    <a:lnTo>
                      <a:pt x="102" y="11"/>
                    </a:lnTo>
                    <a:lnTo>
                      <a:pt x="77" y="0"/>
                    </a:lnTo>
                    <a:lnTo>
                      <a:pt x="69" y="11"/>
                    </a:lnTo>
                    <a:lnTo>
                      <a:pt x="80" y="35"/>
                    </a:lnTo>
                    <a:lnTo>
                      <a:pt x="52" y="10"/>
                    </a:lnTo>
                    <a:lnTo>
                      <a:pt x="44" y="15"/>
                    </a:lnTo>
                    <a:lnTo>
                      <a:pt x="49" y="27"/>
                    </a:lnTo>
                    <a:lnTo>
                      <a:pt x="23" y="16"/>
                    </a:lnTo>
                    <a:lnTo>
                      <a:pt x="42" y="9"/>
                    </a:lnTo>
                    <a:lnTo>
                      <a:pt x="0" y="13"/>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42" name="Freeform 298"/>
              <p:cNvSpPr>
                <a:spLocks noEditPoints="1"/>
              </p:cNvSpPr>
              <p:nvPr/>
            </p:nvSpPr>
            <p:spPr bwMode="auto">
              <a:xfrm>
                <a:off x="2892" y="739"/>
                <a:ext cx="153" cy="103"/>
              </a:xfrm>
              <a:custGeom>
                <a:avLst/>
                <a:gdLst/>
                <a:ahLst/>
                <a:cxnLst>
                  <a:cxn ang="0">
                    <a:pos x="21" y="114"/>
                  </a:cxn>
                  <a:cxn ang="0">
                    <a:pos x="73" y="111"/>
                  </a:cxn>
                  <a:cxn ang="0">
                    <a:pos x="51" y="134"/>
                  </a:cxn>
                  <a:cxn ang="0">
                    <a:pos x="86" y="167"/>
                  </a:cxn>
                  <a:cxn ang="0">
                    <a:pos x="132" y="195"/>
                  </a:cxn>
                  <a:cxn ang="0">
                    <a:pos x="92" y="225"/>
                  </a:cxn>
                  <a:cxn ang="0">
                    <a:pos x="114" y="242"/>
                  </a:cxn>
                  <a:cxn ang="0">
                    <a:pos x="186" y="188"/>
                  </a:cxn>
                  <a:cxn ang="0">
                    <a:pos x="240" y="162"/>
                  </a:cxn>
                  <a:cxn ang="0">
                    <a:pos x="238" y="214"/>
                  </a:cxn>
                  <a:cxn ang="0">
                    <a:pos x="299" y="190"/>
                  </a:cxn>
                  <a:cxn ang="0">
                    <a:pos x="328" y="214"/>
                  </a:cxn>
                  <a:cxn ang="0">
                    <a:pos x="153" y="279"/>
                  </a:cxn>
                  <a:cxn ang="0">
                    <a:pos x="158" y="300"/>
                  </a:cxn>
                  <a:cxn ang="0">
                    <a:pos x="307" y="287"/>
                  </a:cxn>
                  <a:cxn ang="0">
                    <a:pos x="265" y="328"/>
                  </a:cxn>
                  <a:cxn ang="0">
                    <a:pos x="163" y="360"/>
                  </a:cxn>
                  <a:cxn ang="0">
                    <a:pos x="305" y="438"/>
                  </a:cxn>
                  <a:cxn ang="0">
                    <a:pos x="517" y="161"/>
                  </a:cxn>
                  <a:cxn ang="0">
                    <a:pos x="389" y="131"/>
                  </a:cxn>
                  <a:cxn ang="0">
                    <a:pos x="348" y="112"/>
                  </a:cxn>
                  <a:cxn ang="0">
                    <a:pos x="351" y="52"/>
                  </a:cxn>
                  <a:cxn ang="0">
                    <a:pos x="278" y="14"/>
                  </a:cxn>
                  <a:cxn ang="0">
                    <a:pos x="291" y="157"/>
                  </a:cxn>
                  <a:cxn ang="0">
                    <a:pos x="182" y="58"/>
                  </a:cxn>
                  <a:cxn ang="0">
                    <a:pos x="167" y="70"/>
                  </a:cxn>
                  <a:cxn ang="0">
                    <a:pos x="174" y="134"/>
                  </a:cxn>
                  <a:cxn ang="0">
                    <a:pos x="82" y="71"/>
                  </a:cxn>
                  <a:cxn ang="0">
                    <a:pos x="9" y="72"/>
                  </a:cxn>
                  <a:cxn ang="0">
                    <a:pos x="154" y="56"/>
                  </a:cxn>
                  <a:cxn ang="0">
                    <a:pos x="181" y="119"/>
                  </a:cxn>
                  <a:cxn ang="0">
                    <a:pos x="155" y="65"/>
                  </a:cxn>
                  <a:cxn ang="0">
                    <a:pos x="289" y="154"/>
                  </a:cxn>
                  <a:cxn ang="0">
                    <a:pos x="237" y="50"/>
                  </a:cxn>
                  <a:cxn ang="0">
                    <a:pos x="362" y="47"/>
                  </a:cxn>
                  <a:cxn ang="0">
                    <a:pos x="336" y="101"/>
                  </a:cxn>
                  <a:cxn ang="0">
                    <a:pos x="384" y="69"/>
                  </a:cxn>
                  <a:cxn ang="0">
                    <a:pos x="523" y="160"/>
                  </a:cxn>
                  <a:cxn ang="0">
                    <a:pos x="411" y="228"/>
                  </a:cxn>
                  <a:cxn ang="0">
                    <a:pos x="315" y="449"/>
                  </a:cxn>
                  <a:cxn ang="0">
                    <a:pos x="154" y="351"/>
                  </a:cxn>
                  <a:cxn ang="0">
                    <a:pos x="260" y="344"/>
                  </a:cxn>
                  <a:cxn ang="0">
                    <a:pos x="202" y="309"/>
                  </a:cxn>
                  <a:cxn ang="0">
                    <a:pos x="161" y="316"/>
                  </a:cxn>
                  <a:cxn ang="0">
                    <a:pos x="149" y="264"/>
                  </a:cxn>
                  <a:cxn ang="0">
                    <a:pos x="282" y="229"/>
                  </a:cxn>
                  <a:cxn ang="0">
                    <a:pos x="284" y="185"/>
                  </a:cxn>
                  <a:cxn ang="0">
                    <a:pos x="240" y="228"/>
                  </a:cxn>
                  <a:cxn ang="0">
                    <a:pos x="239" y="177"/>
                  </a:cxn>
                  <a:cxn ang="0">
                    <a:pos x="205" y="232"/>
                  </a:cxn>
                  <a:cxn ang="0">
                    <a:pos x="110" y="255"/>
                  </a:cxn>
                  <a:cxn ang="0">
                    <a:pos x="87" y="210"/>
                  </a:cxn>
                  <a:cxn ang="0">
                    <a:pos x="33" y="162"/>
                  </a:cxn>
                  <a:cxn ang="0">
                    <a:pos x="87" y="152"/>
                  </a:cxn>
                  <a:cxn ang="0">
                    <a:pos x="40" y="143"/>
                  </a:cxn>
                  <a:cxn ang="0">
                    <a:pos x="66" y="123"/>
                  </a:cxn>
                  <a:cxn ang="0">
                    <a:pos x="0" y="65"/>
                  </a:cxn>
                </a:cxnLst>
                <a:rect l="0" t="0" r="r" b="b"/>
                <a:pathLst>
                  <a:path w="529" h="450">
                    <a:moveTo>
                      <a:pt x="9" y="72"/>
                    </a:moveTo>
                    <a:lnTo>
                      <a:pt x="16" y="63"/>
                    </a:lnTo>
                    <a:lnTo>
                      <a:pt x="21" y="114"/>
                    </a:lnTo>
                    <a:lnTo>
                      <a:pt x="13" y="107"/>
                    </a:lnTo>
                    <a:lnTo>
                      <a:pt x="66" y="107"/>
                    </a:lnTo>
                    <a:cubicBezTo>
                      <a:pt x="69" y="107"/>
                      <a:pt x="71" y="109"/>
                      <a:pt x="73" y="111"/>
                    </a:cubicBezTo>
                    <a:cubicBezTo>
                      <a:pt x="74" y="114"/>
                      <a:pt x="74" y="117"/>
                      <a:pt x="72" y="120"/>
                    </a:cubicBezTo>
                    <a:lnTo>
                      <a:pt x="54" y="146"/>
                    </a:lnTo>
                    <a:lnTo>
                      <a:pt x="51" y="134"/>
                    </a:lnTo>
                    <a:lnTo>
                      <a:pt x="90" y="152"/>
                    </a:lnTo>
                    <a:cubicBezTo>
                      <a:pt x="94" y="154"/>
                      <a:pt x="95" y="158"/>
                      <a:pt x="94" y="162"/>
                    </a:cubicBezTo>
                    <a:cubicBezTo>
                      <a:pt x="93" y="165"/>
                      <a:pt x="90" y="168"/>
                      <a:pt x="86" y="167"/>
                    </a:cubicBezTo>
                    <a:lnTo>
                      <a:pt x="36" y="163"/>
                    </a:lnTo>
                    <a:lnTo>
                      <a:pt x="40" y="147"/>
                    </a:lnTo>
                    <a:lnTo>
                      <a:pt x="132" y="195"/>
                    </a:lnTo>
                    <a:cubicBezTo>
                      <a:pt x="135" y="197"/>
                      <a:pt x="137" y="200"/>
                      <a:pt x="136" y="203"/>
                    </a:cubicBezTo>
                    <a:cubicBezTo>
                      <a:pt x="136" y="206"/>
                      <a:pt x="134" y="209"/>
                      <a:pt x="131" y="210"/>
                    </a:cubicBezTo>
                    <a:lnTo>
                      <a:pt x="92" y="225"/>
                    </a:lnTo>
                    <a:lnTo>
                      <a:pt x="96" y="212"/>
                    </a:lnTo>
                    <a:lnTo>
                      <a:pt x="122" y="245"/>
                    </a:lnTo>
                    <a:lnTo>
                      <a:pt x="114" y="242"/>
                    </a:lnTo>
                    <a:lnTo>
                      <a:pt x="195" y="224"/>
                    </a:lnTo>
                    <a:lnTo>
                      <a:pt x="189" y="233"/>
                    </a:lnTo>
                    <a:lnTo>
                      <a:pt x="186" y="188"/>
                    </a:lnTo>
                    <a:cubicBezTo>
                      <a:pt x="186" y="185"/>
                      <a:pt x="188" y="182"/>
                      <a:pt x="191" y="180"/>
                    </a:cubicBezTo>
                    <a:lnTo>
                      <a:pt x="233" y="162"/>
                    </a:lnTo>
                    <a:cubicBezTo>
                      <a:pt x="235" y="161"/>
                      <a:pt x="238" y="161"/>
                      <a:pt x="240" y="162"/>
                    </a:cubicBezTo>
                    <a:cubicBezTo>
                      <a:pt x="242" y="164"/>
                      <a:pt x="243" y="166"/>
                      <a:pt x="244" y="168"/>
                    </a:cubicBezTo>
                    <a:lnTo>
                      <a:pt x="251" y="219"/>
                    </a:lnTo>
                    <a:lnTo>
                      <a:pt x="238" y="214"/>
                    </a:lnTo>
                    <a:lnTo>
                      <a:pt x="287" y="181"/>
                    </a:lnTo>
                    <a:cubicBezTo>
                      <a:pt x="290" y="179"/>
                      <a:pt x="294" y="179"/>
                      <a:pt x="296" y="181"/>
                    </a:cubicBezTo>
                    <a:cubicBezTo>
                      <a:pt x="299" y="183"/>
                      <a:pt x="300" y="187"/>
                      <a:pt x="299" y="190"/>
                    </a:cubicBezTo>
                    <a:lnTo>
                      <a:pt x="290" y="223"/>
                    </a:lnTo>
                    <a:lnTo>
                      <a:pt x="282" y="213"/>
                    </a:lnTo>
                    <a:lnTo>
                      <a:pt x="328" y="214"/>
                    </a:lnTo>
                    <a:cubicBezTo>
                      <a:pt x="332" y="214"/>
                      <a:pt x="335" y="217"/>
                      <a:pt x="336" y="221"/>
                    </a:cubicBezTo>
                    <a:cubicBezTo>
                      <a:pt x="336" y="225"/>
                      <a:pt x="334" y="229"/>
                      <a:pt x="330" y="230"/>
                    </a:cubicBezTo>
                    <a:lnTo>
                      <a:pt x="153" y="279"/>
                    </a:lnTo>
                    <a:lnTo>
                      <a:pt x="159" y="270"/>
                    </a:lnTo>
                    <a:lnTo>
                      <a:pt x="167" y="306"/>
                    </a:lnTo>
                    <a:lnTo>
                      <a:pt x="158" y="300"/>
                    </a:lnTo>
                    <a:lnTo>
                      <a:pt x="303" y="272"/>
                    </a:lnTo>
                    <a:cubicBezTo>
                      <a:pt x="307" y="271"/>
                      <a:pt x="311" y="274"/>
                      <a:pt x="312" y="278"/>
                    </a:cubicBezTo>
                    <a:cubicBezTo>
                      <a:pt x="313" y="282"/>
                      <a:pt x="311" y="286"/>
                      <a:pt x="307" y="287"/>
                    </a:cubicBezTo>
                    <a:lnTo>
                      <a:pt x="208" y="324"/>
                    </a:lnTo>
                    <a:lnTo>
                      <a:pt x="208" y="309"/>
                    </a:lnTo>
                    <a:lnTo>
                      <a:pt x="265" y="328"/>
                    </a:lnTo>
                    <a:cubicBezTo>
                      <a:pt x="268" y="330"/>
                      <a:pt x="271" y="333"/>
                      <a:pt x="270" y="337"/>
                    </a:cubicBezTo>
                    <a:cubicBezTo>
                      <a:pt x="270" y="340"/>
                      <a:pt x="267" y="343"/>
                      <a:pt x="264" y="344"/>
                    </a:cubicBezTo>
                    <a:lnTo>
                      <a:pt x="163" y="360"/>
                    </a:lnTo>
                    <a:lnTo>
                      <a:pt x="166" y="346"/>
                    </a:lnTo>
                    <a:lnTo>
                      <a:pt x="317" y="435"/>
                    </a:lnTo>
                    <a:lnTo>
                      <a:pt x="305" y="438"/>
                    </a:lnTo>
                    <a:lnTo>
                      <a:pt x="400" y="217"/>
                    </a:lnTo>
                    <a:cubicBezTo>
                      <a:pt x="401" y="216"/>
                      <a:pt x="402" y="214"/>
                      <a:pt x="404" y="213"/>
                    </a:cubicBezTo>
                    <a:lnTo>
                      <a:pt x="517" y="161"/>
                    </a:lnTo>
                    <a:lnTo>
                      <a:pt x="518" y="175"/>
                    </a:lnTo>
                    <a:lnTo>
                      <a:pt x="394" y="136"/>
                    </a:lnTo>
                    <a:cubicBezTo>
                      <a:pt x="391" y="135"/>
                      <a:pt x="390" y="133"/>
                      <a:pt x="389" y="131"/>
                    </a:cubicBezTo>
                    <a:lnTo>
                      <a:pt x="369" y="75"/>
                    </a:lnTo>
                    <a:lnTo>
                      <a:pt x="382" y="78"/>
                    </a:lnTo>
                    <a:lnTo>
                      <a:pt x="348" y="112"/>
                    </a:lnTo>
                    <a:cubicBezTo>
                      <a:pt x="345" y="115"/>
                      <a:pt x="341" y="116"/>
                      <a:pt x="338" y="114"/>
                    </a:cubicBezTo>
                    <a:cubicBezTo>
                      <a:pt x="335" y="112"/>
                      <a:pt x="333" y="108"/>
                      <a:pt x="334" y="104"/>
                    </a:cubicBezTo>
                    <a:lnTo>
                      <a:pt x="351" y="52"/>
                    </a:lnTo>
                    <a:lnTo>
                      <a:pt x="355" y="61"/>
                    </a:lnTo>
                    <a:lnTo>
                      <a:pt x="267" y="17"/>
                    </a:lnTo>
                    <a:lnTo>
                      <a:pt x="278" y="14"/>
                    </a:lnTo>
                    <a:lnTo>
                      <a:pt x="251" y="58"/>
                    </a:lnTo>
                    <a:lnTo>
                      <a:pt x="252" y="51"/>
                    </a:lnTo>
                    <a:lnTo>
                      <a:pt x="291" y="157"/>
                    </a:lnTo>
                    <a:cubicBezTo>
                      <a:pt x="292" y="160"/>
                      <a:pt x="291" y="164"/>
                      <a:pt x="287" y="166"/>
                    </a:cubicBezTo>
                    <a:cubicBezTo>
                      <a:pt x="284" y="168"/>
                      <a:pt x="280" y="168"/>
                      <a:pt x="277" y="165"/>
                    </a:cubicBezTo>
                    <a:lnTo>
                      <a:pt x="182" y="58"/>
                    </a:lnTo>
                    <a:lnTo>
                      <a:pt x="193" y="59"/>
                    </a:lnTo>
                    <a:lnTo>
                      <a:pt x="164" y="79"/>
                    </a:lnTo>
                    <a:lnTo>
                      <a:pt x="167" y="70"/>
                    </a:lnTo>
                    <a:lnTo>
                      <a:pt x="185" y="124"/>
                    </a:lnTo>
                    <a:cubicBezTo>
                      <a:pt x="186" y="127"/>
                      <a:pt x="185" y="131"/>
                      <a:pt x="182" y="133"/>
                    </a:cubicBezTo>
                    <a:cubicBezTo>
                      <a:pt x="180" y="135"/>
                      <a:pt x="176" y="135"/>
                      <a:pt x="174" y="134"/>
                    </a:cubicBezTo>
                    <a:lnTo>
                      <a:pt x="82" y="86"/>
                    </a:lnTo>
                    <a:cubicBezTo>
                      <a:pt x="79" y="84"/>
                      <a:pt x="77" y="82"/>
                      <a:pt x="77" y="79"/>
                    </a:cubicBezTo>
                    <a:cubicBezTo>
                      <a:pt x="77" y="75"/>
                      <a:pt x="79" y="73"/>
                      <a:pt x="82" y="71"/>
                    </a:cubicBezTo>
                    <a:lnTo>
                      <a:pt x="147" y="42"/>
                    </a:lnTo>
                    <a:lnTo>
                      <a:pt x="152" y="57"/>
                    </a:lnTo>
                    <a:lnTo>
                      <a:pt x="9" y="72"/>
                    </a:lnTo>
                    <a:close/>
                    <a:moveTo>
                      <a:pt x="150" y="41"/>
                    </a:moveTo>
                    <a:cubicBezTo>
                      <a:pt x="154" y="41"/>
                      <a:pt x="157" y="43"/>
                      <a:pt x="158" y="47"/>
                    </a:cubicBezTo>
                    <a:cubicBezTo>
                      <a:pt x="160" y="51"/>
                      <a:pt x="158" y="55"/>
                      <a:pt x="154" y="56"/>
                    </a:cubicBezTo>
                    <a:lnTo>
                      <a:pt x="88" y="86"/>
                    </a:lnTo>
                    <a:lnTo>
                      <a:pt x="89" y="72"/>
                    </a:lnTo>
                    <a:lnTo>
                      <a:pt x="181" y="119"/>
                    </a:lnTo>
                    <a:lnTo>
                      <a:pt x="170" y="129"/>
                    </a:lnTo>
                    <a:lnTo>
                      <a:pt x="152" y="75"/>
                    </a:lnTo>
                    <a:cubicBezTo>
                      <a:pt x="150" y="71"/>
                      <a:pt x="152" y="67"/>
                      <a:pt x="155" y="65"/>
                    </a:cubicBezTo>
                    <a:lnTo>
                      <a:pt x="184" y="46"/>
                    </a:lnTo>
                    <a:cubicBezTo>
                      <a:pt x="187" y="43"/>
                      <a:pt x="192" y="44"/>
                      <a:pt x="194" y="47"/>
                    </a:cubicBezTo>
                    <a:lnTo>
                      <a:pt x="289" y="154"/>
                    </a:lnTo>
                    <a:lnTo>
                      <a:pt x="276" y="162"/>
                    </a:lnTo>
                    <a:lnTo>
                      <a:pt x="237" y="57"/>
                    </a:lnTo>
                    <a:cubicBezTo>
                      <a:pt x="236" y="54"/>
                      <a:pt x="236" y="52"/>
                      <a:pt x="237" y="50"/>
                    </a:cubicBezTo>
                    <a:lnTo>
                      <a:pt x="264" y="5"/>
                    </a:lnTo>
                    <a:cubicBezTo>
                      <a:pt x="266" y="2"/>
                      <a:pt x="271" y="0"/>
                      <a:pt x="274" y="2"/>
                    </a:cubicBezTo>
                    <a:lnTo>
                      <a:pt x="362" y="47"/>
                    </a:lnTo>
                    <a:cubicBezTo>
                      <a:pt x="366" y="49"/>
                      <a:pt x="367" y="53"/>
                      <a:pt x="366" y="56"/>
                    </a:cubicBezTo>
                    <a:lnTo>
                      <a:pt x="350" y="109"/>
                    </a:lnTo>
                    <a:lnTo>
                      <a:pt x="336" y="101"/>
                    </a:lnTo>
                    <a:lnTo>
                      <a:pt x="371" y="66"/>
                    </a:lnTo>
                    <a:cubicBezTo>
                      <a:pt x="373" y="65"/>
                      <a:pt x="376" y="64"/>
                      <a:pt x="379" y="64"/>
                    </a:cubicBezTo>
                    <a:cubicBezTo>
                      <a:pt x="381" y="65"/>
                      <a:pt x="383" y="67"/>
                      <a:pt x="384" y="69"/>
                    </a:cubicBezTo>
                    <a:lnTo>
                      <a:pt x="404" y="126"/>
                    </a:lnTo>
                    <a:lnTo>
                      <a:pt x="399" y="121"/>
                    </a:lnTo>
                    <a:lnTo>
                      <a:pt x="523" y="160"/>
                    </a:lnTo>
                    <a:cubicBezTo>
                      <a:pt x="526" y="161"/>
                      <a:pt x="528" y="164"/>
                      <a:pt x="528" y="167"/>
                    </a:cubicBezTo>
                    <a:cubicBezTo>
                      <a:pt x="529" y="171"/>
                      <a:pt x="527" y="174"/>
                      <a:pt x="524" y="175"/>
                    </a:cubicBezTo>
                    <a:lnTo>
                      <a:pt x="411" y="228"/>
                    </a:lnTo>
                    <a:lnTo>
                      <a:pt x="415" y="224"/>
                    </a:lnTo>
                    <a:lnTo>
                      <a:pt x="320" y="445"/>
                    </a:lnTo>
                    <a:cubicBezTo>
                      <a:pt x="319" y="447"/>
                      <a:pt x="317" y="448"/>
                      <a:pt x="315" y="449"/>
                    </a:cubicBezTo>
                    <a:cubicBezTo>
                      <a:pt x="313" y="450"/>
                      <a:pt x="311" y="450"/>
                      <a:pt x="309" y="448"/>
                    </a:cubicBezTo>
                    <a:lnTo>
                      <a:pt x="158" y="359"/>
                    </a:lnTo>
                    <a:cubicBezTo>
                      <a:pt x="155" y="358"/>
                      <a:pt x="153" y="354"/>
                      <a:pt x="154" y="351"/>
                    </a:cubicBezTo>
                    <a:cubicBezTo>
                      <a:pt x="155" y="348"/>
                      <a:pt x="157" y="345"/>
                      <a:pt x="161" y="345"/>
                    </a:cubicBezTo>
                    <a:lnTo>
                      <a:pt x="261" y="328"/>
                    </a:lnTo>
                    <a:lnTo>
                      <a:pt x="260" y="344"/>
                    </a:lnTo>
                    <a:lnTo>
                      <a:pt x="203" y="324"/>
                    </a:lnTo>
                    <a:cubicBezTo>
                      <a:pt x="199" y="323"/>
                      <a:pt x="197" y="320"/>
                      <a:pt x="197" y="316"/>
                    </a:cubicBezTo>
                    <a:cubicBezTo>
                      <a:pt x="197" y="313"/>
                      <a:pt x="199" y="310"/>
                      <a:pt x="202" y="309"/>
                    </a:cubicBezTo>
                    <a:lnTo>
                      <a:pt x="301" y="272"/>
                    </a:lnTo>
                    <a:lnTo>
                      <a:pt x="306" y="288"/>
                    </a:lnTo>
                    <a:lnTo>
                      <a:pt x="161" y="316"/>
                    </a:lnTo>
                    <a:cubicBezTo>
                      <a:pt x="156" y="317"/>
                      <a:pt x="152" y="314"/>
                      <a:pt x="151" y="310"/>
                    </a:cubicBezTo>
                    <a:lnTo>
                      <a:pt x="143" y="273"/>
                    </a:lnTo>
                    <a:cubicBezTo>
                      <a:pt x="142" y="269"/>
                      <a:pt x="144" y="265"/>
                      <a:pt x="149" y="264"/>
                    </a:cubicBezTo>
                    <a:lnTo>
                      <a:pt x="326" y="214"/>
                    </a:lnTo>
                    <a:lnTo>
                      <a:pt x="328" y="230"/>
                    </a:lnTo>
                    <a:lnTo>
                      <a:pt x="282" y="229"/>
                    </a:lnTo>
                    <a:cubicBezTo>
                      <a:pt x="279" y="228"/>
                      <a:pt x="277" y="227"/>
                      <a:pt x="275" y="225"/>
                    </a:cubicBezTo>
                    <a:cubicBezTo>
                      <a:pt x="274" y="223"/>
                      <a:pt x="274" y="221"/>
                      <a:pt x="274" y="218"/>
                    </a:cubicBezTo>
                    <a:lnTo>
                      <a:pt x="284" y="185"/>
                    </a:lnTo>
                    <a:lnTo>
                      <a:pt x="296" y="194"/>
                    </a:lnTo>
                    <a:lnTo>
                      <a:pt x="247" y="227"/>
                    </a:lnTo>
                    <a:cubicBezTo>
                      <a:pt x="245" y="229"/>
                      <a:pt x="242" y="229"/>
                      <a:pt x="240" y="228"/>
                    </a:cubicBezTo>
                    <a:cubicBezTo>
                      <a:pt x="237" y="227"/>
                      <a:pt x="235" y="224"/>
                      <a:pt x="235" y="222"/>
                    </a:cubicBezTo>
                    <a:lnTo>
                      <a:pt x="228" y="170"/>
                    </a:lnTo>
                    <a:lnTo>
                      <a:pt x="239" y="177"/>
                    </a:lnTo>
                    <a:lnTo>
                      <a:pt x="197" y="195"/>
                    </a:lnTo>
                    <a:lnTo>
                      <a:pt x="202" y="187"/>
                    </a:lnTo>
                    <a:lnTo>
                      <a:pt x="205" y="232"/>
                    </a:lnTo>
                    <a:cubicBezTo>
                      <a:pt x="205" y="235"/>
                      <a:pt x="202" y="239"/>
                      <a:pt x="199" y="240"/>
                    </a:cubicBezTo>
                    <a:lnTo>
                      <a:pt x="118" y="258"/>
                    </a:lnTo>
                    <a:cubicBezTo>
                      <a:pt x="115" y="259"/>
                      <a:pt x="112" y="258"/>
                      <a:pt x="110" y="255"/>
                    </a:cubicBezTo>
                    <a:lnTo>
                      <a:pt x="83" y="222"/>
                    </a:lnTo>
                    <a:cubicBezTo>
                      <a:pt x="82" y="220"/>
                      <a:pt x="81" y="218"/>
                      <a:pt x="82" y="215"/>
                    </a:cubicBezTo>
                    <a:cubicBezTo>
                      <a:pt x="82" y="213"/>
                      <a:pt x="84" y="211"/>
                      <a:pt x="87" y="210"/>
                    </a:cubicBezTo>
                    <a:lnTo>
                      <a:pt x="126" y="195"/>
                    </a:lnTo>
                    <a:lnTo>
                      <a:pt x="125" y="209"/>
                    </a:lnTo>
                    <a:lnTo>
                      <a:pt x="33" y="162"/>
                    </a:lnTo>
                    <a:cubicBezTo>
                      <a:pt x="29" y="160"/>
                      <a:pt x="28" y="156"/>
                      <a:pt x="29" y="152"/>
                    </a:cubicBezTo>
                    <a:cubicBezTo>
                      <a:pt x="30" y="149"/>
                      <a:pt x="33" y="146"/>
                      <a:pt x="37" y="147"/>
                    </a:cubicBezTo>
                    <a:lnTo>
                      <a:pt x="87" y="152"/>
                    </a:lnTo>
                    <a:lnTo>
                      <a:pt x="83" y="167"/>
                    </a:lnTo>
                    <a:lnTo>
                      <a:pt x="44" y="149"/>
                    </a:lnTo>
                    <a:cubicBezTo>
                      <a:pt x="42" y="148"/>
                      <a:pt x="40" y="146"/>
                      <a:pt x="40" y="143"/>
                    </a:cubicBezTo>
                    <a:cubicBezTo>
                      <a:pt x="39" y="141"/>
                      <a:pt x="40" y="139"/>
                      <a:pt x="41" y="137"/>
                    </a:cubicBezTo>
                    <a:lnTo>
                      <a:pt x="59" y="110"/>
                    </a:lnTo>
                    <a:lnTo>
                      <a:pt x="66" y="123"/>
                    </a:lnTo>
                    <a:lnTo>
                      <a:pt x="13" y="123"/>
                    </a:lnTo>
                    <a:cubicBezTo>
                      <a:pt x="8" y="123"/>
                      <a:pt x="5" y="120"/>
                      <a:pt x="5" y="116"/>
                    </a:cubicBezTo>
                    <a:lnTo>
                      <a:pt x="0" y="65"/>
                    </a:lnTo>
                    <a:cubicBezTo>
                      <a:pt x="0" y="60"/>
                      <a:pt x="3" y="56"/>
                      <a:pt x="8" y="56"/>
                    </a:cubicBezTo>
                    <a:lnTo>
                      <a:pt x="150" y="4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43" name="Freeform 299"/>
              <p:cNvSpPr>
                <a:spLocks/>
              </p:cNvSpPr>
              <p:nvPr/>
            </p:nvSpPr>
            <p:spPr bwMode="auto">
              <a:xfrm>
                <a:off x="2987" y="727"/>
                <a:ext cx="135" cy="44"/>
              </a:xfrm>
              <a:custGeom>
                <a:avLst/>
                <a:gdLst/>
                <a:ahLst/>
                <a:cxnLst>
                  <a:cxn ang="0">
                    <a:pos x="0" y="11"/>
                  </a:cxn>
                  <a:cxn ang="0">
                    <a:pos x="20" y="15"/>
                  </a:cxn>
                  <a:cxn ang="0">
                    <a:pos x="7" y="20"/>
                  </a:cxn>
                  <a:cxn ang="0">
                    <a:pos x="12" y="24"/>
                  </a:cxn>
                  <a:cxn ang="0">
                    <a:pos x="62" y="24"/>
                  </a:cxn>
                  <a:cxn ang="0">
                    <a:pos x="31" y="30"/>
                  </a:cxn>
                  <a:cxn ang="0">
                    <a:pos x="80" y="44"/>
                  </a:cxn>
                  <a:cxn ang="0">
                    <a:pos x="113" y="35"/>
                  </a:cxn>
                  <a:cxn ang="0">
                    <a:pos x="135" y="20"/>
                  </a:cxn>
                  <a:cxn ang="0">
                    <a:pos x="129" y="13"/>
                  </a:cxn>
                  <a:cxn ang="0">
                    <a:pos x="97" y="13"/>
                  </a:cxn>
                  <a:cxn ang="0">
                    <a:pos x="102" y="5"/>
                  </a:cxn>
                  <a:cxn ang="0">
                    <a:pos x="77" y="13"/>
                  </a:cxn>
                  <a:cxn ang="0">
                    <a:pos x="73" y="0"/>
                  </a:cxn>
                  <a:cxn ang="0">
                    <a:pos x="67" y="17"/>
                  </a:cxn>
                  <a:cxn ang="0">
                    <a:pos x="31" y="0"/>
                  </a:cxn>
                  <a:cxn ang="0">
                    <a:pos x="32" y="11"/>
                  </a:cxn>
                  <a:cxn ang="0">
                    <a:pos x="21" y="5"/>
                  </a:cxn>
                  <a:cxn ang="0">
                    <a:pos x="26" y="15"/>
                  </a:cxn>
                  <a:cxn ang="0">
                    <a:pos x="0" y="11"/>
                  </a:cxn>
                </a:cxnLst>
                <a:rect l="0" t="0" r="r" b="b"/>
                <a:pathLst>
                  <a:path w="135" h="44">
                    <a:moveTo>
                      <a:pt x="0" y="11"/>
                    </a:moveTo>
                    <a:lnTo>
                      <a:pt x="20" y="15"/>
                    </a:lnTo>
                    <a:lnTo>
                      <a:pt x="7" y="20"/>
                    </a:lnTo>
                    <a:lnTo>
                      <a:pt x="12" y="24"/>
                    </a:lnTo>
                    <a:lnTo>
                      <a:pt x="62" y="24"/>
                    </a:lnTo>
                    <a:lnTo>
                      <a:pt x="31" y="30"/>
                    </a:lnTo>
                    <a:lnTo>
                      <a:pt x="80" y="44"/>
                    </a:lnTo>
                    <a:lnTo>
                      <a:pt x="113" y="35"/>
                    </a:lnTo>
                    <a:lnTo>
                      <a:pt x="135" y="20"/>
                    </a:lnTo>
                    <a:lnTo>
                      <a:pt x="129" y="13"/>
                    </a:lnTo>
                    <a:lnTo>
                      <a:pt x="97" y="13"/>
                    </a:lnTo>
                    <a:lnTo>
                      <a:pt x="102" y="5"/>
                    </a:lnTo>
                    <a:lnTo>
                      <a:pt x="77" y="13"/>
                    </a:lnTo>
                    <a:lnTo>
                      <a:pt x="73" y="0"/>
                    </a:lnTo>
                    <a:lnTo>
                      <a:pt x="67" y="17"/>
                    </a:lnTo>
                    <a:lnTo>
                      <a:pt x="31" y="0"/>
                    </a:lnTo>
                    <a:lnTo>
                      <a:pt x="32" y="11"/>
                    </a:lnTo>
                    <a:lnTo>
                      <a:pt x="21" y="5"/>
                    </a:lnTo>
                    <a:lnTo>
                      <a:pt x="26" y="15"/>
                    </a:lnTo>
                    <a:lnTo>
                      <a:pt x="0" y="1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44" name="Freeform 300"/>
              <p:cNvSpPr>
                <a:spLocks noEditPoints="1"/>
              </p:cNvSpPr>
              <p:nvPr/>
            </p:nvSpPr>
            <p:spPr bwMode="auto">
              <a:xfrm>
                <a:off x="2985" y="725"/>
                <a:ext cx="139" cy="48"/>
              </a:xfrm>
              <a:custGeom>
                <a:avLst/>
                <a:gdLst/>
                <a:ahLst/>
                <a:cxnLst>
                  <a:cxn ang="0">
                    <a:pos x="10" y="51"/>
                  </a:cxn>
                  <a:cxn ang="0">
                    <a:pos x="85" y="74"/>
                  </a:cxn>
                  <a:cxn ang="0">
                    <a:pos x="36" y="105"/>
                  </a:cxn>
                  <a:cxn ang="0">
                    <a:pos x="56" y="109"/>
                  </a:cxn>
                  <a:cxn ang="0">
                    <a:pos x="222" y="105"/>
                  </a:cxn>
                  <a:cxn ang="0">
                    <a:pos x="224" y="121"/>
                  </a:cxn>
                  <a:cxn ang="0">
                    <a:pos x="117" y="134"/>
                  </a:cxn>
                  <a:cxn ang="0">
                    <a:pos x="282" y="193"/>
                  </a:cxn>
                  <a:cxn ang="0">
                    <a:pos x="393" y="158"/>
                  </a:cxn>
                  <a:cxn ang="0">
                    <a:pos x="466" y="102"/>
                  </a:cxn>
                  <a:cxn ang="0">
                    <a:pos x="452" y="74"/>
                  </a:cxn>
                  <a:cxn ang="0">
                    <a:pos x="336" y="72"/>
                  </a:cxn>
                  <a:cxn ang="0">
                    <a:pos x="354" y="28"/>
                  </a:cxn>
                  <a:cxn ang="0">
                    <a:pos x="275" y="75"/>
                  </a:cxn>
                  <a:cxn ang="0">
                    <a:pos x="264" y="69"/>
                  </a:cxn>
                  <a:cxn ang="0">
                    <a:pos x="267" y="11"/>
                  </a:cxn>
                  <a:cxn ang="0">
                    <a:pos x="240" y="93"/>
                  </a:cxn>
                  <a:cxn ang="0">
                    <a:pos x="110" y="15"/>
                  </a:cxn>
                  <a:cxn ang="0">
                    <a:pos x="125" y="55"/>
                  </a:cxn>
                  <a:cxn ang="0">
                    <a:pos x="113" y="62"/>
                  </a:cxn>
                  <a:cxn ang="0">
                    <a:pos x="89" y="29"/>
                  </a:cxn>
                  <a:cxn ang="0">
                    <a:pos x="102" y="82"/>
                  </a:cxn>
                  <a:cxn ang="0">
                    <a:pos x="7" y="67"/>
                  </a:cxn>
                  <a:cxn ang="0">
                    <a:pos x="89" y="79"/>
                  </a:cxn>
                  <a:cxn ang="0">
                    <a:pos x="76" y="25"/>
                  </a:cxn>
                  <a:cxn ang="0">
                    <a:pos x="122" y="49"/>
                  </a:cxn>
                  <a:cxn ang="0">
                    <a:pos x="106" y="9"/>
                  </a:cxn>
                  <a:cxn ang="0">
                    <a:pos x="119" y="2"/>
                  </a:cxn>
                  <a:cxn ang="0">
                    <a:pos x="229" y="83"/>
                  </a:cxn>
                  <a:cxn ang="0">
                    <a:pos x="260" y="0"/>
                  </a:cxn>
                  <a:cxn ang="0">
                    <a:pos x="280" y="66"/>
                  </a:cxn>
                  <a:cxn ang="0">
                    <a:pos x="358" y="24"/>
                  </a:cxn>
                  <a:cxn ang="0">
                    <a:pos x="368" y="35"/>
                  </a:cxn>
                  <a:cxn ang="0">
                    <a:pos x="343" y="60"/>
                  </a:cxn>
                  <a:cxn ang="0">
                    <a:pos x="458" y="62"/>
                  </a:cxn>
                  <a:cxn ang="0">
                    <a:pos x="478" y="103"/>
                  </a:cxn>
                  <a:cxn ang="0">
                    <a:pos x="401" y="171"/>
                  </a:cxn>
                  <a:cxn ang="0">
                    <a:pos x="282" y="208"/>
                  </a:cxn>
                  <a:cxn ang="0">
                    <a:pos x="106" y="141"/>
                  </a:cxn>
                  <a:cxn ang="0">
                    <a:pos x="220" y="105"/>
                  </a:cxn>
                  <a:cxn ang="0">
                    <a:pos x="50" y="123"/>
                  </a:cxn>
                  <a:cxn ang="0">
                    <a:pos x="27" y="103"/>
                  </a:cxn>
                  <a:cxn ang="0">
                    <a:pos x="29" y="90"/>
                  </a:cxn>
                  <a:cxn ang="0">
                    <a:pos x="75" y="83"/>
                  </a:cxn>
                  <a:cxn ang="0">
                    <a:pos x="1" y="57"/>
                  </a:cxn>
                  <a:cxn ang="0">
                    <a:pos x="98" y="69"/>
                  </a:cxn>
                </a:cxnLst>
                <a:rect l="0" t="0" r="r" b="b"/>
                <a:pathLst>
                  <a:path w="481" h="209">
                    <a:moveTo>
                      <a:pt x="7" y="67"/>
                    </a:moveTo>
                    <a:lnTo>
                      <a:pt x="10" y="51"/>
                    </a:lnTo>
                    <a:lnTo>
                      <a:pt x="79" y="67"/>
                    </a:lnTo>
                    <a:cubicBezTo>
                      <a:pt x="82" y="68"/>
                      <a:pt x="84" y="70"/>
                      <a:pt x="85" y="74"/>
                    </a:cubicBezTo>
                    <a:cubicBezTo>
                      <a:pt x="85" y="77"/>
                      <a:pt x="83" y="80"/>
                      <a:pt x="80" y="82"/>
                    </a:cubicBezTo>
                    <a:lnTo>
                      <a:pt x="36" y="105"/>
                    </a:lnTo>
                    <a:lnTo>
                      <a:pt x="38" y="92"/>
                    </a:lnTo>
                    <a:lnTo>
                      <a:pt x="56" y="109"/>
                    </a:lnTo>
                    <a:lnTo>
                      <a:pt x="50" y="107"/>
                    </a:lnTo>
                    <a:lnTo>
                      <a:pt x="222" y="105"/>
                    </a:lnTo>
                    <a:cubicBezTo>
                      <a:pt x="226" y="105"/>
                      <a:pt x="229" y="108"/>
                      <a:pt x="230" y="112"/>
                    </a:cubicBezTo>
                    <a:cubicBezTo>
                      <a:pt x="230" y="116"/>
                      <a:pt x="228" y="120"/>
                      <a:pt x="224" y="121"/>
                    </a:cubicBezTo>
                    <a:lnTo>
                      <a:pt x="116" y="149"/>
                    </a:lnTo>
                    <a:lnTo>
                      <a:pt x="117" y="134"/>
                    </a:lnTo>
                    <a:lnTo>
                      <a:pt x="287" y="193"/>
                    </a:lnTo>
                    <a:lnTo>
                      <a:pt x="282" y="193"/>
                    </a:lnTo>
                    <a:lnTo>
                      <a:pt x="396" y="156"/>
                    </a:lnTo>
                    <a:lnTo>
                      <a:pt x="393" y="158"/>
                    </a:lnTo>
                    <a:lnTo>
                      <a:pt x="467" y="92"/>
                    </a:lnTo>
                    <a:lnTo>
                      <a:pt x="466" y="102"/>
                    </a:lnTo>
                    <a:lnTo>
                      <a:pt x="445" y="71"/>
                    </a:lnTo>
                    <a:lnTo>
                      <a:pt x="452" y="74"/>
                    </a:lnTo>
                    <a:lnTo>
                      <a:pt x="343" y="76"/>
                    </a:lnTo>
                    <a:cubicBezTo>
                      <a:pt x="340" y="76"/>
                      <a:pt x="338" y="74"/>
                      <a:pt x="336" y="72"/>
                    </a:cubicBezTo>
                    <a:cubicBezTo>
                      <a:pt x="335" y="70"/>
                      <a:pt x="334" y="67"/>
                      <a:pt x="336" y="64"/>
                    </a:cubicBezTo>
                    <a:lnTo>
                      <a:pt x="354" y="28"/>
                    </a:lnTo>
                    <a:lnTo>
                      <a:pt x="364" y="39"/>
                    </a:lnTo>
                    <a:lnTo>
                      <a:pt x="275" y="75"/>
                    </a:lnTo>
                    <a:cubicBezTo>
                      <a:pt x="273" y="76"/>
                      <a:pt x="270" y="76"/>
                      <a:pt x="268" y="75"/>
                    </a:cubicBezTo>
                    <a:cubicBezTo>
                      <a:pt x="266" y="74"/>
                      <a:pt x="264" y="72"/>
                      <a:pt x="264" y="69"/>
                    </a:cubicBezTo>
                    <a:lnTo>
                      <a:pt x="251" y="10"/>
                    </a:lnTo>
                    <a:lnTo>
                      <a:pt x="267" y="11"/>
                    </a:lnTo>
                    <a:lnTo>
                      <a:pt x="245" y="87"/>
                    </a:lnTo>
                    <a:cubicBezTo>
                      <a:pt x="244" y="90"/>
                      <a:pt x="242" y="92"/>
                      <a:pt x="240" y="93"/>
                    </a:cubicBezTo>
                    <a:cubicBezTo>
                      <a:pt x="237" y="94"/>
                      <a:pt x="235" y="93"/>
                      <a:pt x="233" y="92"/>
                    </a:cubicBezTo>
                    <a:lnTo>
                      <a:pt x="110" y="15"/>
                    </a:lnTo>
                    <a:lnTo>
                      <a:pt x="122" y="8"/>
                    </a:lnTo>
                    <a:lnTo>
                      <a:pt x="125" y="55"/>
                    </a:lnTo>
                    <a:cubicBezTo>
                      <a:pt x="125" y="58"/>
                      <a:pt x="124" y="61"/>
                      <a:pt x="121" y="63"/>
                    </a:cubicBezTo>
                    <a:cubicBezTo>
                      <a:pt x="118" y="64"/>
                      <a:pt x="115" y="64"/>
                      <a:pt x="113" y="62"/>
                    </a:cubicBezTo>
                    <a:lnTo>
                      <a:pt x="76" y="38"/>
                    </a:lnTo>
                    <a:lnTo>
                      <a:pt x="89" y="29"/>
                    </a:lnTo>
                    <a:lnTo>
                      <a:pt x="104" y="74"/>
                    </a:lnTo>
                    <a:cubicBezTo>
                      <a:pt x="105" y="77"/>
                      <a:pt x="104" y="80"/>
                      <a:pt x="102" y="82"/>
                    </a:cubicBezTo>
                    <a:cubicBezTo>
                      <a:pt x="100" y="84"/>
                      <a:pt x="97" y="85"/>
                      <a:pt x="95" y="84"/>
                    </a:cubicBezTo>
                    <a:lnTo>
                      <a:pt x="7" y="67"/>
                    </a:lnTo>
                    <a:close/>
                    <a:moveTo>
                      <a:pt x="98" y="69"/>
                    </a:moveTo>
                    <a:lnTo>
                      <a:pt x="89" y="79"/>
                    </a:lnTo>
                    <a:lnTo>
                      <a:pt x="73" y="34"/>
                    </a:lnTo>
                    <a:cubicBezTo>
                      <a:pt x="72" y="30"/>
                      <a:pt x="73" y="27"/>
                      <a:pt x="76" y="25"/>
                    </a:cubicBezTo>
                    <a:cubicBezTo>
                      <a:pt x="79" y="23"/>
                      <a:pt x="83" y="23"/>
                      <a:pt x="85" y="25"/>
                    </a:cubicBezTo>
                    <a:lnTo>
                      <a:pt x="122" y="49"/>
                    </a:lnTo>
                    <a:lnTo>
                      <a:pt x="109" y="56"/>
                    </a:lnTo>
                    <a:lnTo>
                      <a:pt x="106" y="9"/>
                    </a:lnTo>
                    <a:cubicBezTo>
                      <a:pt x="106" y="6"/>
                      <a:pt x="108" y="3"/>
                      <a:pt x="110" y="2"/>
                    </a:cubicBezTo>
                    <a:cubicBezTo>
                      <a:pt x="113" y="0"/>
                      <a:pt x="116" y="0"/>
                      <a:pt x="119" y="2"/>
                    </a:cubicBezTo>
                    <a:lnTo>
                      <a:pt x="241" y="78"/>
                    </a:lnTo>
                    <a:lnTo>
                      <a:pt x="229" y="83"/>
                    </a:lnTo>
                    <a:lnTo>
                      <a:pt x="252" y="6"/>
                    </a:lnTo>
                    <a:cubicBezTo>
                      <a:pt x="253" y="3"/>
                      <a:pt x="256" y="0"/>
                      <a:pt x="260" y="0"/>
                    </a:cubicBezTo>
                    <a:cubicBezTo>
                      <a:pt x="263" y="1"/>
                      <a:pt x="266" y="3"/>
                      <a:pt x="267" y="7"/>
                    </a:cubicBezTo>
                    <a:lnTo>
                      <a:pt x="280" y="66"/>
                    </a:lnTo>
                    <a:lnTo>
                      <a:pt x="269" y="60"/>
                    </a:lnTo>
                    <a:lnTo>
                      <a:pt x="358" y="24"/>
                    </a:lnTo>
                    <a:cubicBezTo>
                      <a:pt x="361" y="22"/>
                      <a:pt x="365" y="23"/>
                      <a:pt x="367" y="26"/>
                    </a:cubicBezTo>
                    <a:cubicBezTo>
                      <a:pt x="369" y="28"/>
                      <a:pt x="370" y="32"/>
                      <a:pt x="368" y="35"/>
                    </a:cubicBezTo>
                    <a:lnTo>
                      <a:pt x="350" y="71"/>
                    </a:lnTo>
                    <a:lnTo>
                      <a:pt x="343" y="60"/>
                    </a:lnTo>
                    <a:lnTo>
                      <a:pt x="451" y="58"/>
                    </a:lnTo>
                    <a:cubicBezTo>
                      <a:pt x="454" y="58"/>
                      <a:pt x="457" y="59"/>
                      <a:pt x="458" y="62"/>
                    </a:cubicBezTo>
                    <a:lnTo>
                      <a:pt x="479" y="93"/>
                    </a:lnTo>
                    <a:cubicBezTo>
                      <a:pt x="481" y="96"/>
                      <a:pt x="481" y="101"/>
                      <a:pt x="478" y="103"/>
                    </a:cubicBezTo>
                    <a:lnTo>
                      <a:pt x="404" y="170"/>
                    </a:lnTo>
                    <a:cubicBezTo>
                      <a:pt x="403" y="171"/>
                      <a:pt x="402" y="171"/>
                      <a:pt x="401" y="171"/>
                    </a:cubicBezTo>
                    <a:lnTo>
                      <a:pt x="287" y="208"/>
                    </a:lnTo>
                    <a:cubicBezTo>
                      <a:pt x="285" y="209"/>
                      <a:pt x="283" y="209"/>
                      <a:pt x="282" y="208"/>
                    </a:cubicBezTo>
                    <a:lnTo>
                      <a:pt x="112" y="149"/>
                    </a:lnTo>
                    <a:cubicBezTo>
                      <a:pt x="108" y="148"/>
                      <a:pt x="106" y="144"/>
                      <a:pt x="106" y="141"/>
                    </a:cubicBezTo>
                    <a:cubicBezTo>
                      <a:pt x="107" y="137"/>
                      <a:pt x="109" y="134"/>
                      <a:pt x="112" y="133"/>
                    </a:cubicBezTo>
                    <a:lnTo>
                      <a:pt x="220" y="105"/>
                    </a:lnTo>
                    <a:lnTo>
                      <a:pt x="222" y="121"/>
                    </a:lnTo>
                    <a:lnTo>
                      <a:pt x="50" y="123"/>
                    </a:lnTo>
                    <a:cubicBezTo>
                      <a:pt x="48" y="123"/>
                      <a:pt x="46" y="122"/>
                      <a:pt x="45" y="121"/>
                    </a:cubicBezTo>
                    <a:lnTo>
                      <a:pt x="27" y="103"/>
                    </a:lnTo>
                    <a:cubicBezTo>
                      <a:pt x="25" y="101"/>
                      <a:pt x="24" y="99"/>
                      <a:pt x="24" y="96"/>
                    </a:cubicBezTo>
                    <a:cubicBezTo>
                      <a:pt x="25" y="94"/>
                      <a:pt x="26" y="92"/>
                      <a:pt x="29" y="90"/>
                    </a:cubicBezTo>
                    <a:lnTo>
                      <a:pt x="73" y="68"/>
                    </a:lnTo>
                    <a:lnTo>
                      <a:pt x="75" y="83"/>
                    </a:lnTo>
                    <a:lnTo>
                      <a:pt x="7" y="67"/>
                    </a:lnTo>
                    <a:cubicBezTo>
                      <a:pt x="2" y="66"/>
                      <a:pt x="0" y="62"/>
                      <a:pt x="1" y="57"/>
                    </a:cubicBezTo>
                    <a:cubicBezTo>
                      <a:pt x="2" y="53"/>
                      <a:pt x="6" y="50"/>
                      <a:pt x="10" y="51"/>
                    </a:cubicBezTo>
                    <a:lnTo>
                      <a:pt x="98" y="69"/>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45" name="Freeform 301"/>
              <p:cNvSpPr>
                <a:spLocks/>
              </p:cNvSpPr>
              <p:nvPr/>
            </p:nvSpPr>
            <p:spPr bwMode="auto">
              <a:xfrm>
                <a:off x="3033" y="796"/>
                <a:ext cx="56" cy="26"/>
              </a:xfrm>
              <a:custGeom>
                <a:avLst/>
                <a:gdLst/>
                <a:ahLst/>
                <a:cxnLst>
                  <a:cxn ang="0">
                    <a:pos x="0" y="21"/>
                  </a:cxn>
                  <a:cxn ang="0">
                    <a:pos x="5" y="7"/>
                  </a:cxn>
                  <a:cxn ang="0">
                    <a:pos x="28" y="0"/>
                  </a:cxn>
                  <a:cxn ang="0">
                    <a:pos x="32" y="7"/>
                  </a:cxn>
                  <a:cxn ang="0">
                    <a:pos x="56" y="14"/>
                  </a:cxn>
                  <a:cxn ang="0">
                    <a:pos x="23" y="26"/>
                  </a:cxn>
                  <a:cxn ang="0">
                    <a:pos x="28" y="19"/>
                  </a:cxn>
                  <a:cxn ang="0">
                    <a:pos x="0" y="21"/>
                  </a:cxn>
                </a:cxnLst>
                <a:rect l="0" t="0" r="r" b="b"/>
                <a:pathLst>
                  <a:path w="56" h="26">
                    <a:moveTo>
                      <a:pt x="0" y="21"/>
                    </a:moveTo>
                    <a:lnTo>
                      <a:pt x="5" y="7"/>
                    </a:lnTo>
                    <a:lnTo>
                      <a:pt x="28" y="0"/>
                    </a:lnTo>
                    <a:lnTo>
                      <a:pt x="32" y="7"/>
                    </a:lnTo>
                    <a:lnTo>
                      <a:pt x="56" y="14"/>
                    </a:lnTo>
                    <a:lnTo>
                      <a:pt x="23" y="26"/>
                    </a:lnTo>
                    <a:lnTo>
                      <a:pt x="28" y="19"/>
                    </a:lnTo>
                    <a:lnTo>
                      <a:pt x="0" y="2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46" name="Freeform 302"/>
              <p:cNvSpPr>
                <a:spLocks noEditPoints="1"/>
              </p:cNvSpPr>
              <p:nvPr/>
            </p:nvSpPr>
            <p:spPr bwMode="auto">
              <a:xfrm>
                <a:off x="3031" y="794"/>
                <a:ext cx="61" cy="30"/>
              </a:xfrm>
              <a:custGeom>
                <a:avLst/>
                <a:gdLst/>
                <a:ahLst/>
                <a:cxnLst>
                  <a:cxn ang="0">
                    <a:pos x="9" y="107"/>
                  </a:cxn>
                  <a:cxn ang="0">
                    <a:pos x="2" y="104"/>
                  </a:cxn>
                  <a:cxn ang="0">
                    <a:pos x="1" y="97"/>
                  </a:cxn>
                  <a:cxn ang="0">
                    <a:pos x="17" y="39"/>
                  </a:cxn>
                  <a:cxn ang="0">
                    <a:pos x="22" y="34"/>
                  </a:cxn>
                  <a:cxn ang="0">
                    <a:pos x="101" y="2"/>
                  </a:cxn>
                  <a:cxn ang="0">
                    <a:pos x="111" y="6"/>
                  </a:cxn>
                  <a:cxn ang="0">
                    <a:pos x="125" y="38"/>
                  </a:cxn>
                  <a:cxn ang="0">
                    <a:pos x="120" y="33"/>
                  </a:cxn>
                  <a:cxn ang="0">
                    <a:pos x="203" y="60"/>
                  </a:cxn>
                  <a:cxn ang="0">
                    <a:pos x="208" y="67"/>
                  </a:cxn>
                  <a:cxn ang="0">
                    <a:pos x="204" y="75"/>
                  </a:cxn>
                  <a:cxn ang="0">
                    <a:pos x="87" y="129"/>
                  </a:cxn>
                  <a:cxn ang="0">
                    <a:pos x="77" y="127"/>
                  </a:cxn>
                  <a:cxn ang="0">
                    <a:pos x="77" y="117"/>
                  </a:cxn>
                  <a:cxn ang="0">
                    <a:pos x="97" y="88"/>
                  </a:cxn>
                  <a:cxn ang="0">
                    <a:pos x="104" y="101"/>
                  </a:cxn>
                  <a:cxn ang="0">
                    <a:pos x="9" y="107"/>
                  </a:cxn>
                  <a:cxn ang="0">
                    <a:pos x="103" y="85"/>
                  </a:cxn>
                  <a:cxn ang="0">
                    <a:pos x="111" y="89"/>
                  </a:cxn>
                  <a:cxn ang="0">
                    <a:pos x="110" y="98"/>
                  </a:cxn>
                  <a:cxn ang="0">
                    <a:pos x="90" y="126"/>
                  </a:cxn>
                  <a:cxn ang="0">
                    <a:pos x="80" y="114"/>
                  </a:cxn>
                  <a:cxn ang="0">
                    <a:pos x="197" y="61"/>
                  </a:cxn>
                  <a:cxn ang="0">
                    <a:pos x="198" y="75"/>
                  </a:cxn>
                  <a:cxn ang="0">
                    <a:pos x="115" y="49"/>
                  </a:cxn>
                  <a:cxn ang="0">
                    <a:pos x="110" y="44"/>
                  </a:cxn>
                  <a:cxn ang="0">
                    <a:pos x="96" y="13"/>
                  </a:cxn>
                  <a:cxn ang="0">
                    <a:pos x="107" y="17"/>
                  </a:cxn>
                  <a:cxn ang="0">
                    <a:pos x="28" y="48"/>
                  </a:cxn>
                  <a:cxn ang="0">
                    <a:pos x="32" y="43"/>
                  </a:cxn>
                  <a:cxn ang="0">
                    <a:pos x="16" y="102"/>
                  </a:cxn>
                  <a:cxn ang="0">
                    <a:pos x="8" y="91"/>
                  </a:cxn>
                  <a:cxn ang="0">
                    <a:pos x="103" y="85"/>
                  </a:cxn>
                </a:cxnLst>
                <a:rect l="0" t="0" r="r" b="b"/>
                <a:pathLst>
                  <a:path w="209" h="130">
                    <a:moveTo>
                      <a:pt x="9" y="107"/>
                    </a:moveTo>
                    <a:cubicBezTo>
                      <a:pt x="6" y="108"/>
                      <a:pt x="4" y="106"/>
                      <a:pt x="2" y="104"/>
                    </a:cubicBezTo>
                    <a:cubicBezTo>
                      <a:pt x="1" y="102"/>
                      <a:pt x="0" y="100"/>
                      <a:pt x="1" y="97"/>
                    </a:cubicBezTo>
                    <a:lnTo>
                      <a:pt x="17" y="39"/>
                    </a:lnTo>
                    <a:cubicBezTo>
                      <a:pt x="18" y="36"/>
                      <a:pt x="19" y="35"/>
                      <a:pt x="22" y="34"/>
                    </a:cubicBezTo>
                    <a:lnTo>
                      <a:pt x="101" y="2"/>
                    </a:lnTo>
                    <a:cubicBezTo>
                      <a:pt x="105" y="0"/>
                      <a:pt x="109" y="2"/>
                      <a:pt x="111" y="6"/>
                    </a:cubicBezTo>
                    <a:lnTo>
                      <a:pt x="125" y="38"/>
                    </a:lnTo>
                    <a:lnTo>
                      <a:pt x="120" y="33"/>
                    </a:lnTo>
                    <a:lnTo>
                      <a:pt x="203" y="60"/>
                    </a:lnTo>
                    <a:cubicBezTo>
                      <a:pt x="206" y="61"/>
                      <a:pt x="208" y="64"/>
                      <a:pt x="208" y="67"/>
                    </a:cubicBezTo>
                    <a:cubicBezTo>
                      <a:pt x="209" y="71"/>
                      <a:pt x="207" y="74"/>
                      <a:pt x="204" y="75"/>
                    </a:cubicBezTo>
                    <a:lnTo>
                      <a:pt x="87" y="129"/>
                    </a:lnTo>
                    <a:cubicBezTo>
                      <a:pt x="84" y="130"/>
                      <a:pt x="80" y="129"/>
                      <a:pt x="77" y="127"/>
                    </a:cubicBezTo>
                    <a:cubicBezTo>
                      <a:pt x="75" y="124"/>
                      <a:pt x="75" y="120"/>
                      <a:pt x="77" y="117"/>
                    </a:cubicBezTo>
                    <a:lnTo>
                      <a:pt x="97" y="88"/>
                    </a:lnTo>
                    <a:lnTo>
                      <a:pt x="104" y="101"/>
                    </a:lnTo>
                    <a:lnTo>
                      <a:pt x="9" y="107"/>
                    </a:lnTo>
                    <a:close/>
                    <a:moveTo>
                      <a:pt x="103" y="85"/>
                    </a:moveTo>
                    <a:cubicBezTo>
                      <a:pt x="106" y="85"/>
                      <a:pt x="109" y="86"/>
                      <a:pt x="111" y="89"/>
                    </a:cubicBezTo>
                    <a:cubicBezTo>
                      <a:pt x="112" y="92"/>
                      <a:pt x="112" y="95"/>
                      <a:pt x="110" y="98"/>
                    </a:cubicBezTo>
                    <a:lnTo>
                      <a:pt x="90" y="126"/>
                    </a:lnTo>
                    <a:lnTo>
                      <a:pt x="80" y="114"/>
                    </a:lnTo>
                    <a:lnTo>
                      <a:pt x="197" y="61"/>
                    </a:lnTo>
                    <a:lnTo>
                      <a:pt x="198" y="75"/>
                    </a:lnTo>
                    <a:lnTo>
                      <a:pt x="115" y="49"/>
                    </a:lnTo>
                    <a:cubicBezTo>
                      <a:pt x="113" y="48"/>
                      <a:pt x="111" y="46"/>
                      <a:pt x="110" y="44"/>
                    </a:cubicBezTo>
                    <a:lnTo>
                      <a:pt x="96" y="13"/>
                    </a:lnTo>
                    <a:lnTo>
                      <a:pt x="107" y="17"/>
                    </a:lnTo>
                    <a:lnTo>
                      <a:pt x="28" y="48"/>
                    </a:lnTo>
                    <a:lnTo>
                      <a:pt x="32" y="43"/>
                    </a:lnTo>
                    <a:lnTo>
                      <a:pt x="16" y="102"/>
                    </a:lnTo>
                    <a:lnTo>
                      <a:pt x="8" y="91"/>
                    </a:lnTo>
                    <a:lnTo>
                      <a:pt x="103" y="85"/>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47" name="Freeform 303"/>
              <p:cNvSpPr>
                <a:spLocks/>
              </p:cNvSpPr>
              <p:nvPr/>
            </p:nvSpPr>
            <p:spPr bwMode="auto">
              <a:xfrm>
                <a:off x="2899" y="1030"/>
                <a:ext cx="181" cy="278"/>
              </a:xfrm>
              <a:custGeom>
                <a:avLst/>
                <a:gdLst/>
                <a:ahLst/>
                <a:cxnLst>
                  <a:cxn ang="0">
                    <a:pos x="0" y="209"/>
                  </a:cxn>
                  <a:cxn ang="0">
                    <a:pos x="7" y="241"/>
                  </a:cxn>
                  <a:cxn ang="0">
                    <a:pos x="23" y="256"/>
                  </a:cxn>
                  <a:cxn ang="0">
                    <a:pos x="21" y="278"/>
                  </a:cxn>
                  <a:cxn ang="0">
                    <a:pos x="65" y="264"/>
                  </a:cxn>
                  <a:cxn ang="0">
                    <a:pos x="77" y="220"/>
                  </a:cxn>
                  <a:cxn ang="0">
                    <a:pos x="69" y="218"/>
                  </a:cxn>
                  <a:cxn ang="0">
                    <a:pos x="101" y="204"/>
                  </a:cxn>
                  <a:cxn ang="0">
                    <a:pos x="70" y="201"/>
                  </a:cxn>
                  <a:cxn ang="0">
                    <a:pos x="94" y="204"/>
                  </a:cxn>
                  <a:cxn ang="0">
                    <a:pos x="107" y="193"/>
                  </a:cxn>
                  <a:cxn ang="0">
                    <a:pos x="88" y="179"/>
                  </a:cxn>
                  <a:cxn ang="0">
                    <a:pos x="70" y="189"/>
                  </a:cxn>
                  <a:cxn ang="0">
                    <a:pos x="84" y="180"/>
                  </a:cxn>
                  <a:cxn ang="0">
                    <a:pos x="85" y="140"/>
                  </a:cxn>
                  <a:cxn ang="0">
                    <a:pos x="146" y="102"/>
                  </a:cxn>
                  <a:cxn ang="0">
                    <a:pos x="141" y="94"/>
                  </a:cxn>
                  <a:cxn ang="0">
                    <a:pos x="152" y="75"/>
                  </a:cxn>
                  <a:cxn ang="0">
                    <a:pos x="181" y="69"/>
                  </a:cxn>
                  <a:cxn ang="0">
                    <a:pos x="174" y="24"/>
                  </a:cxn>
                  <a:cxn ang="0">
                    <a:pos x="132" y="0"/>
                  </a:cxn>
                  <a:cxn ang="0">
                    <a:pos x="126" y="0"/>
                  </a:cxn>
                  <a:cxn ang="0">
                    <a:pos x="125" y="15"/>
                  </a:cxn>
                  <a:cxn ang="0">
                    <a:pos x="99" y="13"/>
                  </a:cxn>
                  <a:cxn ang="0">
                    <a:pos x="94" y="24"/>
                  </a:cxn>
                  <a:cxn ang="0">
                    <a:pos x="76" y="27"/>
                  </a:cxn>
                  <a:cxn ang="0">
                    <a:pos x="72" y="45"/>
                  </a:cxn>
                  <a:cxn ang="0">
                    <a:pos x="47" y="67"/>
                  </a:cxn>
                  <a:cxn ang="0">
                    <a:pos x="35" y="96"/>
                  </a:cxn>
                  <a:cxn ang="0">
                    <a:pos x="41" y="108"/>
                  </a:cxn>
                  <a:cxn ang="0">
                    <a:pos x="14" y="118"/>
                  </a:cxn>
                  <a:cxn ang="0">
                    <a:pos x="14" y="157"/>
                  </a:cxn>
                  <a:cxn ang="0">
                    <a:pos x="21" y="165"/>
                  </a:cxn>
                  <a:cxn ang="0">
                    <a:pos x="14" y="173"/>
                  </a:cxn>
                  <a:cxn ang="0">
                    <a:pos x="16" y="190"/>
                  </a:cxn>
                  <a:cxn ang="0">
                    <a:pos x="0" y="209"/>
                  </a:cxn>
                </a:cxnLst>
                <a:rect l="0" t="0" r="r" b="b"/>
                <a:pathLst>
                  <a:path w="181" h="278">
                    <a:moveTo>
                      <a:pt x="0" y="209"/>
                    </a:moveTo>
                    <a:lnTo>
                      <a:pt x="7" y="241"/>
                    </a:lnTo>
                    <a:lnTo>
                      <a:pt x="23" y="256"/>
                    </a:lnTo>
                    <a:lnTo>
                      <a:pt x="21" y="278"/>
                    </a:lnTo>
                    <a:lnTo>
                      <a:pt x="65" y="264"/>
                    </a:lnTo>
                    <a:lnTo>
                      <a:pt x="77" y="220"/>
                    </a:lnTo>
                    <a:lnTo>
                      <a:pt x="69" y="218"/>
                    </a:lnTo>
                    <a:lnTo>
                      <a:pt x="101" y="204"/>
                    </a:lnTo>
                    <a:lnTo>
                      <a:pt x="70" y="201"/>
                    </a:lnTo>
                    <a:lnTo>
                      <a:pt x="94" y="204"/>
                    </a:lnTo>
                    <a:lnTo>
                      <a:pt x="107" y="193"/>
                    </a:lnTo>
                    <a:lnTo>
                      <a:pt x="88" y="179"/>
                    </a:lnTo>
                    <a:lnTo>
                      <a:pt x="70" y="189"/>
                    </a:lnTo>
                    <a:lnTo>
                      <a:pt x="84" y="180"/>
                    </a:lnTo>
                    <a:lnTo>
                      <a:pt x="85" y="140"/>
                    </a:lnTo>
                    <a:lnTo>
                      <a:pt x="146" y="102"/>
                    </a:lnTo>
                    <a:lnTo>
                      <a:pt x="141" y="94"/>
                    </a:lnTo>
                    <a:lnTo>
                      <a:pt x="152" y="75"/>
                    </a:lnTo>
                    <a:lnTo>
                      <a:pt x="181" y="69"/>
                    </a:lnTo>
                    <a:lnTo>
                      <a:pt x="174" y="24"/>
                    </a:lnTo>
                    <a:lnTo>
                      <a:pt x="132" y="0"/>
                    </a:lnTo>
                    <a:lnTo>
                      <a:pt x="126" y="0"/>
                    </a:lnTo>
                    <a:lnTo>
                      <a:pt x="125" y="15"/>
                    </a:lnTo>
                    <a:lnTo>
                      <a:pt x="99" y="13"/>
                    </a:lnTo>
                    <a:lnTo>
                      <a:pt x="94" y="24"/>
                    </a:lnTo>
                    <a:lnTo>
                      <a:pt x="76" y="27"/>
                    </a:lnTo>
                    <a:lnTo>
                      <a:pt x="72" y="45"/>
                    </a:lnTo>
                    <a:lnTo>
                      <a:pt x="47" y="67"/>
                    </a:lnTo>
                    <a:lnTo>
                      <a:pt x="35" y="96"/>
                    </a:lnTo>
                    <a:lnTo>
                      <a:pt x="41" y="108"/>
                    </a:lnTo>
                    <a:lnTo>
                      <a:pt x="14" y="118"/>
                    </a:lnTo>
                    <a:lnTo>
                      <a:pt x="14" y="157"/>
                    </a:lnTo>
                    <a:lnTo>
                      <a:pt x="21" y="165"/>
                    </a:lnTo>
                    <a:lnTo>
                      <a:pt x="14" y="173"/>
                    </a:lnTo>
                    <a:lnTo>
                      <a:pt x="16" y="190"/>
                    </a:lnTo>
                    <a:lnTo>
                      <a:pt x="0" y="209"/>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48" name="Freeform 304"/>
              <p:cNvSpPr>
                <a:spLocks noEditPoints="1"/>
              </p:cNvSpPr>
              <p:nvPr/>
            </p:nvSpPr>
            <p:spPr bwMode="auto">
              <a:xfrm>
                <a:off x="2897" y="1028"/>
                <a:ext cx="186" cy="282"/>
              </a:xfrm>
              <a:custGeom>
                <a:avLst/>
                <a:gdLst/>
                <a:ahLst/>
                <a:cxnLst>
                  <a:cxn ang="0">
                    <a:pos x="42" y="1060"/>
                  </a:cxn>
                  <a:cxn ang="0">
                    <a:pos x="96" y="1129"/>
                  </a:cxn>
                  <a:cxn ang="0">
                    <a:pos x="231" y="1152"/>
                  </a:cxn>
                  <a:cxn ang="0">
                    <a:pos x="272" y="975"/>
                  </a:cxn>
                  <a:cxn ang="0">
                    <a:pos x="242" y="954"/>
                  </a:cxn>
                  <a:cxn ang="0">
                    <a:pos x="249" y="896"/>
                  </a:cxn>
                  <a:cxn ang="0">
                    <a:pos x="326" y="896"/>
                  </a:cxn>
                  <a:cxn ang="0">
                    <a:pos x="305" y="796"/>
                  </a:cxn>
                  <a:cxn ang="0">
                    <a:pos x="242" y="838"/>
                  </a:cxn>
                  <a:cxn ang="0">
                    <a:pos x="291" y="795"/>
                  </a:cxn>
                  <a:cxn ang="0">
                    <a:pos x="506" y="447"/>
                  </a:cxn>
                  <a:cxn ang="0">
                    <a:pos x="488" y="413"/>
                  </a:cxn>
                  <a:cxn ang="0">
                    <a:pos x="630" y="299"/>
                  </a:cxn>
                  <a:cxn ang="0">
                    <a:pos x="603" y="116"/>
                  </a:cxn>
                  <a:cxn ang="0">
                    <a:pos x="442" y="16"/>
                  </a:cxn>
                  <a:cxn ang="0">
                    <a:pos x="446" y="79"/>
                  </a:cxn>
                  <a:cxn ang="0">
                    <a:pos x="358" y="64"/>
                  </a:cxn>
                  <a:cxn ang="0">
                    <a:pos x="274" y="132"/>
                  </a:cxn>
                  <a:cxn ang="0">
                    <a:pos x="261" y="210"/>
                  </a:cxn>
                  <a:cxn ang="0">
                    <a:pos x="138" y="431"/>
                  </a:cxn>
                  <a:cxn ang="0">
                    <a:pos x="152" y="489"/>
                  </a:cxn>
                  <a:cxn ang="0">
                    <a:pos x="63" y="692"/>
                  </a:cxn>
                  <a:cxn ang="0">
                    <a:pos x="86" y="731"/>
                  </a:cxn>
                  <a:cxn ang="0">
                    <a:pos x="72" y="835"/>
                  </a:cxn>
                  <a:cxn ang="0">
                    <a:pos x="58" y="832"/>
                  </a:cxn>
                  <a:cxn ang="0">
                    <a:pos x="48" y="757"/>
                  </a:cxn>
                  <a:cxn ang="0">
                    <a:pos x="48" y="697"/>
                  </a:cxn>
                  <a:cxn ang="0">
                    <a:pos x="54" y="515"/>
                  </a:cxn>
                  <a:cxn ang="0">
                    <a:pos x="123" y="431"/>
                  </a:cxn>
                  <a:cxn ang="0">
                    <a:pos x="164" y="293"/>
                  </a:cxn>
                  <a:cxn ang="0">
                    <a:pos x="264" y="123"/>
                  </a:cxn>
                  <a:cxn ang="0">
                    <a:pos x="325" y="107"/>
                  </a:cxn>
                  <a:cxn ang="0">
                    <a:pos x="441" y="65"/>
                  </a:cxn>
                  <a:cxn ang="0">
                    <a:pos x="442" y="0"/>
                  </a:cxn>
                  <a:cxn ang="0">
                    <a:pos x="612" y="103"/>
                  </a:cxn>
                  <a:cxn ang="0">
                    <a:pos x="635" y="315"/>
                  </a:cxn>
                  <a:cxn ang="0">
                    <a:pos x="502" y="420"/>
                  </a:cxn>
                  <a:cxn ang="0">
                    <a:pos x="515" y="459"/>
                  </a:cxn>
                  <a:cxn ang="0">
                    <a:pos x="307" y="795"/>
                  </a:cxn>
                  <a:cxn ang="0">
                    <a:pos x="244" y="826"/>
                  </a:cxn>
                  <a:cxn ang="0">
                    <a:pos x="383" y="845"/>
                  </a:cxn>
                  <a:cxn ang="0">
                    <a:pos x="331" y="909"/>
                  </a:cxn>
                  <a:cxn ang="0">
                    <a:pos x="251" y="880"/>
                  </a:cxn>
                  <a:cxn ang="0">
                    <a:pos x="361" y="908"/>
                  </a:cxn>
                  <a:cxn ang="0">
                    <a:pos x="275" y="960"/>
                  </a:cxn>
                  <a:cxn ang="0">
                    <a:pos x="237" y="1167"/>
                  </a:cxn>
                  <a:cxn ang="0">
                    <a:pos x="73" y="1224"/>
                  </a:cxn>
                  <a:cxn ang="0">
                    <a:pos x="28" y="1067"/>
                  </a:cxn>
                  <a:cxn ang="0">
                    <a:pos x="2" y="918"/>
                  </a:cxn>
                </a:cxnLst>
                <a:rect l="0" t="0" r="r" b="b"/>
                <a:pathLst>
                  <a:path w="641" h="1233">
                    <a:moveTo>
                      <a:pt x="15" y="927"/>
                    </a:moveTo>
                    <a:lnTo>
                      <a:pt x="16" y="921"/>
                    </a:lnTo>
                    <a:lnTo>
                      <a:pt x="42" y="1060"/>
                    </a:lnTo>
                    <a:lnTo>
                      <a:pt x="40" y="1057"/>
                    </a:lnTo>
                    <a:lnTo>
                      <a:pt x="95" y="1123"/>
                    </a:lnTo>
                    <a:cubicBezTo>
                      <a:pt x="96" y="1125"/>
                      <a:pt x="97" y="1127"/>
                      <a:pt x="96" y="1129"/>
                    </a:cubicBezTo>
                    <a:lnTo>
                      <a:pt x="89" y="1225"/>
                    </a:lnTo>
                    <a:lnTo>
                      <a:pt x="78" y="1217"/>
                    </a:lnTo>
                    <a:lnTo>
                      <a:pt x="231" y="1152"/>
                    </a:lnTo>
                    <a:lnTo>
                      <a:pt x="226" y="1158"/>
                    </a:lnTo>
                    <a:lnTo>
                      <a:pt x="266" y="966"/>
                    </a:lnTo>
                    <a:lnTo>
                      <a:pt x="272" y="975"/>
                    </a:lnTo>
                    <a:lnTo>
                      <a:pt x="244" y="968"/>
                    </a:lnTo>
                    <a:cubicBezTo>
                      <a:pt x="240" y="968"/>
                      <a:pt x="238" y="965"/>
                      <a:pt x="238" y="962"/>
                    </a:cubicBezTo>
                    <a:cubicBezTo>
                      <a:pt x="237" y="958"/>
                      <a:pt x="239" y="955"/>
                      <a:pt x="242" y="954"/>
                    </a:cubicBezTo>
                    <a:lnTo>
                      <a:pt x="354" y="894"/>
                    </a:lnTo>
                    <a:lnTo>
                      <a:pt x="357" y="909"/>
                    </a:lnTo>
                    <a:lnTo>
                      <a:pt x="249" y="896"/>
                    </a:lnTo>
                    <a:lnTo>
                      <a:pt x="251" y="880"/>
                    </a:lnTo>
                    <a:lnTo>
                      <a:pt x="334" y="893"/>
                    </a:lnTo>
                    <a:lnTo>
                      <a:pt x="326" y="896"/>
                    </a:lnTo>
                    <a:lnTo>
                      <a:pt x="371" y="846"/>
                    </a:lnTo>
                    <a:lnTo>
                      <a:pt x="372" y="857"/>
                    </a:lnTo>
                    <a:lnTo>
                      <a:pt x="305" y="796"/>
                    </a:lnTo>
                    <a:lnTo>
                      <a:pt x="315" y="796"/>
                    </a:lnTo>
                    <a:lnTo>
                      <a:pt x="253" y="840"/>
                    </a:lnTo>
                    <a:cubicBezTo>
                      <a:pt x="249" y="842"/>
                      <a:pt x="244" y="841"/>
                      <a:pt x="242" y="838"/>
                    </a:cubicBezTo>
                    <a:cubicBezTo>
                      <a:pt x="239" y="834"/>
                      <a:pt x="240" y="829"/>
                      <a:pt x="243" y="827"/>
                    </a:cubicBezTo>
                    <a:lnTo>
                      <a:pt x="294" y="788"/>
                    </a:lnTo>
                    <a:lnTo>
                      <a:pt x="291" y="795"/>
                    </a:lnTo>
                    <a:lnTo>
                      <a:pt x="292" y="619"/>
                    </a:lnTo>
                    <a:cubicBezTo>
                      <a:pt x="292" y="616"/>
                      <a:pt x="293" y="614"/>
                      <a:pt x="295" y="613"/>
                    </a:cubicBezTo>
                    <a:lnTo>
                      <a:pt x="506" y="447"/>
                    </a:lnTo>
                    <a:lnTo>
                      <a:pt x="503" y="456"/>
                    </a:lnTo>
                    <a:lnTo>
                      <a:pt x="488" y="420"/>
                    </a:lnTo>
                    <a:cubicBezTo>
                      <a:pt x="487" y="418"/>
                      <a:pt x="487" y="415"/>
                      <a:pt x="488" y="413"/>
                    </a:cubicBezTo>
                    <a:lnTo>
                      <a:pt x="524" y="330"/>
                    </a:lnTo>
                    <a:cubicBezTo>
                      <a:pt x="525" y="328"/>
                      <a:pt x="527" y="326"/>
                      <a:pt x="529" y="326"/>
                    </a:cubicBezTo>
                    <a:lnTo>
                      <a:pt x="630" y="299"/>
                    </a:lnTo>
                    <a:lnTo>
                      <a:pt x="625" y="308"/>
                    </a:lnTo>
                    <a:lnTo>
                      <a:pt x="599" y="111"/>
                    </a:lnTo>
                    <a:lnTo>
                      <a:pt x="603" y="116"/>
                    </a:lnTo>
                    <a:lnTo>
                      <a:pt x="460" y="15"/>
                    </a:lnTo>
                    <a:lnTo>
                      <a:pt x="464" y="16"/>
                    </a:lnTo>
                    <a:lnTo>
                      <a:pt x="442" y="16"/>
                    </a:lnTo>
                    <a:lnTo>
                      <a:pt x="450" y="9"/>
                    </a:lnTo>
                    <a:lnTo>
                      <a:pt x="448" y="73"/>
                    </a:lnTo>
                    <a:cubicBezTo>
                      <a:pt x="448" y="76"/>
                      <a:pt x="447" y="78"/>
                      <a:pt x="446" y="79"/>
                    </a:cubicBezTo>
                    <a:cubicBezTo>
                      <a:pt x="444" y="81"/>
                      <a:pt x="442" y="81"/>
                      <a:pt x="439" y="81"/>
                    </a:cubicBezTo>
                    <a:lnTo>
                      <a:pt x="350" y="69"/>
                    </a:lnTo>
                    <a:lnTo>
                      <a:pt x="358" y="64"/>
                    </a:lnTo>
                    <a:lnTo>
                      <a:pt x="340" y="112"/>
                    </a:lnTo>
                    <a:cubicBezTo>
                      <a:pt x="339" y="115"/>
                      <a:pt x="337" y="117"/>
                      <a:pt x="334" y="117"/>
                    </a:cubicBezTo>
                    <a:lnTo>
                      <a:pt x="274" y="132"/>
                    </a:lnTo>
                    <a:lnTo>
                      <a:pt x="280" y="126"/>
                    </a:lnTo>
                    <a:lnTo>
                      <a:pt x="263" y="206"/>
                    </a:lnTo>
                    <a:cubicBezTo>
                      <a:pt x="263" y="207"/>
                      <a:pt x="262" y="209"/>
                      <a:pt x="261" y="210"/>
                    </a:cubicBezTo>
                    <a:lnTo>
                      <a:pt x="176" y="304"/>
                    </a:lnTo>
                    <a:lnTo>
                      <a:pt x="177" y="301"/>
                    </a:lnTo>
                    <a:lnTo>
                      <a:pt x="138" y="431"/>
                    </a:lnTo>
                    <a:lnTo>
                      <a:pt x="138" y="426"/>
                    </a:lnTo>
                    <a:lnTo>
                      <a:pt x="156" y="479"/>
                    </a:lnTo>
                    <a:cubicBezTo>
                      <a:pt x="158" y="483"/>
                      <a:pt x="156" y="487"/>
                      <a:pt x="152" y="489"/>
                    </a:cubicBezTo>
                    <a:lnTo>
                      <a:pt x="61" y="530"/>
                    </a:lnTo>
                    <a:lnTo>
                      <a:pt x="66" y="523"/>
                    </a:lnTo>
                    <a:lnTo>
                      <a:pt x="63" y="692"/>
                    </a:lnTo>
                    <a:lnTo>
                      <a:pt x="61" y="687"/>
                    </a:lnTo>
                    <a:lnTo>
                      <a:pt x="86" y="722"/>
                    </a:lnTo>
                    <a:cubicBezTo>
                      <a:pt x="88" y="725"/>
                      <a:pt x="88" y="729"/>
                      <a:pt x="86" y="731"/>
                    </a:cubicBezTo>
                    <a:lnTo>
                      <a:pt x="61" y="766"/>
                    </a:lnTo>
                    <a:lnTo>
                      <a:pt x="63" y="761"/>
                    </a:lnTo>
                    <a:lnTo>
                      <a:pt x="72" y="835"/>
                    </a:lnTo>
                    <a:cubicBezTo>
                      <a:pt x="73" y="837"/>
                      <a:pt x="72" y="839"/>
                      <a:pt x="71" y="841"/>
                    </a:cubicBezTo>
                    <a:lnTo>
                      <a:pt x="15" y="927"/>
                    </a:lnTo>
                    <a:close/>
                    <a:moveTo>
                      <a:pt x="58" y="832"/>
                    </a:moveTo>
                    <a:lnTo>
                      <a:pt x="57" y="837"/>
                    </a:lnTo>
                    <a:lnTo>
                      <a:pt x="47" y="763"/>
                    </a:lnTo>
                    <a:cubicBezTo>
                      <a:pt x="47" y="761"/>
                      <a:pt x="47" y="759"/>
                      <a:pt x="48" y="757"/>
                    </a:cubicBezTo>
                    <a:lnTo>
                      <a:pt x="73" y="722"/>
                    </a:lnTo>
                    <a:lnTo>
                      <a:pt x="73" y="731"/>
                    </a:lnTo>
                    <a:lnTo>
                      <a:pt x="48" y="697"/>
                    </a:lnTo>
                    <a:cubicBezTo>
                      <a:pt x="47" y="695"/>
                      <a:pt x="47" y="694"/>
                      <a:pt x="47" y="692"/>
                    </a:cubicBezTo>
                    <a:lnTo>
                      <a:pt x="50" y="523"/>
                    </a:lnTo>
                    <a:cubicBezTo>
                      <a:pt x="50" y="520"/>
                      <a:pt x="51" y="517"/>
                      <a:pt x="54" y="515"/>
                    </a:cubicBezTo>
                    <a:lnTo>
                      <a:pt x="145" y="474"/>
                    </a:lnTo>
                    <a:lnTo>
                      <a:pt x="141" y="484"/>
                    </a:lnTo>
                    <a:lnTo>
                      <a:pt x="123" y="431"/>
                    </a:lnTo>
                    <a:cubicBezTo>
                      <a:pt x="122" y="429"/>
                      <a:pt x="122" y="427"/>
                      <a:pt x="123" y="426"/>
                    </a:cubicBezTo>
                    <a:lnTo>
                      <a:pt x="162" y="296"/>
                    </a:lnTo>
                    <a:cubicBezTo>
                      <a:pt x="162" y="295"/>
                      <a:pt x="163" y="294"/>
                      <a:pt x="164" y="293"/>
                    </a:cubicBezTo>
                    <a:lnTo>
                      <a:pt x="249" y="199"/>
                    </a:lnTo>
                    <a:lnTo>
                      <a:pt x="247" y="203"/>
                    </a:lnTo>
                    <a:lnTo>
                      <a:pt x="264" y="123"/>
                    </a:lnTo>
                    <a:cubicBezTo>
                      <a:pt x="265" y="120"/>
                      <a:pt x="267" y="118"/>
                      <a:pt x="270" y="117"/>
                    </a:cubicBezTo>
                    <a:lnTo>
                      <a:pt x="330" y="102"/>
                    </a:lnTo>
                    <a:lnTo>
                      <a:pt x="325" y="107"/>
                    </a:lnTo>
                    <a:lnTo>
                      <a:pt x="343" y="59"/>
                    </a:lnTo>
                    <a:cubicBezTo>
                      <a:pt x="344" y="55"/>
                      <a:pt x="348" y="53"/>
                      <a:pt x="352" y="54"/>
                    </a:cubicBezTo>
                    <a:lnTo>
                      <a:pt x="441" y="65"/>
                    </a:lnTo>
                    <a:lnTo>
                      <a:pt x="432" y="73"/>
                    </a:lnTo>
                    <a:lnTo>
                      <a:pt x="434" y="8"/>
                    </a:lnTo>
                    <a:cubicBezTo>
                      <a:pt x="434" y="4"/>
                      <a:pt x="437" y="0"/>
                      <a:pt x="442" y="0"/>
                    </a:cubicBezTo>
                    <a:lnTo>
                      <a:pt x="464" y="0"/>
                    </a:lnTo>
                    <a:cubicBezTo>
                      <a:pt x="466" y="0"/>
                      <a:pt x="467" y="1"/>
                      <a:pt x="469" y="2"/>
                    </a:cubicBezTo>
                    <a:lnTo>
                      <a:pt x="612" y="103"/>
                    </a:lnTo>
                    <a:cubicBezTo>
                      <a:pt x="614" y="104"/>
                      <a:pt x="615" y="106"/>
                      <a:pt x="615" y="109"/>
                    </a:cubicBezTo>
                    <a:lnTo>
                      <a:pt x="640" y="306"/>
                    </a:lnTo>
                    <a:cubicBezTo>
                      <a:pt x="641" y="310"/>
                      <a:pt x="638" y="314"/>
                      <a:pt x="635" y="315"/>
                    </a:cubicBezTo>
                    <a:lnTo>
                      <a:pt x="534" y="341"/>
                    </a:lnTo>
                    <a:lnTo>
                      <a:pt x="539" y="337"/>
                    </a:lnTo>
                    <a:lnTo>
                      <a:pt x="502" y="420"/>
                    </a:lnTo>
                    <a:lnTo>
                      <a:pt x="502" y="413"/>
                    </a:lnTo>
                    <a:lnTo>
                      <a:pt x="518" y="450"/>
                    </a:lnTo>
                    <a:cubicBezTo>
                      <a:pt x="519" y="453"/>
                      <a:pt x="518" y="457"/>
                      <a:pt x="515" y="459"/>
                    </a:cubicBezTo>
                    <a:lnTo>
                      <a:pt x="305" y="625"/>
                    </a:lnTo>
                    <a:lnTo>
                      <a:pt x="308" y="619"/>
                    </a:lnTo>
                    <a:lnTo>
                      <a:pt x="307" y="795"/>
                    </a:lnTo>
                    <a:cubicBezTo>
                      <a:pt x="307" y="797"/>
                      <a:pt x="306" y="800"/>
                      <a:pt x="304" y="801"/>
                    </a:cubicBezTo>
                    <a:lnTo>
                      <a:pt x="253" y="839"/>
                    </a:lnTo>
                    <a:lnTo>
                      <a:pt x="244" y="826"/>
                    </a:lnTo>
                    <a:lnTo>
                      <a:pt x="305" y="783"/>
                    </a:lnTo>
                    <a:cubicBezTo>
                      <a:pt x="308" y="781"/>
                      <a:pt x="313" y="781"/>
                      <a:pt x="315" y="784"/>
                    </a:cubicBezTo>
                    <a:lnTo>
                      <a:pt x="383" y="845"/>
                    </a:lnTo>
                    <a:cubicBezTo>
                      <a:pt x="386" y="848"/>
                      <a:pt x="386" y="853"/>
                      <a:pt x="383" y="857"/>
                    </a:cubicBezTo>
                    <a:lnTo>
                      <a:pt x="338" y="906"/>
                    </a:lnTo>
                    <a:cubicBezTo>
                      <a:pt x="337" y="908"/>
                      <a:pt x="334" y="909"/>
                      <a:pt x="331" y="909"/>
                    </a:cubicBezTo>
                    <a:lnTo>
                      <a:pt x="248" y="896"/>
                    </a:lnTo>
                    <a:cubicBezTo>
                      <a:pt x="244" y="895"/>
                      <a:pt x="241" y="891"/>
                      <a:pt x="242" y="887"/>
                    </a:cubicBezTo>
                    <a:cubicBezTo>
                      <a:pt x="242" y="882"/>
                      <a:pt x="246" y="879"/>
                      <a:pt x="251" y="880"/>
                    </a:cubicBezTo>
                    <a:lnTo>
                      <a:pt x="359" y="893"/>
                    </a:lnTo>
                    <a:cubicBezTo>
                      <a:pt x="362" y="893"/>
                      <a:pt x="365" y="896"/>
                      <a:pt x="365" y="900"/>
                    </a:cubicBezTo>
                    <a:cubicBezTo>
                      <a:pt x="366" y="903"/>
                      <a:pt x="364" y="906"/>
                      <a:pt x="361" y="908"/>
                    </a:cubicBezTo>
                    <a:lnTo>
                      <a:pt x="249" y="968"/>
                    </a:lnTo>
                    <a:lnTo>
                      <a:pt x="247" y="953"/>
                    </a:lnTo>
                    <a:lnTo>
                      <a:pt x="275" y="960"/>
                    </a:lnTo>
                    <a:cubicBezTo>
                      <a:pt x="280" y="961"/>
                      <a:pt x="282" y="965"/>
                      <a:pt x="281" y="969"/>
                    </a:cubicBezTo>
                    <a:lnTo>
                      <a:pt x="242" y="1161"/>
                    </a:lnTo>
                    <a:cubicBezTo>
                      <a:pt x="242" y="1164"/>
                      <a:pt x="240" y="1166"/>
                      <a:pt x="237" y="1167"/>
                    </a:cubicBezTo>
                    <a:lnTo>
                      <a:pt x="85" y="1232"/>
                    </a:lnTo>
                    <a:cubicBezTo>
                      <a:pt x="82" y="1233"/>
                      <a:pt x="79" y="1233"/>
                      <a:pt x="77" y="1231"/>
                    </a:cubicBezTo>
                    <a:cubicBezTo>
                      <a:pt x="74" y="1229"/>
                      <a:pt x="73" y="1227"/>
                      <a:pt x="73" y="1224"/>
                    </a:cubicBezTo>
                    <a:lnTo>
                      <a:pt x="80" y="1128"/>
                    </a:lnTo>
                    <a:lnTo>
                      <a:pt x="82" y="1133"/>
                    </a:lnTo>
                    <a:lnTo>
                      <a:pt x="28" y="1067"/>
                    </a:lnTo>
                    <a:cubicBezTo>
                      <a:pt x="27" y="1066"/>
                      <a:pt x="26" y="1065"/>
                      <a:pt x="26" y="1063"/>
                    </a:cubicBezTo>
                    <a:lnTo>
                      <a:pt x="1" y="924"/>
                    </a:lnTo>
                    <a:cubicBezTo>
                      <a:pt x="0" y="922"/>
                      <a:pt x="1" y="920"/>
                      <a:pt x="2" y="918"/>
                    </a:cubicBezTo>
                    <a:lnTo>
                      <a:pt x="58" y="832"/>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49" name="Freeform 305"/>
              <p:cNvSpPr>
                <a:spLocks/>
              </p:cNvSpPr>
              <p:nvPr/>
            </p:nvSpPr>
            <p:spPr bwMode="auto">
              <a:xfrm>
                <a:off x="2825" y="1444"/>
                <a:ext cx="60" cy="29"/>
              </a:xfrm>
              <a:custGeom>
                <a:avLst/>
                <a:gdLst/>
                <a:ahLst/>
                <a:cxnLst>
                  <a:cxn ang="0">
                    <a:pos x="0" y="20"/>
                  </a:cxn>
                  <a:cxn ang="0">
                    <a:pos x="13" y="29"/>
                  </a:cxn>
                  <a:cxn ang="0">
                    <a:pos x="32" y="21"/>
                  </a:cxn>
                  <a:cxn ang="0">
                    <a:pos x="41" y="29"/>
                  </a:cxn>
                  <a:cxn ang="0">
                    <a:pos x="60" y="13"/>
                  </a:cxn>
                  <a:cxn ang="0">
                    <a:pos x="49" y="12"/>
                  </a:cxn>
                  <a:cxn ang="0">
                    <a:pos x="48" y="5"/>
                  </a:cxn>
                  <a:cxn ang="0">
                    <a:pos x="47" y="3"/>
                  </a:cxn>
                  <a:cxn ang="0">
                    <a:pos x="20" y="0"/>
                  </a:cxn>
                  <a:cxn ang="0">
                    <a:pos x="0" y="20"/>
                  </a:cxn>
                </a:cxnLst>
                <a:rect l="0" t="0" r="r" b="b"/>
                <a:pathLst>
                  <a:path w="60" h="29">
                    <a:moveTo>
                      <a:pt x="0" y="20"/>
                    </a:moveTo>
                    <a:lnTo>
                      <a:pt x="13" y="29"/>
                    </a:lnTo>
                    <a:lnTo>
                      <a:pt x="32" y="21"/>
                    </a:lnTo>
                    <a:lnTo>
                      <a:pt x="41" y="29"/>
                    </a:lnTo>
                    <a:lnTo>
                      <a:pt x="60" y="13"/>
                    </a:lnTo>
                    <a:lnTo>
                      <a:pt x="49" y="12"/>
                    </a:lnTo>
                    <a:lnTo>
                      <a:pt x="48" y="5"/>
                    </a:lnTo>
                    <a:lnTo>
                      <a:pt x="47" y="3"/>
                    </a:lnTo>
                    <a:lnTo>
                      <a:pt x="20" y="0"/>
                    </a:lnTo>
                    <a:lnTo>
                      <a:pt x="0" y="2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50" name="Freeform 306"/>
              <p:cNvSpPr>
                <a:spLocks noEditPoints="1"/>
              </p:cNvSpPr>
              <p:nvPr/>
            </p:nvSpPr>
            <p:spPr bwMode="auto">
              <a:xfrm>
                <a:off x="2822" y="1442"/>
                <a:ext cx="66" cy="33"/>
              </a:xfrm>
              <a:custGeom>
                <a:avLst/>
                <a:gdLst/>
                <a:ahLst/>
                <a:cxnLst>
                  <a:cxn ang="0">
                    <a:pos x="15" y="101"/>
                  </a:cxn>
                  <a:cxn ang="0">
                    <a:pos x="14" y="90"/>
                  </a:cxn>
                  <a:cxn ang="0">
                    <a:pos x="60" y="130"/>
                  </a:cxn>
                  <a:cxn ang="0">
                    <a:pos x="51" y="129"/>
                  </a:cxn>
                  <a:cxn ang="0">
                    <a:pos x="116" y="94"/>
                  </a:cxn>
                  <a:cxn ang="0">
                    <a:pos x="126" y="96"/>
                  </a:cxn>
                  <a:cxn ang="0">
                    <a:pos x="156" y="129"/>
                  </a:cxn>
                  <a:cxn ang="0">
                    <a:pos x="144" y="129"/>
                  </a:cxn>
                  <a:cxn ang="0">
                    <a:pos x="211" y="62"/>
                  </a:cxn>
                  <a:cxn ang="0">
                    <a:pos x="215" y="75"/>
                  </a:cxn>
                  <a:cxn ang="0">
                    <a:pos x="176" y="69"/>
                  </a:cxn>
                  <a:cxn ang="0">
                    <a:pos x="169" y="61"/>
                  </a:cxn>
                  <a:cxn ang="0">
                    <a:pos x="166" y="31"/>
                  </a:cxn>
                  <a:cxn ang="0">
                    <a:pos x="167" y="34"/>
                  </a:cxn>
                  <a:cxn ang="0">
                    <a:pos x="163" y="25"/>
                  </a:cxn>
                  <a:cxn ang="0">
                    <a:pos x="169" y="30"/>
                  </a:cxn>
                  <a:cxn ang="0">
                    <a:pos x="77" y="16"/>
                  </a:cxn>
                  <a:cxn ang="0">
                    <a:pos x="84" y="13"/>
                  </a:cxn>
                  <a:cxn ang="0">
                    <a:pos x="15" y="101"/>
                  </a:cxn>
                  <a:cxn ang="0">
                    <a:pos x="72" y="3"/>
                  </a:cxn>
                  <a:cxn ang="0">
                    <a:pos x="79" y="1"/>
                  </a:cxn>
                  <a:cxn ang="0">
                    <a:pos x="171" y="14"/>
                  </a:cxn>
                  <a:cxn ang="0">
                    <a:pos x="177" y="18"/>
                  </a:cxn>
                  <a:cxn ang="0">
                    <a:pos x="182" y="27"/>
                  </a:cxn>
                  <a:cxn ang="0">
                    <a:pos x="182" y="30"/>
                  </a:cxn>
                  <a:cxn ang="0">
                    <a:pos x="185" y="60"/>
                  </a:cxn>
                  <a:cxn ang="0">
                    <a:pos x="178" y="53"/>
                  </a:cxn>
                  <a:cxn ang="0">
                    <a:pos x="218" y="60"/>
                  </a:cxn>
                  <a:cxn ang="0">
                    <a:pos x="224" y="65"/>
                  </a:cxn>
                  <a:cxn ang="0">
                    <a:pos x="222" y="73"/>
                  </a:cxn>
                  <a:cxn ang="0">
                    <a:pos x="156" y="140"/>
                  </a:cxn>
                  <a:cxn ang="0">
                    <a:pos x="150" y="143"/>
                  </a:cxn>
                  <a:cxn ang="0">
                    <a:pos x="144" y="140"/>
                  </a:cxn>
                  <a:cxn ang="0">
                    <a:pos x="114" y="106"/>
                  </a:cxn>
                  <a:cxn ang="0">
                    <a:pos x="124" y="108"/>
                  </a:cxn>
                  <a:cxn ang="0">
                    <a:pos x="59" y="144"/>
                  </a:cxn>
                  <a:cxn ang="0">
                    <a:pos x="49" y="142"/>
                  </a:cxn>
                  <a:cxn ang="0">
                    <a:pos x="3" y="102"/>
                  </a:cxn>
                  <a:cxn ang="0">
                    <a:pos x="2" y="91"/>
                  </a:cxn>
                  <a:cxn ang="0">
                    <a:pos x="72" y="3"/>
                  </a:cxn>
                </a:cxnLst>
                <a:rect l="0" t="0" r="r" b="b"/>
                <a:pathLst>
                  <a:path w="225" h="145">
                    <a:moveTo>
                      <a:pt x="15" y="101"/>
                    </a:moveTo>
                    <a:lnTo>
                      <a:pt x="14" y="90"/>
                    </a:lnTo>
                    <a:lnTo>
                      <a:pt x="60" y="130"/>
                    </a:lnTo>
                    <a:lnTo>
                      <a:pt x="51" y="129"/>
                    </a:lnTo>
                    <a:lnTo>
                      <a:pt x="116" y="94"/>
                    </a:lnTo>
                    <a:cubicBezTo>
                      <a:pt x="119" y="92"/>
                      <a:pt x="123" y="93"/>
                      <a:pt x="126" y="96"/>
                    </a:cubicBezTo>
                    <a:lnTo>
                      <a:pt x="156" y="129"/>
                    </a:lnTo>
                    <a:lnTo>
                      <a:pt x="144" y="129"/>
                    </a:lnTo>
                    <a:lnTo>
                      <a:pt x="211" y="62"/>
                    </a:lnTo>
                    <a:lnTo>
                      <a:pt x="215" y="75"/>
                    </a:lnTo>
                    <a:lnTo>
                      <a:pt x="176" y="69"/>
                    </a:lnTo>
                    <a:cubicBezTo>
                      <a:pt x="172" y="68"/>
                      <a:pt x="169" y="65"/>
                      <a:pt x="169" y="61"/>
                    </a:cubicBezTo>
                    <a:lnTo>
                      <a:pt x="166" y="31"/>
                    </a:lnTo>
                    <a:lnTo>
                      <a:pt x="167" y="34"/>
                    </a:lnTo>
                    <a:lnTo>
                      <a:pt x="163" y="25"/>
                    </a:lnTo>
                    <a:lnTo>
                      <a:pt x="169" y="30"/>
                    </a:lnTo>
                    <a:lnTo>
                      <a:pt x="77" y="16"/>
                    </a:lnTo>
                    <a:lnTo>
                      <a:pt x="84" y="13"/>
                    </a:lnTo>
                    <a:lnTo>
                      <a:pt x="15" y="101"/>
                    </a:lnTo>
                    <a:close/>
                    <a:moveTo>
                      <a:pt x="72" y="3"/>
                    </a:moveTo>
                    <a:cubicBezTo>
                      <a:pt x="73" y="1"/>
                      <a:pt x="76" y="0"/>
                      <a:pt x="79" y="1"/>
                    </a:cubicBezTo>
                    <a:lnTo>
                      <a:pt x="171" y="14"/>
                    </a:lnTo>
                    <a:cubicBezTo>
                      <a:pt x="174" y="14"/>
                      <a:pt x="176" y="16"/>
                      <a:pt x="177" y="18"/>
                    </a:cubicBezTo>
                    <a:lnTo>
                      <a:pt x="182" y="27"/>
                    </a:lnTo>
                    <a:cubicBezTo>
                      <a:pt x="182" y="28"/>
                      <a:pt x="182" y="29"/>
                      <a:pt x="182" y="30"/>
                    </a:cubicBezTo>
                    <a:lnTo>
                      <a:pt x="185" y="60"/>
                    </a:lnTo>
                    <a:lnTo>
                      <a:pt x="178" y="53"/>
                    </a:lnTo>
                    <a:lnTo>
                      <a:pt x="218" y="60"/>
                    </a:lnTo>
                    <a:cubicBezTo>
                      <a:pt x="221" y="60"/>
                      <a:pt x="223" y="62"/>
                      <a:pt x="224" y="65"/>
                    </a:cubicBezTo>
                    <a:cubicBezTo>
                      <a:pt x="225" y="68"/>
                      <a:pt x="224" y="71"/>
                      <a:pt x="222" y="73"/>
                    </a:cubicBezTo>
                    <a:lnTo>
                      <a:pt x="156" y="140"/>
                    </a:lnTo>
                    <a:cubicBezTo>
                      <a:pt x="154" y="142"/>
                      <a:pt x="152" y="143"/>
                      <a:pt x="150" y="143"/>
                    </a:cubicBezTo>
                    <a:cubicBezTo>
                      <a:pt x="147" y="143"/>
                      <a:pt x="145" y="142"/>
                      <a:pt x="144" y="140"/>
                    </a:cubicBezTo>
                    <a:lnTo>
                      <a:pt x="114" y="106"/>
                    </a:lnTo>
                    <a:lnTo>
                      <a:pt x="124" y="108"/>
                    </a:lnTo>
                    <a:lnTo>
                      <a:pt x="59" y="144"/>
                    </a:lnTo>
                    <a:cubicBezTo>
                      <a:pt x="56" y="145"/>
                      <a:pt x="52" y="145"/>
                      <a:pt x="49" y="142"/>
                    </a:cubicBezTo>
                    <a:lnTo>
                      <a:pt x="3" y="102"/>
                    </a:lnTo>
                    <a:cubicBezTo>
                      <a:pt x="0" y="99"/>
                      <a:pt x="0" y="94"/>
                      <a:pt x="2" y="91"/>
                    </a:cubicBezTo>
                    <a:lnTo>
                      <a:pt x="72" y="3"/>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51" name="Freeform 307"/>
              <p:cNvSpPr>
                <a:spLocks/>
              </p:cNvSpPr>
              <p:nvPr/>
            </p:nvSpPr>
            <p:spPr bwMode="auto">
              <a:xfrm>
                <a:off x="3238" y="1612"/>
                <a:ext cx="97" cy="69"/>
              </a:xfrm>
              <a:custGeom>
                <a:avLst/>
                <a:gdLst/>
                <a:ahLst/>
                <a:cxnLst>
                  <a:cxn ang="0">
                    <a:pos x="0" y="64"/>
                  </a:cxn>
                  <a:cxn ang="0">
                    <a:pos x="2" y="57"/>
                  </a:cxn>
                  <a:cxn ang="0">
                    <a:pos x="16" y="42"/>
                  </a:cxn>
                  <a:cxn ang="0">
                    <a:pos x="8" y="36"/>
                  </a:cxn>
                  <a:cxn ang="0">
                    <a:pos x="7" y="18"/>
                  </a:cxn>
                  <a:cxn ang="0">
                    <a:pos x="16" y="4"/>
                  </a:cxn>
                  <a:cxn ang="0">
                    <a:pos x="97" y="0"/>
                  </a:cxn>
                  <a:cxn ang="0">
                    <a:pos x="82" y="10"/>
                  </a:cxn>
                  <a:cxn ang="0">
                    <a:pos x="77" y="38"/>
                  </a:cxn>
                  <a:cxn ang="0">
                    <a:pos x="44" y="55"/>
                  </a:cxn>
                  <a:cxn ang="0">
                    <a:pos x="14" y="69"/>
                  </a:cxn>
                  <a:cxn ang="0">
                    <a:pos x="0" y="64"/>
                  </a:cxn>
                </a:cxnLst>
                <a:rect l="0" t="0" r="r" b="b"/>
                <a:pathLst>
                  <a:path w="97" h="69">
                    <a:moveTo>
                      <a:pt x="0" y="64"/>
                    </a:moveTo>
                    <a:lnTo>
                      <a:pt x="2" y="57"/>
                    </a:lnTo>
                    <a:lnTo>
                      <a:pt x="16" y="42"/>
                    </a:lnTo>
                    <a:lnTo>
                      <a:pt x="8" y="36"/>
                    </a:lnTo>
                    <a:lnTo>
                      <a:pt x="7" y="18"/>
                    </a:lnTo>
                    <a:lnTo>
                      <a:pt x="16" y="4"/>
                    </a:lnTo>
                    <a:lnTo>
                      <a:pt x="97" y="0"/>
                    </a:lnTo>
                    <a:lnTo>
                      <a:pt x="82" y="10"/>
                    </a:lnTo>
                    <a:lnTo>
                      <a:pt x="77" y="38"/>
                    </a:lnTo>
                    <a:lnTo>
                      <a:pt x="44" y="55"/>
                    </a:lnTo>
                    <a:lnTo>
                      <a:pt x="14" y="69"/>
                    </a:lnTo>
                    <a:lnTo>
                      <a:pt x="0" y="64"/>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52" name="Freeform 308"/>
              <p:cNvSpPr>
                <a:spLocks noEditPoints="1"/>
              </p:cNvSpPr>
              <p:nvPr/>
            </p:nvSpPr>
            <p:spPr bwMode="auto">
              <a:xfrm>
                <a:off x="3235" y="1610"/>
                <a:ext cx="103" cy="73"/>
              </a:xfrm>
              <a:custGeom>
                <a:avLst/>
                <a:gdLst/>
                <a:ahLst/>
                <a:cxnLst>
                  <a:cxn ang="0">
                    <a:pos x="5" y="297"/>
                  </a:cxn>
                  <a:cxn ang="0">
                    <a:pos x="1" y="288"/>
                  </a:cxn>
                  <a:cxn ang="0">
                    <a:pos x="7" y="256"/>
                  </a:cxn>
                  <a:cxn ang="0">
                    <a:pos x="9" y="253"/>
                  </a:cxn>
                  <a:cxn ang="0">
                    <a:pos x="58" y="189"/>
                  </a:cxn>
                  <a:cxn ang="0">
                    <a:pos x="59" y="199"/>
                  </a:cxn>
                  <a:cxn ang="0">
                    <a:pos x="30" y="170"/>
                  </a:cxn>
                  <a:cxn ang="0">
                    <a:pos x="28" y="165"/>
                  </a:cxn>
                  <a:cxn ang="0">
                    <a:pos x="26" y="86"/>
                  </a:cxn>
                  <a:cxn ang="0">
                    <a:pos x="27" y="82"/>
                  </a:cxn>
                  <a:cxn ang="0">
                    <a:pos x="57" y="21"/>
                  </a:cxn>
                  <a:cxn ang="0">
                    <a:pos x="64" y="17"/>
                  </a:cxn>
                  <a:cxn ang="0">
                    <a:pos x="344" y="0"/>
                  </a:cxn>
                  <a:cxn ang="0">
                    <a:pos x="352" y="5"/>
                  </a:cxn>
                  <a:cxn ang="0">
                    <a:pos x="350" y="15"/>
                  </a:cxn>
                  <a:cxn ang="0">
                    <a:pos x="298" y="60"/>
                  </a:cxn>
                  <a:cxn ang="0">
                    <a:pos x="301" y="55"/>
                  </a:cxn>
                  <a:cxn ang="0">
                    <a:pos x="283" y="177"/>
                  </a:cxn>
                  <a:cxn ang="0">
                    <a:pos x="279" y="183"/>
                  </a:cxn>
                  <a:cxn ang="0">
                    <a:pos x="165" y="255"/>
                  </a:cxn>
                  <a:cxn ang="0">
                    <a:pos x="63" y="319"/>
                  </a:cxn>
                  <a:cxn ang="0">
                    <a:pos x="56" y="320"/>
                  </a:cxn>
                  <a:cxn ang="0">
                    <a:pos x="5" y="297"/>
                  </a:cxn>
                  <a:cxn ang="0">
                    <a:pos x="62" y="305"/>
                  </a:cxn>
                  <a:cxn ang="0">
                    <a:pos x="55" y="306"/>
                  </a:cxn>
                  <a:cxn ang="0">
                    <a:pos x="157" y="241"/>
                  </a:cxn>
                  <a:cxn ang="0">
                    <a:pos x="271" y="169"/>
                  </a:cxn>
                  <a:cxn ang="0">
                    <a:pos x="267" y="175"/>
                  </a:cxn>
                  <a:cxn ang="0">
                    <a:pos x="285" y="52"/>
                  </a:cxn>
                  <a:cxn ang="0">
                    <a:pos x="288" y="47"/>
                  </a:cxn>
                  <a:cxn ang="0">
                    <a:pos x="339" y="2"/>
                  </a:cxn>
                  <a:cxn ang="0">
                    <a:pos x="345" y="16"/>
                  </a:cxn>
                  <a:cxn ang="0">
                    <a:pos x="65" y="33"/>
                  </a:cxn>
                  <a:cxn ang="0">
                    <a:pos x="71" y="28"/>
                  </a:cxn>
                  <a:cxn ang="0">
                    <a:pos x="42" y="89"/>
                  </a:cxn>
                  <a:cxn ang="0">
                    <a:pos x="42" y="86"/>
                  </a:cxn>
                  <a:cxn ang="0">
                    <a:pos x="44" y="164"/>
                  </a:cxn>
                  <a:cxn ang="0">
                    <a:pos x="41" y="159"/>
                  </a:cxn>
                  <a:cxn ang="0">
                    <a:pos x="70" y="188"/>
                  </a:cxn>
                  <a:cxn ang="0">
                    <a:pos x="71" y="198"/>
                  </a:cxn>
                  <a:cxn ang="0">
                    <a:pos x="22" y="263"/>
                  </a:cxn>
                  <a:cxn ang="0">
                    <a:pos x="23" y="259"/>
                  </a:cxn>
                  <a:cxn ang="0">
                    <a:pos x="16" y="292"/>
                  </a:cxn>
                  <a:cxn ang="0">
                    <a:pos x="12" y="283"/>
                  </a:cxn>
                  <a:cxn ang="0">
                    <a:pos x="62" y="305"/>
                  </a:cxn>
                </a:cxnLst>
                <a:rect l="0" t="0" r="r" b="b"/>
                <a:pathLst>
                  <a:path w="353" h="321">
                    <a:moveTo>
                      <a:pt x="5" y="297"/>
                    </a:moveTo>
                    <a:cubicBezTo>
                      <a:pt x="2" y="296"/>
                      <a:pt x="0" y="292"/>
                      <a:pt x="1" y="288"/>
                    </a:cubicBezTo>
                    <a:lnTo>
                      <a:pt x="7" y="256"/>
                    </a:lnTo>
                    <a:cubicBezTo>
                      <a:pt x="8" y="255"/>
                      <a:pt x="8" y="254"/>
                      <a:pt x="9" y="253"/>
                    </a:cubicBezTo>
                    <a:lnTo>
                      <a:pt x="58" y="189"/>
                    </a:lnTo>
                    <a:lnTo>
                      <a:pt x="59" y="199"/>
                    </a:lnTo>
                    <a:lnTo>
                      <a:pt x="30" y="170"/>
                    </a:lnTo>
                    <a:cubicBezTo>
                      <a:pt x="29" y="169"/>
                      <a:pt x="28" y="167"/>
                      <a:pt x="28" y="165"/>
                    </a:cubicBezTo>
                    <a:lnTo>
                      <a:pt x="26" y="86"/>
                    </a:lnTo>
                    <a:cubicBezTo>
                      <a:pt x="26" y="85"/>
                      <a:pt x="27" y="83"/>
                      <a:pt x="27" y="82"/>
                    </a:cubicBezTo>
                    <a:lnTo>
                      <a:pt x="57" y="21"/>
                    </a:lnTo>
                    <a:cubicBezTo>
                      <a:pt x="58" y="18"/>
                      <a:pt x="61" y="17"/>
                      <a:pt x="64" y="17"/>
                    </a:cubicBezTo>
                    <a:lnTo>
                      <a:pt x="344" y="0"/>
                    </a:lnTo>
                    <a:cubicBezTo>
                      <a:pt x="347" y="0"/>
                      <a:pt x="351" y="2"/>
                      <a:pt x="352" y="5"/>
                    </a:cubicBezTo>
                    <a:cubicBezTo>
                      <a:pt x="353" y="9"/>
                      <a:pt x="352" y="12"/>
                      <a:pt x="350" y="15"/>
                    </a:cubicBezTo>
                    <a:lnTo>
                      <a:pt x="298" y="60"/>
                    </a:lnTo>
                    <a:lnTo>
                      <a:pt x="301" y="55"/>
                    </a:lnTo>
                    <a:lnTo>
                      <a:pt x="283" y="177"/>
                    </a:lnTo>
                    <a:cubicBezTo>
                      <a:pt x="283" y="179"/>
                      <a:pt x="281" y="181"/>
                      <a:pt x="279" y="183"/>
                    </a:cubicBezTo>
                    <a:lnTo>
                      <a:pt x="165" y="255"/>
                    </a:lnTo>
                    <a:lnTo>
                      <a:pt x="63" y="319"/>
                    </a:lnTo>
                    <a:cubicBezTo>
                      <a:pt x="61" y="321"/>
                      <a:pt x="58" y="321"/>
                      <a:pt x="56" y="320"/>
                    </a:cubicBezTo>
                    <a:lnTo>
                      <a:pt x="5" y="297"/>
                    </a:lnTo>
                    <a:close/>
                    <a:moveTo>
                      <a:pt x="62" y="305"/>
                    </a:moveTo>
                    <a:lnTo>
                      <a:pt x="55" y="306"/>
                    </a:lnTo>
                    <a:lnTo>
                      <a:pt x="157" y="241"/>
                    </a:lnTo>
                    <a:lnTo>
                      <a:pt x="271" y="169"/>
                    </a:lnTo>
                    <a:lnTo>
                      <a:pt x="267" y="175"/>
                    </a:lnTo>
                    <a:lnTo>
                      <a:pt x="285" y="52"/>
                    </a:lnTo>
                    <a:cubicBezTo>
                      <a:pt x="285" y="50"/>
                      <a:pt x="286" y="49"/>
                      <a:pt x="288" y="47"/>
                    </a:cubicBezTo>
                    <a:lnTo>
                      <a:pt x="339" y="2"/>
                    </a:lnTo>
                    <a:lnTo>
                      <a:pt x="345" y="16"/>
                    </a:lnTo>
                    <a:lnTo>
                      <a:pt x="65" y="33"/>
                    </a:lnTo>
                    <a:lnTo>
                      <a:pt x="71" y="28"/>
                    </a:lnTo>
                    <a:lnTo>
                      <a:pt x="42" y="89"/>
                    </a:lnTo>
                    <a:lnTo>
                      <a:pt x="42" y="86"/>
                    </a:lnTo>
                    <a:lnTo>
                      <a:pt x="44" y="164"/>
                    </a:lnTo>
                    <a:lnTo>
                      <a:pt x="41" y="159"/>
                    </a:lnTo>
                    <a:lnTo>
                      <a:pt x="70" y="188"/>
                    </a:lnTo>
                    <a:cubicBezTo>
                      <a:pt x="73" y="191"/>
                      <a:pt x="73" y="195"/>
                      <a:pt x="71" y="198"/>
                    </a:cubicBezTo>
                    <a:lnTo>
                      <a:pt x="22" y="263"/>
                    </a:lnTo>
                    <a:lnTo>
                      <a:pt x="23" y="259"/>
                    </a:lnTo>
                    <a:lnTo>
                      <a:pt x="16" y="292"/>
                    </a:lnTo>
                    <a:lnTo>
                      <a:pt x="12" y="283"/>
                    </a:lnTo>
                    <a:lnTo>
                      <a:pt x="62" y="305"/>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53" name="Freeform 309"/>
              <p:cNvSpPr>
                <a:spLocks/>
              </p:cNvSpPr>
              <p:nvPr/>
            </p:nvSpPr>
            <p:spPr bwMode="auto">
              <a:xfrm>
                <a:off x="4105" y="1846"/>
                <a:ext cx="112" cy="201"/>
              </a:xfrm>
              <a:custGeom>
                <a:avLst/>
                <a:gdLst/>
                <a:ahLst/>
                <a:cxnLst>
                  <a:cxn ang="0">
                    <a:pos x="0" y="32"/>
                  </a:cxn>
                  <a:cxn ang="0">
                    <a:pos x="8" y="17"/>
                  </a:cxn>
                  <a:cxn ang="0">
                    <a:pos x="38" y="0"/>
                  </a:cxn>
                  <a:cxn ang="0">
                    <a:pos x="52" y="16"/>
                  </a:cxn>
                  <a:cxn ang="0">
                    <a:pos x="47" y="43"/>
                  </a:cxn>
                  <a:cxn ang="0">
                    <a:pos x="83" y="31"/>
                  </a:cxn>
                  <a:cxn ang="0">
                    <a:pos x="99" y="43"/>
                  </a:cxn>
                  <a:cxn ang="0">
                    <a:pos x="112" y="69"/>
                  </a:cxn>
                  <a:cxn ang="0">
                    <a:pos x="107" y="86"/>
                  </a:cxn>
                  <a:cxn ang="0">
                    <a:pos x="80" y="85"/>
                  </a:cxn>
                  <a:cxn ang="0">
                    <a:pos x="70" y="93"/>
                  </a:cxn>
                  <a:cxn ang="0">
                    <a:pos x="76" y="121"/>
                  </a:cxn>
                  <a:cxn ang="0">
                    <a:pos x="39" y="97"/>
                  </a:cxn>
                  <a:cxn ang="0">
                    <a:pos x="24" y="140"/>
                  </a:cxn>
                  <a:cxn ang="0">
                    <a:pos x="41" y="180"/>
                  </a:cxn>
                  <a:cxn ang="0">
                    <a:pos x="66" y="194"/>
                  </a:cxn>
                  <a:cxn ang="0">
                    <a:pos x="53" y="201"/>
                  </a:cxn>
                  <a:cxn ang="0">
                    <a:pos x="50" y="190"/>
                  </a:cxn>
                  <a:cxn ang="0">
                    <a:pos x="39" y="190"/>
                  </a:cxn>
                  <a:cxn ang="0">
                    <a:pos x="11" y="167"/>
                  </a:cxn>
                  <a:cxn ang="0">
                    <a:pos x="16" y="142"/>
                  </a:cxn>
                  <a:cxn ang="0">
                    <a:pos x="30" y="118"/>
                  </a:cxn>
                  <a:cxn ang="0">
                    <a:pos x="10" y="79"/>
                  </a:cxn>
                  <a:cxn ang="0">
                    <a:pos x="17" y="62"/>
                  </a:cxn>
                  <a:cxn ang="0">
                    <a:pos x="0" y="32"/>
                  </a:cxn>
                </a:cxnLst>
                <a:rect l="0" t="0" r="r" b="b"/>
                <a:pathLst>
                  <a:path w="112" h="201">
                    <a:moveTo>
                      <a:pt x="0" y="32"/>
                    </a:moveTo>
                    <a:lnTo>
                      <a:pt x="8" y="17"/>
                    </a:lnTo>
                    <a:lnTo>
                      <a:pt x="38" y="0"/>
                    </a:lnTo>
                    <a:lnTo>
                      <a:pt x="52" y="16"/>
                    </a:lnTo>
                    <a:lnTo>
                      <a:pt x="47" y="43"/>
                    </a:lnTo>
                    <a:lnTo>
                      <a:pt x="83" y="31"/>
                    </a:lnTo>
                    <a:lnTo>
                      <a:pt x="99" y="43"/>
                    </a:lnTo>
                    <a:lnTo>
                      <a:pt x="112" y="69"/>
                    </a:lnTo>
                    <a:lnTo>
                      <a:pt x="107" y="86"/>
                    </a:lnTo>
                    <a:lnTo>
                      <a:pt x="80" y="85"/>
                    </a:lnTo>
                    <a:lnTo>
                      <a:pt x="70" y="93"/>
                    </a:lnTo>
                    <a:lnTo>
                      <a:pt x="76" y="121"/>
                    </a:lnTo>
                    <a:lnTo>
                      <a:pt x="39" y="97"/>
                    </a:lnTo>
                    <a:lnTo>
                      <a:pt x="24" y="140"/>
                    </a:lnTo>
                    <a:lnTo>
                      <a:pt x="41" y="180"/>
                    </a:lnTo>
                    <a:lnTo>
                      <a:pt x="66" y="194"/>
                    </a:lnTo>
                    <a:lnTo>
                      <a:pt x="53" y="201"/>
                    </a:lnTo>
                    <a:lnTo>
                      <a:pt x="50" y="190"/>
                    </a:lnTo>
                    <a:lnTo>
                      <a:pt x="39" y="190"/>
                    </a:lnTo>
                    <a:lnTo>
                      <a:pt x="11" y="167"/>
                    </a:lnTo>
                    <a:lnTo>
                      <a:pt x="16" y="142"/>
                    </a:lnTo>
                    <a:lnTo>
                      <a:pt x="30" y="118"/>
                    </a:lnTo>
                    <a:lnTo>
                      <a:pt x="10" y="79"/>
                    </a:lnTo>
                    <a:lnTo>
                      <a:pt x="17" y="62"/>
                    </a:lnTo>
                    <a:lnTo>
                      <a:pt x="0" y="32"/>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54" name="Freeform 310"/>
              <p:cNvSpPr>
                <a:spLocks noEditPoints="1"/>
              </p:cNvSpPr>
              <p:nvPr/>
            </p:nvSpPr>
            <p:spPr bwMode="auto">
              <a:xfrm>
                <a:off x="4103" y="1844"/>
                <a:ext cx="116" cy="205"/>
              </a:xfrm>
              <a:custGeom>
                <a:avLst/>
                <a:gdLst/>
                <a:ahLst/>
                <a:cxnLst>
                  <a:cxn ang="0">
                    <a:pos x="1" y="145"/>
                  </a:cxn>
                  <a:cxn ang="0">
                    <a:pos x="30" y="73"/>
                  </a:cxn>
                  <a:cxn ang="0">
                    <a:pos x="140" y="1"/>
                  </a:cxn>
                  <a:cxn ang="0">
                    <a:pos x="191" y="72"/>
                  </a:cxn>
                  <a:cxn ang="0">
                    <a:pos x="178" y="196"/>
                  </a:cxn>
                  <a:cxn ang="0">
                    <a:pos x="290" y="134"/>
                  </a:cxn>
                  <a:cxn ang="0">
                    <a:pos x="352" y="189"/>
                  </a:cxn>
                  <a:cxn ang="0">
                    <a:pos x="400" y="308"/>
                  </a:cxn>
                  <a:cxn ang="0">
                    <a:pos x="384" y="386"/>
                  </a:cxn>
                  <a:cxn ang="0">
                    <a:pos x="282" y="387"/>
                  </a:cxn>
                  <a:cxn ang="0">
                    <a:pos x="254" y="420"/>
                  </a:cxn>
                  <a:cxn ang="0">
                    <a:pos x="275" y="536"/>
                  </a:cxn>
                  <a:cxn ang="0">
                    <a:pos x="262" y="544"/>
                  </a:cxn>
                  <a:cxn ang="0">
                    <a:pos x="149" y="433"/>
                  </a:cxn>
                  <a:cxn ang="0">
                    <a:pos x="96" y="618"/>
                  </a:cxn>
                  <a:cxn ang="0">
                    <a:pos x="153" y="787"/>
                  </a:cxn>
                  <a:cxn ang="0">
                    <a:pos x="241" y="857"/>
                  </a:cxn>
                  <a:cxn ang="0">
                    <a:pos x="193" y="895"/>
                  </a:cxn>
                  <a:cxn ang="0">
                    <a:pos x="181" y="890"/>
                  </a:cxn>
                  <a:cxn ang="0">
                    <a:pos x="177" y="847"/>
                  </a:cxn>
                  <a:cxn ang="0">
                    <a:pos x="135" y="844"/>
                  </a:cxn>
                  <a:cxn ang="0">
                    <a:pos x="37" y="739"/>
                  </a:cxn>
                  <a:cxn ang="0">
                    <a:pos x="54" y="626"/>
                  </a:cxn>
                  <a:cxn ang="0">
                    <a:pos x="103" y="527"/>
                  </a:cxn>
                  <a:cxn ang="0">
                    <a:pos x="34" y="352"/>
                  </a:cxn>
                  <a:cxn ang="0">
                    <a:pos x="57" y="281"/>
                  </a:cxn>
                  <a:cxn ang="0">
                    <a:pos x="72" y="275"/>
                  </a:cxn>
                  <a:cxn ang="0">
                    <a:pos x="50" y="357"/>
                  </a:cxn>
                  <a:cxn ang="0">
                    <a:pos x="118" y="521"/>
                  </a:cxn>
                  <a:cxn ang="0">
                    <a:pos x="69" y="632"/>
                  </a:cxn>
                  <a:cxn ang="0">
                    <a:pos x="53" y="742"/>
                  </a:cxn>
                  <a:cxn ang="0">
                    <a:pos x="147" y="833"/>
                  </a:cxn>
                  <a:cxn ang="0">
                    <a:pos x="177" y="831"/>
                  </a:cxn>
                  <a:cxn ang="0">
                    <a:pos x="196" y="887"/>
                  </a:cxn>
                  <a:cxn ang="0">
                    <a:pos x="229" y="850"/>
                  </a:cxn>
                  <a:cxn ang="0">
                    <a:pos x="143" y="800"/>
                  </a:cxn>
                  <a:cxn ang="0">
                    <a:pos x="80" y="623"/>
                  </a:cxn>
                  <a:cxn ang="0">
                    <a:pos x="133" y="429"/>
                  </a:cxn>
                  <a:cxn ang="0">
                    <a:pos x="146" y="425"/>
                  </a:cxn>
                  <a:cxn ang="0">
                    <a:pos x="259" y="539"/>
                  </a:cxn>
                  <a:cxn ang="0">
                    <a:pos x="243" y="409"/>
                  </a:cxn>
                  <a:cxn ang="0">
                    <a:pos x="283" y="371"/>
                  </a:cxn>
                  <a:cxn ang="0">
                    <a:pos x="368" y="383"/>
                  </a:cxn>
                  <a:cxn ang="0">
                    <a:pos x="385" y="314"/>
                  </a:cxn>
                  <a:cxn ang="0">
                    <a:pos x="341" y="200"/>
                  </a:cxn>
                  <a:cxn ang="0">
                    <a:pos x="297" y="149"/>
                  </a:cxn>
                  <a:cxn ang="0">
                    <a:pos x="166" y="201"/>
                  </a:cxn>
                  <a:cxn ang="0">
                    <a:pos x="176" y="76"/>
                  </a:cxn>
                  <a:cxn ang="0">
                    <a:pos x="132" y="13"/>
                  </a:cxn>
                  <a:cxn ang="0">
                    <a:pos x="40" y="87"/>
                  </a:cxn>
                  <a:cxn ang="0">
                    <a:pos x="16" y="151"/>
                  </a:cxn>
                  <a:cxn ang="0">
                    <a:pos x="72" y="275"/>
                  </a:cxn>
                </a:cxnLst>
                <a:rect l="0" t="0" r="r" b="b"/>
                <a:pathLst>
                  <a:path w="401" h="897">
                    <a:moveTo>
                      <a:pt x="1" y="151"/>
                    </a:moveTo>
                    <a:cubicBezTo>
                      <a:pt x="0" y="149"/>
                      <a:pt x="0" y="147"/>
                      <a:pt x="1" y="145"/>
                    </a:cubicBezTo>
                    <a:lnTo>
                      <a:pt x="28" y="77"/>
                    </a:lnTo>
                    <a:cubicBezTo>
                      <a:pt x="28" y="76"/>
                      <a:pt x="29" y="74"/>
                      <a:pt x="30" y="73"/>
                    </a:cubicBezTo>
                    <a:lnTo>
                      <a:pt x="134" y="2"/>
                    </a:lnTo>
                    <a:cubicBezTo>
                      <a:pt x="136" y="1"/>
                      <a:pt x="138" y="0"/>
                      <a:pt x="140" y="1"/>
                    </a:cubicBezTo>
                    <a:cubicBezTo>
                      <a:pt x="142" y="1"/>
                      <a:pt x="144" y="2"/>
                      <a:pt x="145" y="4"/>
                    </a:cubicBezTo>
                    <a:lnTo>
                      <a:pt x="191" y="72"/>
                    </a:lnTo>
                    <a:cubicBezTo>
                      <a:pt x="192" y="74"/>
                      <a:pt x="193" y="76"/>
                      <a:pt x="192" y="78"/>
                    </a:cubicBezTo>
                    <a:lnTo>
                      <a:pt x="178" y="196"/>
                    </a:lnTo>
                    <a:lnTo>
                      <a:pt x="167" y="187"/>
                    </a:lnTo>
                    <a:lnTo>
                      <a:pt x="290" y="134"/>
                    </a:lnTo>
                    <a:cubicBezTo>
                      <a:pt x="293" y="133"/>
                      <a:pt x="297" y="134"/>
                      <a:pt x="299" y="136"/>
                    </a:cubicBezTo>
                    <a:lnTo>
                      <a:pt x="352" y="189"/>
                    </a:lnTo>
                    <a:cubicBezTo>
                      <a:pt x="353" y="190"/>
                      <a:pt x="353" y="191"/>
                      <a:pt x="354" y="192"/>
                    </a:cubicBezTo>
                    <a:lnTo>
                      <a:pt x="400" y="308"/>
                    </a:lnTo>
                    <a:cubicBezTo>
                      <a:pt x="401" y="310"/>
                      <a:pt x="401" y="311"/>
                      <a:pt x="400" y="313"/>
                    </a:cubicBezTo>
                    <a:lnTo>
                      <a:pt x="384" y="386"/>
                    </a:lnTo>
                    <a:cubicBezTo>
                      <a:pt x="383" y="390"/>
                      <a:pt x="379" y="393"/>
                      <a:pt x="375" y="392"/>
                    </a:cubicBezTo>
                    <a:lnTo>
                      <a:pt x="282" y="387"/>
                    </a:lnTo>
                    <a:lnTo>
                      <a:pt x="288" y="385"/>
                    </a:lnTo>
                    <a:lnTo>
                      <a:pt x="254" y="420"/>
                    </a:lnTo>
                    <a:lnTo>
                      <a:pt x="257" y="413"/>
                    </a:lnTo>
                    <a:lnTo>
                      <a:pt x="275" y="536"/>
                    </a:lnTo>
                    <a:cubicBezTo>
                      <a:pt x="275" y="540"/>
                      <a:pt x="274" y="543"/>
                      <a:pt x="271" y="544"/>
                    </a:cubicBezTo>
                    <a:cubicBezTo>
                      <a:pt x="268" y="546"/>
                      <a:pt x="264" y="546"/>
                      <a:pt x="262" y="544"/>
                    </a:cubicBezTo>
                    <a:lnTo>
                      <a:pt x="136" y="437"/>
                    </a:lnTo>
                    <a:lnTo>
                      <a:pt x="149" y="433"/>
                    </a:lnTo>
                    <a:lnTo>
                      <a:pt x="96" y="623"/>
                    </a:lnTo>
                    <a:lnTo>
                      <a:pt x="96" y="618"/>
                    </a:lnTo>
                    <a:lnTo>
                      <a:pt x="156" y="791"/>
                    </a:lnTo>
                    <a:lnTo>
                      <a:pt x="153" y="787"/>
                    </a:lnTo>
                    <a:lnTo>
                      <a:pt x="238" y="850"/>
                    </a:lnTo>
                    <a:cubicBezTo>
                      <a:pt x="240" y="852"/>
                      <a:pt x="241" y="854"/>
                      <a:pt x="241" y="857"/>
                    </a:cubicBezTo>
                    <a:cubicBezTo>
                      <a:pt x="241" y="860"/>
                      <a:pt x="240" y="862"/>
                      <a:pt x="238" y="863"/>
                    </a:cubicBezTo>
                    <a:lnTo>
                      <a:pt x="193" y="895"/>
                    </a:lnTo>
                    <a:cubicBezTo>
                      <a:pt x="191" y="897"/>
                      <a:pt x="188" y="897"/>
                      <a:pt x="186" y="896"/>
                    </a:cubicBezTo>
                    <a:cubicBezTo>
                      <a:pt x="183" y="895"/>
                      <a:pt x="181" y="893"/>
                      <a:pt x="181" y="890"/>
                    </a:cubicBezTo>
                    <a:lnTo>
                      <a:pt x="170" y="840"/>
                    </a:lnTo>
                    <a:lnTo>
                      <a:pt x="177" y="847"/>
                    </a:lnTo>
                    <a:lnTo>
                      <a:pt x="141" y="847"/>
                    </a:lnTo>
                    <a:cubicBezTo>
                      <a:pt x="139" y="847"/>
                      <a:pt x="137" y="846"/>
                      <a:pt x="135" y="844"/>
                    </a:cubicBezTo>
                    <a:lnTo>
                      <a:pt x="39" y="746"/>
                    </a:lnTo>
                    <a:cubicBezTo>
                      <a:pt x="37" y="744"/>
                      <a:pt x="36" y="742"/>
                      <a:pt x="37" y="739"/>
                    </a:cubicBezTo>
                    <a:lnTo>
                      <a:pt x="54" y="628"/>
                    </a:lnTo>
                    <a:cubicBezTo>
                      <a:pt x="54" y="627"/>
                      <a:pt x="54" y="626"/>
                      <a:pt x="54" y="626"/>
                    </a:cubicBezTo>
                    <a:lnTo>
                      <a:pt x="103" y="521"/>
                    </a:lnTo>
                    <a:lnTo>
                      <a:pt x="103" y="527"/>
                    </a:lnTo>
                    <a:lnTo>
                      <a:pt x="35" y="357"/>
                    </a:lnTo>
                    <a:cubicBezTo>
                      <a:pt x="34" y="356"/>
                      <a:pt x="34" y="354"/>
                      <a:pt x="34" y="352"/>
                    </a:cubicBezTo>
                    <a:lnTo>
                      <a:pt x="57" y="276"/>
                    </a:lnTo>
                    <a:lnTo>
                      <a:pt x="57" y="281"/>
                    </a:lnTo>
                    <a:lnTo>
                      <a:pt x="1" y="151"/>
                    </a:lnTo>
                    <a:close/>
                    <a:moveTo>
                      <a:pt x="72" y="275"/>
                    </a:moveTo>
                    <a:cubicBezTo>
                      <a:pt x="72" y="276"/>
                      <a:pt x="73" y="278"/>
                      <a:pt x="72" y="280"/>
                    </a:cubicBezTo>
                    <a:lnTo>
                      <a:pt x="50" y="357"/>
                    </a:lnTo>
                    <a:lnTo>
                      <a:pt x="49" y="351"/>
                    </a:lnTo>
                    <a:lnTo>
                      <a:pt x="118" y="521"/>
                    </a:lnTo>
                    <a:cubicBezTo>
                      <a:pt x="119" y="523"/>
                      <a:pt x="119" y="526"/>
                      <a:pt x="118" y="528"/>
                    </a:cubicBezTo>
                    <a:lnTo>
                      <a:pt x="69" y="632"/>
                    </a:lnTo>
                    <a:lnTo>
                      <a:pt x="69" y="630"/>
                    </a:lnTo>
                    <a:lnTo>
                      <a:pt x="53" y="742"/>
                    </a:lnTo>
                    <a:lnTo>
                      <a:pt x="50" y="735"/>
                    </a:lnTo>
                    <a:lnTo>
                      <a:pt x="147" y="833"/>
                    </a:lnTo>
                    <a:lnTo>
                      <a:pt x="141" y="831"/>
                    </a:lnTo>
                    <a:lnTo>
                      <a:pt x="177" y="831"/>
                    </a:lnTo>
                    <a:cubicBezTo>
                      <a:pt x="181" y="831"/>
                      <a:pt x="184" y="833"/>
                      <a:pt x="185" y="837"/>
                    </a:cubicBezTo>
                    <a:lnTo>
                      <a:pt x="196" y="887"/>
                    </a:lnTo>
                    <a:lnTo>
                      <a:pt x="184" y="882"/>
                    </a:lnTo>
                    <a:lnTo>
                      <a:pt x="229" y="850"/>
                    </a:lnTo>
                    <a:lnTo>
                      <a:pt x="229" y="863"/>
                    </a:lnTo>
                    <a:lnTo>
                      <a:pt x="143" y="800"/>
                    </a:lnTo>
                    <a:cubicBezTo>
                      <a:pt x="142" y="799"/>
                      <a:pt x="141" y="798"/>
                      <a:pt x="141" y="796"/>
                    </a:cubicBezTo>
                    <a:lnTo>
                      <a:pt x="80" y="623"/>
                    </a:lnTo>
                    <a:cubicBezTo>
                      <a:pt x="80" y="622"/>
                      <a:pt x="80" y="620"/>
                      <a:pt x="80" y="618"/>
                    </a:cubicBezTo>
                    <a:lnTo>
                      <a:pt x="133" y="429"/>
                    </a:lnTo>
                    <a:cubicBezTo>
                      <a:pt x="134" y="426"/>
                      <a:pt x="136" y="424"/>
                      <a:pt x="139" y="423"/>
                    </a:cubicBezTo>
                    <a:cubicBezTo>
                      <a:pt x="141" y="423"/>
                      <a:pt x="144" y="423"/>
                      <a:pt x="146" y="425"/>
                    </a:cubicBezTo>
                    <a:lnTo>
                      <a:pt x="272" y="531"/>
                    </a:lnTo>
                    <a:lnTo>
                      <a:pt x="259" y="539"/>
                    </a:lnTo>
                    <a:lnTo>
                      <a:pt x="241" y="416"/>
                    </a:lnTo>
                    <a:cubicBezTo>
                      <a:pt x="240" y="413"/>
                      <a:pt x="241" y="411"/>
                      <a:pt x="243" y="409"/>
                    </a:cubicBezTo>
                    <a:lnTo>
                      <a:pt x="276" y="374"/>
                    </a:lnTo>
                    <a:cubicBezTo>
                      <a:pt x="278" y="372"/>
                      <a:pt x="280" y="371"/>
                      <a:pt x="283" y="371"/>
                    </a:cubicBezTo>
                    <a:lnTo>
                      <a:pt x="376" y="376"/>
                    </a:lnTo>
                    <a:lnTo>
                      <a:pt x="368" y="383"/>
                    </a:lnTo>
                    <a:lnTo>
                      <a:pt x="385" y="309"/>
                    </a:lnTo>
                    <a:lnTo>
                      <a:pt x="385" y="314"/>
                    </a:lnTo>
                    <a:lnTo>
                      <a:pt x="339" y="198"/>
                    </a:lnTo>
                    <a:lnTo>
                      <a:pt x="341" y="200"/>
                    </a:lnTo>
                    <a:lnTo>
                      <a:pt x="288" y="147"/>
                    </a:lnTo>
                    <a:lnTo>
                      <a:pt x="297" y="149"/>
                    </a:lnTo>
                    <a:lnTo>
                      <a:pt x="174" y="202"/>
                    </a:lnTo>
                    <a:cubicBezTo>
                      <a:pt x="171" y="203"/>
                      <a:pt x="168" y="203"/>
                      <a:pt x="166" y="201"/>
                    </a:cubicBezTo>
                    <a:cubicBezTo>
                      <a:pt x="163" y="199"/>
                      <a:pt x="162" y="197"/>
                      <a:pt x="162" y="194"/>
                    </a:cubicBezTo>
                    <a:lnTo>
                      <a:pt x="176" y="76"/>
                    </a:lnTo>
                    <a:lnTo>
                      <a:pt x="178" y="81"/>
                    </a:lnTo>
                    <a:lnTo>
                      <a:pt x="132" y="13"/>
                    </a:lnTo>
                    <a:lnTo>
                      <a:pt x="143" y="15"/>
                    </a:lnTo>
                    <a:lnTo>
                      <a:pt x="40" y="87"/>
                    </a:lnTo>
                    <a:lnTo>
                      <a:pt x="42" y="83"/>
                    </a:lnTo>
                    <a:lnTo>
                      <a:pt x="16" y="151"/>
                    </a:lnTo>
                    <a:lnTo>
                      <a:pt x="16" y="145"/>
                    </a:lnTo>
                    <a:lnTo>
                      <a:pt x="72" y="275"/>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55" name="Freeform 311"/>
              <p:cNvSpPr>
                <a:spLocks/>
              </p:cNvSpPr>
              <p:nvPr/>
            </p:nvSpPr>
            <p:spPr bwMode="auto">
              <a:xfrm>
                <a:off x="1873" y="1981"/>
                <a:ext cx="14" cy="11"/>
              </a:xfrm>
              <a:custGeom>
                <a:avLst/>
                <a:gdLst/>
                <a:ahLst/>
                <a:cxnLst>
                  <a:cxn ang="0">
                    <a:pos x="0" y="11"/>
                  </a:cxn>
                  <a:cxn ang="0">
                    <a:pos x="14" y="10"/>
                  </a:cxn>
                  <a:cxn ang="0">
                    <a:pos x="14" y="0"/>
                  </a:cxn>
                  <a:cxn ang="0">
                    <a:pos x="0" y="11"/>
                  </a:cxn>
                </a:cxnLst>
                <a:rect l="0" t="0" r="r" b="b"/>
                <a:pathLst>
                  <a:path w="14" h="11">
                    <a:moveTo>
                      <a:pt x="0" y="11"/>
                    </a:moveTo>
                    <a:lnTo>
                      <a:pt x="14" y="10"/>
                    </a:lnTo>
                    <a:lnTo>
                      <a:pt x="14" y="0"/>
                    </a:lnTo>
                    <a:lnTo>
                      <a:pt x="0" y="1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56" name="Freeform 312"/>
              <p:cNvSpPr>
                <a:spLocks noEditPoints="1"/>
              </p:cNvSpPr>
              <p:nvPr/>
            </p:nvSpPr>
            <p:spPr bwMode="auto">
              <a:xfrm>
                <a:off x="1871" y="1980"/>
                <a:ext cx="19" cy="14"/>
              </a:xfrm>
              <a:custGeom>
                <a:avLst/>
                <a:gdLst/>
                <a:ahLst/>
                <a:cxnLst>
                  <a:cxn ang="0">
                    <a:pos x="14" y="62"/>
                  </a:cxn>
                  <a:cxn ang="0">
                    <a:pos x="7" y="49"/>
                  </a:cxn>
                  <a:cxn ang="0">
                    <a:pos x="54" y="43"/>
                  </a:cxn>
                  <a:cxn ang="0">
                    <a:pos x="47" y="50"/>
                  </a:cxn>
                  <a:cxn ang="0">
                    <a:pos x="48" y="8"/>
                  </a:cxn>
                  <a:cxn ang="0">
                    <a:pos x="62" y="14"/>
                  </a:cxn>
                  <a:cxn ang="0">
                    <a:pos x="14" y="62"/>
                  </a:cxn>
                  <a:cxn ang="0">
                    <a:pos x="51" y="3"/>
                  </a:cxn>
                  <a:cxn ang="0">
                    <a:pos x="60" y="1"/>
                  </a:cxn>
                  <a:cxn ang="0">
                    <a:pos x="64" y="9"/>
                  </a:cxn>
                  <a:cxn ang="0">
                    <a:pos x="63" y="51"/>
                  </a:cxn>
                  <a:cxn ang="0">
                    <a:pos x="56" y="58"/>
                  </a:cxn>
                  <a:cxn ang="0">
                    <a:pos x="9" y="64"/>
                  </a:cxn>
                  <a:cxn ang="0">
                    <a:pos x="1" y="60"/>
                  </a:cxn>
                  <a:cxn ang="0">
                    <a:pos x="3" y="51"/>
                  </a:cxn>
                  <a:cxn ang="0">
                    <a:pos x="51" y="3"/>
                  </a:cxn>
                </a:cxnLst>
                <a:rect l="0" t="0" r="r" b="b"/>
                <a:pathLst>
                  <a:path w="65" h="65">
                    <a:moveTo>
                      <a:pt x="14" y="62"/>
                    </a:moveTo>
                    <a:lnTo>
                      <a:pt x="7" y="49"/>
                    </a:lnTo>
                    <a:lnTo>
                      <a:pt x="54" y="43"/>
                    </a:lnTo>
                    <a:lnTo>
                      <a:pt x="47" y="50"/>
                    </a:lnTo>
                    <a:lnTo>
                      <a:pt x="48" y="8"/>
                    </a:lnTo>
                    <a:lnTo>
                      <a:pt x="62" y="14"/>
                    </a:lnTo>
                    <a:lnTo>
                      <a:pt x="14" y="62"/>
                    </a:lnTo>
                    <a:close/>
                    <a:moveTo>
                      <a:pt x="51" y="3"/>
                    </a:moveTo>
                    <a:cubicBezTo>
                      <a:pt x="53" y="0"/>
                      <a:pt x="57" y="0"/>
                      <a:pt x="60" y="1"/>
                    </a:cubicBezTo>
                    <a:cubicBezTo>
                      <a:pt x="63" y="2"/>
                      <a:pt x="65" y="5"/>
                      <a:pt x="64" y="9"/>
                    </a:cubicBezTo>
                    <a:lnTo>
                      <a:pt x="63" y="51"/>
                    </a:lnTo>
                    <a:cubicBezTo>
                      <a:pt x="63" y="55"/>
                      <a:pt x="60" y="58"/>
                      <a:pt x="56" y="58"/>
                    </a:cubicBezTo>
                    <a:lnTo>
                      <a:pt x="9" y="64"/>
                    </a:lnTo>
                    <a:cubicBezTo>
                      <a:pt x="6" y="65"/>
                      <a:pt x="3" y="63"/>
                      <a:pt x="1" y="60"/>
                    </a:cubicBezTo>
                    <a:cubicBezTo>
                      <a:pt x="0" y="57"/>
                      <a:pt x="0" y="53"/>
                      <a:pt x="3" y="51"/>
                    </a:cubicBezTo>
                    <a:lnTo>
                      <a:pt x="51" y="3"/>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57" name="Freeform 313"/>
              <p:cNvSpPr>
                <a:spLocks/>
              </p:cNvSpPr>
              <p:nvPr/>
            </p:nvSpPr>
            <p:spPr bwMode="auto">
              <a:xfrm>
                <a:off x="3456" y="1773"/>
                <a:ext cx="74" cy="47"/>
              </a:xfrm>
              <a:custGeom>
                <a:avLst/>
                <a:gdLst/>
                <a:ahLst/>
                <a:cxnLst>
                  <a:cxn ang="0">
                    <a:pos x="0" y="21"/>
                  </a:cxn>
                  <a:cxn ang="0">
                    <a:pos x="4" y="21"/>
                  </a:cxn>
                  <a:cxn ang="0">
                    <a:pos x="10" y="28"/>
                  </a:cxn>
                  <a:cxn ang="0">
                    <a:pos x="42" y="28"/>
                  </a:cxn>
                  <a:cxn ang="0">
                    <a:pos x="71" y="0"/>
                  </a:cxn>
                  <a:cxn ang="0">
                    <a:pos x="74" y="17"/>
                  </a:cxn>
                  <a:cxn ang="0">
                    <a:pos x="66" y="17"/>
                  </a:cxn>
                  <a:cxn ang="0">
                    <a:pos x="71" y="28"/>
                  </a:cxn>
                  <a:cxn ang="0">
                    <a:pos x="59" y="47"/>
                  </a:cxn>
                  <a:cxn ang="0">
                    <a:pos x="13" y="43"/>
                  </a:cxn>
                  <a:cxn ang="0">
                    <a:pos x="0" y="21"/>
                  </a:cxn>
                </a:cxnLst>
                <a:rect l="0" t="0" r="r" b="b"/>
                <a:pathLst>
                  <a:path w="74" h="47">
                    <a:moveTo>
                      <a:pt x="0" y="21"/>
                    </a:moveTo>
                    <a:lnTo>
                      <a:pt x="4" y="21"/>
                    </a:lnTo>
                    <a:lnTo>
                      <a:pt x="10" y="28"/>
                    </a:lnTo>
                    <a:lnTo>
                      <a:pt x="42" y="28"/>
                    </a:lnTo>
                    <a:lnTo>
                      <a:pt x="71" y="0"/>
                    </a:lnTo>
                    <a:lnTo>
                      <a:pt x="74" y="17"/>
                    </a:lnTo>
                    <a:lnTo>
                      <a:pt x="66" y="17"/>
                    </a:lnTo>
                    <a:lnTo>
                      <a:pt x="71" y="28"/>
                    </a:lnTo>
                    <a:lnTo>
                      <a:pt x="59" y="47"/>
                    </a:lnTo>
                    <a:lnTo>
                      <a:pt x="13" y="43"/>
                    </a:lnTo>
                    <a:lnTo>
                      <a:pt x="0" y="2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58" name="Freeform 314"/>
              <p:cNvSpPr>
                <a:spLocks noEditPoints="1"/>
              </p:cNvSpPr>
              <p:nvPr/>
            </p:nvSpPr>
            <p:spPr bwMode="auto">
              <a:xfrm>
                <a:off x="3453" y="1771"/>
                <a:ext cx="80" cy="51"/>
              </a:xfrm>
              <a:custGeom>
                <a:avLst/>
                <a:gdLst/>
                <a:ahLst/>
                <a:cxnLst>
                  <a:cxn ang="0">
                    <a:pos x="1" y="106"/>
                  </a:cxn>
                  <a:cxn ang="0">
                    <a:pos x="1" y="99"/>
                  </a:cxn>
                  <a:cxn ang="0">
                    <a:pos x="7" y="95"/>
                  </a:cxn>
                  <a:cxn ang="0">
                    <a:pos x="21" y="91"/>
                  </a:cxn>
                  <a:cxn ang="0">
                    <a:pos x="29" y="95"/>
                  </a:cxn>
                  <a:cxn ang="0">
                    <a:pos x="50" y="126"/>
                  </a:cxn>
                  <a:cxn ang="0">
                    <a:pos x="44" y="123"/>
                  </a:cxn>
                  <a:cxn ang="0">
                    <a:pos x="153" y="121"/>
                  </a:cxn>
                  <a:cxn ang="0">
                    <a:pos x="147" y="124"/>
                  </a:cxn>
                  <a:cxn ang="0">
                    <a:pos x="246" y="3"/>
                  </a:cxn>
                  <a:cxn ang="0">
                    <a:pos x="254" y="1"/>
                  </a:cxn>
                  <a:cxn ang="0">
                    <a:pos x="260" y="7"/>
                  </a:cxn>
                  <a:cxn ang="0">
                    <a:pos x="272" y="81"/>
                  </a:cxn>
                  <a:cxn ang="0">
                    <a:pos x="271" y="87"/>
                  </a:cxn>
                  <a:cxn ang="0">
                    <a:pos x="265" y="90"/>
                  </a:cxn>
                  <a:cxn ang="0">
                    <a:pos x="237" y="92"/>
                  </a:cxn>
                  <a:cxn ang="0">
                    <a:pos x="244" y="81"/>
                  </a:cxn>
                  <a:cxn ang="0">
                    <a:pos x="259" y="127"/>
                  </a:cxn>
                  <a:cxn ang="0">
                    <a:pos x="259" y="133"/>
                  </a:cxn>
                  <a:cxn ang="0">
                    <a:pos x="218" y="220"/>
                  </a:cxn>
                  <a:cxn ang="0">
                    <a:pos x="210" y="224"/>
                  </a:cxn>
                  <a:cxn ang="0">
                    <a:pos x="54" y="203"/>
                  </a:cxn>
                  <a:cxn ang="0">
                    <a:pos x="48" y="198"/>
                  </a:cxn>
                  <a:cxn ang="0">
                    <a:pos x="1" y="106"/>
                  </a:cxn>
                  <a:cxn ang="0">
                    <a:pos x="62" y="191"/>
                  </a:cxn>
                  <a:cxn ang="0">
                    <a:pos x="56" y="187"/>
                  </a:cxn>
                  <a:cxn ang="0">
                    <a:pos x="212" y="209"/>
                  </a:cxn>
                  <a:cxn ang="0">
                    <a:pos x="203" y="213"/>
                  </a:cxn>
                  <a:cxn ang="0">
                    <a:pos x="244" y="126"/>
                  </a:cxn>
                  <a:cxn ang="0">
                    <a:pos x="244" y="132"/>
                  </a:cxn>
                  <a:cxn ang="0">
                    <a:pos x="229" y="87"/>
                  </a:cxn>
                  <a:cxn ang="0">
                    <a:pos x="230" y="79"/>
                  </a:cxn>
                  <a:cxn ang="0">
                    <a:pos x="236" y="76"/>
                  </a:cxn>
                  <a:cxn ang="0">
                    <a:pos x="264" y="74"/>
                  </a:cxn>
                  <a:cxn ang="0">
                    <a:pos x="257" y="84"/>
                  </a:cxn>
                  <a:cxn ang="0">
                    <a:pos x="244" y="10"/>
                  </a:cxn>
                  <a:cxn ang="0">
                    <a:pos x="258" y="14"/>
                  </a:cxn>
                  <a:cxn ang="0">
                    <a:pos x="159" y="134"/>
                  </a:cxn>
                  <a:cxn ang="0">
                    <a:pos x="153" y="137"/>
                  </a:cxn>
                  <a:cxn ang="0">
                    <a:pos x="44" y="139"/>
                  </a:cxn>
                  <a:cxn ang="0">
                    <a:pos x="37" y="135"/>
                  </a:cxn>
                  <a:cxn ang="0">
                    <a:pos x="16" y="103"/>
                  </a:cxn>
                  <a:cxn ang="0">
                    <a:pos x="24" y="107"/>
                  </a:cxn>
                  <a:cxn ang="0">
                    <a:pos x="10" y="110"/>
                  </a:cxn>
                  <a:cxn ang="0">
                    <a:pos x="16" y="99"/>
                  </a:cxn>
                  <a:cxn ang="0">
                    <a:pos x="62" y="191"/>
                  </a:cxn>
                </a:cxnLst>
                <a:rect l="0" t="0" r="r" b="b"/>
                <a:pathLst>
                  <a:path w="273" h="225">
                    <a:moveTo>
                      <a:pt x="1" y="106"/>
                    </a:moveTo>
                    <a:cubicBezTo>
                      <a:pt x="0" y="104"/>
                      <a:pt x="0" y="101"/>
                      <a:pt x="1" y="99"/>
                    </a:cubicBezTo>
                    <a:cubicBezTo>
                      <a:pt x="2" y="97"/>
                      <a:pt x="4" y="95"/>
                      <a:pt x="7" y="95"/>
                    </a:cubicBezTo>
                    <a:lnTo>
                      <a:pt x="21" y="91"/>
                    </a:lnTo>
                    <a:cubicBezTo>
                      <a:pt x="24" y="90"/>
                      <a:pt x="27" y="92"/>
                      <a:pt x="29" y="95"/>
                    </a:cubicBezTo>
                    <a:lnTo>
                      <a:pt x="50" y="126"/>
                    </a:lnTo>
                    <a:lnTo>
                      <a:pt x="44" y="123"/>
                    </a:lnTo>
                    <a:lnTo>
                      <a:pt x="153" y="121"/>
                    </a:lnTo>
                    <a:lnTo>
                      <a:pt x="147" y="124"/>
                    </a:lnTo>
                    <a:lnTo>
                      <a:pt x="246" y="3"/>
                    </a:lnTo>
                    <a:cubicBezTo>
                      <a:pt x="248" y="1"/>
                      <a:pt x="251" y="0"/>
                      <a:pt x="254" y="1"/>
                    </a:cubicBezTo>
                    <a:cubicBezTo>
                      <a:pt x="257" y="2"/>
                      <a:pt x="259" y="4"/>
                      <a:pt x="260" y="7"/>
                    </a:cubicBezTo>
                    <a:lnTo>
                      <a:pt x="272" y="81"/>
                    </a:lnTo>
                    <a:cubicBezTo>
                      <a:pt x="273" y="83"/>
                      <a:pt x="272" y="85"/>
                      <a:pt x="271" y="87"/>
                    </a:cubicBezTo>
                    <a:cubicBezTo>
                      <a:pt x="269" y="89"/>
                      <a:pt x="267" y="90"/>
                      <a:pt x="265" y="90"/>
                    </a:cubicBezTo>
                    <a:lnTo>
                      <a:pt x="237" y="92"/>
                    </a:lnTo>
                    <a:lnTo>
                      <a:pt x="244" y="81"/>
                    </a:lnTo>
                    <a:lnTo>
                      <a:pt x="259" y="127"/>
                    </a:lnTo>
                    <a:cubicBezTo>
                      <a:pt x="260" y="129"/>
                      <a:pt x="260" y="131"/>
                      <a:pt x="259" y="133"/>
                    </a:cubicBezTo>
                    <a:lnTo>
                      <a:pt x="218" y="220"/>
                    </a:lnTo>
                    <a:cubicBezTo>
                      <a:pt x="216" y="223"/>
                      <a:pt x="213" y="225"/>
                      <a:pt x="210" y="224"/>
                    </a:cubicBezTo>
                    <a:lnTo>
                      <a:pt x="54" y="203"/>
                    </a:lnTo>
                    <a:cubicBezTo>
                      <a:pt x="51" y="202"/>
                      <a:pt x="49" y="201"/>
                      <a:pt x="48" y="198"/>
                    </a:cubicBezTo>
                    <a:lnTo>
                      <a:pt x="1" y="106"/>
                    </a:lnTo>
                    <a:close/>
                    <a:moveTo>
                      <a:pt x="62" y="191"/>
                    </a:moveTo>
                    <a:lnTo>
                      <a:pt x="56" y="187"/>
                    </a:lnTo>
                    <a:lnTo>
                      <a:pt x="212" y="209"/>
                    </a:lnTo>
                    <a:lnTo>
                      <a:pt x="203" y="213"/>
                    </a:lnTo>
                    <a:lnTo>
                      <a:pt x="244" y="126"/>
                    </a:lnTo>
                    <a:lnTo>
                      <a:pt x="244" y="132"/>
                    </a:lnTo>
                    <a:lnTo>
                      <a:pt x="229" y="87"/>
                    </a:lnTo>
                    <a:cubicBezTo>
                      <a:pt x="228" y="84"/>
                      <a:pt x="228" y="82"/>
                      <a:pt x="230" y="79"/>
                    </a:cubicBezTo>
                    <a:cubicBezTo>
                      <a:pt x="231" y="77"/>
                      <a:pt x="233" y="76"/>
                      <a:pt x="236" y="76"/>
                    </a:cubicBezTo>
                    <a:lnTo>
                      <a:pt x="264" y="74"/>
                    </a:lnTo>
                    <a:lnTo>
                      <a:pt x="257" y="84"/>
                    </a:lnTo>
                    <a:lnTo>
                      <a:pt x="244" y="10"/>
                    </a:lnTo>
                    <a:lnTo>
                      <a:pt x="258" y="14"/>
                    </a:lnTo>
                    <a:lnTo>
                      <a:pt x="159" y="134"/>
                    </a:lnTo>
                    <a:cubicBezTo>
                      <a:pt x="157" y="136"/>
                      <a:pt x="155" y="137"/>
                      <a:pt x="153" y="137"/>
                    </a:cubicBezTo>
                    <a:lnTo>
                      <a:pt x="44" y="139"/>
                    </a:lnTo>
                    <a:cubicBezTo>
                      <a:pt x="41" y="139"/>
                      <a:pt x="39" y="138"/>
                      <a:pt x="37" y="135"/>
                    </a:cubicBezTo>
                    <a:lnTo>
                      <a:pt x="16" y="103"/>
                    </a:lnTo>
                    <a:lnTo>
                      <a:pt x="24" y="107"/>
                    </a:lnTo>
                    <a:lnTo>
                      <a:pt x="10" y="110"/>
                    </a:lnTo>
                    <a:lnTo>
                      <a:pt x="16" y="99"/>
                    </a:lnTo>
                    <a:lnTo>
                      <a:pt x="62" y="19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59" name="Freeform 315"/>
              <p:cNvSpPr>
                <a:spLocks/>
              </p:cNvSpPr>
              <p:nvPr/>
            </p:nvSpPr>
            <p:spPr bwMode="auto">
              <a:xfrm>
                <a:off x="2843" y="1612"/>
                <a:ext cx="56" cy="99"/>
              </a:xfrm>
              <a:custGeom>
                <a:avLst/>
                <a:gdLst/>
                <a:ahLst/>
                <a:cxnLst>
                  <a:cxn ang="0">
                    <a:pos x="0" y="46"/>
                  </a:cxn>
                  <a:cxn ang="0">
                    <a:pos x="13" y="37"/>
                  </a:cxn>
                  <a:cxn ang="0">
                    <a:pos x="19" y="1"/>
                  </a:cxn>
                  <a:cxn ang="0">
                    <a:pos x="52" y="0"/>
                  </a:cxn>
                  <a:cxn ang="0">
                    <a:pos x="44" y="12"/>
                  </a:cxn>
                  <a:cxn ang="0">
                    <a:pos x="54" y="27"/>
                  </a:cxn>
                  <a:cxn ang="0">
                    <a:pos x="34" y="46"/>
                  </a:cxn>
                  <a:cxn ang="0">
                    <a:pos x="56" y="58"/>
                  </a:cxn>
                  <a:cxn ang="0">
                    <a:pos x="28" y="99"/>
                  </a:cxn>
                  <a:cxn ang="0">
                    <a:pos x="24" y="73"/>
                  </a:cxn>
                  <a:cxn ang="0">
                    <a:pos x="0" y="46"/>
                  </a:cxn>
                </a:cxnLst>
                <a:rect l="0" t="0" r="r" b="b"/>
                <a:pathLst>
                  <a:path w="56" h="99">
                    <a:moveTo>
                      <a:pt x="0" y="46"/>
                    </a:moveTo>
                    <a:lnTo>
                      <a:pt x="13" y="37"/>
                    </a:lnTo>
                    <a:lnTo>
                      <a:pt x="19" y="1"/>
                    </a:lnTo>
                    <a:lnTo>
                      <a:pt x="52" y="0"/>
                    </a:lnTo>
                    <a:lnTo>
                      <a:pt x="44" y="12"/>
                    </a:lnTo>
                    <a:lnTo>
                      <a:pt x="54" y="27"/>
                    </a:lnTo>
                    <a:lnTo>
                      <a:pt x="34" y="46"/>
                    </a:lnTo>
                    <a:lnTo>
                      <a:pt x="56" y="58"/>
                    </a:lnTo>
                    <a:lnTo>
                      <a:pt x="28" y="99"/>
                    </a:lnTo>
                    <a:lnTo>
                      <a:pt x="24" y="73"/>
                    </a:lnTo>
                    <a:lnTo>
                      <a:pt x="0" y="46"/>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60" name="Freeform 316"/>
              <p:cNvSpPr>
                <a:spLocks noEditPoints="1"/>
              </p:cNvSpPr>
              <p:nvPr/>
            </p:nvSpPr>
            <p:spPr bwMode="auto">
              <a:xfrm>
                <a:off x="2841" y="1610"/>
                <a:ext cx="61" cy="103"/>
              </a:xfrm>
              <a:custGeom>
                <a:avLst/>
                <a:gdLst/>
                <a:ahLst/>
                <a:cxnLst>
                  <a:cxn ang="0">
                    <a:pos x="2" y="215"/>
                  </a:cxn>
                  <a:cxn ang="0">
                    <a:pos x="3" y="205"/>
                  </a:cxn>
                  <a:cxn ang="0">
                    <a:pos x="45" y="165"/>
                  </a:cxn>
                  <a:cxn ang="0">
                    <a:pos x="43" y="170"/>
                  </a:cxn>
                  <a:cxn ang="0">
                    <a:pos x="64" y="12"/>
                  </a:cxn>
                  <a:cxn ang="0">
                    <a:pos x="71" y="5"/>
                  </a:cxn>
                  <a:cxn ang="0">
                    <a:pos x="188" y="0"/>
                  </a:cxn>
                  <a:cxn ang="0">
                    <a:pos x="195" y="4"/>
                  </a:cxn>
                  <a:cxn ang="0">
                    <a:pos x="195" y="12"/>
                  </a:cxn>
                  <a:cxn ang="0">
                    <a:pos x="165" y="65"/>
                  </a:cxn>
                  <a:cxn ang="0">
                    <a:pos x="165" y="58"/>
                  </a:cxn>
                  <a:cxn ang="0">
                    <a:pos x="201" y="124"/>
                  </a:cxn>
                  <a:cxn ang="0">
                    <a:pos x="200" y="133"/>
                  </a:cxn>
                  <a:cxn ang="0">
                    <a:pos x="131" y="216"/>
                  </a:cxn>
                  <a:cxn ang="0">
                    <a:pos x="129" y="204"/>
                  </a:cxn>
                  <a:cxn ang="0">
                    <a:pos x="205" y="255"/>
                  </a:cxn>
                  <a:cxn ang="0">
                    <a:pos x="208" y="266"/>
                  </a:cxn>
                  <a:cxn ang="0">
                    <a:pos x="111" y="444"/>
                  </a:cxn>
                  <a:cxn ang="0">
                    <a:pos x="102" y="448"/>
                  </a:cxn>
                  <a:cxn ang="0">
                    <a:pos x="96" y="441"/>
                  </a:cxn>
                  <a:cxn ang="0">
                    <a:pos x="82" y="327"/>
                  </a:cxn>
                  <a:cxn ang="0">
                    <a:pos x="83" y="331"/>
                  </a:cxn>
                  <a:cxn ang="0">
                    <a:pos x="2" y="215"/>
                  </a:cxn>
                  <a:cxn ang="0">
                    <a:pos x="96" y="322"/>
                  </a:cxn>
                  <a:cxn ang="0">
                    <a:pos x="98" y="325"/>
                  </a:cxn>
                  <a:cxn ang="0">
                    <a:pos x="112" y="439"/>
                  </a:cxn>
                  <a:cxn ang="0">
                    <a:pos x="97" y="437"/>
                  </a:cxn>
                  <a:cxn ang="0">
                    <a:pos x="193" y="258"/>
                  </a:cxn>
                  <a:cxn ang="0">
                    <a:pos x="196" y="268"/>
                  </a:cxn>
                  <a:cxn ang="0">
                    <a:pos x="120" y="217"/>
                  </a:cxn>
                  <a:cxn ang="0">
                    <a:pos x="117" y="212"/>
                  </a:cxn>
                  <a:cxn ang="0">
                    <a:pos x="119" y="205"/>
                  </a:cxn>
                  <a:cxn ang="0">
                    <a:pos x="187" y="123"/>
                  </a:cxn>
                  <a:cxn ang="0">
                    <a:pos x="186" y="131"/>
                  </a:cxn>
                  <a:cxn ang="0">
                    <a:pos x="151" y="65"/>
                  </a:cxn>
                  <a:cxn ang="0">
                    <a:pos x="151" y="58"/>
                  </a:cxn>
                  <a:cxn ang="0">
                    <a:pos x="181" y="5"/>
                  </a:cxn>
                  <a:cxn ang="0">
                    <a:pos x="188" y="16"/>
                  </a:cxn>
                  <a:cxn ang="0">
                    <a:pos x="72" y="21"/>
                  </a:cxn>
                  <a:cxn ang="0">
                    <a:pos x="79" y="14"/>
                  </a:cxn>
                  <a:cxn ang="0">
                    <a:pos x="58" y="172"/>
                  </a:cxn>
                  <a:cxn ang="0">
                    <a:pos x="56" y="176"/>
                  </a:cxn>
                  <a:cxn ang="0">
                    <a:pos x="14" y="216"/>
                  </a:cxn>
                  <a:cxn ang="0">
                    <a:pos x="15" y="206"/>
                  </a:cxn>
                  <a:cxn ang="0">
                    <a:pos x="96" y="322"/>
                  </a:cxn>
                </a:cxnLst>
                <a:rect l="0" t="0" r="r" b="b"/>
                <a:pathLst>
                  <a:path w="209" h="449">
                    <a:moveTo>
                      <a:pt x="2" y="215"/>
                    </a:moveTo>
                    <a:cubicBezTo>
                      <a:pt x="0" y="212"/>
                      <a:pt x="0" y="207"/>
                      <a:pt x="3" y="205"/>
                    </a:cubicBezTo>
                    <a:lnTo>
                      <a:pt x="45" y="165"/>
                    </a:lnTo>
                    <a:lnTo>
                      <a:pt x="43" y="170"/>
                    </a:lnTo>
                    <a:lnTo>
                      <a:pt x="64" y="12"/>
                    </a:lnTo>
                    <a:cubicBezTo>
                      <a:pt x="64" y="9"/>
                      <a:pt x="67" y="6"/>
                      <a:pt x="71" y="5"/>
                    </a:cubicBezTo>
                    <a:lnTo>
                      <a:pt x="188" y="0"/>
                    </a:lnTo>
                    <a:cubicBezTo>
                      <a:pt x="190" y="0"/>
                      <a:pt x="193" y="2"/>
                      <a:pt x="195" y="4"/>
                    </a:cubicBezTo>
                    <a:cubicBezTo>
                      <a:pt x="196" y="7"/>
                      <a:pt x="196" y="10"/>
                      <a:pt x="195" y="12"/>
                    </a:cubicBezTo>
                    <a:lnTo>
                      <a:pt x="165" y="65"/>
                    </a:lnTo>
                    <a:lnTo>
                      <a:pt x="165" y="58"/>
                    </a:lnTo>
                    <a:lnTo>
                      <a:pt x="201" y="124"/>
                    </a:lnTo>
                    <a:cubicBezTo>
                      <a:pt x="202" y="127"/>
                      <a:pt x="202" y="130"/>
                      <a:pt x="200" y="133"/>
                    </a:cubicBezTo>
                    <a:lnTo>
                      <a:pt x="131" y="216"/>
                    </a:lnTo>
                    <a:lnTo>
                      <a:pt x="129" y="204"/>
                    </a:lnTo>
                    <a:lnTo>
                      <a:pt x="205" y="255"/>
                    </a:lnTo>
                    <a:cubicBezTo>
                      <a:pt x="208" y="257"/>
                      <a:pt x="209" y="262"/>
                      <a:pt x="208" y="266"/>
                    </a:cubicBezTo>
                    <a:lnTo>
                      <a:pt x="111" y="444"/>
                    </a:lnTo>
                    <a:cubicBezTo>
                      <a:pt x="109" y="447"/>
                      <a:pt x="106" y="449"/>
                      <a:pt x="102" y="448"/>
                    </a:cubicBezTo>
                    <a:cubicBezTo>
                      <a:pt x="99" y="448"/>
                      <a:pt x="96" y="445"/>
                      <a:pt x="96" y="441"/>
                    </a:cubicBezTo>
                    <a:lnTo>
                      <a:pt x="82" y="327"/>
                    </a:lnTo>
                    <a:lnTo>
                      <a:pt x="83" y="331"/>
                    </a:lnTo>
                    <a:lnTo>
                      <a:pt x="2" y="215"/>
                    </a:lnTo>
                    <a:close/>
                    <a:moveTo>
                      <a:pt x="96" y="322"/>
                    </a:moveTo>
                    <a:cubicBezTo>
                      <a:pt x="97" y="323"/>
                      <a:pt x="98" y="324"/>
                      <a:pt x="98" y="325"/>
                    </a:cubicBezTo>
                    <a:lnTo>
                      <a:pt x="112" y="439"/>
                    </a:lnTo>
                    <a:lnTo>
                      <a:pt x="97" y="437"/>
                    </a:lnTo>
                    <a:lnTo>
                      <a:pt x="193" y="258"/>
                    </a:lnTo>
                    <a:lnTo>
                      <a:pt x="196" y="268"/>
                    </a:lnTo>
                    <a:lnTo>
                      <a:pt x="120" y="217"/>
                    </a:lnTo>
                    <a:cubicBezTo>
                      <a:pt x="118" y="216"/>
                      <a:pt x="117" y="214"/>
                      <a:pt x="117" y="212"/>
                    </a:cubicBezTo>
                    <a:cubicBezTo>
                      <a:pt x="117" y="209"/>
                      <a:pt x="117" y="207"/>
                      <a:pt x="119" y="205"/>
                    </a:cubicBezTo>
                    <a:lnTo>
                      <a:pt x="187" y="123"/>
                    </a:lnTo>
                    <a:lnTo>
                      <a:pt x="186" y="131"/>
                    </a:lnTo>
                    <a:lnTo>
                      <a:pt x="151" y="65"/>
                    </a:lnTo>
                    <a:cubicBezTo>
                      <a:pt x="150" y="63"/>
                      <a:pt x="150" y="60"/>
                      <a:pt x="151" y="58"/>
                    </a:cubicBezTo>
                    <a:lnTo>
                      <a:pt x="181" y="5"/>
                    </a:lnTo>
                    <a:lnTo>
                      <a:pt x="188" y="16"/>
                    </a:lnTo>
                    <a:lnTo>
                      <a:pt x="72" y="21"/>
                    </a:lnTo>
                    <a:lnTo>
                      <a:pt x="79" y="14"/>
                    </a:lnTo>
                    <a:lnTo>
                      <a:pt x="58" y="172"/>
                    </a:lnTo>
                    <a:cubicBezTo>
                      <a:pt x="58" y="174"/>
                      <a:pt x="57" y="175"/>
                      <a:pt x="56" y="176"/>
                    </a:cubicBezTo>
                    <a:lnTo>
                      <a:pt x="14" y="216"/>
                    </a:lnTo>
                    <a:lnTo>
                      <a:pt x="15" y="206"/>
                    </a:lnTo>
                    <a:lnTo>
                      <a:pt x="96" y="322"/>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61" name="Freeform 317"/>
              <p:cNvSpPr>
                <a:spLocks/>
              </p:cNvSpPr>
              <p:nvPr/>
            </p:nvSpPr>
            <p:spPr bwMode="auto">
              <a:xfrm>
                <a:off x="3108" y="1539"/>
                <a:ext cx="37" cy="25"/>
              </a:xfrm>
              <a:custGeom>
                <a:avLst/>
                <a:gdLst/>
                <a:ahLst/>
                <a:cxnLst>
                  <a:cxn ang="0">
                    <a:pos x="0" y="17"/>
                  </a:cxn>
                  <a:cxn ang="0">
                    <a:pos x="4" y="1"/>
                  </a:cxn>
                  <a:cxn ang="0">
                    <a:pos x="25" y="0"/>
                  </a:cxn>
                  <a:cxn ang="0">
                    <a:pos x="37" y="13"/>
                  </a:cxn>
                  <a:cxn ang="0">
                    <a:pos x="20" y="13"/>
                  </a:cxn>
                  <a:cxn ang="0">
                    <a:pos x="1" y="25"/>
                  </a:cxn>
                  <a:cxn ang="0">
                    <a:pos x="10" y="18"/>
                  </a:cxn>
                  <a:cxn ang="0">
                    <a:pos x="0" y="17"/>
                  </a:cxn>
                </a:cxnLst>
                <a:rect l="0" t="0" r="r" b="b"/>
                <a:pathLst>
                  <a:path w="37" h="25">
                    <a:moveTo>
                      <a:pt x="0" y="17"/>
                    </a:moveTo>
                    <a:lnTo>
                      <a:pt x="4" y="1"/>
                    </a:lnTo>
                    <a:lnTo>
                      <a:pt x="25" y="0"/>
                    </a:lnTo>
                    <a:lnTo>
                      <a:pt x="37" y="13"/>
                    </a:lnTo>
                    <a:lnTo>
                      <a:pt x="20" y="13"/>
                    </a:lnTo>
                    <a:lnTo>
                      <a:pt x="1" y="25"/>
                    </a:lnTo>
                    <a:lnTo>
                      <a:pt x="10" y="18"/>
                    </a:lnTo>
                    <a:lnTo>
                      <a:pt x="0" y="17"/>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62" name="Freeform 318"/>
              <p:cNvSpPr>
                <a:spLocks noEditPoints="1"/>
              </p:cNvSpPr>
              <p:nvPr/>
            </p:nvSpPr>
            <p:spPr bwMode="auto">
              <a:xfrm>
                <a:off x="3105" y="1537"/>
                <a:ext cx="42" cy="29"/>
              </a:xfrm>
              <a:custGeom>
                <a:avLst/>
                <a:gdLst/>
                <a:ahLst/>
                <a:cxnLst>
                  <a:cxn ang="0">
                    <a:pos x="8" y="92"/>
                  </a:cxn>
                  <a:cxn ang="0">
                    <a:pos x="2" y="88"/>
                  </a:cxn>
                  <a:cxn ang="0">
                    <a:pos x="1" y="82"/>
                  </a:cxn>
                  <a:cxn ang="0">
                    <a:pos x="15" y="13"/>
                  </a:cxn>
                  <a:cxn ang="0">
                    <a:pos x="22" y="7"/>
                  </a:cxn>
                  <a:cxn ang="0">
                    <a:pos x="95" y="0"/>
                  </a:cxn>
                  <a:cxn ang="0">
                    <a:pos x="102" y="4"/>
                  </a:cxn>
                  <a:cxn ang="0">
                    <a:pos x="143" y="61"/>
                  </a:cxn>
                  <a:cxn ang="0">
                    <a:pos x="144" y="69"/>
                  </a:cxn>
                  <a:cxn ang="0">
                    <a:pos x="137" y="73"/>
                  </a:cxn>
                  <a:cxn ang="0">
                    <a:pos x="79" y="75"/>
                  </a:cxn>
                  <a:cxn ang="0">
                    <a:pos x="84" y="73"/>
                  </a:cxn>
                  <a:cxn ang="0">
                    <a:pos x="19" y="127"/>
                  </a:cxn>
                  <a:cxn ang="0">
                    <a:pos x="8" y="126"/>
                  </a:cxn>
                  <a:cxn ang="0">
                    <a:pos x="8" y="115"/>
                  </a:cxn>
                  <a:cxn ang="0">
                    <a:pos x="37" y="81"/>
                  </a:cxn>
                  <a:cxn ang="0">
                    <a:pos x="42" y="95"/>
                  </a:cxn>
                  <a:cxn ang="0">
                    <a:pos x="8" y="92"/>
                  </a:cxn>
                  <a:cxn ang="0">
                    <a:pos x="43" y="79"/>
                  </a:cxn>
                  <a:cxn ang="0">
                    <a:pos x="50" y="84"/>
                  </a:cxn>
                  <a:cxn ang="0">
                    <a:pos x="49" y="92"/>
                  </a:cxn>
                  <a:cxn ang="0">
                    <a:pos x="20" y="126"/>
                  </a:cxn>
                  <a:cxn ang="0">
                    <a:pos x="9" y="114"/>
                  </a:cxn>
                  <a:cxn ang="0">
                    <a:pos x="73" y="61"/>
                  </a:cxn>
                  <a:cxn ang="0">
                    <a:pos x="78" y="59"/>
                  </a:cxn>
                  <a:cxn ang="0">
                    <a:pos x="136" y="57"/>
                  </a:cxn>
                  <a:cxn ang="0">
                    <a:pos x="130" y="70"/>
                  </a:cxn>
                  <a:cxn ang="0">
                    <a:pos x="89" y="13"/>
                  </a:cxn>
                  <a:cxn ang="0">
                    <a:pos x="96" y="16"/>
                  </a:cxn>
                  <a:cxn ang="0">
                    <a:pos x="24" y="23"/>
                  </a:cxn>
                  <a:cxn ang="0">
                    <a:pos x="31" y="16"/>
                  </a:cxn>
                  <a:cxn ang="0">
                    <a:pos x="16" y="85"/>
                  </a:cxn>
                  <a:cxn ang="0">
                    <a:pos x="9" y="76"/>
                  </a:cxn>
                  <a:cxn ang="0">
                    <a:pos x="43" y="79"/>
                  </a:cxn>
                </a:cxnLst>
                <a:rect l="0" t="0" r="r" b="b"/>
                <a:pathLst>
                  <a:path w="145" h="129">
                    <a:moveTo>
                      <a:pt x="8" y="92"/>
                    </a:moveTo>
                    <a:cubicBezTo>
                      <a:pt x="5" y="91"/>
                      <a:pt x="3" y="90"/>
                      <a:pt x="2" y="88"/>
                    </a:cubicBezTo>
                    <a:cubicBezTo>
                      <a:pt x="1" y="87"/>
                      <a:pt x="0" y="84"/>
                      <a:pt x="1" y="82"/>
                    </a:cubicBezTo>
                    <a:lnTo>
                      <a:pt x="15" y="13"/>
                    </a:lnTo>
                    <a:cubicBezTo>
                      <a:pt x="16" y="9"/>
                      <a:pt x="19" y="7"/>
                      <a:pt x="22" y="7"/>
                    </a:cubicBezTo>
                    <a:lnTo>
                      <a:pt x="95" y="0"/>
                    </a:lnTo>
                    <a:cubicBezTo>
                      <a:pt x="98" y="0"/>
                      <a:pt x="100" y="2"/>
                      <a:pt x="102" y="4"/>
                    </a:cubicBezTo>
                    <a:lnTo>
                      <a:pt x="143" y="61"/>
                    </a:lnTo>
                    <a:cubicBezTo>
                      <a:pt x="145" y="63"/>
                      <a:pt x="145" y="66"/>
                      <a:pt x="144" y="69"/>
                    </a:cubicBezTo>
                    <a:cubicBezTo>
                      <a:pt x="142" y="71"/>
                      <a:pt x="140" y="73"/>
                      <a:pt x="137" y="73"/>
                    </a:cubicBezTo>
                    <a:lnTo>
                      <a:pt x="79" y="75"/>
                    </a:lnTo>
                    <a:lnTo>
                      <a:pt x="84" y="73"/>
                    </a:lnTo>
                    <a:lnTo>
                      <a:pt x="19" y="127"/>
                    </a:lnTo>
                    <a:cubicBezTo>
                      <a:pt x="16" y="129"/>
                      <a:pt x="11" y="129"/>
                      <a:pt x="8" y="126"/>
                    </a:cubicBezTo>
                    <a:cubicBezTo>
                      <a:pt x="5" y="123"/>
                      <a:pt x="5" y="118"/>
                      <a:pt x="8" y="115"/>
                    </a:cubicBezTo>
                    <a:lnTo>
                      <a:pt x="37" y="81"/>
                    </a:lnTo>
                    <a:lnTo>
                      <a:pt x="42" y="95"/>
                    </a:lnTo>
                    <a:lnTo>
                      <a:pt x="8" y="92"/>
                    </a:lnTo>
                    <a:close/>
                    <a:moveTo>
                      <a:pt x="43" y="79"/>
                    </a:moveTo>
                    <a:cubicBezTo>
                      <a:pt x="46" y="79"/>
                      <a:pt x="49" y="81"/>
                      <a:pt x="50" y="84"/>
                    </a:cubicBezTo>
                    <a:cubicBezTo>
                      <a:pt x="51" y="86"/>
                      <a:pt x="51" y="90"/>
                      <a:pt x="49" y="92"/>
                    </a:cubicBezTo>
                    <a:lnTo>
                      <a:pt x="20" y="126"/>
                    </a:lnTo>
                    <a:lnTo>
                      <a:pt x="9" y="114"/>
                    </a:lnTo>
                    <a:lnTo>
                      <a:pt x="73" y="61"/>
                    </a:lnTo>
                    <a:cubicBezTo>
                      <a:pt x="75" y="59"/>
                      <a:pt x="76" y="59"/>
                      <a:pt x="78" y="59"/>
                    </a:cubicBezTo>
                    <a:lnTo>
                      <a:pt x="136" y="57"/>
                    </a:lnTo>
                    <a:lnTo>
                      <a:pt x="130" y="70"/>
                    </a:lnTo>
                    <a:lnTo>
                      <a:pt x="89" y="13"/>
                    </a:lnTo>
                    <a:lnTo>
                      <a:pt x="96" y="16"/>
                    </a:lnTo>
                    <a:lnTo>
                      <a:pt x="24" y="23"/>
                    </a:lnTo>
                    <a:lnTo>
                      <a:pt x="31" y="16"/>
                    </a:lnTo>
                    <a:lnTo>
                      <a:pt x="16" y="85"/>
                    </a:lnTo>
                    <a:lnTo>
                      <a:pt x="9" y="76"/>
                    </a:lnTo>
                    <a:lnTo>
                      <a:pt x="43" y="79"/>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63" name="Freeform 319"/>
              <p:cNvSpPr>
                <a:spLocks/>
              </p:cNvSpPr>
              <p:nvPr/>
            </p:nvSpPr>
            <p:spPr bwMode="auto">
              <a:xfrm>
                <a:off x="3112" y="1535"/>
                <a:ext cx="256" cy="92"/>
              </a:xfrm>
              <a:custGeom>
                <a:avLst/>
                <a:gdLst/>
                <a:ahLst/>
                <a:cxnLst>
                  <a:cxn ang="0">
                    <a:pos x="0" y="31"/>
                  </a:cxn>
                  <a:cxn ang="0">
                    <a:pos x="11" y="55"/>
                  </a:cxn>
                  <a:cxn ang="0">
                    <a:pos x="1" y="57"/>
                  </a:cxn>
                  <a:cxn ang="0">
                    <a:pos x="11" y="61"/>
                  </a:cxn>
                  <a:cxn ang="0">
                    <a:pos x="15" y="76"/>
                  </a:cxn>
                  <a:cxn ang="0">
                    <a:pos x="30" y="74"/>
                  </a:cxn>
                  <a:cxn ang="0">
                    <a:pos x="15" y="81"/>
                  </a:cxn>
                  <a:cxn ang="0">
                    <a:pos x="32" y="78"/>
                  </a:cxn>
                  <a:cxn ang="0">
                    <a:pos x="49" y="88"/>
                  </a:cxn>
                  <a:cxn ang="0">
                    <a:pos x="66" y="78"/>
                  </a:cxn>
                  <a:cxn ang="0">
                    <a:pos x="91" y="91"/>
                  </a:cxn>
                  <a:cxn ang="0">
                    <a:pos x="135" y="78"/>
                  </a:cxn>
                  <a:cxn ang="0">
                    <a:pos x="134" y="92"/>
                  </a:cxn>
                  <a:cxn ang="0">
                    <a:pos x="143" y="78"/>
                  </a:cxn>
                  <a:cxn ang="0">
                    <a:pos x="225" y="74"/>
                  </a:cxn>
                  <a:cxn ang="0">
                    <a:pos x="256" y="72"/>
                  </a:cxn>
                  <a:cxn ang="0">
                    <a:pos x="247" y="40"/>
                  </a:cxn>
                  <a:cxn ang="0">
                    <a:pos x="254" y="33"/>
                  </a:cxn>
                  <a:cxn ang="0">
                    <a:pos x="227" y="7"/>
                  </a:cxn>
                  <a:cxn ang="0">
                    <a:pos x="211" y="7"/>
                  </a:cxn>
                  <a:cxn ang="0">
                    <a:pos x="164" y="18"/>
                  </a:cxn>
                  <a:cxn ang="0">
                    <a:pos x="123" y="0"/>
                  </a:cxn>
                  <a:cxn ang="0">
                    <a:pos x="98" y="1"/>
                  </a:cxn>
                  <a:cxn ang="0">
                    <a:pos x="66" y="17"/>
                  </a:cxn>
                  <a:cxn ang="0">
                    <a:pos x="40" y="12"/>
                  </a:cxn>
                  <a:cxn ang="0">
                    <a:pos x="49" y="21"/>
                  </a:cxn>
                  <a:cxn ang="0">
                    <a:pos x="0" y="31"/>
                  </a:cxn>
                </a:cxnLst>
                <a:rect l="0" t="0" r="r" b="b"/>
                <a:pathLst>
                  <a:path w="256" h="92">
                    <a:moveTo>
                      <a:pt x="0" y="31"/>
                    </a:moveTo>
                    <a:lnTo>
                      <a:pt x="11" y="55"/>
                    </a:lnTo>
                    <a:lnTo>
                      <a:pt x="1" y="57"/>
                    </a:lnTo>
                    <a:lnTo>
                      <a:pt x="11" y="61"/>
                    </a:lnTo>
                    <a:lnTo>
                      <a:pt x="15" y="76"/>
                    </a:lnTo>
                    <a:lnTo>
                      <a:pt x="30" y="74"/>
                    </a:lnTo>
                    <a:lnTo>
                      <a:pt x="15" y="81"/>
                    </a:lnTo>
                    <a:lnTo>
                      <a:pt x="32" y="78"/>
                    </a:lnTo>
                    <a:lnTo>
                      <a:pt x="49" y="88"/>
                    </a:lnTo>
                    <a:lnTo>
                      <a:pt x="66" y="78"/>
                    </a:lnTo>
                    <a:lnTo>
                      <a:pt x="91" y="91"/>
                    </a:lnTo>
                    <a:lnTo>
                      <a:pt x="135" y="78"/>
                    </a:lnTo>
                    <a:lnTo>
                      <a:pt x="134" y="92"/>
                    </a:lnTo>
                    <a:lnTo>
                      <a:pt x="143" y="78"/>
                    </a:lnTo>
                    <a:lnTo>
                      <a:pt x="225" y="74"/>
                    </a:lnTo>
                    <a:lnTo>
                      <a:pt x="256" y="72"/>
                    </a:lnTo>
                    <a:lnTo>
                      <a:pt x="247" y="40"/>
                    </a:lnTo>
                    <a:lnTo>
                      <a:pt x="254" y="33"/>
                    </a:lnTo>
                    <a:lnTo>
                      <a:pt x="227" y="7"/>
                    </a:lnTo>
                    <a:lnTo>
                      <a:pt x="211" y="7"/>
                    </a:lnTo>
                    <a:lnTo>
                      <a:pt x="164" y="18"/>
                    </a:lnTo>
                    <a:lnTo>
                      <a:pt x="123" y="0"/>
                    </a:lnTo>
                    <a:lnTo>
                      <a:pt x="98" y="1"/>
                    </a:lnTo>
                    <a:lnTo>
                      <a:pt x="66" y="17"/>
                    </a:lnTo>
                    <a:lnTo>
                      <a:pt x="40" y="12"/>
                    </a:lnTo>
                    <a:lnTo>
                      <a:pt x="49" y="21"/>
                    </a:lnTo>
                    <a:lnTo>
                      <a:pt x="0" y="3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64" name="Freeform 320"/>
              <p:cNvSpPr>
                <a:spLocks noEditPoints="1"/>
              </p:cNvSpPr>
              <p:nvPr/>
            </p:nvSpPr>
            <p:spPr bwMode="auto">
              <a:xfrm>
                <a:off x="3110" y="1533"/>
                <a:ext cx="260" cy="96"/>
              </a:xfrm>
              <a:custGeom>
                <a:avLst/>
                <a:gdLst/>
                <a:ahLst/>
                <a:cxnLst>
                  <a:cxn ang="0">
                    <a:pos x="16" y="140"/>
                  </a:cxn>
                  <a:cxn ang="0">
                    <a:pos x="53" y="252"/>
                  </a:cxn>
                  <a:cxn ang="0">
                    <a:pos x="12" y="266"/>
                  </a:cxn>
                  <a:cxn ang="0">
                    <a:pos x="49" y="269"/>
                  </a:cxn>
                  <a:cxn ang="0">
                    <a:pos x="67" y="337"/>
                  </a:cxn>
                  <a:cxn ang="0">
                    <a:pos x="108" y="324"/>
                  </a:cxn>
                  <a:cxn ang="0">
                    <a:pos x="113" y="339"/>
                  </a:cxn>
                  <a:cxn ang="0">
                    <a:pos x="58" y="352"/>
                  </a:cxn>
                  <a:cxn ang="0">
                    <a:pos x="121" y="342"/>
                  </a:cxn>
                  <a:cxn ang="0">
                    <a:pos x="172" y="384"/>
                  </a:cxn>
                  <a:cxn ang="0">
                    <a:pos x="238" y="340"/>
                  </a:cxn>
                  <a:cxn ang="0">
                    <a:pos x="317" y="396"/>
                  </a:cxn>
                  <a:cxn ang="0">
                    <a:pos x="477" y="341"/>
                  </a:cxn>
                  <a:cxn ang="0">
                    <a:pos x="476" y="409"/>
                  </a:cxn>
                  <a:cxn ang="0">
                    <a:pos x="491" y="343"/>
                  </a:cxn>
                  <a:cxn ang="0">
                    <a:pos x="782" y="323"/>
                  </a:cxn>
                  <a:cxn ang="0">
                    <a:pos x="881" y="326"/>
                  </a:cxn>
                  <a:cxn ang="0">
                    <a:pos x="852" y="178"/>
                  </a:cxn>
                  <a:cxn ang="0">
                    <a:pos x="877" y="159"/>
                  </a:cxn>
                  <a:cxn ang="0">
                    <a:pos x="791" y="44"/>
                  </a:cxn>
                  <a:cxn ang="0">
                    <a:pos x="735" y="44"/>
                  </a:cxn>
                  <a:cxn ang="0">
                    <a:pos x="567" y="92"/>
                  </a:cxn>
                  <a:cxn ang="0">
                    <a:pos x="432" y="16"/>
                  </a:cxn>
                  <a:cxn ang="0">
                    <a:pos x="351" y="17"/>
                  </a:cxn>
                  <a:cxn ang="0">
                    <a:pos x="233" y="89"/>
                  </a:cxn>
                  <a:cxn ang="0">
                    <a:pos x="153" y="57"/>
                  </a:cxn>
                  <a:cxn ang="0">
                    <a:pos x="182" y="102"/>
                  </a:cxn>
                  <a:cxn ang="0">
                    <a:pos x="11" y="151"/>
                  </a:cxn>
                  <a:cxn ang="0">
                    <a:pos x="168" y="104"/>
                  </a:cxn>
                  <a:cxn ang="0">
                    <a:pos x="140" y="58"/>
                  </a:cxn>
                  <a:cxn ang="0">
                    <a:pos x="236" y="74"/>
                  </a:cxn>
                  <a:cxn ang="0">
                    <a:pos x="342" y="3"/>
                  </a:cxn>
                  <a:cxn ang="0">
                    <a:pos x="432" y="0"/>
                  </a:cxn>
                  <a:cxn ang="0">
                    <a:pos x="575" y="78"/>
                  </a:cxn>
                  <a:cxn ang="0">
                    <a:pos x="730" y="28"/>
                  </a:cxn>
                  <a:cxn ang="0">
                    <a:pos x="791" y="28"/>
                  </a:cxn>
                  <a:cxn ang="0">
                    <a:pos x="889" y="149"/>
                  </a:cxn>
                  <a:cxn ang="0">
                    <a:pos x="864" y="189"/>
                  </a:cxn>
                  <a:cxn ang="0">
                    <a:pos x="896" y="323"/>
                  </a:cxn>
                  <a:cxn ang="0">
                    <a:pos x="889" y="332"/>
                  </a:cxn>
                  <a:cxn ang="0">
                    <a:pos x="499" y="355"/>
                  </a:cxn>
                  <a:cxn ang="0">
                    <a:pos x="475" y="412"/>
                  </a:cxn>
                  <a:cxn ang="0">
                    <a:pos x="460" y="408"/>
                  </a:cxn>
                  <a:cxn ang="0">
                    <a:pos x="475" y="354"/>
                  </a:cxn>
                  <a:cxn ang="0">
                    <a:pos x="316" y="410"/>
                  </a:cxn>
                  <a:cxn ang="0">
                    <a:pos x="238" y="353"/>
                  </a:cxn>
                  <a:cxn ang="0">
                    <a:pos x="172" y="397"/>
                  </a:cxn>
                  <a:cxn ang="0">
                    <a:pos x="118" y="356"/>
                  </a:cxn>
                  <a:cxn ang="0">
                    <a:pos x="52" y="363"/>
                  </a:cxn>
                  <a:cxn ang="0">
                    <a:pos x="105" y="325"/>
                  </a:cxn>
                  <a:cxn ang="0">
                    <a:pos x="61" y="347"/>
                  </a:cxn>
                  <a:cxn ang="0">
                    <a:pos x="38" y="277"/>
                  </a:cxn>
                  <a:cxn ang="0">
                    <a:pos x="6" y="265"/>
                  </a:cxn>
                  <a:cxn ang="0">
                    <a:pos x="8" y="250"/>
                  </a:cxn>
                  <a:cxn ang="0">
                    <a:pos x="38" y="251"/>
                  </a:cxn>
                  <a:cxn ang="0">
                    <a:pos x="1" y="139"/>
                  </a:cxn>
                  <a:cxn ang="0">
                    <a:pos x="172" y="91"/>
                  </a:cxn>
                </a:cxnLst>
                <a:rect l="0" t="0" r="r" b="b"/>
                <a:pathLst>
                  <a:path w="897" h="417">
                    <a:moveTo>
                      <a:pt x="11" y="151"/>
                    </a:moveTo>
                    <a:lnTo>
                      <a:pt x="16" y="140"/>
                    </a:lnTo>
                    <a:lnTo>
                      <a:pt x="53" y="245"/>
                    </a:lnTo>
                    <a:cubicBezTo>
                      <a:pt x="54" y="248"/>
                      <a:pt x="54" y="250"/>
                      <a:pt x="53" y="252"/>
                    </a:cubicBezTo>
                    <a:cubicBezTo>
                      <a:pt x="52" y="254"/>
                      <a:pt x="50" y="255"/>
                      <a:pt x="48" y="256"/>
                    </a:cubicBezTo>
                    <a:lnTo>
                      <a:pt x="12" y="266"/>
                    </a:lnTo>
                    <a:lnTo>
                      <a:pt x="13" y="251"/>
                    </a:lnTo>
                    <a:lnTo>
                      <a:pt x="49" y="269"/>
                    </a:lnTo>
                    <a:cubicBezTo>
                      <a:pt x="51" y="270"/>
                      <a:pt x="53" y="272"/>
                      <a:pt x="54" y="274"/>
                    </a:cubicBezTo>
                    <a:lnTo>
                      <a:pt x="67" y="337"/>
                    </a:lnTo>
                    <a:lnTo>
                      <a:pt x="58" y="331"/>
                    </a:lnTo>
                    <a:lnTo>
                      <a:pt x="108" y="324"/>
                    </a:lnTo>
                    <a:cubicBezTo>
                      <a:pt x="112" y="324"/>
                      <a:pt x="116" y="326"/>
                      <a:pt x="117" y="330"/>
                    </a:cubicBezTo>
                    <a:cubicBezTo>
                      <a:pt x="118" y="334"/>
                      <a:pt x="116" y="337"/>
                      <a:pt x="113" y="339"/>
                    </a:cubicBezTo>
                    <a:lnTo>
                      <a:pt x="63" y="367"/>
                    </a:lnTo>
                    <a:lnTo>
                      <a:pt x="58" y="352"/>
                    </a:lnTo>
                    <a:lnTo>
                      <a:pt x="114" y="341"/>
                    </a:lnTo>
                    <a:cubicBezTo>
                      <a:pt x="117" y="340"/>
                      <a:pt x="119" y="341"/>
                      <a:pt x="121" y="342"/>
                    </a:cubicBezTo>
                    <a:lnTo>
                      <a:pt x="181" y="384"/>
                    </a:lnTo>
                    <a:lnTo>
                      <a:pt x="172" y="384"/>
                    </a:lnTo>
                    <a:lnTo>
                      <a:pt x="228" y="341"/>
                    </a:lnTo>
                    <a:cubicBezTo>
                      <a:pt x="231" y="339"/>
                      <a:pt x="235" y="338"/>
                      <a:pt x="238" y="340"/>
                    </a:cubicBezTo>
                    <a:lnTo>
                      <a:pt x="325" y="397"/>
                    </a:lnTo>
                    <a:lnTo>
                      <a:pt x="317" y="396"/>
                    </a:lnTo>
                    <a:lnTo>
                      <a:pt x="469" y="339"/>
                    </a:lnTo>
                    <a:cubicBezTo>
                      <a:pt x="472" y="338"/>
                      <a:pt x="475" y="339"/>
                      <a:pt x="477" y="341"/>
                    </a:cubicBezTo>
                    <a:cubicBezTo>
                      <a:pt x="479" y="342"/>
                      <a:pt x="480" y="345"/>
                      <a:pt x="480" y="347"/>
                    </a:cubicBezTo>
                    <a:lnTo>
                      <a:pt x="476" y="409"/>
                    </a:lnTo>
                    <a:lnTo>
                      <a:pt x="461" y="405"/>
                    </a:lnTo>
                    <a:lnTo>
                      <a:pt x="491" y="343"/>
                    </a:lnTo>
                    <a:cubicBezTo>
                      <a:pt x="492" y="341"/>
                      <a:pt x="495" y="339"/>
                      <a:pt x="498" y="339"/>
                    </a:cubicBezTo>
                    <a:lnTo>
                      <a:pt x="782" y="323"/>
                    </a:lnTo>
                    <a:lnTo>
                      <a:pt x="888" y="316"/>
                    </a:lnTo>
                    <a:lnTo>
                      <a:pt x="881" y="326"/>
                    </a:lnTo>
                    <a:lnTo>
                      <a:pt x="850" y="185"/>
                    </a:lnTo>
                    <a:cubicBezTo>
                      <a:pt x="850" y="183"/>
                      <a:pt x="850" y="180"/>
                      <a:pt x="852" y="178"/>
                    </a:cubicBezTo>
                    <a:lnTo>
                      <a:pt x="877" y="149"/>
                    </a:lnTo>
                    <a:lnTo>
                      <a:pt x="877" y="159"/>
                    </a:lnTo>
                    <a:lnTo>
                      <a:pt x="784" y="41"/>
                    </a:lnTo>
                    <a:lnTo>
                      <a:pt x="791" y="44"/>
                    </a:lnTo>
                    <a:lnTo>
                      <a:pt x="733" y="44"/>
                    </a:lnTo>
                    <a:lnTo>
                      <a:pt x="735" y="44"/>
                    </a:lnTo>
                    <a:lnTo>
                      <a:pt x="574" y="92"/>
                    </a:lnTo>
                    <a:cubicBezTo>
                      <a:pt x="571" y="93"/>
                      <a:pt x="569" y="93"/>
                      <a:pt x="567" y="92"/>
                    </a:cubicBezTo>
                    <a:lnTo>
                      <a:pt x="428" y="15"/>
                    </a:lnTo>
                    <a:lnTo>
                      <a:pt x="432" y="16"/>
                    </a:lnTo>
                    <a:lnTo>
                      <a:pt x="347" y="18"/>
                    </a:lnTo>
                    <a:lnTo>
                      <a:pt x="351" y="17"/>
                    </a:lnTo>
                    <a:lnTo>
                      <a:pt x="239" y="88"/>
                    </a:lnTo>
                    <a:cubicBezTo>
                      <a:pt x="237" y="89"/>
                      <a:pt x="235" y="90"/>
                      <a:pt x="233" y="89"/>
                    </a:cubicBezTo>
                    <a:lnTo>
                      <a:pt x="145" y="70"/>
                    </a:lnTo>
                    <a:lnTo>
                      <a:pt x="153" y="57"/>
                    </a:lnTo>
                    <a:lnTo>
                      <a:pt x="180" y="94"/>
                    </a:lnTo>
                    <a:cubicBezTo>
                      <a:pt x="182" y="97"/>
                      <a:pt x="182" y="99"/>
                      <a:pt x="182" y="102"/>
                    </a:cubicBezTo>
                    <a:cubicBezTo>
                      <a:pt x="181" y="104"/>
                      <a:pt x="179" y="106"/>
                      <a:pt x="176" y="107"/>
                    </a:cubicBezTo>
                    <a:lnTo>
                      <a:pt x="11" y="151"/>
                    </a:lnTo>
                    <a:close/>
                    <a:moveTo>
                      <a:pt x="172" y="91"/>
                    </a:moveTo>
                    <a:lnTo>
                      <a:pt x="168" y="104"/>
                    </a:lnTo>
                    <a:lnTo>
                      <a:pt x="140" y="67"/>
                    </a:lnTo>
                    <a:cubicBezTo>
                      <a:pt x="138" y="64"/>
                      <a:pt x="138" y="60"/>
                      <a:pt x="140" y="58"/>
                    </a:cubicBezTo>
                    <a:cubicBezTo>
                      <a:pt x="141" y="55"/>
                      <a:pt x="145" y="53"/>
                      <a:pt x="148" y="54"/>
                    </a:cubicBezTo>
                    <a:lnTo>
                      <a:pt x="236" y="74"/>
                    </a:lnTo>
                    <a:lnTo>
                      <a:pt x="230" y="75"/>
                    </a:lnTo>
                    <a:lnTo>
                      <a:pt x="342" y="3"/>
                    </a:lnTo>
                    <a:cubicBezTo>
                      <a:pt x="343" y="3"/>
                      <a:pt x="345" y="2"/>
                      <a:pt x="346" y="2"/>
                    </a:cubicBezTo>
                    <a:lnTo>
                      <a:pt x="432" y="0"/>
                    </a:lnTo>
                    <a:cubicBezTo>
                      <a:pt x="433" y="0"/>
                      <a:pt x="435" y="1"/>
                      <a:pt x="436" y="1"/>
                    </a:cubicBezTo>
                    <a:lnTo>
                      <a:pt x="575" y="78"/>
                    </a:lnTo>
                    <a:lnTo>
                      <a:pt x="569" y="77"/>
                    </a:lnTo>
                    <a:lnTo>
                      <a:pt x="730" y="28"/>
                    </a:lnTo>
                    <a:cubicBezTo>
                      <a:pt x="731" y="28"/>
                      <a:pt x="732" y="28"/>
                      <a:pt x="733" y="28"/>
                    </a:cubicBezTo>
                    <a:lnTo>
                      <a:pt x="791" y="28"/>
                    </a:lnTo>
                    <a:cubicBezTo>
                      <a:pt x="793" y="28"/>
                      <a:pt x="795" y="29"/>
                      <a:pt x="797" y="31"/>
                    </a:cubicBezTo>
                    <a:lnTo>
                      <a:pt x="889" y="149"/>
                    </a:lnTo>
                    <a:cubicBezTo>
                      <a:pt x="892" y="152"/>
                      <a:pt x="892" y="157"/>
                      <a:pt x="889" y="159"/>
                    </a:cubicBezTo>
                    <a:lnTo>
                      <a:pt x="864" y="189"/>
                    </a:lnTo>
                    <a:lnTo>
                      <a:pt x="866" y="182"/>
                    </a:lnTo>
                    <a:lnTo>
                      <a:pt x="896" y="323"/>
                    </a:lnTo>
                    <a:cubicBezTo>
                      <a:pt x="897" y="325"/>
                      <a:pt x="896" y="327"/>
                      <a:pt x="895" y="329"/>
                    </a:cubicBezTo>
                    <a:cubicBezTo>
                      <a:pt x="893" y="331"/>
                      <a:pt x="891" y="332"/>
                      <a:pt x="889" y="332"/>
                    </a:cubicBezTo>
                    <a:lnTo>
                      <a:pt x="783" y="339"/>
                    </a:lnTo>
                    <a:lnTo>
                      <a:pt x="499" y="355"/>
                    </a:lnTo>
                    <a:lnTo>
                      <a:pt x="505" y="350"/>
                    </a:lnTo>
                    <a:lnTo>
                      <a:pt x="475" y="412"/>
                    </a:lnTo>
                    <a:cubicBezTo>
                      <a:pt x="473" y="415"/>
                      <a:pt x="469" y="417"/>
                      <a:pt x="466" y="416"/>
                    </a:cubicBezTo>
                    <a:cubicBezTo>
                      <a:pt x="462" y="415"/>
                      <a:pt x="460" y="412"/>
                      <a:pt x="460" y="408"/>
                    </a:cubicBezTo>
                    <a:lnTo>
                      <a:pt x="464" y="346"/>
                    </a:lnTo>
                    <a:lnTo>
                      <a:pt x="475" y="354"/>
                    </a:lnTo>
                    <a:lnTo>
                      <a:pt x="323" y="411"/>
                    </a:lnTo>
                    <a:cubicBezTo>
                      <a:pt x="321" y="412"/>
                      <a:pt x="318" y="412"/>
                      <a:pt x="316" y="410"/>
                    </a:cubicBezTo>
                    <a:lnTo>
                      <a:pt x="229" y="354"/>
                    </a:lnTo>
                    <a:lnTo>
                      <a:pt x="238" y="353"/>
                    </a:lnTo>
                    <a:lnTo>
                      <a:pt x="182" y="397"/>
                    </a:lnTo>
                    <a:cubicBezTo>
                      <a:pt x="179" y="399"/>
                      <a:pt x="175" y="399"/>
                      <a:pt x="172" y="397"/>
                    </a:cubicBezTo>
                    <a:lnTo>
                      <a:pt x="111" y="355"/>
                    </a:lnTo>
                    <a:lnTo>
                      <a:pt x="118" y="356"/>
                    </a:lnTo>
                    <a:lnTo>
                      <a:pt x="61" y="368"/>
                    </a:lnTo>
                    <a:cubicBezTo>
                      <a:pt x="57" y="369"/>
                      <a:pt x="53" y="366"/>
                      <a:pt x="52" y="363"/>
                    </a:cubicBezTo>
                    <a:cubicBezTo>
                      <a:pt x="51" y="359"/>
                      <a:pt x="52" y="355"/>
                      <a:pt x="56" y="353"/>
                    </a:cubicBezTo>
                    <a:lnTo>
                      <a:pt x="105" y="325"/>
                    </a:lnTo>
                    <a:lnTo>
                      <a:pt x="110" y="340"/>
                    </a:lnTo>
                    <a:lnTo>
                      <a:pt x="61" y="347"/>
                    </a:lnTo>
                    <a:cubicBezTo>
                      <a:pt x="56" y="347"/>
                      <a:pt x="53" y="345"/>
                      <a:pt x="52" y="341"/>
                    </a:cubicBezTo>
                    <a:lnTo>
                      <a:pt x="38" y="277"/>
                    </a:lnTo>
                    <a:lnTo>
                      <a:pt x="42" y="283"/>
                    </a:lnTo>
                    <a:lnTo>
                      <a:pt x="6" y="265"/>
                    </a:lnTo>
                    <a:cubicBezTo>
                      <a:pt x="3" y="264"/>
                      <a:pt x="2" y="260"/>
                      <a:pt x="2" y="257"/>
                    </a:cubicBezTo>
                    <a:cubicBezTo>
                      <a:pt x="2" y="254"/>
                      <a:pt x="5" y="251"/>
                      <a:pt x="8" y="250"/>
                    </a:cubicBezTo>
                    <a:lnTo>
                      <a:pt x="44" y="240"/>
                    </a:lnTo>
                    <a:lnTo>
                      <a:pt x="38" y="251"/>
                    </a:lnTo>
                    <a:lnTo>
                      <a:pt x="1" y="146"/>
                    </a:lnTo>
                    <a:cubicBezTo>
                      <a:pt x="0" y="143"/>
                      <a:pt x="0" y="141"/>
                      <a:pt x="1" y="139"/>
                    </a:cubicBezTo>
                    <a:cubicBezTo>
                      <a:pt x="2" y="137"/>
                      <a:pt x="4" y="136"/>
                      <a:pt x="6" y="135"/>
                    </a:cubicBezTo>
                    <a:lnTo>
                      <a:pt x="172" y="9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65" name="Freeform 321"/>
              <p:cNvSpPr>
                <a:spLocks/>
              </p:cNvSpPr>
              <p:nvPr/>
            </p:nvSpPr>
            <p:spPr bwMode="auto">
              <a:xfrm>
                <a:off x="2602" y="1316"/>
                <a:ext cx="56" cy="62"/>
              </a:xfrm>
              <a:custGeom>
                <a:avLst/>
                <a:gdLst/>
                <a:ahLst/>
                <a:cxnLst>
                  <a:cxn ang="0">
                    <a:pos x="0" y="51"/>
                  </a:cxn>
                  <a:cxn ang="0">
                    <a:pos x="7" y="57"/>
                  </a:cxn>
                  <a:cxn ang="0">
                    <a:pos x="2" y="62"/>
                  </a:cxn>
                  <a:cxn ang="0">
                    <a:pos x="52" y="52"/>
                  </a:cxn>
                  <a:cxn ang="0">
                    <a:pos x="56" y="20"/>
                  </a:cxn>
                  <a:cxn ang="0">
                    <a:pos x="49" y="12"/>
                  </a:cxn>
                  <a:cxn ang="0">
                    <a:pos x="34" y="16"/>
                  </a:cxn>
                  <a:cxn ang="0">
                    <a:pos x="29" y="12"/>
                  </a:cxn>
                  <a:cxn ang="0">
                    <a:pos x="35" y="3"/>
                  </a:cxn>
                  <a:cxn ang="0">
                    <a:pos x="29" y="0"/>
                  </a:cxn>
                  <a:cxn ang="0">
                    <a:pos x="23" y="16"/>
                  </a:cxn>
                  <a:cxn ang="0">
                    <a:pos x="2" y="20"/>
                  </a:cxn>
                  <a:cxn ang="0">
                    <a:pos x="8" y="24"/>
                  </a:cxn>
                  <a:cxn ang="0">
                    <a:pos x="4" y="32"/>
                  </a:cxn>
                  <a:cxn ang="0">
                    <a:pos x="18" y="34"/>
                  </a:cxn>
                  <a:cxn ang="0">
                    <a:pos x="5" y="46"/>
                  </a:cxn>
                  <a:cxn ang="0">
                    <a:pos x="20" y="44"/>
                  </a:cxn>
                  <a:cxn ang="0">
                    <a:pos x="0" y="51"/>
                  </a:cxn>
                </a:cxnLst>
                <a:rect l="0" t="0" r="r" b="b"/>
                <a:pathLst>
                  <a:path w="56" h="62">
                    <a:moveTo>
                      <a:pt x="0" y="51"/>
                    </a:moveTo>
                    <a:lnTo>
                      <a:pt x="7" y="57"/>
                    </a:lnTo>
                    <a:lnTo>
                      <a:pt x="2" y="62"/>
                    </a:lnTo>
                    <a:lnTo>
                      <a:pt x="52" y="52"/>
                    </a:lnTo>
                    <a:lnTo>
                      <a:pt x="56" y="20"/>
                    </a:lnTo>
                    <a:lnTo>
                      <a:pt x="49" y="12"/>
                    </a:lnTo>
                    <a:lnTo>
                      <a:pt x="34" y="16"/>
                    </a:lnTo>
                    <a:lnTo>
                      <a:pt x="29" y="12"/>
                    </a:lnTo>
                    <a:lnTo>
                      <a:pt x="35" y="3"/>
                    </a:lnTo>
                    <a:lnTo>
                      <a:pt x="29" y="0"/>
                    </a:lnTo>
                    <a:lnTo>
                      <a:pt x="23" y="16"/>
                    </a:lnTo>
                    <a:lnTo>
                      <a:pt x="2" y="20"/>
                    </a:lnTo>
                    <a:lnTo>
                      <a:pt x="8" y="24"/>
                    </a:lnTo>
                    <a:lnTo>
                      <a:pt x="4" y="32"/>
                    </a:lnTo>
                    <a:lnTo>
                      <a:pt x="18" y="34"/>
                    </a:lnTo>
                    <a:lnTo>
                      <a:pt x="5" y="46"/>
                    </a:lnTo>
                    <a:lnTo>
                      <a:pt x="20" y="44"/>
                    </a:lnTo>
                    <a:lnTo>
                      <a:pt x="0" y="5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66" name="Freeform 322"/>
              <p:cNvSpPr>
                <a:spLocks noEditPoints="1"/>
              </p:cNvSpPr>
              <p:nvPr/>
            </p:nvSpPr>
            <p:spPr bwMode="auto">
              <a:xfrm>
                <a:off x="2600" y="1314"/>
                <a:ext cx="60" cy="66"/>
              </a:xfrm>
              <a:custGeom>
                <a:avLst/>
                <a:gdLst/>
                <a:ahLst/>
                <a:cxnLst>
                  <a:cxn ang="0">
                    <a:pos x="14" y="229"/>
                  </a:cxn>
                  <a:cxn ang="0">
                    <a:pos x="39" y="264"/>
                  </a:cxn>
                  <a:cxn ang="0">
                    <a:pos x="12" y="273"/>
                  </a:cxn>
                  <a:cxn ang="0">
                    <a:pos x="179" y="238"/>
                  </a:cxn>
                  <a:cxn ang="0">
                    <a:pos x="194" y="101"/>
                  </a:cxn>
                  <a:cxn ang="0">
                    <a:pos x="179" y="70"/>
                  </a:cxn>
                  <a:cxn ang="0">
                    <a:pos x="121" y="85"/>
                  </a:cxn>
                  <a:cxn ang="0">
                    <a:pos x="101" y="55"/>
                  </a:cxn>
                  <a:cxn ang="0">
                    <a:pos x="125" y="31"/>
                  </a:cxn>
                  <a:cxn ang="0">
                    <a:pos x="116" y="11"/>
                  </a:cxn>
                  <a:cxn ang="0">
                    <a:pos x="88" y="85"/>
                  </a:cxn>
                  <a:cxn ang="0">
                    <a:pos x="19" y="90"/>
                  </a:cxn>
                  <a:cxn ang="0">
                    <a:pos x="45" y="117"/>
                  </a:cxn>
                  <a:cxn ang="0">
                    <a:pos x="25" y="142"/>
                  </a:cxn>
                  <a:cxn ang="0">
                    <a:pos x="77" y="157"/>
                  </a:cxn>
                  <a:cxn ang="0">
                    <a:pos x="32" y="218"/>
                  </a:cxn>
                  <a:cxn ang="0">
                    <a:pos x="76" y="194"/>
                  </a:cxn>
                  <a:cxn ang="0">
                    <a:pos x="81" y="209"/>
                  </a:cxn>
                  <a:cxn ang="0">
                    <a:pos x="74" y="194"/>
                  </a:cxn>
                  <a:cxn ang="0">
                    <a:pos x="28" y="221"/>
                  </a:cxn>
                  <a:cxn ang="0">
                    <a:pos x="20" y="208"/>
                  </a:cxn>
                  <a:cxn ang="0">
                    <a:pos x="68" y="168"/>
                  </a:cxn>
                  <a:cxn ang="0">
                    <a:pos x="16" y="154"/>
                  </a:cxn>
                  <a:cxn ang="0">
                    <a:pos x="30" y="111"/>
                  </a:cxn>
                  <a:cxn ang="0">
                    <a:pos x="9" y="102"/>
                  </a:cxn>
                  <a:cxn ang="0">
                    <a:pos x="12" y="88"/>
                  </a:cxn>
                  <a:cxn ang="0">
                    <a:pos x="78" y="75"/>
                  </a:cxn>
                  <a:cxn ang="0">
                    <a:pos x="105" y="1"/>
                  </a:cxn>
                  <a:cxn ang="0">
                    <a:pos x="134" y="19"/>
                  </a:cxn>
                  <a:cxn ang="0">
                    <a:pos x="115" y="64"/>
                  </a:cxn>
                  <a:cxn ang="0">
                    <a:pos x="133" y="74"/>
                  </a:cxn>
                  <a:cxn ang="0">
                    <a:pos x="173" y="55"/>
                  </a:cxn>
                  <a:cxn ang="0">
                    <a:pos x="207" y="91"/>
                  </a:cxn>
                  <a:cxn ang="0">
                    <a:pos x="195" y="240"/>
                  </a:cxn>
                  <a:cxn ang="0">
                    <a:pos x="16" y="288"/>
                  </a:cxn>
                  <a:cxn ang="0">
                    <a:pos x="8" y="275"/>
                  </a:cxn>
                  <a:cxn ang="0">
                    <a:pos x="27" y="265"/>
                  </a:cxn>
                  <a:cxn ang="0">
                    <a:pos x="1" y="233"/>
                  </a:cxn>
                  <a:cxn ang="0">
                    <a:pos x="74" y="194"/>
                  </a:cxn>
                </a:cxnLst>
                <a:rect l="0" t="0" r="r" b="b"/>
                <a:pathLst>
                  <a:path w="209" h="289">
                    <a:moveTo>
                      <a:pt x="12" y="242"/>
                    </a:moveTo>
                    <a:lnTo>
                      <a:pt x="14" y="229"/>
                    </a:lnTo>
                    <a:lnTo>
                      <a:pt x="39" y="253"/>
                    </a:lnTo>
                    <a:cubicBezTo>
                      <a:pt x="42" y="256"/>
                      <a:pt x="42" y="261"/>
                      <a:pt x="39" y="264"/>
                    </a:cubicBezTo>
                    <a:lnTo>
                      <a:pt x="20" y="286"/>
                    </a:lnTo>
                    <a:lnTo>
                      <a:pt x="12" y="273"/>
                    </a:lnTo>
                    <a:lnTo>
                      <a:pt x="185" y="231"/>
                    </a:lnTo>
                    <a:lnTo>
                      <a:pt x="179" y="238"/>
                    </a:lnTo>
                    <a:lnTo>
                      <a:pt x="192" y="95"/>
                    </a:lnTo>
                    <a:lnTo>
                      <a:pt x="194" y="101"/>
                    </a:lnTo>
                    <a:lnTo>
                      <a:pt x="170" y="68"/>
                    </a:lnTo>
                    <a:lnTo>
                      <a:pt x="179" y="70"/>
                    </a:lnTo>
                    <a:lnTo>
                      <a:pt x="129" y="87"/>
                    </a:lnTo>
                    <a:cubicBezTo>
                      <a:pt x="127" y="88"/>
                      <a:pt x="123" y="87"/>
                      <a:pt x="121" y="85"/>
                    </a:cubicBezTo>
                    <a:lnTo>
                      <a:pt x="102" y="65"/>
                    </a:lnTo>
                    <a:cubicBezTo>
                      <a:pt x="100" y="62"/>
                      <a:pt x="99" y="58"/>
                      <a:pt x="101" y="55"/>
                    </a:cubicBezTo>
                    <a:lnTo>
                      <a:pt x="123" y="21"/>
                    </a:lnTo>
                    <a:lnTo>
                      <a:pt x="125" y="31"/>
                    </a:lnTo>
                    <a:lnTo>
                      <a:pt x="103" y="15"/>
                    </a:lnTo>
                    <a:lnTo>
                      <a:pt x="116" y="11"/>
                    </a:lnTo>
                    <a:lnTo>
                      <a:pt x="94" y="80"/>
                    </a:lnTo>
                    <a:cubicBezTo>
                      <a:pt x="93" y="83"/>
                      <a:pt x="91" y="85"/>
                      <a:pt x="88" y="85"/>
                    </a:cubicBezTo>
                    <a:lnTo>
                      <a:pt x="16" y="104"/>
                    </a:lnTo>
                    <a:lnTo>
                      <a:pt x="19" y="90"/>
                    </a:lnTo>
                    <a:lnTo>
                      <a:pt x="42" y="108"/>
                    </a:lnTo>
                    <a:cubicBezTo>
                      <a:pt x="45" y="110"/>
                      <a:pt x="46" y="114"/>
                      <a:pt x="45" y="117"/>
                    </a:cubicBezTo>
                    <a:lnTo>
                      <a:pt x="31" y="153"/>
                    </a:lnTo>
                    <a:lnTo>
                      <a:pt x="25" y="142"/>
                    </a:lnTo>
                    <a:lnTo>
                      <a:pt x="71" y="152"/>
                    </a:lnTo>
                    <a:cubicBezTo>
                      <a:pt x="74" y="153"/>
                      <a:pt x="76" y="155"/>
                      <a:pt x="77" y="157"/>
                    </a:cubicBezTo>
                    <a:cubicBezTo>
                      <a:pt x="78" y="160"/>
                      <a:pt x="78" y="163"/>
                      <a:pt x="76" y="165"/>
                    </a:cubicBezTo>
                    <a:lnTo>
                      <a:pt x="32" y="218"/>
                    </a:lnTo>
                    <a:lnTo>
                      <a:pt x="24" y="205"/>
                    </a:lnTo>
                    <a:lnTo>
                      <a:pt x="76" y="194"/>
                    </a:lnTo>
                    <a:cubicBezTo>
                      <a:pt x="80" y="193"/>
                      <a:pt x="84" y="195"/>
                      <a:pt x="85" y="199"/>
                    </a:cubicBezTo>
                    <a:cubicBezTo>
                      <a:pt x="87" y="203"/>
                      <a:pt x="85" y="207"/>
                      <a:pt x="81" y="209"/>
                    </a:cubicBezTo>
                    <a:lnTo>
                      <a:pt x="12" y="242"/>
                    </a:lnTo>
                    <a:close/>
                    <a:moveTo>
                      <a:pt x="74" y="194"/>
                    </a:moveTo>
                    <a:lnTo>
                      <a:pt x="80" y="209"/>
                    </a:lnTo>
                    <a:lnTo>
                      <a:pt x="28" y="221"/>
                    </a:lnTo>
                    <a:cubicBezTo>
                      <a:pt x="25" y="221"/>
                      <a:pt x="21" y="220"/>
                      <a:pt x="19" y="217"/>
                    </a:cubicBezTo>
                    <a:cubicBezTo>
                      <a:pt x="18" y="214"/>
                      <a:pt x="18" y="210"/>
                      <a:pt x="20" y="208"/>
                    </a:cubicBezTo>
                    <a:lnTo>
                      <a:pt x="64" y="155"/>
                    </a:lnTo>
                    <a:lnTo>
                      <a:pt x="68" y="168"/>
                    </a:lnTo>
                    <a:lnTo>
                      <a:pt x="22" y="158"/>
                    </a:lnTo>
                    <a:cubicBezTo>
                      <a:pt x="19" y="158"/>
                      <a:pt x="18" y="156"/>
                      <a:pt x="16" y="154"/>
                    </a:cubicBezTo>
                    <a:cubicBezTo>
                      <a:pt x="15" y="152"/>
                      <a:pt x="15" y="150"/>
                      <a:pt x="16" y="147"/>
                    </a:cubicBezTo>
                    <a:lnTo>
                      <a:pt x="30" y="111"/>
                    </a:lnTo>
                    <a:lnTo>
                      <a:pt x="32" y="120"/>
                    </a:lnTo>
                    <a:lnTo>
                      <a:pt x="9" y="102"/>
                    </a:lnTo>
                    <a:cubicBezTo>
                      <a:pt x="7" y="100"/>
                      <a:pt x="5" y="97"/>
                      <a:pt x="6" y="94"/>
                    </a:cubicBezTo>
                    <a:cubicBezTo>
                      <a:pt x="7" y="91"/>
                      <a:pt x="9" y="89"/>
                      <a:pt x="12" y="88"/>
                    </a:cubicBezTo>
                    <a:lnTo>
                      <a:pt x="84" y="70"/>
                    </a:lnTo>
                    <a:lnTo>
                      <a:pt x="78" y="75"/>
                    </a:lnTo>
                    <a:lnTo>
                      <a:pt x="100" y="6"/>
                    </a:lnTo>
                    <a:cubicBezTo>
                      <a:pt x="101" y="4"/>
                      <a:pt x="103" y="2"/>
                      <a:pt x="105" y="1"/>
                    </a:cubicBezTo>
                    <a:cubicBezTo>
                      <a:pt x="108" y="0"/>
                      <a:pt x="111" y="1"/>
                      <a:pt x="113" y="2"/>
                    </a:cubicBezTo>
                    <a:lnTo>
                      <a:pt x="134" y="19"/>
                    </a:lnTo>
                    <a:cubicBezTo>
                      <a:pt x="138" y="21"/>
                      <a:pt x="139" y="26"/>
                      <a:pt x="136" y="29"/>
                    </a:cubicBezTo>
                    <a:lnTo>
                      <a:pt x="115" y="64"/>
                    </a:lnTo>
                    <a:lnTo>
                      <a:pt x="114" y="54"/>
                    </a:lnTo>
                    <a:lnTo>
                      <a:pt x="133" y="74"/>
                    </a:lnTo>
                    <a:lnTo>
                      <a:pt x="124" y="72"/>
                    </a:lnTo>
                    <a:lnTo>
                      <a:pt x="173" y="55"/>
                    </a:lnTo>
                    <a:cubicBezTo>
                      <a:pt x="177" y="54"/>
                      <a:pt x="180" y="55"/>
                      <a:pt x="182" y="58"/>
                    </a:cubicBezTo>
                    <a:lnTo>
                      <a:pt x="207" y="91"/>
                    </a:lnTo>
                    <a:cubicBezTo>
                      <a:pt x="208" y="93"/>
                      <a:pt x="209" y="95"/>
                      <a:pt x="208" y="97"/>
                    </a:cubicBezTo>
                    <a:lnTo>
                      <a:pt x="195" y="240"/>
                    </a:lnTo>
                    <a:cubicBezTo>
                      <a:pt x="194" y="243"/>
                      <a:pt x="192" y="246"/>
                      <a:pt x="189" y="247"/>
                    </a:cubicBezTo>
                    <a:lnTo>
                      <a:pt x="16" y="288"/>
                    </a:lnTo>
                    <a:cubicBezTo>
                      <a:pt x="12" y="289"/>
                      <a:pt x="9" y="288"/>
                      <a:pt x="7" y="285"/>
                    </a:cubicBezTo>
                    <a:cubicBezTo>
                      <a:pt x="5" y="282"/>
                      <a:pt x="6" y="278"/>
                      <a:pt x="8" y="275"/>
                    </a:cubicBezTo>
                    <a:lnTo>
                      <a:pt x="27" y="254"/>
                    </a:lnTo>
                    <a:lnTo>
                      <a:pt x="27" y="265"/>
                    </a:lnTo>
                    <a:lnTo>
                      <a:pt x="3" y="240"/>
                    </a:lnTo>
                    <a:cubicBezTo>
                      <a:pt x="1" y="238"/>
                      <a:pt x="0" y="235"/>
                      <a:pt x="1" y="233"/>
                    </a:cubicBezTo>
                    <a:cubicBezTo>
                      <a:pt x="1" y="230"/>
                      <a:pt x="3" y="228"/>
                      <a:pt x="5" y="227"/>
                    </a:cubicBezTo>
                    <a:lnTo>
                      <a:pt x="74" y="194"/>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67" name="Freeform 323"/>
              <p:cNvSpPr>
                <a:spLocks/>
              </p:cNvSpPr>
              <p:nvPr/>
            </p:nvSpPr>
            <p:spPr bwMode="auto">
              <a:xfrm>
                <a:off x="2630" y="1308"/>
                <a:ext cx="37" cy="26"/>
              </a:xfrm>
              <a:custGeom>
                <a:avLst/>
                <a:gdLst/>
                <a:ahLst/>
                <a:cxnLst>
                  <a:cxn ang="0">
                    <a:pos x="0" y="17"/>
                  </a:cxn>
                  <a:cxn ang="0">
                    <a:pos x="6" y="22"/>
                  </a:cxn>
                  <a:cxn ang="0">
                    <a:pos x="21" y="18"/>
                  </a:cxn>
                  <a:cxn ang="0">
                    <a:pos x="28" y="26"/>
                  </a:cxn>
                  <a:cxn ang="0">
                    <a:pos x="37" y="17"/>
                  </a:cxn>
                  <a:cxn ang="0">
                    <a:pos x="28" y="4"/>
                  </a:cxn>
                  <a:cxn ang="0">
                    <a:pos x="10" y="0"/>
                  </a:cxn>
                  <a:cxn ang="0">
                    <a:pos x="6" y="9"/>
                  </a:cxn>
                  <a:cxn ang="0">
                    <a:pos x="0" y="17"/>
                  </a:cxn>
                </a:cxnLst>
                <a:rect l="0" t="0" r="r" b="b"/>
                <a:pathLst>
                  <a:path w="37" h="26">
                    <a:moveTo>
                      <a:pt x="0" y="17"/>
                    </a:moveTo>
                    <a:lnTo>
                      <a:pt x="6" y="22"/>
                    </a:lnTo>
                    <a:lnTo>
                      <a:pt x="21" y="18"/>
                    </a:lnTo>
                    <a:lnTo>
                      <a:pt x="28" y="26"/>
                    </a:lnTo>
                    <a:lnTo>
                      <a:pt x="37" y="17"/>
                    </a:lnTo>
                    <a:lnTo>
                      <a:pt x="28" y="4"/>
                    </a:lnTo>
                    <a:lnTo>
                      <a:pt x="10" y="0"/>
                    </a:lnTo>
                    <a:lnTo>
                      <a:pt x="6" y="9"/>
                    </a:lnTo>
                    <a:lnTo>
                      <a:pt x="0" y="17"/>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68" name="Freeform 324"/>
              <p:cNvSpPr>
                <a:spLocks noEditPoints="1"/>
              </p:cNvSpPr>
              <p:nvPr/>
            </p:nvSpPr>
            <p:spPr bwMode="auto">
              <a:xfrm>
                <a:off x="2627" y="1306"/>
                <a:ext cx="42" cy="30"/>
              </a:xfrm>
              <a:custGeom>
                <a:avLst/>
                <a:gdLst/>
                <a:ahLst/>
                <a:cxnLst>
                  <a:cxn ang="0">
                    <a:pos x="15" y="86"/>
                  </a:cxn>
                  <a:cxn ang="0">
                    <a:pos x="14" y="76"/>
                  </a:cxn>
                  <a:cxn ang="0">
                    <a:pos x="34" y="97"/>
                  </a:cxn>
                  <a:cxn ang="0">
                    <a:pos x="26" y="95"/>
                  </a:cxn>
                  <a:cxn ang="0">
                    <a:pos x="77" y="78"/>
                  </a:cxn>
                  <a:cxn ang="0">
                    <a:pos x="86" y="81"/>
                  </a:cxn>
                  <a:cxn ang="0">
                    <a:pos x="112" y="116"/>
                  </a:cxn>
                  <a:cxn ang="0">
                    <a:pos x="99" y="115"/>
                  </a:cxn>
                  <a:cxn ang="0">
                    <a:pos x="130" y="77"/>
                  </a:cxn>
                  <a:cxn ang="0">
                    <a:pos x="129" y="86"/>
                  </a:cxn>
                  <a:cxn ang="0">
                    <a:pos x="100" y="30"/>
                  </a:cxn>
                  <a:cxn ang="0">
                    <a:pos x="104" y="34"/>
                  </a:cxn>
                  <a:cxn ang="0">
                    <a:pos x="43" y="16"/>
                  </a:cxn>
                  <a:cxn ang="0">
                    <a:pos x="53" y="11"/>
                  </a:cxn>
                  <a:cxn ang="0">
                    <a:pos x="39" y="48"/>
                  </a:cxn>
                  <a:cxn ang="0">
                    <a:pos x="38" y="49"/>
                  </a:cxn>
                  <a:cxn ang="0">
                    <a:pos x="15" y="86"/>
                  </a:cxn>
                  <a:cxn ang="0">
                    <a:pos x="24" y="41"/>
                  </a:cxn>
                  <a:cxn ang="0">
                    <a:pos x="24" y="42"/>
                  </a:cxn>
                  <a:cxn ang="0">
                    <a:pos x="38" y="6"/>
                  </a:cxn>
                  <a:cxn ang="0">
                    <a:pos x="48" y="1"/>
                  </a:cxn>
                  <a:cxn ang="0">
                    <a:pos x="109" y="18"/>
                  </a:cxn>
                  <a:cxn ang="0">
                    <a:pos x="114" y="22"/>
                  </a:cxn>
                  <a:cxn ang="0">
                    <a:pos x="144" y="78"/>
                  </a:cxn>
                  <a:cxn ang="0">
                    <a:pos x="143" y="87"/>
                  </a:cxn>
                  <a:cxn ang="0">
                    <a:pos x="111" y="126"/>
                  </a:cxn>
                  <a:cxn ang="0">
                    <a:pos x="105" y="128"/>
                  </a:cxn>
                  <a:cxn ang="0">
                    <a:pos x="99" y="125"/>
                  </a:cxn>
                  <a:cxn ang="0">
                    <a:pos x="73" y="90"/>
                  </a:cxn>
                  <a:cxn ang="0">
                    <a:pos x="82" y="93"/>
                  </a:cxn>
                  <a:cxn ang="0">
                    <a:pos x="31" y="111"/>
                  </a:cxn>
                  <a:cxn ang="0">
                    <a:pos x="23" y="108"/>
                  </a:cxn>
                  <a:cxn ang="0">
                    <a:pos x="3" y="87"/>
                  </a:cxn>
                  <a:cxn ang="0">
                    <a:pos x="2" y="78"/>
                  </a:cxn>
                  <a:cxn ang="0">
                    <a:pos x="24" y="41"/>
                  </a:cxn>
                </a:cxnLst>
                <a:rect l="0" t="0" r="r" b="b"/>
                <a:pathLst>
                  <a:path w="145" h="129">
                    <a:moveTo>
                      <a:pt x="15" y="86"/>
                    </a:moveTo>
                    <a:lnTo>
                      <a:pt x="14" y="76"/>
                    </a:lnTo>
                    <a:lnTo>
                      <a:pt x="34" y="97"/>
                    </a:lnTo>
                    <a:lnTo>
                      <a:pt x="26" y="95"/>
                    </a:lnTo>
                    <a:lnTo>
                      <a:pt x="77" y="78"/>
                    </a:lnTo>
                    <a:cubicBezTo>
                      <a:pt x="80" y="77"/>
                      <a:pt x="84" y="78"/>
                      <a:pt x="86" y="81"/>
                    </a:cubicBezTo>
                    <a:lnTo>
                      <a:pt x="112" y="116"/>
                    </a:lnTo>
                    <a:lnTo>
                      <a:pt x="99" y="115"/>
                    </a:lnTo>
                    <a:lnTo>
                      <a:pt x="130" y="77"/>
                    </a:lnTo>
                    <a:lnTo>
                      <a:pt x="129" y="86"/>
                    </a:lnTo>
                    <a:lnTo>
                      <a:pt x="100" y="30"/>
                    </a:lnTo>
                    <a:lnTo>
                      <a:pt x="104" y="34"/>
                    </a:lnTo>
                    <a:lnTo>
                      <a:pt x="43" y="16"/>
                    </a:lnTo>
                    <a:lnTo>
                      <a:pt x="53" y="11"/>
                    </a:lnTo>
                    <a:lnTo>
                      <a:pt x="39" y="48"/>
                    </a:lnTo>
                    <a:cubicBezTo>
                      <a:pt x="39" y="49"/>
                      <a:pt x="38" y="49"/>
                      <a:pt x="38" y="49"/>
                    </a:cubicBezTo>
                    <a:lnTo>
                      <a:pt x="15" y="86"/>
                    </a:lnTo>
                    <a:close/>
                    <a:moveTo>
                      <a:pt x="24" y="41"/>
                    </a:moveTo>
                    <a:lnTo>
                      <a:pt x="24" y="42"/>
                    </a:lnTo>
                    <a:lnTo>
                      <a:pt x="38" y="6"/>
                    </a:lnTo>
                    <a:cubicBezTo>
                      <a:pt x="39" y="2"/>
                      <a:pt x="44" y="0"/>
                      <a:pt x="48" y="1"/>
                    </a:cubicBezTo>
                    <a:lnTo>
                      <a:pt x="109" y="18"/>
                    </a:lnTo>
                    <a:cubicBezTo>
                      <a:pt x="111" y="19"/>
                      <a:pt x="113" y="20"/>
                      <a:pt x="114" y="22"/>
                    </a:cubicBezTo>
                    <a:lnTo>
                      <a:pt x="144" y="78"/>
                    </a:lnTo>
                    <a:cubicBezTo>
                      <a:pt x="145" y="81"/>
                      <a:pt x="145" y="85"/>
                      <a:pt x="143" y="87"/>
                    </a:cubicBezTo>
                    <a:lnTo>
                      <a:pt x="111" y="126"/>
                    </a:lnTo>
                    <a:cubicBezTo>
                      <a:pt x="110" y="127"/>
                      <a:pt x="107" y="129"/>
                      <a:pt x="105" y="128"/>
                    </a:cubicBezTo>
                    <a:cubicBezTo>
                      <a:pt x="102" y="128"/>
                      <a:pt x="100" y="127"/>
                      <a:pt x="99" y="125"/>
                    </a:cubicBezTo>
                    <a:lnTo>
                      <a:pt x="73" y="90"/>
                    </a:lnTo>
                    <a:lnTo>
                      <a:pt x="82" y="93"/>
                    </a:lnTo>
                    <a:lnTo>
                      <a:pt x="31" y="111"/>
                    </a:lnTo>
                    <a:cubicBezTo>
                      <a:pt x="28" y="112"/>
                      <a:pt x="25" y="111"/>
                      <a:pt x="23" y="108"/>
                    </a:cubicBezTo>
                    <a:lnTo>
                      <a:pt x="3" y="87"/>
                    </a:lnTo>
                    <a:cubicBezTo>
                      <a:pt x="0" y="85"/>
                      <a:pt x="0" y="81"/>
                      <a:pt x="2" y="78"/>
                    </a:cubicBezTo>
                    <a:lnTo>
                      <a:pt x="24" y="4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69" name="Freeform 325"/>
              <p:cNvSpPr>
                <a:spLocks/>
              </p:cNvSpPr>
              <p:nvPr/>
            </p:nvSpPr>
            <p:spPr bwMode="auto">
              <a:xfrm>
                <a:off x="2648" y="1268"/>
                <a:ext cx="10" cy="7"/>
              </a:xfrm>
              <a:custGeom>
                <a:avLst/>
                <a:gdLst/>
                <a:ahLst/>
                <a:cxnLst>
                  <a:cxn ang="0">
                    <a:pos x="0" y="6"/>
                  </a:cxn>
                  <a:cxn ang="0">
                    <a:pos x="5" y="0"/>
                  </a:cxn>
                  <a:cxn ang="0">
                    <a:pos x="10" y="7"/>
                  </a:cxn>
                  <a:cxn ang="0">
                    <a:pos x="0" y="6"/>
                  </a:cxn>
                </a:cxnLst>
                <a:rect l="0" t="0" r="r" b="b"/>
                <a:pathLst>
                  <a:path w="10" h="7">
                    <a:moveTo>
                      <a:pt x="0" y="6"/>
                    </a:moveTo>
                    <a:lnTo>
                      <a:pt x="5" y="0"/>
                    </a:lnTo>
                    <a:lnTo>
                      <a:pt x="10" y="7"/>
                    </a:lnTo>
                    <a:lnTo>
                      <a:pt x="0" y="6"/>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70" name="Freeform 326"/>
              <p:cNvSpPr>
                <a:spLocks noEditPoints="1"/>
              </p:cNvSpPr>
              <p:nvPr/>
            </p:nvSpPr>
            <p:spPr bwMode="auto">
              <a:xfrm>
                <a:off x="2646" y="1266"/>
                <a:ext cx="14" cy="11"/>
              </a:xfrm>
              <a:custGeom>
                <a:avLst/>
                <a:gdLst/>
                <a:ahLst/>
                <a:cxnLst>
                  <a:cxn ang="0">
                    <a:pos x="7" y="40"/>
                  </a:cxn>
                  <a:cxn ang="0">
                    <a:pos x="1" y="35"/>
                  </a:cxn>
                  <a:cxn ang="0">
                    <a:pos x="2" y="28"/>
                  </a:cxn>
                  <a:cxn ang="0">
                    <a:pos x="18" y="4"/>
                  </a:cxn>
                  <a:cxn ang="0">
                    <a:pos x="25" y="0"/>
                  </a:cxn>
                  <a:cxn ang="0">
                    <a:pos x="32" y="5"/>
                  </a:cxn>
                  <a:cxn ang="0">
                    <a:pos x="48" y="37"/>
                  </a:cxn>
                  <a:cxn ang="0">
                    <a:pos x="47" y="45"/>
                  </a:cxn>
                  <a:cxn ang="0">
                    <a:pos x="39" y="48"/>
                  </a:cxn>
                  <a:cxn ang="0">
                    <a:pos x="7" y="40"/>
                  </a:cxn>
                  <a:cxn ang="0">
                    <a:pos x="42" y="33"/>
                  </a:cxn>
                  <a:cxn ang="0">
                    <a:pos x="33" y="44"/>
                  </a:cxn>
                  <a:cxn ang="0">
                    <a:pos x="17" y="12"/>
                  </a:cxn>
                  <a:cxn ang="0">
                    <a:pos x="31" y="13"/>
                  </a:cxn>
                  <a:cxn ang="0">
                    <a:pos x="15" y="37"/>
                  </a:cxn>
                  <a:cxn ang="0">
                    <a:pos x="10" y="25"/>
                  </a:cxn>
                  <a:cxn ang="0">
                    <a:pos x="42" y="33"/>
                  </a:cxn>
                </a:cxnLst>
                <a:rect l="0" t="0" r="r" b="b"/>
                <a:pathLst>
                  <a:path w="49" h="49">
                    <a:moveTo>
                      <a:pt x="7" y="40"/>
                    </a:moveTo>
                    <a:cubicBezTo>
                      <a:pt x="4" y="40"/>
                      <a:pt x="2" y="38"/>
                      <a:pt x="1" y="35"/>
                    </a:cubicBezTo>
                    <a:cubicBezTo>
                      <a:pt x="0" y="33"/>
                      <a:pt x="0" y="30"/>
                      <a:pt x="2" y="28"/>
                    </a:cubicBezTo>
                    <a:lnTo>
                      <a:pt x="18" y="4"/>
                    </a:lnTo>
                    <a:cubicBezTo>
                      <a:pt x="19" y="2"/>
                      <a:pt x="22" y="0"/>
                      <a:pt x="25" y="0"/>
                    </a:cubicBezTo>
                    <a:cubicBezTo>
                      <a:pt x="28" y="1"/>
                      <a:pt x="30" y="2"/>
                      <a:pt x="32" y="5"/>
                    </a:cubicBezTo>
                    <a:lnTo>
                      <a:pt x="48" y="37"/>
                    </a:lnTo>
                    <a:cubicBezTo>
                      <a:pt x="49" y="40"/>
                      <a:pt x="49" y="43"/>
                      <a:pt x="47" y="45"/>
                    </a:cubicBezTo>
                    <a:cubicBezTo>
                      <a:pt x="45" y="48"/>
                      <a:pt x="42" y="49"/>
                      <a:pt x="39" y="48"/>
                    </a:cubicBezTo>
                    <a:lnTo>
                      <a:pt x="7" y="40"/>
                    </a:lnTo>
                    <a:close/>
                    <a:moveTo>
                      <a:pt x="42" y="33"/>
                    </a:moveTo>
                    <a:lnTo>
                      <a:pt x="33" y="44"/>
                    </a:lnTo>
                    <a:lnTo>
                      <a:pt x="17" y="12"/>
                    </a:lnTo>
                    <a:lnTo>
                      <a:pt x="31" y="13"/>
                    </a:lnTo>
                    <a:lnTo>
                      <a:pt x="15" y="37"/>
                    </a:lnTo>
                    <a:lnTo>
                      <a:pt x="10" y="25"/>
                    </a:lnTo>
                    <a:lnTo>
                      <a:pt x="42" y="33"/>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71" name="Freeform 327"/>
              <p:cNvSpPr>
                <a:spLocks/>
              </p:cNvSpPr>
              <p:nvPr/>
            </p:nvSpPr>
            <p:spPr bwMode="auto">
              <a:xfrm>
                <a:off x="2658" y="1250"/>
                <a:ext cx="106" cy="157"/>
              </a:xfrm>
              <a:custGeom>
                <a:avLst/>
                <a:gdLst/>
                <a:ahLst/>
                <a:cxnLst>
                  <a:cxn ang="0">
                    <a:pos x="0" y="37"/>
                  </a:cxn>
                  <a:cxn ang="0">
                    <a:pos x="4" y="16"/>
                  </a:cxn>
                  <a:cxn ang="0">
                    <a:pos x="15" y="0"/>
                  </a:cxn>
                  <a:cxn ang="0">
                    <a:pos x="40" y="0"/>
                  </a:cxn>
                  <a:cxn ang="0">
                    <a:pos x="26" y="19"/>
                  </a:cxn>
                  <a:cxn ang="0">
                    <a:pos x="58" y="23"/>
                  </a:cxn>
                  <a:cxn ang="0">
                    <a:pos x="38" y="48"/>
                  </a:cxn>
                  <a:cxn ang="0">
                    <a:pos x="62" y="58"/>
                  </a:cxn>
                  <a:cxn ang="0">
                    <a:pos x="85" y="90"/>
                  </a:cxn>
                  <a:cxn ang="0">
                    <a:pos x="78" y="92"/>
                  </a:cxn>
                  <a:cxn ang="0">
                    <a:pos x="89" y="100"/>
                  </a:cxn>
                  <a:cxn ang="0">
                    <a:pos x="83" y="107"/>
                  </a:cxn>
                  <a:cxn ang="0">
                    <a:pos x="106" y="110"/>
                  </a:cxn>
                  <a:cxn ang="0">
                    <a:pos x="92" y="131"/>
                  </a:cxn>
                  <a:cxn ang="0">
                    <a:pos x="102" y="137"/>
                  </a:cxn>
                  <a:cxn ang="0">
                    <a:pos x="6" y="157"/>
                  </a:cxn>
                  <a:cxn ang="0">
                    <a:pos x="48" y="128"/>
                  </a:cxn>
                  <a:cxn ang="0">
                    <a:pos x="36" y="133"/>
                  </a:cxn>
                  <a:cxn ang="0">
                    <a:pos x="12" y="124"/>
                  </a:cxn>
                  <a:cxn ang="0">
                    <a:pos x="29" y="113"/>
                  </a:cxn>
                  <a:cxn ang="0">
                    <a:pos x="18" y="107"/>
                  </a:cxn>
                  <a:cxn ang="0">
                    <a:pos x="43" y="96"/>
                  </a:cxn>
                  <a:cxn ang="0">
                    <a:pos x="45" y="82"/>
                  </a:cxn>
                  <a:cxn ang="0">
                    <a:pos x="33" y="78"/>
                  </a:cxn>
                  <a:cxn ang="0">
                    <a:pos x="40" y="69"/>
                  </a:cxn>
                  <a:cxn ang="0">
                    <a:pos x="15" y="73"/>
                  </a:cxn>
                  <a:cxn ang="0">
                    <a:pos x="15" y="51"/>
                  </a:cxn>
                  <a:cxn ang="0">
                    <a:pos x="4" y="61"/>
                  </a:cxn>
                  <a:cxn ang="0">
                    <a:pos x="11" y="38"/>
                  </a:cxn>
                  <a:cxn ang="0">
                    <a:pos x="0" y="37"/>
                  </a:cxn>
                </a:cxnLst>
                <a:rect l="0" t="0" r="r" b="b"/>
                <a:pathLst>
                  <a:path w="106" h="157">
                    <a:moveTo>
                      <a:pt x="0" y="37"/>
                    </a:moveTo>
                    <a:lnTo>
                      <a:pt x="4" y="16"/>
                    </a:lnTo>
                    <a:lnTo>
                      <a:pt x="15" y="0"/>
                    </a:lnTo>
                    <a:lnTo>
                      <a:pt x="40" y="0"/>
                    </a:lnTo>
                    <a:lnTo>
                      <a:pt x="26" y="19"/>
                    </a:lnTo>
                    <a:lnTo>
                      <a:pt x="58" y="23"/>
                    </a:lnTo>
                    <a:lnTo>
                      <a:pt x="38" y="48"/>
                    </a:lnTo>
                    <a:lnTo>
                      <a:pt x="62" y="58"/>
                    </a:lnTo>
                    <a:lnTo>
                      <a:pt x="85" y="90"/>
                    </a:lnTo>
                    <a:lnTo>
                      <a:pt x="78" y="92"/>
                    </a:lnTo>
                    <a:lnTo>
                      <a:pt x="89" y="100"/>
                    </a:lnTo>
                    <a:lnTo>
                      <a:pt x="83" y="107"/>
                    </a:lnTo>
                    <a:lnTo>
                      <a:pt x="106" y="110"/>
                    </a:lnTo>
                    <a:lnTo>
                      <a:pt x="92" y="131"/>
                    </a:lnTo>
                    <a:lnTo>
                      <a:pt x="102" y="137"/>
                    </a:lnTo>
                    <a:lnTo>
                      <a:pt x="6" y="157"/>
                    </a:lnTo>
                    <a:lnTo>
                      <a:pt x="48" y="128"/>
                    </a:lnTo>
                    <a:lnTo>
                      <a:pt x="36" y="133"/>
                    </a:lnTo>
                    <a:lnTo>
                      <a:pt x="12" y="124"/>
                    </a:lnTo>
                    <a:lnTo>
                      <a:pt x="29" y="113"/>
                    </a:lnTo>
                    <a:lnTo>
                      <a:pt x="18" y="107"/>
                    </a:lnTo>
                    <a:lnTo>
                      <a:pt x="43" y="96"/>
                    </a:lnTo>
                    <a:lnTo>
                      <a:pt x="45" y="82"/>
                    </a:lnTo>
                    <a:lnTo>
                      <a:pt x="33" y="78"/>
                    </a:lnTo>
                    <a:lnTo>
                      <a:pt x="40" y="69"/>
                    </a:lnTo>
                    <a:lnTo>
                      <a:pt x="15" y="73"/>
                    </a:lnTo>
                    <a:lnTo>
                      <a:pt x="15" y="51"/>
                    </a:lnTo>
                    <a:lnTo>
                      <a:pt x="4" y="61"/>
                    </a:lnTo>
                    <a:lnTo>
                      <a:pt x="11" y="38"/>
                    </a:lnTo>
                    <a:lnTo>
                      <a:pt x="0" y="37"/>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72" name="Freeform 328"/>
              <p:cNvSpPr>
                <a:spLocks noEditPoints="1"/>
              </p:cNvSpPr>
              <p:nvPr/>
            </p:nvSpPr>
            <p:spPr bwMode="auto">
              <a:xfrm>
                <a:off x="2655" y="1248"/>
                <a:ext cx="112" cy="161"/>
              </a:xfrm>
              <a:custGeom>
                <a:avLst/>
                <a:gdLst/>
                <a:ahLst/>
                <a:cxnLst>
                  <a:cxn ang="0">
                    <a:pos x="1" y="169"/>
                  </a:cxn>
                  <a:cxn ang="0">
                    <a:pos x="55" y="4"/>
                  </a:cxn>
                  <a:cxn ang="0">
                    <a:pos x="156" y="5"/>
                  </a:cxn>
                  <a:cxn ang="0">
                    <a:pos x="99" y="83"/>
                  </a:cxn>
                  <a:cxn ang="0">
                    <a:pos x="217" y="112"/>
                  </a:cxn>
                  <a:cxn ang="0">
                    <a:pos x="228" y="254"/>
                  </a:cxn>
                  <a:cxn ang="0">
                    <a:pos x="311" y="405"/>
                  </a:cxn>
                  <a:cxn ang="0">
                    <a:pos x="286" y="405"/>
                  </a:cxn>
                  <a:cxn ang="0">
                    <a:pos x="302" y="484"/>
                  </a:cxn>
                  <a:cxn ang="0">
                    <a:pos x="384" y="484"/>
                  </a:cxn>
                  <a:cxn ang="0">
                    <a:pos x="333" y="574"/>
                  </a:cxn>
                  <a:cxn ang="0">
                    <a:pos x="363" y="615"/>
                  </a:cxn>
                  <a:cxn ang="0">
                    <a:pos x="24" y="690"/>
                  </a:cxn>
                  <a:cxn ang="0">
                    <a:pos x="137" y="596"/>
                  </a:cxn>
                  <a:cxn ang="0">
                    <a:pos x="42" y="551"/>
                  </a:cxn>
                  <a:cxn ang="0">
                    <a:pos x="107" y="510"/>
                  </a:cxn>
                  <a:cxn ang="0">
                    <a:pos x="69" y="473"/>
                  </a:cxn>
                  <a:cxn ang="0">
                    <a:pos x="158" y="366"/>
                  </a:cxn>
                  <a:cxn ang="0">
                    <a:pos x="115" y="350"/>
                  </a:cxn>
                  <a:cxn ang="0">
                    <a:pos x="150" y="319"/>
                  </a:cxn>
                  <a:cxn ang="0">
                    <a:pos x="53" y="330"/>
                  </a:cxn>
                  <a:cxn ang="0">
                    <a:pos x="28" y="281"/>
                  </a:cxn>
                  <a:cxn ang="0">
                    <a:pos x="38" y="173"/>
                  </a:cxn>
                  <a:cxn ang="0">
                    <a:pos x="47" y="167"/>
                  </a:cxn>
                  <a:cxn ang="0">
                    <a:pos x="30" y="278"/>
                  </a:cxn>
                  <a:cxn ang="0">
                    <a:pos x="65" y="223"/>
                  </a:cxn>
                  <a:cxn ang="0">
                    <a:pos x="59" y="322"/>
                  </a:cxn>
                  <a:cxn ang="0">
                    <a:pos x="155" y="316"/>
                  </a:cxn>
                  <a:cxn ang="0">
                    <a:pos x="169" y="359"/>
                  </a:cxn>
                  <a:cxn ang="0">
                    <a:pos x="161" y="438"/>
                  </a:cxn>
                  <a:cxn ang="0">
                    <a:pos x="116" y="496"/>
                  </a:cxn>
                  <a:cxn ang="0">
                    <a:pos x="55" y="556"/>
                  </a:cxn>
                  <a:cxn ang="0">
                    <a:pos x="130" y="582"/>
                  </a:cxn>
                  <a:cxn ang="0">
                    <a:pos x="181" y="575"/>
                  </a:cxn>
                  <a:cxn ang="0">
                    <a:pos x="359" y="600"/>
                  </a:cxn>
                  <a:cxn ang="0">
                    <a:pos x="321" y="577"/>
                  </a:cxn>
                  <a:cxn ang="0">
                    <a:pos x="295" y="487"/>
                  </a:cxn>
                  <a:cxn ang="0">
                    <a:pos x="309" y="442"/>
                  </a:cxn>
                  <a:cxn ang="0">
                    <a:pos x="273" y="409"/>
                  </a:cxn>
                  <a:cxn ang="0">
                    <a:pos x="297" y="406"/>
                  </a:cxn>
                  <a:cxn ang="0">
                    <a:pos x="137" y="228"/>
                  </a:cxn>
                  <a:cxn ang="0">
                    <a:pos x="204" y="103"/>
                  </a:cxn>
                  <a:cxn ang="0">
                    <a:pos x="90" y="94"/>
                  </a:cxn>
                  <a:cxn ang="0">
                    <a:pos x="149" y="16"/>
                  </a:cxn>
                  <a:cxn ang="0">
                    <a:pos x="29" y="81"/>
                  </a:cxn>
                  <a:cxn ang="0">
                    <a:pos x="10" y="162"/>
                  </a:cxn>
                </a:cxnLst>
                <a:rect l="0" t="0" r="r" b="b"/>
                <a:pathLst>
                  <a:path w="385" h="705">
                    <a:moveTo>
                      <a:pt x="7" y="178"/>
                    </a:moveTo>
                    <a:cubicBezTo>
                      <a:pt x="5" y="178"/>
                      <a:pt x="3" y="176"/>
                      <a:pt x="2" y="175"/>
                    </a:cubicBezTo>
                    <a:cubicBezTo>
                      <a:pt x="1" y="173"/>
                      <a:pt x="0" y="171"/>
                      <a:pt x="1" y="169"/>
                    </a:cubicBezTo>
                    <a:lnTo>
                      <a:pt x="14" y="76"/>
                    </a:lnTo>
                    <a:cubicBezTo>
                      <a:pt x="14" y="75"/>
                      <a:pt x="15" y="74"/>
                      <a:pt x="15" y="73"/>
                    </a:cubicBezTo>
                    <a:lnTo>
                      <a:pt x="55" y="4"/>
                    </a:lnTo>
                    <a:cubicBezTo>
                      <a:pt x="57" y="2"/>
                      <a:pt x="59" y="0"/>
                      <a:pt x="62" y="0"/>
                    </a:cubicBezTo>
                    <a:lnTo>
                      <a:pt x="149" y="0"/>
                    </a:lnTo>
                    <a:cubicBezTo>
                      <a:pt x="151" y="0"/>
                      <a:pt x="154" y="2"/>
                      <a:pt x="156" y="5"/>
                    </a:cubicBezTo>
                    <a:cubicBezTo>
                      <a:pt x="157" y="7"/>
                      <a:pt x="157" y="10"/>
                      <a:pt x="155" y="13"/>
                    </a:cubicBezTo>
                    <a:lnTo>
                      <a:pt x="105" y="95"/>
                    </a:lnTo>
                    <a:lnTo>
                      <a:pt x="99" y="83"/>
                    </a:lnTo>
                    <a:lnTo>
                      <a:pt x="211" y="100"/>
                    </a:lnTo>
                    <a:cubicBezTo>
                      <a:pt x="214" y="100"/>
                      <a:pt x="216" y="102"/>
                      <a:pt x="218" y="104"/>
                    </a:cubicBezTo>
                    <a:cubicBezTo>
                      <a:pt x="219" y="107"/>
                      <a:pt x="219" y="110"/>
                      <a:pt x="217" y="112"/>
                    </a:cubicBezTo>
                    <a:lnTo>
                      <a:pt x="147" y="225"/>
                    </a:lnTo>
                    <a:lnTo>
                      <a:pt x="144" y="213"/>
                    </a:lnTo>
                    <a:lnTo>
                      <a:pt x="228" y="254"/>
                    </a:lnTo>
                    <a:cubicBezTo>
                      <a:pt x="229" y="254"/>
                      <a:pt x="230" y="255"/>
                      <a:pt x="231" y="257"/>
                    </a:cubicBezTo>
                    <a:lnTo>
                      <a:pt x="311" y="398"/>
                    </a:lnTo>
                    <a:cubicBezTo>
                      <a:pt x="312" y="400"/>
                      <a:pt x="312" y="403"/>
                      <a:pt x="311" y="405"/>
                    </a:cubicBezTo>
                    <a:cubicBezTo>
                      <a:pt x="310" y="407"/>
                      <a:pt x="309" y="409"/>
                      <a:pt x="306" y="410"/>
                    </a:cubicBezTo>
                    <a:lnTo>
                      <a:pt x="283" y="418"/>
                    </a:lnTo>
                    <a:lnTo>
                      <a:pt x="286" y="405"/>
                    </a:lnTo>
                    <a:lnTo>
                      <a:pt x="322" y="440"/>
                    </a:lnTo>
                    <a:cubicBezTo>
                      <a:pt x="324" y="443"/>
                      <a:pt x="325" y="447"/>
                      <a:pt x="323" y="450"/>
                    </a:cubicBezTo>
                    <a:lnTo>
                      <a:pt x="302" y="484"/>
                    </a:lnTo>
                    <a:lnTo>
                      <a:pt x="296" y="472"/>
                    </a:lnTo>
                    <a:lnTo>
                      <a:pt x="377" y="480"/>
                    </a:lnTo>
                    <a:cubicBezTo>
                      <a:pt x="380" y="480"/>
                      <a:pt x="382" y="482"/>
                      <a:pt x="384" y="484"/>
                    </a:cubicBezTo>
                    <a:cubicBezTo>
                      <a:pt x="385" y="486"/>
                      <a:pt x="385" y="489"/>
                      <a:pt x="384" y="492"/>
                    </a:cubicBezTo>
                    <a:lnTo>
                      <a:pt x="336" y="584"/>
                    </a:lnTo>
                    <a:lnTo>
                      <a:pt x="333" y="574"/>
                    </a:lnTo>
                    <a:lnTo>
                      <a:pt x="366" y="601"/>
                    </a:lnTo>
                    <a:cubicBezTo>
                      <a:pt x="369" y="603"/>
                      <a:pt x="370" y="606"/>
                      <a:pt x="369" y="609"/>
                    </a:cubicBezTo>
                    <a:cubicBezTo>
                      <a:pt x="369" y="612"/>
                      <a:pt x="366" y="614"/>
                      <a:pt x="363" y="615"/>
                    </a:cubicBezTo>
                    <a:lnTo>
                      <a:pt x="31" y="704"/>
                    </a:lnTo>
                    <a:cubicBezTo>
                      <a:pt x="28" y="705"/>
                      <a:pt x="24" y="704"/>
                      <a:pt x="22" y="700"/>
                    </a:cubicBezTo>
                    <a:cubicBezTo>
                      <a:pt x="20" y="697"/>
                      <a:pt x="21" y="693"/>
                      <a:pt x="24" y="690"/>
                    </a:cubicBezTo>
                    <a:lnTo>
                      <a:pt x="171" y="563"/>
                    </a:lnTo>
                    <a:lnTo>
                      <a:pt x="179" y="576"/>
                    </a:lnTo>
                    <a:lnTo>
                      <a:pt x="137" y="596"/>
                    </a:lnTo>
                    <a:cubicBezTo>
                      <a:pt x="135" y="597"/>
                      <a:pt x="132" y="597"/>
                      <a:pt x="130" y="596"/>
                    </a:cubicBezTo>
                    <a:lnTo>
                      <a:pt x="46" y="557"/>
                    </a:lnTo>
                    <a:cubicBezTo>
                      <a:pt x="44" y="556"/>
                      <a:pt x="42" y="554"/>
                      <a:pt x="42" y="551"/>
                    </a:cubicBezTo>
                    <a:cubicBezTo>
                      <a:pt x="41" y="548"/>
                      <a:pt x="43" y="545"/>
                      <a:pt x="45" y="544"/>
                    </a:cubicBezTo>
                    <a:lnTo>
                      <a:pt x="107" y="497"/>
                    </a:lnTo>
                    <a:lnTo>
                      <a:pt x="107" y="510"/>
                    </a:lnTo>
                    <a:lnTo>
                      <a:pt x="69" y="486"/>
                    </a:lnTo>
                    <a:cubicBezTo>
                      <a:pt x="66" y="485"/>
                      <a:pt x="65" y="482"/>
                      <a:pt x="65" y="479"/>
                    </a:cubicBezTo>
                    <a:cubicBezTo>
                      <a:pt x="65" y="477"/>
                      <a:pt x="67" y="474"/>
                      <a:pt x="69" y="473"/>
                    </a:cubicBezTo>
                    <a:lnTo>
                      <a:pt x="153" y="424"/>
                    </a:lnTo>
                    <a:lnTo>
                      <a:pt x="149" y="429"/>
                    </a:lnTo>
                    <a:lnTo>
                      <a:pt x="158" y="366"/>
                    </a:lnTo>
                    <a:lnTo>
                      <a:pt x="163" y="374"/>
                    </a:lnTo>
                    <a:lnTo>
                      <a:pt x="119" y="356"/>
                    </a:lnTo>
                    <a:cubicBezTo>
                      <a:pt x="117" y="355"/>
                      <a:pt x="115" y="353"/>
                      <a:pt x="115" y="350"/>
                    </a:cubicBezTo>
                    <a:cubicBezTo>
                      <a:pt x="114" y="348"/>
                      <a:pt x="114" y="346"/>
                      <a:pt x="116" y="344"/>
                    </a:cubicBezTo>
                    <a:lnTo>
                      <a:pt x="142" y="307"/>
                    </a:lnTo>
                    <a:lnTo>
                      <a:pt x="150" y="319"/>
                    </a:lnTo>
                    <a:lnTo>
                      <a:pt x="62" y="338"/>
                    </a:lnTo>
                    <a:cubicBezTo>
                      <a:pt x="60" y="338"/>
                      <a:pt x="57" y="337"/>
                      <a:pt x="56" y="336"/>
                    </a:cubicBezTo>
                    <a:cubicBezTo>
                      <a:pt x="54" y="334"/>
                      <a:pt x="53" y="332"/>
                      <a:pt x="53" y="330"/>
                    </a:cubicBezTo>
                    <a:lnTo>
                      <a:pt x="54" y="230"/>
                    </a:lnTo>
                    <a:lnTo>
                      <a:pt x="68" y="236"/>
                    </a:lnTo>
                    <a:lnTo>
                      <a:pt x="28" y="281"/>
                    </a:lnTo>
                    <a:cubicBezTo>
                      <a:pt x="26" y="284"/>
                      <a:pt x="22" y="285"/>
                      <a:pt x="19" y="283"/>
                    </a:cubicBezTo>
                    <a:cubicBezTo>
                      <a:pt x="15" y="281"/>
                      <a:pt x="14" y="278"/>
                      <a:pt x="14" y="274"/>
                    </a:cubicBezTo>
                    <a:lnTo>
                      <a:pt x="38" y="173"/>
                    </a:lnTo>
                    <a:lnTo>
                      <a:pt x="44" y="183"/>
                    </a:lnTo>
                    <a:lnTo>
                      <a:pt x="7" y="178"/>
                    </a:lnTo>
                    <a:close/>
                    <a:moveTo>
                      <a:pt x="47" y="167"/>
                    </a:moveTo>
                    <a:cubicBezTo>
                      <a:pt x="49" y="167"/>
                      <a:pt x="51" y="169"/>
                      <a:pt x="52" y="170"/>
                    </a:cubicBezTo>
                    <a:cubicBezTo>
                      <a:pt x="53" y="172"/>
                      <a:pt x="54" y="175"/>
                      <a:pt x="53" y="177"/>
                    </a:cubicBezTo>
                    <a:lnTo>
                      <a:pt x="30" y="278"/>
                    </a:lnTo>
                    <a:lnTo>
                      <a:pt x="16" y="271"/>
                    </a:lnTo>
                    <a:lnTo>
                      <a:pt x="56" y="225"/>
                    </a:lnTo>
                    <a:cubicBezTo>
                      <a:pt x="58" y="223"/>
                      <a:pt x="62" y="222"/>
                      <a:pt x="65" y="223"/>
                    </a:cubicBezTo>
                    <a:cubicBezTo>
                      <a:pt x="68" y="224"/>
                      <a:pt x="70" y="227"/>
                      <a:pt x="70" y="231"/>
                    </a:cubicBezTo>
                    <a:lnTo>
                      <a:pt x="69" y="330"/>
                    </a:lnTo>
                    <a:lnTo>
                      <a:pt x="59" y="322"/>
                    </a:lnTo>
                    <a:lnTo>
                      <a:pt x="147" y="303"/>
                    </a:lnTo>
                    <a:cubicBezTo>
                      <a:pt x="150" y="303"/>
                      <a:pt x="153" y="304"/>
                      <a:pt x="155" y="307"/>
                    </a:cubicBezTo>
                    <a:cubicBezTo>
                      <a:pt x="157" y="310"/>
                      <a:pt x="157" y="313"/>
                      <a:pt x="155" y="316"/>
                    </a:cubicBezTo>
                    <a:lnTo>
                      <a:pt x="129" y="353"/>
                    </a:lnTo>
                    <a:lnTo>
                      <a:pt x="126" y="341"/>
                    </a:lnTo>
                    <a:lnTo>
                      <a:pt x="169" y="359"/>
                    </a:lnTo>
                    <a:cubicBezTo>
                      <a:pt x="173" y="361"/>
                      <a:pt x="175" y="364"/>
                      <a:pt x="174" y="368"/>
                    </a:cubicBezTo>
                    <a:lnTo>
                      <a:pt x="165" y="432"/>
                    </a:lnTo>
                    <a:cubicBezTo>
                      <a:pt x="164" y="434"/>
                      <a:pt x="163" y="436"/>
                      <a:pt x="161" y="438"/>
                    </a:cubicBezTo>
                    <a:lnTo>
                      <a:pt x="77" y="486"/>
                    </a:lnTo>
                    <a:lnTo>
                      <a:pt x="77" y="473"/>
                    </a:lnTo>
                    <a:lnTo>
                      <a:pt x="116" y="496"/>
                    </a:lnTo>
                    <a:cubicBezTo>
                      <a:pt x="118" y="498"/>
                      <a:pt x="119" y="500"/>
                      <a:pt x="119" y="503"/>
                    </a:cubicBezTo>
                    <a:cubicBezTo>
                      <a:pt x="120" y="505"/>
                      <a:pt x="118" y="508"/>
                      <a:pt x="116" y="509"/>
                    </a:cubicBezTo>
                    <a:lnTo>
                      <a:pt x="55" y="556"/>
                    </a:lnTo>
                    <a:lnTo>
                      <a:pt x="53" y="543"/>
                    </a:lnTo>
                    <a:lnTo>
                      <a:pt x="137" y="582"/>
                    </a:lnTo>
                    <a:lnTo>
                      <a:pt x="130" y="582"/>
                    </a:lnTo>
                    <a:lnTo>
                      <a:pt x="173" y="561"/>
                    </a:lnTo>
                    <a:cubicBezTo>
                      <a:pt x="176" y="560"/>
                      <a:pt x="180" y="561"/>
                      <a:pt x="183" y="564"/>
                    </a:cubicBezTo>
                    <a:cubicBezTo>
                      <a:pt x="185" y="568"/>
                      <a:pt x="184" y="572"/>
                      <a:pt x="181" y="575"/>
                    </a:cubicBezTo>
                    <a:lnTo>
                      <a:pt x="34" y="703"/>
                    </a:lnTo>
                    <a:lnTo>
                      <a:pt x="27" y="689"/>
                    </a:lnTo>
                    <a:lnTo>
                      <a:pt x="359" y="600"/>
                    </a:lnTo>
                    <a:lnTo>
                      <a:pt x="356" y="614"/>
                    </a:lnTo>
                    <a:lnTo>
                      <a:pt x="323" y="587"/>
                    </a:lnTo>
                    <a:cubicBezTo>
                      <a:pt x="320" y="584"/>
                      <a:pt x="320" y="580"/>
                      <a:pt x="321" y="577"/>
                    </a:cubicBezTo>
                    <a:lnTo>
                      <a:pt x="369" y="484"/>
                    </a:lnTo>
                    <a:lnTo>
                      <a:pt x="376" y="496"/>
                    </a:lnTo>
                    <a:lnTo>
                      <a:pt x="295" y="487"/>
                    </a:lnTo>
                    <a:cubicBezTo>
                      <a:pt x="292" y="487"/>
                      <a:pt x="289" y="485"/>
                      <a:pt x="288" y="483"/>
                    </a:cubicBezTo>
                    <a:cubicBezTo>
                      <a:pt x="287" y="481"/>
                      <a:pt x="287" y="478"/>
                      <a:pt x="289" y="475"/>
                    </a:cubicBezTo>
                    <a:lnTo>
                      <a:pt x="309" y="442"/>
                    </a:lnTo>
                    <a:lnTo>
                      <a:pt x="310" y="452"/>
                    </a:lnTo>
                    <a:lnTo>
                      <a:pt x="275" y="416"/>
                    </a:lnTo>
                    <a:cubicBezTo>
                      <a:pt x="273" y="414"/>
                      <a:pt x="272" y="411"/>
                      <a:pt x="273" y="409"/>
                    </a:cubicBezTo>
                    <a:cubicBezTo>
                      <a:pt x="273" y="406"/>
                      <a:pt x="275" y="404"/>
                      <a:pt x="278" y="403"/>
                    </a:cubicBezTo>
                    <a:lnTo>
                      <a:pt x="301" y="395"/>
                    </a:lnTo>
                    <a:lnTo>
                      <a:pt x="297" y="406"/>
                    </a:lnTo>
                    <a:lnTo>
                      <a:pt x="217" y="265"/>
                    </a:lnTo>
                    <a:lnTo>
                      <a:pt x="221" y="268"/>
                    </a:lnTo>
                    <a:lnTo>
                      <a:pt x="137" y="228"/>
                    </a:lnTo>
                    <a:cubicBezTo>
                      <a:pt x="135" y="227"/>
                      <a:pt x="133" y="225"/>
                      <a:pt x="133" y="223"/>
                    </a:cubicBezTo>
                    <a:cubicBezTo>
                      <a:pt x="132" y="220"/>
                      <a:pt x="132" y="218"/>
                      <a:pt x="133" y="216"/>
                    </a:cubicBezTo>
                    <a:lnTo>
                      <a:pt x="204" y="103"/>
                    </a:lnTo>
                    <a:lnTo>
                      <a:pt x="209" y="116"/>
                    </a:lnTo>
                    <a:lnTo>
                      <a:pt x="97" y="99"/>
                    </a:lnTo>
                    <a:cubicBezTo>
                      <a:pt x="94" y="98"/>
                      <a:pt x="92" y="97"/>
                      <a:pt x="90" y="94"/>
                    </a:cubicBezTo>
                    <a:cubicBezTo>
                      <a:pt x="89" y="92"/>
                      <a:pt x="89" y="89"/>
                      <a:pt x="91" y="87"/>
                    </a:cubicBezTo>
                    <a:lnTo>
                      <a:pt x="142" y="4"/>
                    </a:lnTo>
                    <a:lnTo>
                      <a:pt x="149" y="16"/>
                    </a:lnTo>
                    <a:lnTo>
                      <a:pt x="62" y="16"/>
                    </a:lnTo>
                    <a:lnTo>
                      <a:pt x="69" y="12"/>
                    </a:lnTo>
                    <a:lnTo>
                      <a:pt x="29" y="81"/>
                    </a:lnTo>
                    <a:lnTo>
                      <a:pt x="30" y="79"/>
                    </a:lnTo>
                    <a:lnTo>
                      <a:pt x="16" y="171"/>
                    </a:lnTo>
                    <a:lnTo>
                      <a:pt x="10" y="162"/>
                    </a:lnTo>
                    <a:lnTo>
                      <a:pt x="47" y="167"/>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73" name="Freeform 329"/>
              <p:cNvSpPr>
                <a:spLocks/>
              </p:cNvSpPr>
              <p:nvPr/>
            </p:nvSpPr>
            <p:spPr bwMode="auto">
              <a:xfrm>
                <a:off x="579" y="1264"/>
                <a:ext cx="37" cy="22"/>
              </a:xfrm>
              <a:custGeom>
                <a:avLst/>
                <a:gdLst/>
                <a:ahLst/>
                <a:cxnLst>
                  <a:cxn ang="0">
                    <a:pos x="0" y="9"/>
                  </a:cxn>
                  <a:cxn ang="0">
                    <a:pos x="10" y="22"/>
                  </a:cxn>
                  <a:cxn ang="0">
                    <a:pos x="37" y="4"/>
                  </a:cxn>
                  <a:cxn ang="0">
                    <a:pos x="12" y="0"/>
                  </a:cxn>
                  <a:cxn ang="0">
                    <a:pos x="15" y="9"/>
                  </a:cxn>
                  <a:cxn ang="0">
                    <a:pos x="0" y="9"/>
                  </a:cxn>
                </a:cxnLst>
                <a:rect l="0" t="0" r="r" b="b"/>
                <a:pathLst>
                  <a:path w="37" h="22">
                    <a:moveTo>
                      <a:pt x="0" y="9"/>
                    </a:moveTo>
                    <a:lnTo>
                      <a:pt x="10" y="22"/>
                    </a:lnTo>
                    <a:lnTo>
                      <a:pt x="37" y="4"/>
                    </a:lnTo>
                    <a:lnTo>
                      <a:pt x="12" y="0"/>
                    </a:lnTo>
                    <a:lnTo>
                      <a:pt x="15" y="9"/>
                    </a:lnTo>
                    <a:lnTo>
                      <a:pt x="0" y="9"/>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74" name="Freeform 330"/>
              <p:cNvSpPr>
                <a:spLocks noEditPoints="1"/>
              </p:cNvSpPr>
              <p:nvPr/>
            </p:nvSpPr>
            <p:spPr bwMode="auto">
              <a:xfrm>
                <a:off x="576" y="1263"/>
                <a:ext cx="42" cy="25"/>
              </a:xfrm>
              <a:custGeom>
                <a:avLst/>
                <a:gdLst/>
                <a:ahLst/>
                <a:cxnLst>
                  <a:cxn ang="0">
                    <a:pos x="9" y="55"/>
                  </a:cxn>
                  <a:cxn ang="0">
                    <a:pos x="15" y="42"/>
                  </a:cxn>
                  <a:cxn ang="0">
                    <a:pos x="51" y="100"/>
                  </a:cxn>
                  <a:cxn ang="0">
                    <a:pos x="39" y="98"/>
                  </a:cxn>
                  <a:cxn ang="0">
                    <a:pos x="131" y="19"/>
                  </a:cxn>
                  <a:cxn ang="0">
                    <a:pos x="135" y="33"/>
                  </a:cxn>
                  <a:cxn ang="0">
                    <a:pos x="50" y="16"/>
                  </a:cxn>
                  <a:cxn ang="0">
                    <a:pos x="59" y="6"/>
                  </a:cxn>
                  <a:cxn ang="0">
                    <a:pos x="69" y="43"/>
                  </a:cxn>
                  <a:cxn ang="0">
                    <a:pos x="68" y="49"/>
                  </a:cxn>
                  <a:cxn ang="0">
                    <a:pos x="62" y="53"/>
                  </a:cxn>
                  <a:cxn ang="0">
                    <a:pos x="9" y="55"/>
                  </a:cxn>
                  <a:cxn ang="0">
                    <a:pos x="61" y="37"/>
                  </a:cxn>
                  <a:cxn ang="0">
                    <a:pos x="54" y="47"/>
                  </a:cxn>
                  <a:cxn ang="0">
                    <a:pos x="44" y="11"/>
                  </a:cxn>
                  <a:cxn ang="0">
                    <a:pos x="46" y="3"/>
                  </a:cxn>
                  <a:cxn ang="0">
                    <a:pos x="53" y="1"/>
                  </a:cxn>
                  <a:cxn ang="0">
                    <a:pos x="138" y="17"/>
                  </a:cxn>
                  <a:cxn ang="0">
                    <a:pos x="144" y="23"/>
                  </a:cxn>
                  <a:cxn ang="0">
                    <a:pos x="142" y="31"/>
                  </a:cxn>
                  <a:cxn ang="0">
                    <a:pos x="50" y="111"/>
                  </a:cxn>
                  <a:cxn ang="0">
                    <a:pos x="43" y="112"/>
                  </a:cxn>
                  <a:cxn ang="0">
                    <a:pos x="38" y="109"/>
                  </a:cxn>
                  <a:cxn ang="0">
                    <a:pos x="2" y="51"/>
                  </a:cxn>
                  <a:cxn ang="0">
                    <a:pos x="1" y="43"/>
                  </a:cxn>
                  <a:cxn ang="0">
                    <a:pos x="8" y="39"/>
                  </a:cxn>
                  <a:cxn ang="0">
                    <a:pos x="61" y="37"/>
                  </a:cxn>
                </a:cxnLst>
                <a:rect l="0" t="0" r="r" b="b"/>
                <a:pathLst>
                  <a:path w="145" h="113">
                    <a:moveTo>
                      <a:pt x="9" y="55"/>
                    </a:moveTo>
                    <a:lnTo>
                      <a:pt x="15" y="42"/>
                    </a:lnTo>
                    <a:lnTo>
                      <a:pt x="51" y="100"/>
                    </a:lnTo>
                    <a:lnTo>
                      <a:pt x="39" y="98"/>
                    </a:lnTo>
                    <a:lnTo>
                      <a:pt x="131" y="19"/>
                    </a:lnTo>
                    <a:lnTo>
                      <a:pt x="135" y="33"/>
                    </a:lnTo>
                    <a:lnTo>
                      <a:pt x="50" y="16"/>
                    </a:lnTo>
                    <a:lnTo>
                      <a:pt x="59" y="6"/>
                    </a:lnTo>
                    <a:lnTo>
                      <a:pt x="69" y="43"/>
                    </a:lnTo>
                    <a:cubicBezTo>
                      <a:pt x="70" y="45"/>
                      <a:pt x="69" y="47"/>
                      <a:pt x="68" y="49"/>
                    </a:cubicBezTo>
                    <a:cubicBezTo>
                      <a:pt x="66" y="51"/>
                      <a:pt x="64" y="53"/>
                      <a:pt x="62" y="53"/>
                    </a:cubicBezTo>
                    <a:lnTo>
                      <a:pt x="9" y="55"/>
                    </a:lnTo>
                    <a:close/>
                    <a:moveTo>
                      <a:pt x="61" y="37"/>
                    </a:moveTo>
                    <a:lnTo>
                      <a:pt x="54" y="47"/>
                    </a:lnTo>
                    <a:lnTo>
                      <a:pt x="44" y="11"/>
                    </a:lnTo>
                    <a:cubicBezTo>
                      <a:pt x="43" y="8"/>
                      <a:pt x="44" y="5"/>
                      <a:pt x="46" y="3"/>
                    </a:cubicBezTo>
                    <a:cubicBezTo>
                      <a:pt x="48" y="1"/>
                      <a:pt x="50" y="0"/>
                      <a:pt x="53" y="1"/>
                    </a:cubicBezTo>
                    <a:lnTo>
                      <a:pt x="138" y="17"/>
                    </a:lnTo>
                    <a:cubicBezTo>
                      <a:pt x="141" y="17"/>
                      <a:pt x="143" y="20"/>
                      <a:pt x="144" y="23"/>
                    </a:cubicBezTo>
                    <a:cubicBezTo>
                      <a:pt x="145" y="26"/>
                      <a:pt x="144" y="29"/>
                      <a:pt x="142" y="31"/>
                    </a:cubicBezTo>
                    <a:lnTo>
                      <a:pt x="50" y="111"/>
                    </a:lnTo>
                    <a:cubicBezTo>
                      <a:pt x="48" y="112"/>
                      <a:pt x="46" y="113"/>
                      <a:pt x="43" y="112"/>
                    </a:cubicBezTo>
                    <a:cubicBezTo>
                      <a:pt x="41" y="112"/>
                      <a:pt x="39" y="111"/>
                      <a:pt x="38" y="109"/>
                    </a:cubicBezTo>
                    <a:lnTo>
                      <a:pt x="2" y="51"/>
                    </a:lnTo>
                    <a:cubicBezTo>
                      <a:pt x="0" y="48"/>
                      <a:pt x="0" y="45"/>
                      <a:pt x="1" y="43"/>
                    </a:cubicBezTo>
                    <a:cubicBezTo>
                      <a:pt x="3" y="40"/>
                      <a:pt x="5" y="39"/>
                      <a:pt x="8" y="39"/>
                    </a:cubicBezTo>
                    <a:lnTo>
                      <a:pt x="61" y="37"/>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75" name="Freeform 331"/>
              <p:cNvSpPr>
                <a:spLocks/>
              </p:cNvSpPr>
              <p:nvPr/>
            </p:nvSpPr>
            <p:spPr bwMode="auto">
              <a:xfrm>
                <a:off x="811" y="1228"/>
                <a:ext cx="111" cy="91"/>
              </a:xfrm>
              <a:custGeom>
                <a:avLst/>
                <a:gdLst/>
                <a:ahLst/>
                <a:cxnLst>
                  <a:cxn ang="0">
                    <a:pos x="0" y="9"/>
                  </a:cxn>
                  <a:cxn ang="0">
                    <a:pos x="4" y="22"/>
                  </a:cxn>
                  <a:cxn ang="0">
                    <a:pos x="20" y="28"/>
                  </a:cxn>
                  <a:cxn ang="0">
                    <a:pos x="27" y="24"/>
                  </a:cxn>
                  <a:cxn ang="0">
                    <a:pos x="14" y="17"/>
                  </a:cxn>
                  <a:cxn ang="0">
                    <a:pos x="27" y="17"/>
                  </a:cxn>
                  <a:cxn ang="0">
                    <a:pos x="38" y="28"/>
                  </a:cxn>
                  <a:cxn ang="0">
                    <a:pos x="34" y="8"/>
                  </a:cxn>
                  <a:cxn ang="0">
                    <a:pos x="44" y="26"/>
                  </a:cxn>
                  <a:cxn ang="0">
                    <a:pos x="67" y="36"/>
                  </a:cxn>
                  <a:cxn ang="0">
                    <a:pos x="63" y="49"/>
                  </a:cxn>
                  <a:cxn ang="0">
                    <a:pos x="90" y="65"/>
                  </a:cxn>
                  <a:cxn ang="0">
                    <a:pos x="82" y="78"/>
                  </a:cxn>
                  <a:cxn ang="0">
                    <a:pos x="97" y="67"/>
                  </a:cxn>
                  <a:cxn ang="0">
                    <a:pos x="99" y="91"/>
                  </a:cxn>
                  <a:cxn ang="0">
                    <a:pos x="110" y="87"/>
                  </a:cxn>
                  <a:cxn ang="0">
                    <a:pos x="111" y="69"/>
                  </a:cxn>
                  <a:cxn ang="0">
                    <a:pos x="85" y="59"/>
                  </a:cxn>
                  <a:cxn ang="0">
                    <a:pos x="35" y="0"/>
                  </a:cxn>
                  <a:cxn ang="0">
                    <a:pos x="7" y="17"/>
                  </a:cxn>
                  <a:cxn ang="0">
                    <a:pos x="0" y="9"/>
                  </a:cxn>
                </a:cxnLst>
                <a:rect l="0" t="0" r="r" b="b"/>
                <a:pathLst>
                  <a:path w="111" h="91">
                    <a:moveTo>
                      <a:pt x="0" y="9"/>
                    </a:moveTo>
                    <a:lnTo>
                      <a:pt x="4" y="22"/>
                    </a:lnTo>
                    <a:lnTo>
                      <a:pt x="20" y="28"/>
                    </a:lnTo>
                    <a:lnTo>
                      <a:pt x="27" y="24"/>
                    </a:lnTo>
                    <a:lnTo>
                      <a:pt x="14" y="17"/>
                    </a:lnTo>
                    <a:lnTo>
                      <a:pt x="27" y="17"/>
                    </a:lnTo>
                    <a:lnTo>
                      <a:pt x="38" y="28"/>
                    </a:lnTo>
                    <a:lnTo>
                      <a:pt x="34" y="8"/>
                    </a:lnTo>
                    <a:lnTo>
                      <a:pt x="44" y="26"/>
                    </a:lnTo>
                    <a:lnTo>
                      <a:pt x="67" y="36"/>
                    </a:lnTo>
                    <a:lnTo>
                      <a:pt x="63" y="49"/>
                    </a:lnTo>
                    <a:lnTo>
                      <a:pt x="90" y="65"/>
                    </a:lnTo>
                    <a:lnTo>
                      <a:pt x="82" y="78"/>
                    </a:lnTo>
                    <a:lnTo>
                      <a:pt x="97" y="67"/>
                    </a:lnTo>
                    <a:lnTo>
                      <a:pt x="99" y="91"/>
                    </a:lnTo>
                    <a:lnTo>
                      <a:pt x="110" y="87"/>
                    </a:lnTo>
                    <a:lnTo>
                      <a:pt x="111" y="69"/>
                    </a:lnTo>
                    <a:lnTo>
                      <a:pt x="85" y="59"/>
                    </a:lnTo>
                    <a:lnTo>
                      <a:pt x="35" y="0"/>
                    </a:lnTo>
                    <a:lnTo>
                      <a:pt x="7" y="17"/>
                    </a:lnTo>
                    <a:lnTo>
                      <a:pt x="0" y="9"/>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76" name="Freeform 332"/>
              <p:cNvSpPr>
                <a:spLocks noEditPoints="1"/>
              </p:cNvSpPr>
              <p:nvPr/>
            </p:nvSpPr>
            <p:spPr bwMode="auto">
              <a:xfrm>
                <a:off x="808" y="1226"/>
                <a:ext cx="117" cy="95"/>
              </a:xfrm>
              <a:custGeom>
                <a:avLst/>
                <a:gdLst/>
                <a:ahLst/>
                <a:cxnLst>
                  <a:cxn ang="0">
                    <a:pos x="16" y="45"/>
                  </a:cxn>
                  <a:cxn ang="0">
                    <a:pos x="27" y="100"/>
                  </a:cxn>
                  <a:cxn ang="0">
                    <a:pos x="73" y="125"/>
                  </a:cxn>
                  <a:cxn ang="0">
                    <a:pos x="97" y="118"/>
                  </a:cxn>
                  <a:cxn ang="0">
                    <a:pos x="48" y="79"/>
                  </a:cxn>
                  <a:cxn ang="0">
                    <a:pos x="101" y="73"/>
                  </a:cxn>
                  <a:cxn ang="0">
                    <a:pos x="147" y="128"/>
                  </a:cxn>
                  <a:cxn ang="0">
                    <a:pos x="120" y="43"/>
                  </a:cxn>
                  <a:cxn ang="0">
                    <a:pos x="135" y="39"/>
                  </a:cxn>
                  <a:cxn ang="0">
                    <a:pos x="165" y="114"/>
                  </a:cxn>
                  <a:cxn ang="0">
                    <a:pos x="249" y="169"/>
                  </a:cxn>
                  <a:cxn ang="0">
                    <a:pos x="231" y="215"/>
                  </a:cxn>
                  <a:cxn ang="0">
                    <a:pos x="325" y="294"/>
                  </a:cxn>
                  <a:cxn ang="0">
                    <a:pos x="287" y="345"/>
                  </a:cxn>
                  <a:cxn ang="0">
                    <a:pos x="345" y="295"/>
                  </a:cxn>
                  <a:cxn ang="0">
                    <a:pos x="360" y="408"/>
                  </a:cxn>
                  <a:cxn ang="0">
                    <a:pos x="385" y="384"/>
                  </a:cxn>
                  <a:cxn ang="0">
                    <a:pos x="384" y="310"/>
                  </a:cxn>
                  <a:cxn ang="0">
                    <a:pos x="298" y="274"/>
                  </a:cxn>
                  <a:cxn ang="0">
                    <a:pos x="124" y="13"/>
                  </a:cxn>
                  <a:cxn ang="0">
                    <a:pos x="38" y="87"/>
                  </a:cxn>
                  <a:cxn ang="0">
                    <a:pos x="27" y="86"/>
                  </a:cxn>
                  <a:cxn ang="0">
                    <a:pos x="40" y="76"/>
                  </a:cxn>
                  <a:cxn ang="0">
                    <a:pos x="126" y="2"/>
                  </a:cxn>
                  <a:cxn ang="0">
                    <a:pos x="137" y="4"/>
                  </a:cxn>
                  <a:cxn ang="0">
                    <a:pos x="304" y="259"/>
                  </a:cxn>
                  <a:cxn ang="0">
                    <a:pos x="400" y="310"/>
                  </a:cxn>
                  <a:cxn ang="0">
                    <a:pos x="392" y="398"/>
                  </a:cxn>
                  <a:cxn ang="0">
                    <a:pos x="348" y="415"/>
                  </a:cxn>
                  <a:cxn ang="0">
                    <a:pos x="335" y="303"/>
                  </a:cxn>
                  <a:cxn ang="0">
                    <a:pos x="298" y="356"/>
                  </a:cxn>
                  <a:cxn ang="0">
                    <a:pos x="285" y="347"/>
                  </a:cxn>
                  <a:cxn ang="0">
                    <a:pos x="313" y="297"/>
                  </a:cxn>
                  <a:cxn ang="0">
                    <a:pos x="218" y="219"/>
                  </a:cxn>
                  <a:cxn ang="0">
                    <a:pos x="237" y="174"/>
                  </a:cxn>
                  <a:cxn ang="0">
                    <a:pos x="154" y="124"/>
                  </a:cxn>
                  <a:cxn ang="0">
                    <a:pos x="136" y="41"/>
                  </a:cxn>
                  <a:cxn ang="0">
                    <a:pos x="143" y="140"/>
                  </a:cxn>
                  <a:cxn ang="0">
                    <a:pos x="95" y="86"/>
                  </a:cxn>
                  <a:cxn ang="0">
                    <a:pos x="56" y="89"/>
                  </a:cxn>
                  <a:cxn ang="0">
                    <a:pos x="106" y="105"/>
                  </a:cxn>
                  <a:cxn ang="0">
                    <a:pos x="106" y="118"/>
                  </a:cxn>
                  <a:cxn ang="0">
                    <a:pos x="75" y="138"/>
                  </a:cxn>
                  <a:cxn ang="0">
                    <a:pos x="16" y="109"/>
                  </a:cxn>
                  <a:cxn ang="0">
                    <a:pos x="5" y="40"/>
                  </a:cxn>
                  <a:cxn ang="0">
                    <a:pos x="40" y="76"/>
                  </a:cxn>
                </a:cxnLst>
                <a:rect l="0" t="0" r="r" b="b"/>
                <a:pathLst>
                  <a:path w="401" h="417">
                    <a:moveTo>
                      <a:pt x="2" y="52"/>
                    </a:moveTo>
                    <a:lnTo>
                      <a:pt x="16" y="45"/>
                    </a:lnTo>
                    <a:lnTo>
                      <a:pt x="31" y="105"/>
                    </a:lnTo>
                    <a:lnTo>
                      <a:pt x="27" y="100"/>
                    </a:lnTo>
                    <a:lnTo>
                      <a:pt x="81" y="124"/>
                    </a:lnTo>
                    <a:lnTo>
                      <a:pt x="73" y="125"/>
                    </a:lnTo>
                    <a:lnTo>
                      <a:pt x="96" y="106"/>
                    </a:lnTo>
                    <a:lnTo>
                      <a:pt x="97" y="118"/>
                    </a:lnTo>
                    <a:lnTo>
                      <a:pt x="51" y="88"/>
                    </a:lnTo>
                    <a:cubicBezTo>
                      <a:pt x="48" y="86"/>
                      <a:pt x="47" y="82"/>
                      <a:pt x="48" y="79"/>
                    </a:cubicBezTo>
                    <a:cubicBezTo>
                      <a:pt x="49" y="75"/>
                      <a:pt x="52" y="73"/>
                      <a:pt x="56" y="73"/>
                    </a:cubicBezTo>
                    <a:lnTo>
                      <a:pt x="101" y="73"/>
                    </a:lnTo>
                    <a:cubicBezTo>
                      <a:pt x="104" y="73"/>
                      <a:pt x="106" y="74"/>
                      <a:pt x="108" y="76"/>
                    </a:cubicBezTo>
                    <a:lnTo>
                      <a:pt x="147" y="128"/>
                    </a:lnTo>
                    <a:lnTo>
                      <a:pt x="132" y="134"/>
                    </a:lnTo>
                    <a:lnTo>
                      <a:pt x="120" y="43"/>
                    </a:lnTo>
                    <a:cubicBezTo>
                      <a:pt x="119" y="39"/>
                      <a:pt x="122" y="36"/>
                      <a:pt x="126" y="35"/>
                    </a:cubicBezTo>
                    <a:cubicBezTo>
                      <a:pt x="129" y="34"/>
                      <a:pt x="134" y="36"/>
                      <a:pt x="135" y="39"/>
                    </a:cubicBezTo>
                    <a:lnTo>
                      <a:pt x="168" y="118"/>
                    </a:lnTo>
                    <a:lnTo>
                      <a:pt x="165" y="114"/>
                    </a:lnTo>
                    <a:lnTo>
                      <a:pt x="245" y="160"/>
                    </a:lnTo>
                    <a:cubicBezTo>
                      <a:pt x="249" y="161"/>
                      <a:pt x="250" y="165"/>
                      <a:pt x="249" y="169"/>
                    </a:cubicBezTo>
                    <a:lnTo>
                      <a:pt x="234" y="224"/>
                    </a:lnTo>
                    <a:lnTo>
                      <a:pt x="231" y="215"/>
                    </a:lnTo>
                    <a:lnTo>
                      <a:pt x="322" y="284"/>
                    </a:lnTo>
                    <a:cubicBezTo>
                      <a:pt x="325" y="287"/>
                      <a:pt x="326" y="290"/>
                      <a:pt x="325" y="294"/>
                    </a:cubicBezTo>
                    <a:lnTo>
                      <a:pt x="300" y="353"/>
                    </a:lnTo>
                    <a:lnTo>
                      <a:pt x="287" y="345"/>
                    </a:lnTo>
                    <a:lnTo>
                      <a:pt x="337" y="296"/>
                    </a:lnTo>
                    <a:cubicBezTo>
                      <a:pt x="339" y="294"/>
                      <a:pt x="342" y="293"/>
                      <a:pt x="345" y="295"/>
                    </a:cubicBezTo>
                    <a:cubicBezTo>
                      <a:pt x="348" y="296"/>
                      <a:pt x="350" y="298"/>
                      <a:pt x="351" y="301"/>
                    </a:cubicBezTo>
                    <a:lnTo>
                      <a:pt x="360" y="408"/>
                    </a:lnTo>
                    <a:lnTo>
                      <a:pt x="349" y="401"/>
                    </a:lnTo>
                    <a:lnTo>
                      <a:pt x="385" y="384"/>
                    </a:lnTo>
                    <a:lnTo>
                      <a:pt x="380" y="390"/>
                    </a:lnTo>
                    <a:lnTo>
                      <a:pt x="384" y="310"/>
                    </a:lnTo>
                    <a:lnTo>
                      <a:pt x="389" y="317"/>
                    </a:lnTo>
                    <a:lnTo>
                      <a:pt x="298" y="274"/>
                    </a:lnTo>
                    <a:cubicBezTo>
                      <a:pt x="296" y="273"/>
                      <a:pt x="295" y="272"/>
                      <a:pt x="294" y="271"/>
                    </a:cubicBezTo>
                    <a:lnTo>
                      <a:pt x="124" y="13"/>
                    </a:lnTo>
                    <a:lnTo>
                      <a:pt x="135" y="15"/>
                    </a:lnTo>
                    <a:lnTo>
                      <a:pt x="38" y="87"/>
                    </a:lnTo>
                    <a:cubicBezTo>
                      <a:pt x="37" y="89"/>
                      <a:pt x="34" y="89"/>
                      <a:pt x="32" y="89"/>
                    </a:cubicBezTo>
                    <a:cubicBezTo>
                      <a:pt x="30" y="89"/>
                      <a:pt x="28" y="88"/>
                      <a:pt x="27" y="86"/>
                    </a:cubicBezTo>
                    <a:lnTo>
                      <a:pt x="2" y="52"/>
                    </a:lnTo>
                    <a:close/>
                    <a:moveTo>
                      <a:pt x="40" y="76"/>
                    </a:moveTo>
                    <a:lnTo>
                      <a:pt x="29" y="75"/>
                    </a:lnTo>
                    <a:lnTo>
                      <a:pt x="126" y="2"/>
                    </a:lnTo>
                    <a:cubicBezTo>
                      <a:pt x="127" y="1"/>
                      <a:pt x="130" y="0"/>
                      <a:pt x="132" y="1"/>
                    </a:cubicBezTo>
                    <a:cubicBezTo>
                      <a:pt x="134" y="1"/>
                      <a:pt x="136" y="2"/>
                      <a:pt x="137" y="4"/>
                    </a:cubicBezTo>
                    <a:lnTo>
                      <a:pt x="308" y="262"/>
                    </a:lnTo>
                    <a:lnTo>
                      <a:pt x="304" y="259"/>
                    </a:lnTo>
                    <a:lnTo>
                      <a:pt x="396" y="303"/>
                    </a:lnTo>
                    <a:cubicBezTo>
                      <a:pt x="399" y="304"/>
                      <a:pt x="401" y="307"/>
                      <a:pt x="400" y="310"/>
                    </a:cubicBezTo>
                    <a:lnTo>
                      <a:pt x="396" y="391"/>
                    </a:lnTo>
                    <a:cubicBezTo>
                      <a:pt x="396" y="394"/>
                      <a:pt x="394" y="397"/>
                      <a:pt x="392" y="398"/>
                    </a:cubicBezTo>
                    <a:lnTo>
                      <a:pt x="356" y="416"/>
                    </a:lnTo>
                    <a:cubicBezTo>
                      <a:pt x="353" y="417"/>
                      <a:pt x="351" y="417"/>
                      <a:pt x="348" y="415"/>
                    </a:cubicBezTo>
                    <a:cubicBezTo>
                      <a:pt x="346" y="414"/>
                      <a:pt x="345" y="412"/>
                      <a:pt x="344" y="409"/>
                    </a:cubicBezTo>
                    <a:lnTo>
                      <a:pt x="335" y="303"/>
                    </a:lnTo>
                    <a:lnTo>
                      <a:pt x="348" y="308"/>
                    </a:lnTo>
                    <a:lnTo>
                      <a:pt x="298" y="356"/>
                    </a:lnTo>
                    <a:cubicBezTo>
                      <a:pt x="295" y="359"/>
                      <a:pt x="291" y="359"/>
                      <a:pt x="288" y="357"/>
                    </a:cubicBezTo>
                    <a:cubicBezTo>
                      <a:pt x="285" y="355"/>
                      <a:pt x="284" y="351"/>
                      <a:pt x="285" y="347"/>
                    </a:cubicBezTo>
                    <a:lnTo>
                      <a:pt x="310" y="288"/>
                    </a:lnTo>
                    <a:lnTo>
                      <a:pt x="313" y="297"/>
                    </a:lnTo>
                    <a:lnTo>
                      <a:pt x="221" y="228"/>
                    </a:lnTo>
                    <a:cubicBezTo>
                      <a:pt x="219" y="226"/>
                      <a:pt x="218" y="222"/>
                      <a:pt x="218" y="219"/>
                    </a:cubicBezTo>
                    <a:lnTo>
                      <a:pt x="234" y="164"/>
                    </a:lnTo>
                    <a:lnTo>
                      <a:pt x="237" y="174"/>
                    </a:lnTo>
                    <a:lnTo>
                      <a:pt x="157" y="128"/>
                    </a:lnTo>
                    <a:cubicBezTo>
                      <a:pt x="155" y="127"/>
                      <a:pt x="154" y="126"/>
                      <a:pt x="154" y="124"/>
                    </a:cubicBezTo>
                    <a:lnTo>
                      <a:pt x="120" y="45"/>
                    </a:lnTo>
                    <a:lnTo>
                      <a:pt x="136" y="41"/>
                    </a:lnTo>
                    <a:lnTo>
                      <a:pt x="148" y="132"/>
                    </a:lnTo>
                    <a:cubicBezTo>
                      <a:pt x="149" y="135"/>
                      <a:pt x="147" y="139"/>
                      <a:pt x="143" y="140"/>
                    </a:cubicBezTo>
                    <a:cubicBezTo>
                      <a:pt x="140" y="141"/>
                      <a:pt x="136" y="140"/>
                      <a:pt x="134" y="137"/>
                    </a:cubicBezTo>
                    <a:lnTo>
                      <a:pt x="95" y="86"/>
                    </a:lnTo>
                    <a:lnTo>
                      <a:pt x="101" y="89"/>
                    </a:lnTo>
                    <a:lnTo>
                      <a:pt x="56" y="89"/>
                    </a:lnTo>
                    <a:lnTo>
                      <a:pt x="60" y="74"/>
                    </a:lnTo>
                    <a:lnTo>
                      <a:pt x="106" y="105"/>
                    </a:lnTo>
                    <a:cubicBezTo>
                      <a:pt x="108" y="106"/>
                      <a:pt x="109" y="109"/>
                      <a:pt x="109" y="111"/>
                    </a:cubicBezTo>
                    <a:cubicBezTo>
                      <a:pt x="109" y="114"/>
                      <a:pt x="108" y="116"/>
                      <a:pt x="106" y="118"/>
                    </a:cubicBezTo>
                    <a:lnTo>
                      <a:pt x="83" y="137"/>
                    </a:lnTo>
                    <a:cubicBezTo>
                      <a:pt x="81" y="139"/>
                      <a:pt x="77" y="140"/>
                      <a:pt x="75" y="138"/>
                    </a:cubicBezTo>
                    <a:lnTo>
                      <a:pt x="20" y="114"/>
                    </a:lnTo>
                    <a:cubicBezTo>
                      <a:pt x="18" y="113"/>
                      <a:pt x="17" y="111"/>
                      <a:pt x="16" y="109"/>
                    </a:cubicBezTo>
                    <a:lnTo>
                      <a:pt x="1" y="49"/>
                    </a:lnTo>
                    <a:cubicBezTo>
                      <a:pt x="0" y="45"/>
                      <a:pt x="2" y="42"/>
                      <a:pt x="5" y="40"/>
                    </a:cubicBezTo>
                    <a:cubicBezTo>
                      <a:pt x="9" y="38"/>
                      <a:pt x="13" y="39"/>
                      <a:pt x="15" y="42"/>
                    </a:cubicBezTo>
                    <a:lnTo>
                      <a:pt x="40" y="76"/>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77" name="Freeform 333"/>
              <p:cNvSpPr>
                <a:spLocks/>
              </p:cNvSpPr>
              <p:nvPr/>
            </p:nvSpPr>
            <p:spPr bwMode="auto">
              <a:xfrm>
                <a:off x="838" y="1257"/>
                <a:ext cx="19" cy="15"/>
              </a:xfrm>
              <a:custGeom>
                <a:avLst/>
                <a:gdLst/>
                <a:ahLst/>
                <a:cxnLst>
                  <a:cxn ang="0">
                    <a:pos x="0" y="0"/>
                  </a:cxn>
                  <a:cxn ang="0">
                    <a:pos x="6" y="15"/>
                  </a:cxn>
                  <a:cxn ang="0">
                    <a:pos x="7" y="8"/>
                  </a:cxn>
                  <a:cxn ang="0">
                    <a:pos x="19" y="14"/>
                  </a:cxn>
                  <a:cxn ang="0">
                    <a:pos x="8" y="8"/>
                  </a:cxn>
                  <a:cxn ang="0">
                    <a:pos x="18" y="3"/>
                  </a:cxn>
                  <a:cxn ang="0">
                    <a:pos x="0" y="0"/>
                  </a:cxn>
                </a:cxnLst>
                <a:rect l="0" t="0" r="r" b="b"/>
                <a:pathLst>
                  <a:path w="19" h="15">
                    <a:moveTo>
                      <a:pt x="0" y="0"/>
                    </a:moveTo>
                    <a:lnTo>
                      <a:pt x="6" y="15"/>
                    </a:lnTo>
                    <a:lnTo>
                      <a:pt x="7" y="8"/>
                    </a:lnTo>
                    <a:lnTo>
                      <a:pt x="19" y="14"/>
                    </a:lnTo>
                    <a:lnTo>
                      <a:pt x="8" y="8"/>
                    </a:lnTo>
                    <a:lnTo>
                      <a:pt x="18" y="3"/>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78" name="Freeform 334"/>
              <p:cNvSpPr>
                <a:spLocks noEditPoints="1"/>
              </p:cNvSpPr>
              <p:nvPr/>
            </p:nvSpPr>
            <p:spPr bwMode="auto">
              <a:xfrm>
                <a:off x="836" y="1255"/>
                <a:ext cx="24" cy="19"/>
              </a:xfrm>
              <a:custGeom>
                <a:avLst/>
                <a:gdLst/>
                <a:ahLst/>
                <a:cxnLst>
                  <a:cxn ang="0">
                    <a:pos x="7" y="16"/>
                  </a:cxn>
                  <a:cxn ang="0">
                    <a:pos x="16" y="6"/>
                  </a:cxn>
                  <a:cxn ang="0">
                    <a:pos x="35" y="70"/>
                  </a:cxn>
                  <a:cxn ang="0">
                    <a:pos x="20" y="71"/>
                  </a:cxn>
                  <a:cxn ang="0">
                    <a:pos x="24" y="40"/>
                  </a:cxn>
                  <a:cxn ang="0">
                    <a:pos x="28" y="34"/>
                  </a:cxn>
                  <a:cxn ang="0">
                    <a:pos x="36" y="35"/>
                  </a:cxn>
                  <a:cxn ang="0">
                    <a:pos x="77" y="61"/>
                  </a:cxn>
                  <a:cxn ang="0">
                    <a:pos x="68" y="74"/>
                  </a:cxn>
                  <a:cxn ang="0">
                    <a:pos x="30" y="48"/>
                  </a:cxn>
                  <a:cxn ang="0">
                    <a:pos x="26" y="41"/>
                  </a:cxn>
                  <a:cxn ang="0">
                    <a:pos x="30" y="34"/>
                  </a:cxn>
                  <a:cxn ang="0">
                    <a:pos x="66" y="14"/>
                  </a:cxn>
                  <a:cxn ang="0">
                    <a:pos x="68" y="29"/>
                  </a:cxn>
                  <a:cxn ang="0">
                    <a:pos x="7" y="16"/>
                  </a:cxn>
                  <a:cxn ang="0">
                    <a:pos x="71" y="13"/>
                  </a:cxn>
                  <a:cxn ang="0">
                    <a:pos x="78" y="20"/>
                  </a:cxn>
                  <a:cxn ang="0">
                    <a:pos x="74" y="28"/>
                  </a:cxn>
                  <a:cxn ang="0">
                    <a:pos x="38" y="48"/>
                  </a:cxn>
                  <a:cxn ang="0">
                    <a:pos x="39" y="35"/>
                  </a:cxn>
                  <a:cxn ang="0">
                    <a:pos x="77" y="61"/>
                  </a:cxn>
                  <a:cxn ang="0">
                    <a:pos x="79" y="72"/>
                  </a:cxn>
                  <a:cxn ang="0">
                    <a:pos x="68" y="74"/>
                  </a:cxn>
                  <a:cxn ang="0">
                    <a:pos x="27" y="48"/>
                  </a:cxn>
                  <a:cxn ang="0">
                    <a:pos x="40" y="42"/>
                  </a:cxn>
                  <a:cxn ang="0">
                    <a:pos x="35" y="74"/>
                  </a:cxn>
                  <a:cxn ang="0">
                    <a:pos x="28" y="80"/>
                  </a:cxn>
                  <a:cxn ang="0">
                    <a:pos x="20" y="75"/>
                  </a:cxn>
                  <a:cxn ang="0">
                    <a:pos x="1" y="11"/>
                  </a:cxn>
                  <a:cxn ang="0">
                    <a:pos x="3" y="3"/>
                  </a:cxn>
                  <a:cxn ang="0">
                    <a:pos x="10" y="1"/>
                  </a:cxn>
                  <a:cxn ang="0">
                    <a:pos x="71" y="13"/>
                  </a:cxn>
                </a:cxnLst>
                <a:rect l="0" t="0" r="r" b="b"/>
                <a:pathLst>
                  <a:path w="82" h="81">
                    <a:moveTo>
                      <a:pt x="7" y="16"/>
                    </a:moveTo>
                    <a:lnTo>
                      <a:pt x="16" y="6"/>
                    </a:lnTo>
                    <a:lnTo>
                      <a:pt x="35" y="70"/>
                    </a:lnTo>
                    <a:lnTo>
                      <a:pt x="20" y="71"/>
                    </a:lnTo>
                    <a:lnTo>
                      <a:pt x="24" y="40"/>
                    </a:lnTo>
                    <a:cubicBezTo>
                      <a:pt x="24" y="37"/>
                      <a:pt x="26" y="35"/>
                      <a:pt x="28" y="34"/>
                    </a:cubicBezTo>
                    <a:cubicBezTo>
                      <a:pt x="31" y="33"/>
                      <a:pt x="34" y="33"/>
                      <a:pt x="36" y="35"/>
                    </a:cubicBezTo>
                    <a:lnTo>
                      <a:pt x="77" y="61"/>
                    </a:lnTo>
                    <a:lnTo>
                      <a:pt x="68" y="74"/>
                    </a:lnTo>
                    <a:lnTo>
                      <a:pt x="30" y="48"/>
                    </a:lnTo>
                    <a:cubicBezTo>
                      <a:pt x="28" y="46"/>
                      <a:pt x="26" y="44"/>
                      <a:pt x="26" y="41"/>
                    </a:cubicBezTo>
                    <a:cubicBezTo>
                      <a:pt x="26" y="38"/>
                      <a:pt x="28" y="36"/>
                      <a:pt x="30" y="34"/>
                    </a:cubicBezTo>
                    <a:lnTo>
                      <a:pt x="66" y="14"/>
                    </a:lnTo>
                    <a:lnTo>
                      <a:pt x="68" y="29"/>
                    </a:lnTo>
                    <a:lnTo>
                      <a:pt x="7" y="16"/>
                    </a:lnTo>
                    <a:close/>
                    <a:moveTo>
                      <a:pt x="71" y="13"/>
                    </a:moveTo>
                    <a:cubicBezTo>
                      <a:pt x="75" y="14"/>
                      <a:pt x="77" y="16"/>
                      <a:pt x="78" y="20"/>
                    </a:cubicBezTo>
                    <a:cubicBezTo>
                      <a:pt x="78" y="23"/>
                      <a:pt x="77" y="26"/>
                      <a:pt x="74" y="28"/>
                    </a:cubicBezTo>
                    <a:lnTo>
                      <a:pt x="38" y="48"/>
                    </a:lnTo>
                    <a:lnTo>
                      <a:pt x="39" y="35"/>
                    </a:lnTo>
                    <a:lnTo>
                      <a:pt x="77" y="61"/>
                    </a:lnTo>
                    <a:cubicBezTo>
                      <a:pt x="81" y="64"/>
                      <a:pt x="82" y="69"/>
                      <a:pt x="79" y="72"/>
                    </a:cubicBezTo>
                    <a:cubicBezTo>
                      <a:pt x="77" y="76"/>
                      <a:pt x="72" y="77"/>
                      <a:pt x="68" y="74"/>
                    </a:cubicBezTo>
                    <a:lnTo>
                      <a:pt x="27" y="48"/>
                    </a:lnTo>
                    <a:lnTo>
                      <a:pt x="40" y="42"/>
                    </a:lnTo>
                    <a:lnTo>
                      <a:pt x="35" y="74"/>
                    </a:lnTo>
                    <a:cubicBezTo>
                      <a:pt x="35" y="77"/>
                      <a:pt x="32" y="80"/>
                      <a:pt x="28" y="80"/>
                    </a:cubicBezTo>
                    <a:cubicBezTo>
                      <a:pt x="24" y="81"/>
                      <a:pt x="21" y="78"/>
                      <a:pt x="20" y="75"/>
                    </a:cubicBezTo>
                    <a:lnTo>
                      <a:pt x="1" y="11"/>
                    </a:lnTo>
                    <a:cubicBezTo>
                      <a:pt x="0" y="8"/>
                      <a:pt x="1" y="5"/>
                      <a:pt x="3" y="3"/>
                    </a:cubicBezTo>
                    <a:cubicBezTo>
                      <a:pt x="4" y="1"/>
                      <a:pt x="7" y="0"/>
                      <a:pt x="10" y="1"/>
                    </a:cubicBezTo>
                    <a:lnTo>
                      <a:pt x="71" y="13"/>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79" name="Freeform 335"/>
              <p:cNvSpPr>
                <a:spLocks/>
              </p:cNvSpPr>
              <p:nvPr/>
            </p:nvSpPr>
            <p:spPr bwMode="auto">
              <a:xfrm>
                <a:off x="848" y="1272"/>
                <a:ext cx="9" cy="22"/>
              </a:xfrm>
              <a:custGeom>
                <a:avLst/>
                <a:gdLst/>
                <a:ahLst/>
                <a:cxnLst>
                  <a:cxn ang="0">
                    <a:pos x="0" y="0"/>
                  </a:cxn>
                  <a:cxn ang="0">
                    <a:pos x="8" y="4"/>
                  </a:cxn>
                  <a:cxn ang="0">
                    <a:pos x="9" y="22"/>
                  </a:cxn>
                  <a:cxn ang="0">
                    <a:pos x="0" y="0"/>
                  </a:cxn>
                </a:cxnLst>
                <a:rect l="0" t="0" r="r" b="b"/>
                <a:pathLst>
                  <a:path w="9" h="22">
                    <a:moveTo>
                      <a:pt x="0" y="0"/>
                    </a:moveTo>
                    <a:lnTo>
                      <a:pt x="8" y="4"/>
                    </a:lnTo>
                    <a:lnTo>
                      <a:pt x="9" y="22"/>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80" name="Freeform 336"/>
              <p:cNvSpPr>
                <a:spLocks noEditPoints="1"/>
              </p:cNvSpPr>
              <p:nvPr/>
            </p:nvSpPr>
            <p:spPr bwMode="auto">
              <a:xfrm>
                <a:off x="845" y="1270"/>
                <a:ext cx="15" cy="26"/>
              </a:xfrm>
              <a:custGeom>
                <a:avLst/>
                <a:gdLst/>
                <a:ahLst/>
                <a:cxnLst>
                  <a:cxn ang="0">
                    <a:pos x="1" y="11"/>
                  </a:cxn>
                  <a:cxn ang="0">
                    <a:pos x="4" y="2"/>
                  </a:cxn>
                  <a:cxn ang="0">
                    <a:pos x="13" y="2"/>
                  </a:cxn>
                  <a:cxn ang="0">
                    <a:pos x="42" y="21"/>
                  </a:cxn>
                  <a:cxn ang="0">
                    <a:pos x="46" y="27"/>
                  </a:cxn>
                  <a:cxn ang="0">
                    <a:pos x="48" y="104"/>
                  </a:cxn>
                  <a:cxn ang="0">
                    <a:pos x="42" y="112"/>
                  </a:cxn>
                  <a:cxn ang="0">
                    <a:pos x="33" y="107"/>
                  </a:cxn>
                  <a:cxn ang="0">
                    <a:pos x="1" y="11"/>
                  </a:cxn>
                  <a:cxn ang="0">
                    <a:pos x="48" y="102"/>
                  </a:cxn>
                  <a:cxn ang="0">
                    <a:pos x="32" y="105"/>
                  </a:cxn>
                  <a:cxn ang="0">
                    <a:pos x="30" y="28"/>
                  </a:cxn>
                  <a:cxn ang="0">
                    <a:pos x="34" y="34"/>
                  </a:cxn>
                  <a:cxn ang="0">
                    <a:pos x="4" y="15"/>
                  </a:cxn>
                  <a:cxn ang="0">
                    <a:pos x="16" y="6"/>
                  </a:cxn>
                  <a:cxn ang="0">
                    <a:pos x="48" y="102"/>
                  </a:cxn>
                </a:cxnLst>
                <a:rect l="0" t="0" r="r" b="b"/>
                <a:pathLst>
                  <a:path w="49" h="113">
                    <a:moveTo>
                      <a:pt x="1" y="11"/>
                    </a:moveTo>
                    <a:cubicBezTo>
                      <a:pt x="0" y="8"/>
                      <a:pt x="1" y="4"/>
                      <a:pt x="4" y="2"/>
                    </a:cubicBezTo>
                    <a:cubicBezTo>
                      <a:pt x="6" y="0"/>
                      <a:pt x="10" y="0"/>
                      <a:pt x="13" y="2"/>
                    </a:cubicBezTo>
                    <a:lnTo>
                      <a:pt x="42" y="21"/>
                    </a:lnTo>
                    <a:cubicBezTo>
                      <a:pt x="45" y="22"/>
                      <a:pt x="46" y="24"/>
                      <a:pt x="46" y="27"/>
                    </a:cubicBezTo>
                    <a:lnTo>
                      <a:pt x="48" y="104"/>
                    </a:lnTo>
                    <a:cubicBezTo>
                      <a:pt x="49" y="108"/>
                      <a:pt x="46" y="112"/>
                      <a:pt x="42" y="112"/>
                    </a:cubicBezTo>
                    <a:cubicBezTo>
                      <a:pt x="38" y="113"/>
                      <a:pt x="34" y="111"/>
                      <a:pt x="33" y="107"/>
                    </a:cubicBezTo>
                    <a:lnTo>
                      <a:pt x="1" y="11"/>
                    </a:lnTo>
                    <a:close/>
                    <a:moveTo>
                      <a:pt x="48" y="102"/>
                    </a:moveTo>
                    <a:lnTo>
                      <a:pt x="32" y="105"/>
                    </a:lnTo>
                    <a:lnTo>
                      <a:pt x="30" y="28"/>
                    </a:lnTo>
                    <a:lnTo>
                      <a:pt x="34" y="34"/>
                    </a:lnTo>
                    <a:lnTo>
                      <a:pt x="4" y="15"/>
                    </a:lnTo>
                    <a:lnTo>
                      <a:pt x="16" y="6"/>
                    </a:lnTo>
                    <a:lnTo>
                      <a:pt x="48" y="102"/>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81" name="Freeform 337"/>
              <p:cNvSpPr>
                <a:spLocks/>
              </p:cNvSpPr>
              <p:nvPr/>
            </p:nvSpPr>
            <p:spPr bwMode="auto">
              <a:xfrm>
                <a:off x="857" y="1257"/>
                <a:ext cx="14" cy="15"/>
              </a:xfrm>
              <a:custGeom>
                <a:avLst/>
                <a:gdLst/>
                <a:ahLst/>
                <a:cxnLst>
                  <a:cxn ang="0">
                    <a:pos x="0" y="0"/>
                  </a:cxn>
                  <a:cxn ang="0">
                    <a:pos x="3" y="15"/>
                  </a:cxn>
                  <a:cxn ang="0">
                    <a:pos x="12" y="15"/>
                  </a:cxn>
                  <a:cxn ang="0">
                    <a:pos x="8" y="2"/>
                  </a:cxn>
                  <a:cxn ang="0">
                    <a:pos x="14" y="11"/>
                  </a:cxn>
                  <a:cxn ang="0">
                    <a:pos x="9" y="0"/>
                  </a:cxn>
                  <a:cxn ang="0">
                    <a:pos x="0" y="0"/>
                  </a:cxn>
                </a:cxnLst>
                <a:rect l="0" t="0" r="r" b="b"/>
                <a:pathLst>
                  <a:path w="14" h="15">
                    <a:moveTo>
                      <a:pt x="0" y="0"/>
                    </a:moveTo>
                    <a:lnTo>
                      <a:pt x="3" y="15"/>
                    </a:lnTo>
                    <a:lnTo>
                      <a:pt x="12" y="15"/>
                    </a:lnTo>
                    <a:lnTo>
                      <a:pt x="8" y="2"/>
                    </a:lnTo>
                    <a:lnTo>
                      <a:pt x="14" y="11"/>
                    </a:lnTo>
                    <a:lnTo>
                      <a:pt x="9" y="0"/>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82" name="Freeform 338"/>
              <p:cNvSpPr>
                <a:spLocks noEditPoints="1"/>
              </p:cNvSpPr>
              <p:nvPr/>
            </p:nvSpPr>
            <p:spPr bwMode="auto">
              <a:xfrm>
                <a:off x="855" y="1255"/>
                <a:ext cx="19" cy="19"/>
              </a:xfrm>
              <a:custGeom>
                <a:avLst/>
                <a:gdLst/>
                <a:ahLst/>
                <a:cxnLst>
                  <a:cxn ang="0">
                    <a:pos x="8" y="16"/>
                  </a:cxn>
                  <a:cxn ang="0">
                    <a:pos x="16" y="7"/>
                  </a:cxn>
                  <a:cxn ang="0">
                    <a:pos x="26" y="71"/>
                  </a:cxn>
                  <a:cxn ang="0">
                    <a:pos x="18" y="64"/>
                  </a:cxn>
                  <a:cxn ang="0">
                    <a:pos x="49" y="64"/>
                  </a:cxn>
                  <a:cxn ang="0">
                    <a:pos x="42" y="75"/>
                  </a:cxn>
                  <a:cxn ang="0">
                    <a:pos x="26" y="17"/>
                  </a:cxn>
                  <a:cxn ang="0">
                    <a:pos x="31" y="8"/>
                  </a:cxn>
                  <a:cxn ang="0">
                    <a:pos x="41" y="11"/>
                  </a:cxn>
                  <a:cxn ang="0">
                    <a:pos x="63" y="51"/>
                  </a:cxn>
                  <a:cxn ang="0">
                    <a:pos x="49" y="58"/>
                  </a:cxn>
                  <a:cxn ang="0">
                    <a:pos x="31" y="11"/>
                  </a:cxn>
                  <a:cxn ang="0">
                    <a:pos x="38" y="16"/>
                  </a:cxn>
                  <a:cxn ang="0">
                    <a:pos x="8" y="16"/>
                  </a:cxn>
                  <a:cxn ang="0">
                    <a:pos x="38" y="0"/>
                  </a:cxn>
                  <a:cxn ang="0">
                    <a:pos x="46" y="6"/>
                  </a:cxn>
                  <a:cxn ang="0">
                    <a:pos x="64" y="52"/>
                  </a:cxn>
                  <a:cxn ang="0">
                    <a:pos x="60" y="62"/>
                  </a:cxn>
                  <a:cxn ang="0">
                    <a:pos x="50" y="59"/>
                  </a:cxn>
                  <a:cxn ang="0">
                    <a:pos x="27" y="19"/>
                  </a:cxn>
                  <a:cxn ang="0">
                    <a:pos x="42" y="13"/>
                  </a:cxn>
                  <a:cxn ang="0">
                    <a:pos x="57" y="70"/>
                  </a:cxn>
                  <a:cxn ang="0">
                    <a:pos x="56" y="77"/>
                  </a:cxn>
                  <a:cxn ang="0">
                    <a:pos x="49" y="80"/>
                  </a:cxn>
                  <a:cxn ang="0">
                    <a:pos x="18" y="80"/>
                  </a:cxn>
                  <a:cxn ang="0">
                    <a:pos x="10" y="74"/>
                  </a:cxn>
                  <a:cxn ang="0">
                    <a:pos x="1" y="10"/>
                  </a:cxn>
                  <a:cxn ang="0">
                    <a:pos x="2" y="3"/>
                  </a:cxn>
                  <a:cxn ang="0">
                    <a:pos x="8" y="0"/>
                  </a:cxn>
                  <a:cxn ang="0">
                    <a:pos x="38" y="0"/>
                  </a:cxn>
                </a:cxnLst>
                <a:rect l="0" t="0" r="r" b="b"/>
                <a:pathLst>
                  <a:path w="65" h="80">
                    <a:moveTo>
                      <a:pt x="8" y="16"/>
                    </a:moveTo>
                    <a:lnTo>
                      <a:pt x="16" y="7"/>
                    </a:lnTo>
                    <a:lnTo>
                      <a:pt x="26" y="71"/>
                    </a:lnTo>
                    <a:lnTo>
                      <a:pt x="18" y="64"/>
                    </a:lnTo>
                    <a:lnTo>
                      <a:pt x="49" y="64"/>
                    </a:lnTo>
                    <a:lnTo>
                      <a:pt x="42" y="75"/>
                    </a:lnTo>
                    <a:lnTo>
                      <a:pt x="26" y="17"/>
                    </a:lnTo>
                    <a:cubicBezTo>
                      <a:pt x="25" y="14"/>
                      <a:pt x="27" y="10"/>
                      <a:pt x="31" y="8"/>
                    </a:cubicBezTo>
                    <a:cubicBezTo>
                      <a:pt x="35" y="6"/>
                      <a:pt x="39" y="8"/>
                      <a:pt x="41" y="11"/>
                    </a:cubicBezTo>
                    <a:lnTo>
                      <a:pt x="63" y="51"/>
                    </a:lnTo>
                    <a:lnTo>
                      <a:pt x="49" y="58"/>
                    </a:lnTo>
                    <a:lnTo>
                      <a:pt x="31" y="11"/>
                    </a:lnTo>
                    <a:lnTo>
                      <a:pt x="38" y="16"/>
                    </a:lnTo>
                    <a:lnTo>
                      <a:pt x="8" y="16"/>
                    </a:lnTo>
                    <a:close/>
                    <a:moveTo>
                      <a:pt x="38" y="0"/>
                    </a:moveTo>
                    <a:cubicBezTo>
                      <a:pt x="41" y="0"/>
                      <a:pt x="44" y="2"/>
                      <a:pt x="46" y="6"/>
                    </a:cubicBezTo>
                    <a:lnTo>
                      <a:pt x="64" y="52"/>
                    </a:lnTo>
                    <a:cubicBezTo>
                      <a:pt x="65" y="56"/>
                      <a:pt x="64" y="61"/>
                      <a:pt x="60" y="62"/>
                    </a:cubicBezTo>
                    <a:cubicBezTo>
                      <a:pt x="56" y="64"/>
                      <a:pt x="52" y="63"/>
                      <a:pt x="50" y="59"/>
                    </a:cubicBezTo>
                    <a:lnTo>
                      <a:pt x="27" y="19"/>
                    </a:lnTo>
                    <a:lnTo>
                      <a:pt x="42" y="13"/>
                    </a:lnTo>
                    <a:lnTo>
                      <a:pt x="57" y="70"/>
                    </a:lnTo>
                    <a:cubicBezTo>
                      <a:pt x="58" y="73"/>
                      <a:pt x="57" y="75"/>
                      <a:pt x="56" y="77"/>
                    </a:cubicBezTo>
                    <a:cubicBezTo>
                      <a:pt x="54" y="79"/>
                      <a:pt x="52" y="80"/>
                      <a:pt x="49" y="80"/>
                    </a:cubicBezTo>
                    <a:lnTo>
                      <a:pt x="18" y="80"/>
                    </a:lnTo>
                    <a:cubicBezTo>
                      <a:pt x="14" y="80"/>
                      <a:pt x="11" y="78"/>
                      <a:pt x="10" y="74"/>
                    </a:cubicBezTo>
                    <a:lnTo>
                      <a:pt x="1" y="10"/>
                    </a:lnTo>
                    <a:cubicBezTo>
                      <a:pt x="0" y="7"/>
                      <a:pt x="1" y="5"/>
                      <a:pt x="2" y="3"/>
                    </a:cubicBezTo>
                    <a:cubicBezTo>
                      <a:pt x="4" y="1"/>
                      <a:pt x="6" y="0"/>
                      <a:pt x="8" y="0"/>
                    </a:cubicBezTo>
                    <a:lnTo>
                      <a:pt x="38" y="0"/>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83" name="Freeform 339"/>
              <p:cNvSpPr>
                <a:spLocks/>
              </p:cNvSpPr>
              <p:nvPr/>
            </p:nvSpPr>
            <p:spPr bwMode="auto">
              <a:xfrm>
                <a:off x="871" y="1279"/>
                <a:ext cx="9" cy="11"/>
              </a:xfrm>
              <a:custGeom>
                <a:avLst/>
                <a:gdLst/>
                <a:ahLst/>
                <a:cxnLst>
                  <a:cxn ang="0">
                    <a:pos x="0" y="0"/>
                  </a:cxn>
                  <a:cxn ang="0">
                    <a:pos x="9" y="11"/>
                  </a:cxn>
                  <a:cxn ang="0">
                    <a:pos x="9" y="1"/>
                  </a:cxn>
                  <a:cxn ang="0">
                    <a:pos x="0" y="0"/>
                  </a:cxn>
                </a:cxnLst>
                <a:rect l="0" t="0" r="r" b="b"/>
                <a:pathLst>
                  <a:path w="9" h="11">
                    <a:moveTo>
                      <a:pt x="0" y="0"/>
                    </a:moveTo>
                    <a:lnTo>
                      <a:pt x="9" y="11"/>
                    </a:lnTo>
                    <a:lnTo>
                      <a:pt x="9" y="1"/>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84" name="Freeform 340"/>
              <p:cNvSpPr>
                <a:spLocks noEditPoints="1"/>
              </p:cNvSpPr>
              <p:nvPr/>
            </p:nvSpPr>
            <p:spPr bwMode="auto">
              <a:xfrm>
                <a:off x="869" y="1277"/>
                <a:ext cx="14" cy="15"/>
              </a:xfrm>
              <a:custGeom>
                <a:avLst/>
                <a:gdLst/>
                <a:ahLst/>
                <a:cxnLst>
                  <a:cxn ang="0">
                    <a:pos x="7" y="16"/>
                  </a:cxn>
                  <a:cxn ang="0">
                    <a:pos x="15" y="4"/>
                  </a:cxn>
                  <a:cxn ang="0">
                    <a:pos x="46" y="52"/>
                  </a:cxn>
                  <a:cxn ang="0">
                    <a:pos x="31" y="56"/>
                  </a:cxn>
                  <a:cxn ang="0">
                    <a:pos x="32" y="14"/>
                  </a:cxn>
                  <a:cxn ang="0">
                    <a:pos x="39" y="22"/>
                  </a:cxn>
                  <a:cxn ang="0">
                    <a:pos x="7" y="16"/>
                  </a:cxn>
                  <a:cxn ang="0">
                    <a:pos x="42" y="6"/>
                  </a:cxn>
                  <a:cxn ang="0">
                    <a:pos x="48" y="14"/>
                  </a:cxn>
                  <a:cxn ang="0">
                    <a:pos x="47" y="57"/>
                  </a:cxn>
                  <a:cxn ang="0">
                    <a:pos x="42" y="64"/>
                  </a:cxn>
                  <a:cxn ang="0">
                    <a:pos x="33" y="61"/>
                  </a:cxn>
                  <a:cxn ang="0">
                    <a:pos x="2" y="13"/>
                  </a:cxn>
                  <a:cxn ang="0">
                    <a:pos x="2" y="4"/>
                  </a:cxn>
                  <a:cxn ang="0">
                    <a:pos x="10" y="1"/>
                  </a:cxn>
                  <a:cxn ang="0">
                    <a:pos x="42" y="6"/>
                  </a:cxn>
                </a:cxnLst>
                <a:rect l="0" t="0" r="r" b="b"/>
                <a:pathLst>
                  <a:path w="49" h="65">
                    <a:moveTo>
                      <a:pt x="7" y="16"/>
                    </a:moveTo>
                    <a:lnTo>
                      <a:pt x="15" y="4"/>
                    </a:lnTo>
                    <a:lnTo>
                      <a:pt x="46" y="52"/>
                    </a:lnTo>
                    <a:lnTo>
                      <a:pt x="31" y="56"/>
                    </a:lnTo>
                    <a:lnTo>
                      <a:pt x="32" y="14"/>
                    </a:lnTo>
                    <a:lnTo>
                      <a:pt x="39" y="22"/>
                    </a:lnTo>
                    <a:lnTo>
                      <a:pt x="7" y="16"/>
                    </a:lnTo>
                    <a:close/>
                    <a:moveTo>
                      <a:pt x="42" y="6"/>
                    </a:moveTo>
                    <a:cubicBezTo>
                      <a:pt x="46" y="7"/>
                      <a:pt x="49" y="10"/>
                      <a:pt x="48" y="14"/>
                    </a:cubicBezTo>
                    <a:lnTo>
                      <a:pt x="47" y="57"/>
                    </a:lnTo>
                    <a:cubicBezTo>
                      <a:pt x="47" y="60"/>
                      <a:pt x="45" y="63"/>
                      <a:pt x="42" y="64"/>
                    </a:cubicBezTo>
                    <a:cubicBezTo>
                      <a:pt x="38" y="65"/>
                      <a:pt x="35" y="64"/>
                      <a:pt x="33" y="61"/>
                    </a:cubicBezTo>
                    <a:lnTo>
                      <a:pt x="2" y="13"/>
                    </a:lnTo>
                    <a:cubicBezTo>
                      <a:pt x="0" y="10"/>
                      <a:pt x="0" y="7"/>
                      <a:pt x="2" y="4"/>
                    </a:cubicBezTo>
                    <a:cubicBezTo>
                      <a:pt x="4" y="1"/>
                      <a:pt x="7" y="0"/>
                      <a:pt x="10" y="1"/>
                    </a:cubicBezTo>
                    <a:lnTo>
                      <a:pt x="42" y="6"/>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85" name="Freeform 341"/>
              <p:cNvSpPr>
                <a:spLocks/>
              </p:cNvSpPr>
              <p:nvPr/>
            </p:nvSpPr>
            <p:spPr bwMode="auto">
              <a:xfrm>
                <a:off x="876" y="1294"/>
                <a:ext cx="13" cy="22"/>
              </a:xfrm>
              <a:custGeom>
                <a:avLst/>
                <a:gdLst/>
                <a:ahLst/>
                <a:cxnLst>
                  <a:cxn ang="0">
                    <a:pos x="0" y="0"/>
                  </a:cxn>
                  <a:cxn ang="0">
                    <a:pos x="11" y="8"/>
                  </a:cxn>
                  <a:cxn ang="0">
                    <a:pos x="13" y="22"/>
                  </a:cxn>
                  <a:cxn ang="0">
                    <a:pos x="0" y="0"/>
                  </a:cxn>
                </a:cxnLst>
                <a:rect l="0" t="0" r="r" b="b"/>
                <a:pathLst>
                  <a:path w="13" h="22">
                    <a:moveTo>
                      <a:pt x="0" y="0"/>
                    </a:moveTo>
                    <a:lnTo>
                      <a:pt x="11" y="8"/>
                    </a:lnTo>
                    <a:lnTo>
                      <a:pt x="13" y="22"/>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86" name="Freeform 342"/>
              <p:cNvSpPr>
                <a:spLocks noEditPoints="1"/>
              </p:cNvSpPr>
              <p:nvPr/>
            </p:nvSpPr>
            <p:spPr bwMode="auto">
              <a:xfrm>
                <a:off x="873" y="1292"/>
                <a:ext cx="19" cy="26"/>
              </a:xfrm>
              <a:custGeom>
                <a:avLst/>
                <a:gdLst/>
                <a:ahLst/>
                <a:cxnLst>
                  <a:cxn ang="0">
                    <a:pos x="1" y="12"/>
                  </a:cxn>
                  <a:cxn ang="0">
                    <a:pos x="4" y="2"/>
                  </a:cxn>
                  <a:cxn ang="0">
                    <a:pos x="14" y="3"/>
                  </a:cxn>
                  <a:cxn ang="0">
                    <a:pos x="52" y="37"/>
                  </a:cxn>
                  <a:cxn ang="0">
                    <a:pos x="54" y="42"/>
                  </a:cxn>
                  <a:cxn ang="0">
                    <a:pos x="64" y="103"/>
                  </a:cxn>
                  <a:cxn ang="0">
                    <a:pos x="59" y="112"/>
                  </a:cxn>
                  <a:cxn ang="0">
                    <a:pos x="49" y="108"/>
                  </a:cxn>
                  <a:cxn ang="0">
                    <a:pos x="1" y="12"/>
                  </a:cxn>
                  <a:cxn ang="0">
                    <a:pos x="64" y="101"/>
                  </a:cxn>
                  <a:cxn ang="0">
                    <a:pos x="49" y="106"/>
                  </a:cxn>
                  <a:cxn ang="0">
                    <a:pos x="38" y="44"/>
                  </a:cxn>
                  <a:cxn ang="0">
                    <a:pos x="41" y="49"/>
                  </a:cxn>
                  <a:cxn ang="0">
                    <a:pos x="3" y="14"/>
                  </a:cxn>
                  <a:cxn ang="0">
                    <a:pos x="16" y="5"/>
                  </a:cxn>
                  <a:cxn ang="0">
                    <a:pos x="64" y="101"/>
                  </a:cxn>
                </a:cxnLst>
                <a:rect l="0" t="0" r="r" b="b"/>
                <a:pathLst>
                  <a:path w="65" h="113">
                    <a:moveTo>
                      <a:pt x="1" y="12"/>
                    </a:moveTo>
                    <a:cubicBezTo>
                      <a:pt x="0" y="9"/>
                      <a:pt x="1" y="4"/>
                      <a:pt x="4" y="2"/>
                    </a:cubicBezTo>
                    <a:cubicBezTo>
                      <a:pt x="7" y="0"/>
                      <a:pt x="11" y="0"/>
                      <a:pt x="14" y="3"/>
                    </a:cubicBezTo>
                    <a:lnTo>
                      <a:pt x="52" y="37"/>
                    </a:lnTo>
                    <a:cubicBezTo>
                      <a:pt x="53" y="38"/>
                      <a:pt x="54" y="40"/>
                      <a:pt x="54" y="42"/>
                    </a:cubicBezTo>
                    <a:lnTo>
                      <a:pt x="64" y="103"/>
                    </a:lnTo>
                    <a:cubicBezTo>
                      <a:pt x="65" y="107"/>
                      <a:pt x="63" y="111"/>
                      <a:pt x="59" y="112"/>
                    </a:cubicBezTo>
                    <a:cubicBezTo>
                      <a:pt x="55" y="113"/>
                      <a:pt x="51" y="112"/>
                      <a:pt x="49" y="108"/>
                    </a:cubicBezTo>
                    <a:lnTo>
                      <a:pt x="1" y="12"/>
                    </a:lnTo>
                    <a:close/>
                    <a:moveTo>
                      <a:pt x="64" y="101"/>
                    </a:moveTo>
                    <a:lnTo>
                      <a:pt x="49" y="106"/>
                    </a:lnTo>
                    <a:lnTo>
                      <a:pt x="38" y="44"/>
                    </a:lnTo>
                    <a:lnTo>
                      <a:pt x="41" y="49"/>
                    </a:lnTo>
                    <a:lnTo>
                      <a:pt x="3" y="14"/>
                    </a:lnTo>
                    <a:lnTo>
                      <a:pt x="16" y="5"/>
                    </a:lnTo>
                    <a:lnTo>
                      <a:pt x="64" y="10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87" name="Freeform 343"/>
              <p:cNvSpPr>
                <a:spLocks/>
              </p:cNvSpPr>
              <p:nvPr/>
            </p:nvSpPr>
            <p:spPr bwMode="auto">
              <a:xfrm>
                <a:off x="903" y="1301"/>
                <a:ext cx="10" cy="11"/>
              </a:xfrm>
              <a:custGeom>
                <a:avLst/>
                <a:gdLst/>
                <a:ahLst/>
                <a:cxnLst>
                  <a:cxn ang="0">
                    <a:pos x="0" y="6"/>
                  </a:cxn>
                  <a:cxn ang="0">
                    <a:pos x="5" y="0"/>
                  </a:cxn>
                  <a:cxn ang="0">
                    <a:pos x="10" y="11"/>
                  </a:cxn>
                  <a:cxn ang="0">
                    <a:pos x="0" y="6"/>
                  </a:cxn>
                </a:cxnLst>
                <a:rect l="0" t="0" r="r" b="b"/>
                <a:pathLst>
                  <a:path w="10" h="11">
                    <a:moveTo>
                      <a:pt x="0" y="6"/>
                    </a:moveTo>
                    <a:lnTo>
                      <a:pt x="5" y="0"/>
                    </a:lnTo>
                    <a:lnTo>
                      <a:pt x="10" y="11"/>
                    </a:lnTo>
                    <a:lnTo>
                      <a:pt x="0" y="6"/>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88" name="Freeform 344"/>
              <p:cNvSpPr>
                <a:spLocks noEditPoints="1"/>
              </p:cNvSpPr>
              <p:nvPr/>
            </p:nvSpPr>
            <p:spPr bwMode="auto">
              <a:xfrm>
                <a:off x="901" y="1299"/>
                <a:ext cx="14" cy="15"/>
              </a:xfrm>
              <a:custGeom>
                <a:avLst/>
                <a:gdLst/>
                <a:ahLst/>
                <a:cxnLst>
                  <a:cxn ang="0">
                    <a:pos x="5" y="43"/>
                  </a:cxn>
                  <a:cxn ang="0">
                    <a:pos x="3" y="32"/>
                  </a:cxn>
                  <a:cxn ang="0">
                    <a:pos x="19" y="4"/>
                  </a:cxn>
                  <a:cxn ang="0">
                    <a:pos x="27" y="1"/>
                  </a:cxn>
                  <a:cxn ang="0">
                    <a:pos x="34" y="6"/>
                  </a:cxn>
                  <a:cxn ang="0">
                    <a:pos x="49" y="54"/>
                  </a:cxn>
                  <a:cxn ang="0">
                    <a:pos x="46" y="63"/>
                  </a:cxn>
                  <a:cxn ang="0">
                    <a:pos x="37" y="63"/>
                  </a:cxn>
                  <a:cxn ang="0">
                    <a:pos x="5" y="43"/>
                  </a:cxn>
                  <a:cxn ang="0">
                    <a:pos x="46" y="50"/>
                  </a:cxn>
                  <a:cxn ang="0">
                    <a:pos x="34" y="59"/>
                  </a:cxn>
                  <a:cxn ang="0">
                    <a:pos x="18" y="11"/>
                  </a:cxn>
                  <a:cxn ang="0">
                    <a:pos x="33" y="13"/>
                  </a:cxn>
                  <a:cxn ang="0">
                    <a:pos x="16" y="40"/>
                  </a:cxn>
                  <a:cxn ang="0">
                    <a:pos x="14" y="29"/>
                  </a:cxn>
                  <a:cxn ang="0">
                    <a:pos x="46" y="50"/>
                  </a:cxn>
                </a:cxnLst>
                <a:rect l="0" t="0" r="r" b="b"/>
                <a:pathLst>
                  <a:path w="50" h="65">
                    <a:moveTo>
                      <a:pt x="5" y="43"/>
                    </a:moveTo>
                    <a:cubicBezTo>
                      <a:pt x="2" y="41"/>
                      <a:pt x="0" y="36"/>
                      <a:pt x="3" y="32"/>
                    </a:cubicBezTo>
                    <a:lnTo>
                      <a:pt x="19" y="4"/>
                    </a:lnTo>
                    <a:cubicBezTo>
                      <a:pt x="21" y="2"/>
                      <a:pt x="24" y="0"/>
                      <a:pt x="27" y="1"/>
                    </a:cubicBezTo>
                    <a:cubicBezTo>
                      <a:pt x="30" y="1"/>
                      <a:pt x="33" y="3"/>
                      <a:pt x="34" y="6"/>
                    </a:cubicBezTo>
                    <a:lnTo>
                      <a:pt x="49" y="54"/>
                    </a:lnTo>
                    <a:cubicBezTo>
                      <a:pt x="50" y="57"/>
                      <a:pt x="49" y="61"/>
                      <a:pt x="46" y="63"/>
                    </a:cubicBezTo>
                    <a:cubicBezTo>
                      <a:pt x="44" y="65"/>
                      <a:pt x="40" y="65"/>
                      <a:pt x="37" y="63"/>
                    </a:cubicBezTo>
                    <a:lnTo>
                      <a:pt x="5" y="43"/>
                    </a:lnTo>
                    <a:close/>
                    <a:moveTo>
                      <a:pt x="46" y="50"/>
                    </a:moveTo>
                    <a:lnTo>
                      <a:pt x="34" y="59"/>
                    </a:lnTo>
                    <a:lnTo>
                      <a:pt x="18" y="11"/>
                    </a:lnTo>
                    <a:lnTo>
                      <a:pt x="33" y="13"/>
                    </a:lnTo>
                    <a:lnTo>
                      <a:pt x="16" y="40"/>
                    </a:lnTo>
                    <a:lnTo>
                      <a:pt x="14" y="29"/>
                    </a:lnTo>
                    <a:lnTo>
                      <a:pt x="46" y="50"/>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89" name="Freeform 345"/>
              <p:cNvSpPr>
                <a:spLocks/>
              </p:cNvSpPr>
              <p:nvPr/>
            </p:nvSpPr>
            <p:spPr bwMode="auto">
              <a:xfrm>
                <a:off x="1001" y="1414"/>
                <a:ext cx="803" cy="370"/>
              </a:xfrm>
              <a:custGeom>
                <a:avLst/>
                <a:gdLst/>
                <a:ahLst/>
                <a:cxnLst>
                  <a:cxn ang="0">
                    <a:pos x="9" y="51"/>
                  </a:cxn>
                  <a:cxn ang="0">
                    <a:pos x="11" y="56"/>
                  </a:cxn>
                  <a:cxn ang="0">
                    <a:pos x="25" y="183"/>
                  </a:cxn>
                  <a:cxn ang="0">
                    <a:pos x="32" y="197"/>
                  </a:cxn>
                  <a:cxn ang="0">
                    <a:pos x="85" y="244"/>
                  </a:cxn>
                  <a:cxn ang="0">
                    <a:pos x="138" y="263"/>
                  </a:cxn>
                  <a:cxn ang="0">
                    <a:pos x="254" y="276"/>
                  </a:cxn>
                  <a:cxn ang="0">
                    <a:pos x="321" y="304"/>
                  </a:cxn>
                  <a:cxn ang="0">
                    <a:pos x="384" y="361"/>
                  </a:cxn>
                  <a:cxn ang="0">
                    <a:pos x="410" y="318"/>
                  </a:cxn>
                  <a:cxn ang="0">
                    <a:pos x="454" y="304"/>
                  </a:cxn>
                  <a:cxn ang="0">
                    <a:pos x="491" y="299"/>
                  </a:cxn>
                  <a:cxn ang="0">
                    <a:pos x="507" y="296"/>
                  </a:cxn>
                  <a:cxn ang="0">
                    <a:pos x="511" y="298"/>
                  </a:cxn>
                  <a:cxn ang="0">
                    <a:pos x="583" y="314"/>
                  </a:cxn>
                  <a:cxn ang="0">
                    <a:pos x="603" y="370"/>
                  </a:cxn>
                  <a:cxn ang="0">
                    <a:pos x="619" y="345"/>
                  </a:cxn>
                  <a:cxn ang="0">
                    <a:pos x="612" y="265"/>
                  </a:cxn>
                  <a:cxn ang="0">
                    <a:pos x="668" y="215"/>
                  </a:cxn>
                  <a:cxn ang="0">
                    <a:pos x="671" y="198"/>
                  </a:cxn>
                  <a:cxn ang="0">
                    <a:pos x="659" y="175"/>
                  </a:cxn>
                  <a:cxn ang="0">
                    <a:pos x="669" y="165"/>
                  </a:cxn>
                  <a:cxn ang="0">
                    <a:pos x="681" y="197"/>
                  </a:cxn>
                  <a:cxn ang="0">
                    <a:pos x="685" y="158"/>
                  </a:cxn>
                  <a:cxn ang="0">
                    <a:pos x="707" y="139"/>
                  </a:cxn>
                  <a:cxn ang="0">
                    <a:pos x="749" y="118"/>
                  </a:cxn>
                  <a:cxn ang="0">
                    <a:pos x="801" y="80"/>
                  </a:cxn>
                  <a:cxn ang="0">
                    <a:pos x="793" y="63"/>
                  </a:cxn>
                  <a:cxn ang="0">
                    <a:pos x="769" y="35"/>
                  </a:cxn>
                  <a:cxn ang="0">
                    <a:pos x="681" y="82"/>
                  </a:cxn>
                  <a:cxn ang="0">
                    <a:pos x="636" y="103"/>
                  </a:cxn>
                  <a:cxn ang="0">
                    <a:pos x="596" y="130"/>
                  </a:cxn>
                  <a:cxn ang="0">
                    <a:pos x="579" y="123"/>
                  </a:cxn>
                  <a:cxn ang="0">
                    <a:pos x="586" y="112"/>
                  </a:cxn>
                  <a:cxn ang="0">
                    <a:pos x="582" y="90"/>
                  </a:cxn>
                  <a:cxn ang="0">
                    <a:pos x="572" y="70"/>
                  </a:cxn>
                  <a:cxn ang="0">
                    <a:pos x="535" y="80"/>
                  </a:cxn>
                  <a:cxn ang="0">
                    <a:pos x="516" y="125"/>
                  </a:cxn>
                  <a:cxn ang="0">
                    <a:pos x="522" y="71"/>
                  </a:cxn>
                  <a:cxn ang="0">
                    <a:pos x="530" y="59"/>
                  </a:cxn>
                  <a:cxn ang="0">
                    <a:pos x="560" y="50"/>
                  </a:cxn>
                  <a:cxn ang="0">
                    <a:pos x="504" y="45"/>
                  </a:cxn>
                  <a:cxn ang="0">
                    <a:pos x="480" y="48"/>
                  </a:cxn>
                  <a:cxn ang="0">
                    <a:pos x="485" y="25"/>
                  </a:cxn>
                  <a:cxn ang="0">
                    <a:pos x="411" y="0"/>
                  </a:cxn>
                  <a:cxn ang="0">
                    <a:pos x="27" y="8"/>
                  </a:cxn>
                  <a:cxn ang="0">
                    <a:pos x="25" y="35"/>
                  </a:cxn>
                  <a:cxn ang="0">
                    <a:pos x="0" y="21"/>
                  </a:cxn>
                </a:cxnLst>
                <a:rect l="0" t="0" r="r" b="b"/>
                <a:pathLst>
                  <a:path w="803" h="370">
                    <a:moveTo>
                      <a:pt x="0" y="21"/>
                    </a:moveTo>
                    <a:lnTo>
                      <a:pt x="9" y="51"/>
                    </a:lnTo>
                    <a:lnTo>
                      <a:pt x="20" y="55"/>
                    </a:lnTo>
                    <a:lnTo>
                      <a:pt x="11" y="56"/>
                    </a:lnTo>
                    <a:lnTo>
                      <a:pt x="5" y="148"/>
                    </a:lnTo>
                    <a:lnTo>
                      <a:pt x="25" y="183"/>
                    </a:lnTo>
                    <a:lnTo>
                      <a:pt x="38" y="183"/>
                    </a:lnTo>
                    <a:lnTo>
                      <a:pt x="32" y="197"/>
                    </a:lnTo>
                    <a:lnTo>
                      <a:pt x="58" y="235"/>
                    </a:lnTo>
                    <a:lnTo>
                      <a:pt x="85" y="244"/>
                    </a:lnTo>
                    <a:lnTo>
                      <a:pt x="106" y="266"/>
                    </a:lnTo>
                    <a:lnTo>
                      <a:pt x="138" y="263"/>
                    </a:lnTo>
                    <a:lnTo>
                      <a:pt x="191" y="284"/>
                    </a:lnTo>
                    <a:lnTo>
                      <a:pt x="254" y="276"/>
                    </a:lnTo>
                    <a:lnTo>
                      <a:pt x="293" y="315"/>
                    </a:lnTo>
                    <a:lnTo>
                      <a:pt x="321" y="304"/>
                    </a:lnTo>
                    <a:lnTo>
                      <a:pt x="357" y="352"/>
                    </a:lnTo>
                    <a:lnTo>
                      <a:pt x="384" y="361"/>
                    </a:lnTo>
                    <a:lnTo>
                      <a:pt x="381" y="334"/>
                    </a:lnTo>
                    <a:lnTo>
                      <a:pt x="410" y="318"/>
                    </a:lnTo>
                    <a:lnTo>
                      <a:pt x="413" y="305"/>
                    </a:lnTo>
                    <a:lnTo>
                      <a:pt x="454" y="304"/>
                    </a:lnTo>
                    <a:lnTo>
                      <a:pt x="491" y="315"/>
                    </a:lnTo>
                    <a:lnTo>
                      <a:pt x="491" y="299"/>
                    </a:lnTo>
                    <a:lnTo>
                      <a:pt x="477" y="297"/>
                    </a:lnTo>
                    <a:lnTo>
                      <a:pt x="507" y="296"/>
                    </a:lnTo>
                    <a:lnTo>
                      <a:pt x="509" y="289"/>
                    </a:lnTo>
                    <a:lnTo>
                      <a:pt x="511" y="298"/>
                    </a:lnTo>
                    <a:lnTo>
                      <a:pt x="568" y="301"/>
                    </a:lnTo>
                    <a:lnTo>
                      <a:pt x="583" y="314"/>
                    </a:lnTo>
                    <a:lnTo>
                      <a:pt x="585" y="338"/>
                    </a:lnTo>
                    <a:lnTo>
                      <a:pt x="603" y="370"/>
                    </a:lnTo>
                    <a:lnTo>
                      <a:pt x="614" y="369"/>
                    </a:lnTo>
                    <a:lnTo>
                      <a:pt x="619" y="345"/>
                    </a:lnTo>
                    <a:lnTo>
                      <a:pt x="600" y="289"/>
                    </a:lnTo>
                    <a:lnTo>
                      <a:pt x="612" y="265"/>
                    </a:lnTo>
                    <a:lnTo>
                      <a:pt x="682" y="220"/>
                    </a:lnTo>
                    <a:lnTo>
                      <a:pt x="668" y="215"/>
                    </a:lnTo>
                    <a:lnTo>
                      <a:pt x="681" y="213"/>
                    </a:lnTo>
                    <a:lnTo>
                      <a:pt x="671" y="198"/>
                    </a:lnTo>
                    <a:lnTo>
                      <a:pt x="674" y="185"/>
                    </a:lnTo>
                    <a:lnTo>
                      <a:pt x="659" y="175"/>
                    </a:lnTo>
                    <a:lnTo>
                      <a:pt x="674" y="182"/>
                    </a:lnTo>
                    <a:lnTo>
                      <a:pt x="669" y="165"/>
                    </a:lnTo>
                    <a:lnTo>
                      <a:pt x="680" y="161"/>
                    </a:lnTo>
                    <a:lnTo>
                      <a:pt x="681" y="197"/>
                    </a:lnTo>
                    <a:lnTo>
                      <a:pt x="692" y="175"/>
                    </a:lnTo>
                    <a:lnTo>
                      <a:pt x="685" y="158"/>
                    </a:lnTo>
                    <a:lnTo>
                      <a:pt x="692" y="168"/>
                    </a:lnTo>
                    <a:lnTo>
                      <a:pt x="707" y="139"/>
                    </a:lnTo>
                    <a:lnTo>
                      <a:pt x="763" y="126"/>
                    </a:lnTo>
                    <a:lnTo>
                      <a:pt x="749" y="118"/>
                    </a:lnTo>
                    <a:lnTo>
                      <a:pt x="759" y="96"/>
                    </a:lnTo>
                    <a:lnTo>
                      <a:pt x="801" y="80"/>
                    </a:lnTo>
                    <a:lnTo>
                      <a:pt x="803" y="71"/>
                    </a:lnTo>
                    <a:lnTo>
                      <a:pt x="793" y="63"/>
                    </a:lnTo>
                    <a:lnTo>
                      <a:pt x="793" y="42"/>
                    </a:lnTo>
                    <a:lnTo>
                      <a:pt x="769" y="35"/>
                    </a:lnTo>
                    <a:lnTo>
                      <a:pt x="752" y="69"/>
                    </a:lnTo>
                    <a:lnTo>
                      <a:pt x="681" y="82"/>
                    </a:lnTo>
                    <a:lnTo>
                      <a:pt x="676" y="98"/>
                    </a:lnTo>
                    <a:lnTo>
                      <a:pt x="636" y="103"/>
                    </a:lnTo>
                    <a:lnTo>
                      <a:pt x="638" y="109"/>
                    </a:lnTo>
                    <a:lnTo>
                      <a:pt x="596" y="130"/>
                    </a:lnTo>
                    <a:lnTo>
                      <a:pt x="579" y="129"/>
                    </a:lnTo>
                    <a:lnTo>
                      <a:pt x="579" y="123"/>
                    </a:lnTo>
                    <a:lnTo>
                      <a:pt x="582" y="116"/>
                    </a:lnTo>
                    <a:lnTo>
                      <a:pt x="586" y="112"/>
                    </a:lnTo>
                    <a:lnTo>
                      <a:pt x="588" y="105"/>
                    </a:lnTo>
                    <a:lnTo>
                      <a:pt x="582" y="90"/>
                    </a:lnTo>
                    <a:lnTo>
                      <a:pt x="568" y="96"/>
                    </a:lnTo>
                    <a:lnTo>
                      <a:pt x="572" y="70"/>
                    </a:lnTo>
                    <a:lnTo>
                      <a:pt x="551" y="63"/>
                    </a:lnTo>
                    <a:lnTo>
                      <a:pt x="535" y="80"/>
                    </a:lnTo>
                    <a:lnTo>
                      <a:pt x="528" y="123"/>
                    </a:lnTo>
                    <a:lnTo>
                      <a:pt x="516" y="125"/>
                    </a:lnTo>
                    <a:lnTo>
                      <a:pt x="512" y="104"/>
                    </a:lnTo>
                    <a:lnTo>
                      <a:pt x="522" y="71"/>
                    </a:lnTo>
                    <a:lnTo>
                      <a:pt x="512" y="77"/>
                    </a:lnTo>
                    <a:lnTo>
                      <a:pt x="530" y="59"/>
                    </a:lnTo>
                    <a:lnTo>
                      <a:pt x="567" y="58"/>
                    </a:lnTo>
                    <a:lnTo>
                      <a:pt x="560" y="50"/>
                    </a:lnTo>
                    <a:lnTo>
                      <a:pt x="558" y="50"/>
                    </a:lnTo>
                    <a:lnTo>
                      <a:pt x="504" y="45"/>
                    </a:lnTo>
                    <a:lnTo>
                      <a:pt x="512" y="34"/>
                    </a:lnTo>
                    <a:lnTo>
                      <a:pt x="480" y="48"/>
                    </a:lnTo>
                    <a:lnTo>
                      <a:pt x="454" y="48"/>
                    </a:lnTo>
                    <a:lnTo>
                      <a:pt x="485" y="25"/>
                    </a:lnTo>
                    <a:lnTo>
                      <a:pt x="419" y="13"/>
                    </a:lnTo>
                    <a:lnTo>
                      <a:pt x="411" y="0"/>
                    </a:lnTo>
                    <a:lnTo>
                      <a:pt x="410" y="8"/>
                    </a:lnTo>
                    <a:lnTo>
                      <a:pt x="27" y="8"/>
                    </a:lnTo>
                    <a:lnTo>
                      <a:pt x="34" y="23"/>
                    </a:lnTo>
                    <a:lnTo>
                      <a:pt x="25" y="35"/>
                    </a:lnTo>
                    <a:lnTo>
                      <a:pt x="27" y="23"/>
                    </a:lnTo>
                    <a:lnTo>
                      <a:pt x="0" y="2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90" name="Freeform 346"/>
              <p:cNvSpPr>
                <a:spLocks noEditPoints="1"/>
              </p:cNvSpPr>
              <p:nvPr/>
            </p:nvSpPr>
            <p:spPr bwMode="auto">
              <a:xfrm>
                <a:off x="999" y="1413"/>
                <a:ext cx="807" cy="373"/>
              </a:xfrm>
              <a:custGeom>
                <a:avLst/>
                <a:gdLst/>
                <a:ahLst/>
                <a:cxnLst>
                  <a:cxn ang="0">
                    <a:pos x="81" y="253"/>
                  </a:cxn>
                  <a:cxn ang="0">
                    <a:pos x="138" y="799"/>
                  </a:cxn>
                  <a:cxn ang="0">
                    <a:pos x="303" y="1066"/>
                  </a:cxn>
                  <a:cxn ang="0">
                    <a:pos x="664" y="1240"/>
                  </a:cxn>
                  <a:cxn ang="0">
                    <a:pos x="1245" y="1542"/>
                  </a:cxn>
                  <a:cxn ang="0">
                    <a:pos x="1413" y="1393"/>
                  </a:cxn>
                  <a:cxn ang="0">
                    <a:pos x="1694" y="1315"/>
                  </a:cxn>
                  <a:cxn ang="0">
                    <a:pos x="1755" y="1269"/>
                  </a:cxn>
                  <a:cxn ang="0">
                    <a:pos x="2024" y="1376"/>
                  </a:cxn>
                  <a:cxn ang="0">
                    <a:pos x="2118" y="1618"/>
                  </a:cxn>
                  <a:cxn ang="0">
                    <a:pos x="2355" y="961"/>
                  </a:cxn>
                  <a:cxn ang="0">
                    <a:pos x="2316" y="876"/>
                  </a:cxn>
                  <a:cxn ang="0">
                    <a:pos x="2335" y="794"/>
                  </a:cxn>
                  <a:cxn ang="0">
                    <a:pos x="2364" y="865"/>
                  </a:cxn>
                  <a:cxn ang="0">
                    <a:pos x="2402" y="738"/>
                  </a:cxn>
                  <a:cxn ang="0">
                    <a:pos x="2582" y="522"/>
                  </a:cxn>
                  <a:cxn ang="0">
                    <a:pos x="2735" y="285"/>
                  </a:cxn>
                  <a:cxn ang="0">
                    <a:pos x="2604" y="316"/>
                  </a:cxn>
                  <a:cxn ang="0">
                    <a:pos x="2215" y="478"/>
                  </a:cxn>
                  <a:cxn ang="0">
                    <a:pos x="1996" y="540"/>
                  </a:cxn>
                  <a:cxn ang="0">
                    <a:pos x="2007" y="400"/>
                  </a:cxn>
                  <a:cxn ang="0">
                    <a:pos x="1906" y="287"/>
                  </a:cxn>
                  <a:cxn ang="0">
                    <a:pos x="1780" y="554"/>
                  </a:cxn>
                  <a:cxn ang="0">
                    <a:pos x="1769" y="336"/>
                  </a:cxn>
                  <a:cxn ang="0">
                    <a:pos x="1931" y="231"/>
                  </a:cxn>
                  <a:cxn ang="0">
                    <a:pos x="1662" y="225"/>
                  </a:cxn>
                  <a:cxn ang="0">
                    <a:pos x="1446" y="66"/>
                  </a:cxn>
                  <a:cxn ang="0">
                    <a:pos x="132" y="104"/>
                  </a:cxn>
                  <a:cxn ang="0">
                    <a:pos x="8" y="108"/>
                  </a:cxn>
                  <a:cxn ang="0">
                    <a:pos x="117" y="110"/>
                  </a:cxn>
                  <a:cxn ang="0">
                    <a:pos x="1422" y="1"/>
                  </a:cxn>
                  <a:cxn ang="0">
                    <a:pos x="1578" y="222"/>
                  </a:cxn>
                  <a:cxn ang="0">
                    <a:pos x="1753" y="206"/>
                  </a:cxn>
                  <a:cxn ang="0">
                    <a:pos x="1962" y="269"/>
                  </a:cxn>
                  <a:cxn ang="0">
                    <a:pos x="1816" y="318"/>
                  </a:cxn>
                  <a:cxn ang="0">
                    <a:pos x="1844" y="354"/>
                  </a:cxn>
                  <a:cxn ang="0">
                    <a:pos x="1962" y="418"/>
                  </a:cxn>
                  <a:cxn ang="0">
                    <a:pos x="2034" y="501"/>
                  </a:cxn>
                  <a:cxn ang="0">
                    <a:pos x="2066" y="565"/>
                  </a:cxn>
                  <a:cxn ang="0">
                    <a:pos x="2338" y="425"/>
                  </a:cxn>
                  <a:cxn ang="0">
                    <a:pos x="2663" y="151"/>
                  </a:cxn>
                  <a:cxn ang="0">
                    <a:pos x="2779" y="356"/>
                  </a:cxn>
                  <a:cxn ang="0">
                    <a:pos x="2647" y="559"/>
                  </a:cxn>
                  <a:cxn ang="0">
                    <a:pos x="2363" y="703"/>
                  </a:cxn>
                  <a:cxn ang="0">
                    <a:pos x="2344" y="709"/>
                  </a:cxn>
                  <a:cxn ang="0">
                    <a:pos x="2277" y="778"/>
                  </a:cxn>
                  <a:cxn ang="0">
                    <a:pos x="2363" y="942"/>
                  </a:cxn>
                  <a:cxn ang="0">
                    <a:pos x="2123" y="1173"/>
                  </a:cxn>
                  <a:cxn ang="0">
                    <a:pos x="2127" y="1627"/>
                  </a:cxn>
                  <a:cxn ang="0">
                    <a:pos x="1961" y="1329"/>
                  </a:cxn>
                  <a:cxn ang="0">
                    <a:pos x="1757" y="1311"/>
                  </a:cxn>
                  <a:cxn ang="0">
                    <a:pos x="1697" y="1392"/>
                  </a:cxn>
                  <a:cxn ang="0">
                    <a:pos x="1327" y="1474"/>
                  </a:cxn>
                  <a:cxn ang="0">
                    <a:pos x="1110" y="1342"/>
                  </a:cxn>
                  <a:cxn ang="0">
                    <a:pos x="662" y="1256"/>
                  </a:cxn>
                  <a:cxn ang="0">
                    <a:pos x="206" y="1043"/>
                  </a:cxn>
                  <a:cxn ang="0">
                    <a:pos x="86" y="811"/>
                  </a:cxn>
                  <a:cxn ang="0">
                    <a:pos x="38" y="239"/>
                  </a:cxn>
                </a:cxnLst>
                <a:rect l="0" t="0" r="r" b="b"/>
                <a:pathLst>
                  <a:path w="2785" h="1633">
                    <a:moveTo>
                      <a:pt x="8" y="108"/>
                    </a:moveTo>
                    <a:lnTo>
                      <a:pt x="16" y="98"/>
                    </a:lnTo>
                    <a:lnTo>
                      <a:pt x="48" y="230"/>
                    </a:lnTo>
                    <a:lnTo>
                      <a:pt x="43" y="224"/>
                    </a:lnTo>
                    <a:lnTo>
                      <a:pt x="82" y="237"/>
                    </a:lnTo>
                    <a:cubicBezTo>
                      <a:pt x="85" y="238"/>
                      <a:pt x="87" y="242"/>
                      <a:pt x="87" y="245"/>
                    </a:cubicBezTo>
                    <a:cubicBezTo>
                      <a:pt x="87" y="249"/>
                      <a:pt x="84" y="252"/>
                      <a:pt x="81" y="253"/>
                    </a:cubicBezTo>
                    <a:lnTo>
                      <a:pt x="49" y="259"/>
                    </a:lnTo>
                    <a:lnTo>
                      <a:pt x="55" y="252"/>
                    </a:lnTo>
                    <a:lnTo>
                      <a:pt x="32" y="653"/>
                    </a:lnTo>
                    <a:lnTo>
                      <a:pt x="31" y="649"/>
                    </a:lnTo>
                    <a:lnTo>
                      <a:pt x="100" y="804"/>
                    </a:lnTo>
                    <a:lnTo>
                      <a:pt x="93" y="799"/>
                    </a:lnTo>
                    <a:lnTo>
                      <a:pt x="138" y="799"/>
                    </a:lnTo>
                    <a:cubicBezTo>
                      <a:pt x="141" y="799"/>
                      <a:pt x="143" y="801"/>
                      <a:pt x="145" y="803"/>
                    </a:cubicBezTo>
                    <a:cubicBezTo>
                      <a:pt x="146" y="805"/>
                      <a:pt x="147" y="807"/>
                      <a:pt x="146" y="810"/>
                    </a:cubicBezTo>
                    <a:lnTo>
                      <a:pt x="127" y="868"/>
                    </a:lnTo>
                    <a:lnTo>
                      <a:pt x="126" y="862"/>
                    </a:lnTo>
                    <a:lnTo>
                      <a:pt x="216" y="1032"/>
                    </a:lnTo>
                    <a:lnTo>
                      <a:pt x="212" y="1028"/>
                    </a:lnTo>
                    <a:lnTo>
                      <a:pt x="303" y="1066"/>
                    </a:lnTo>
                    <a:cubicBezTo>
                      <a:pt x="305" y="1067"/>
                      <a:pt x="306" y="1068"/>
                      <a:pt x="307" y="1069"/>
                    </a:cubicBezTo>
                    <a:lnTo>
                      <a:pt x="380" y="1164"/>
                    </a:lnTo>
                    <a:lnTo>
                      <a:pt x="373" y="1160"/>
                    </a:lnTo>
                    <a:lnTo>
                      <a:pt x="482" y="1150"/>
                    </a:lnTo>
                    <a:cubicBezTo>
                      <a:pt x="484" y="1150"/>
                      <a:pt x="485" y="1151"/>
                      <a:pt x="486" y="1151"/>
                    </a:cubicBezTo>
                    <a:lnTo>
                      <a:pt x="669" y="1241"/>
                    </a:lnTo>
                    <a:lnTo>
                      <a:pt x="664" y="1240"/>
                    </a:lnTo>
                    <a:lnTo>
                      <a:pt x="883" y="1204"/>
                    </a:lnTo>
                    <a:cubicBezTo>
                      <a:pt x="886" y="1203"/>
                      <a:pt x="889" y="1205"/>
                      <a:pt x="890" y="1207"/>
                    </a:cubicBezTo>
                    <a:lnTo>
                      <a:pt x="1023" y="1380"/>
                    </a:lnTo>
                    <a:lnTo>
                      <a:pt x="1014" y="1378"/>
                    </a:lnTo>
                    <a:lnTo>
                      <a:pt x="1113" y="1331"/>
                    </a:lnTo>
                    <a:cubicBezTo>
                      <a:pt x="1117" y="1329"/>
                      <a:pt x="1121" y="1331"/>
                      <a:pt x="1123" y="1334"/>
                    </a:cubicBezTo>
                    <a:lnTo>
                      <a:pt x="1245" y="1542"/>
                    </a:lnTo>
                    <a:lnTo>
                      <a:pt x="1241" y="1539"/>
                    </a:lnTo>
                    <a:lnTo>
                      <a:pt x="1335" y="1577"/>
                    </a:lnTo>
                    <a:lnTo>
                      <a:pt x="1324" y="1585"/>
                    </a:lnTo>
                    <a:lnTo>
                      <a:pt x="1315" y="1469"/>
                    </a:lnTo>
                    <a:cubicBezTo>
                      <a:pt x="1314" y="1466"/>
                      <a:pt x="1316" y="1463"/>
                      <a:pt x="1318" y="1462"/>
                    </a:cubicBezTo>
                    <a:lnTo>
                      <a:pt x="1416" y="1388"/>
                    </a:lnTo>
                    <a:lnTo>
                      <a:pt x="1413" y="1393"/>
                    </a:lnTo>
                    <a:lnTo>
                      <a:pt x="1423" y="1340"/>
                    </a:lnTo>
                    <a:cubicBezTo>
                      <a:pt x="1423" y="1336"/>
                      <a:pt x="1427" y="1334"/>
                      <a:pt x="1430" y="1334"/>
                    </a:cubicBezTo>
                    <a:lnTo>
                      <a:pt x="1574" y="1330"/>
                    </a:lnTo>
                    <a:cubicBezTo>
                      <a:pt x="1575" y="1330"/>
                      <a:pt x="1576" y="1330"/>
                      <a:pt x="1577" y="1331"/>
                    </a:cubicBezTo>
                    <a:lnTo>
                      <a:pt x="1703" y="1377"/>
                    </a:lnTo>
                    <a:lnTo>
                      <a:pt x="1692" y="1385"/>
                    </a:lnTo>
                    <a:lnTo>
                      <a:pt x="1694" y="1315"/>
                    </a:lnTo>
                    <a:lnTo>
                      <a:pt x="1700" y="1323"/>
                    </a:lnTo>
                    <a:lnTo>
                      <a:pt x="1650" y="1313"/>
                    </a:lnTo>
                    <a:cubicBezTo>
                      <a:pt x="1646" y="1312"/>
                      <a:pt x="1643" y="1308"/>
                      <a:pt x="1644" y="1304"/>
                    </a:cubicBezTo>
                    <a:cubicBezTo>
                      <a:pt x="1644" y="1300"/>
                      <a:pt x="1648" y="1297"/>
                      <a:pt x="1652" y="1297"/>
                    </a:cubicBezTo>
                    <a:lnTo>
                      <a:pt x="1757" y="1295"/>
                    </a:lnTo>
                    <a:lnTo>
                      <a:pt x="1749" y="1302"/>
                    </a:lnTo>
                    <a:lnTo>
                      <a:pt x="1755" y="1269"/>
                    </a:lnTo>
                    <a:cubicBezTo>
                      <a:pt x="1755" y="1265"/>
                      <a:pt x="1758" y="1262"/>
                      <a:pt x="1762" y="1262"/>
                    </a:cubicBezTo>
                    <a:cubicBezTo>
                      <a:pt x="1766" y="1262"/>
                      <a:pt x="1770" y="1265"/>
                      <a:pt x="1770" y="1268"/>
                    </a:cubicBezTo>
                    <a:lnTo>
                      <a:pt x="1779" y="1308"/>
                    </a:lnTo>
                    <a:lnTo>
                      <a:pt x="1771" y="1302"/>
                    </a:lnTo>
                    <a:lnTo>
                      <a:pt x="1968" y="1315"/>
                    </a:lnTo>
                    <a:cubicBezTo>
                      <a:pt x="1970" y="1315"/>
                      <a:pt x="1972" y="1316"/>
                      <a:pt x="1973" y="1318"/>
                    </a:cubicBezTo>
                    <a:lnTo>
                      <a:pt x="2024" y="1376"/>
                    </a:lnTo>
                    <a:cubicBezTo>
                      <a:pt x="2026" y="1377"/>
                      <a:pt x="2026" y="1379"/>
                      <a:pt x="2026" y="1381"/>
                    </a:cubicBezTo>
                    <a:lnTo>
                      <a:pt x="2035" y="1486"/>
                    </a:lnTo>
                    <a:lnTo>
                      <a:pt x="2034" y="1483"/>
                    </a:lnTo>
                    <a:lnTo>
                      <a:pt x="2096" y="1621"/>
                    </a:lnTo>
                    <a:lnTo>
                      <a:pt x="2088" y="1617"/>
                    </a:lnTo>
                    <a:lnTo>
                      <a:pt x="2125" y="1612"/>
                    </a:lnTo>
                    <a:lnTo>
                      <a:pt x="2118" y="1618"/>
                    </a:lnTo>
                    <a:lnTo>
                      <a:pt x="2135" y="1513"/>
                    </a:lnTo>
                    <a:lnTo>
                      <a:pt x="2135" y="1517"/>
                    </a:lnTo>
                    <a:lnTo>
                      <a:pt x="2069" y="1272"/>
                    </a:lnTo>
                    <a:cubicBezTo>
                      <a:pt x="2068" y="1270"/>
                      <a:pt x="2068" y="1269"/>
                      <a:pt x="2069" y="1267"/>
                    </a:cubicBezTo>
                    <a:lnTo>
                      <a:pt x="2111" y="1164"/>
                    </a:lnTo>
                    <a:cubicBezTo>
                      <a:pt x="2111" y="1163"/>
                      <a:pt x="2112" y="1161"/>
                      <a:pt x="2113" y="1161"/>
                    </a:cubicBezTo>
                    <a:lnTo>
                      <a:pt x="2355" y="961"/>
                    </a:lnTo>
                    <a:lnTo>
                      <a:pt x="2357" y="974"/>
                    </a:lnTo>
                    <a:lnTo>
                      <a:pt x="2309" y="955"/>
                    </a:lnTo>
                    <a:cubicBezTo>
                      <a:pt x="2305" y="953"/>
                      <a:pt x="2303" y="950"/>
                      <a:pt x="2304" y="946"/>
                    </a:cubicBezTo>
                    <a:cubicBezTo>
                      <a:pt x="2304" y="943"/>
                      <a:pt x="2307" y="940"/>
                      <a:pt x="2310" y="939"/>
                    </a:cubicBezTo>
                    <a:lnTo>
                      <a:pt x="2354" y="931"/>
                    </a:lnTo>
                    <a:lnTo>
                      <a:pt x="2349" y="942"/>
                    </a:lnTo>
                    <a:lnTo>
                      <a:pt x="2316" y="876"/>
                    </a:lnTo>
                    <a:cubicBezTo>
                      <a:pt x="2315" y="874"/>
                      <a:pt x="2315" y="873"/>
                      <a:pt x="2315" y="871"/>
                    </a:cubicBezTo>
                    <a:lnTo>
                      <a:pt x="2323" y="814"/>
                    </a:lnTo>
                    <a:lnTo>
                      <a:pt x="2326" y="822"/>
                    </a:lnTo>
                    <a:lnTo>
                      <a:pt x="2276" y="777"/>
                    </a:lnTo>
                    <a:cubicBezTo>
                      <a:pt x="2273" y="774"/>
                      <a:pt x="2272" y="769"/>
                      <a:pt x="2275" y="766"/>
                    </a:cubicBezTo>
                    <a:cubicBezTo>
                      <a:pt x="2277" y="763"/>
                      <a:pt x="2282" y="762"/>
                      <a:pt x="2285" y="764"/>
                    </a:cubicBezTo>
                    <a:lnTo>
                      <a:pt x="2335" y="794"/>
                    </a:lnTo>
                    <a:lnTo>
                      <a:pt x="2323" y="802"/>
                    </a:lnTo>
                    <a:lnTo>
                      <a:pt x="2307" y="731"/>
                    </a:lnTo>
                    <a:cubicBezTo>
                      <a:pt x="2306" y="727"/>
                      <a:pt x="2307" y="724"/>
                      <a:pt x="2311" y="722"/>
                    </a:cubicBezTo>
                    <a:lnTo>
                      <a:pt x="2348" y="702"/>
                    </a:lnTo>
                    <a:cubicBezTo>
                      <a:pt x="2350" y="701"/>
                      <a:pt x="2353" y="701"/>
                      <a:pt x="2356" y="702"/>
                    </a:cubicBezTo>
                    <a:cubicBezTo>
                      <a:pt x="2358" y="704"/>
                      <a:pt x="2360" y="706"/>
                      <a:pt x="2360" y="709"/>
                    </a:cubicBezTo>
                    <a:lnTo>
                      <a:pt x="2364" y="865"/>
                    </a:lnTo>
                    <a:lnTo>
                      <a:pt x="2349" y="863"/>
                    </a:lnTo>
                    <a:lnTo>
                      <a:pt x="2386" y="769"/>
                    </a:lnTo>
                    <a:lnTo>
                      <a:pt x="2386" y="775"/>
                    </a:lnTo>
                    <a:lnTo>
                      <a:pt x="2362" y="702"/>
                    </a:lnTo>
                    <a:cubicBezTo>
                      <a:pt x="2361" y="698"/>
                      <a:pt x="2363" y="693"/>
                      <a:pt x="2367" y="692"/>
                    </a:cubicBezTo>
                    <a:cubicBezTo>
                      <a:pt x="2370" y="690"/>
                      <a:pt x="2375" y="692"/>
                      <a:pt x="2377" y="695"/>
                    </a:cubicBezTo>
                    <a:lnTo>
                      <a:pt x="2402" y="738"/>
                    </a:lnTo>
                    <a:lnTo>
                      <a:pt x="2387" y="739"/>
                    </a:lnTo>
                    <a:lnTo>
                      <a:pt x="2438" y="613"/>
                    </a:lnTo>
                    <a:cubicBezTo>
                      <a:pt x="2439" y="611"/>
                      <a:pt x="2441" y="609"/>
                      <a:pt x="2444" y="608"/>
                    </a:cubicBezTo>
                    <a:lnTo>
                      <a:pt x="2637" y="550"/>
                    </a:lnTo>
                    <a:lnTo>
                      <a:pt x="2635" y="564"/>
                    </a:lnTo>
                    <a:lnTo>
                      <a:pt x="2585" y="531"/>
                    </a:lnTo>
                    <a:cubicBezTo>
                      <a:pt x="2582" y="529"/>
                      <a:pt x="2581" y="525"/>
                      <a:pt x="2582" y="522"/>
                    </a:cubicBezTo>
                    <a:lnTo>
                      <a:pt x="2618" y="423"/>
                    </a:lnTo>
                    <a:cubicBezTo>
                      <a:pt x="2619" y="422"/>
                      <a:pt x="2620" y="420"/>
                      <a:pt x="2622" y="419"/>
                    </a:cubicBezTo>
                    <a:lnTo>
                      <a:pt x="2767" y="347"/>
                    </a:lnTo>
                    <a:lnTo>
                      <a:pt x="2763" y="354"/>
                    </a:lnTo>
                    <a:lnTo>
                      <a:pt x="2769" y="314"/>
                    </a:lnTo>
                    <a:lnTo>
                      <a:pt x="2771" y="320"/>
                    </a:lnTo>
                    <a:lnTo>
                      <a:pt x="2735" y="285"/>
                    </a:lnTo>
                    <a:cubicBezTo>
                      <a:pt x="2733" y="284"/>
                      <a:pt x="2732" y="282"/>
                      <a:pt x="2732" y="280"/>
                    </a:cubicBezTo>
                    <a:lnTo>
                      <a:pt x="2732" y="188"/>
                    </a:lnTo>
                    <a:lnTo>
                      <a:pt x="2738" y="196"/>
                    </a:lnTo>
                    <a:lnTo>
                      <a:pt x="2657" y="166"/>
                    </a:lnTo>
                    <a:lnTo>
                      <a:pt x="2668" y="161"/>
                    </a:lnTo>
                    <a:lnTo>
                      <a:pt x="2610" y="311"/>
                    </a:lnTo>
                    <a:cubicBezTo>
                      <a:pt x="2609" y="313"/>
                      <a:pt x="2607" y="315"/>
                      <a:pt x="2604" y="316"/>
                    </a:cubicBezTo>
                    <a:lnTo>
                      <a:pt x="2358" y="372"/>
                    </a:lnTo>
                    <a:lnTo>
                      <a:pt x="2364" y="367"/>
                    </a:lnTo>
                    <a:lnTo>
                      <a:pt x="2347" y="435"/>
                    </a:lnTo>
                    <a:cubicBezTo>
                      <a:pt x="2346" y="438"/>
                      <a:pt x="2344" y="440"/>
                      <a:pt x="2341" y="441"/>
                    </a:cubicBezTo>
                    <a:lnTo>
                      <a:pt x="2201" y="467"/>
                    </a:lnTo>
                    <a:lnTo>
                      <a:pt x="2207" y="457"/>
                    </a:lnTo>
                    <a:lnTo>
                      <a:pt x="2215" y="478"/>
                    </a:lnTo>
                    <a:cubicBezTo>
                      <a:pt x="2217" y="482"/>
                      <a:pt x="2215" y="486"/>
                      <a:pt x="2212" y="488"/>
                    </a:cubicBezTo>
                    <a:lnTo>
                      <a:pt x="2070" y="579"/>
                    </a:lnTo>
                    <a:cubicBezTo>
                      <a:pt x="2068" y="580"/>
                      <a:pt x="2067" y="581"/>
                      <a:pt x="2065" y="581"/>
                    </a:cubicBezTo>
                    <a:lnTo>
                      <a:pt x="2006" y="579"/>
                    </a:lnTo>
                    <a:cubicBezTo>
                      <a:pt x="2002" y="579"/>
                      <a:pt x="1998" y="576"/>
                      <a:pt x="1998" y="572"/>
                    </a:cubicBezTo>
                    <a:lnTo>
                      <a:pt x="1995" y="543"/>
                    </a:lnTo>
                    <a:cubicBezTo>
                      <a:pt x="1995" y="542"/>
                      <a:pt x="1995" y="541"/>
                      <a:pt x="1996" y="540"/>
                    </a:cubicBezTo>
                    <a:lnTo>
                      <a:pt x="2007" y="511"/>
                    </a:lnTo>
                    <a:cubicBezTo>
                      <a:pt x="2007" y="511"/>
                      <a:pt x="2007" y="510"/>
                      <a:pt x="2008" y="510"/>
                    </a:cubicBezTo>
                    <a:lnTo>
                      <a:pt x="2022" y="491"/>
                    </a:lnTo>
                    <a:lnTo>
                      <a:pt x="2020" y="494"/>
                    </a:lnTo>
                    <a:lnTo>
                      <a:pt x="2027" y="464"/>
                    </a:lnTo>
                    <a:lnTo>
                      <a:pt x="2027" y="468"/>
                    </a:lnTo>
                    <a:lnTo>
                      <a:pt x="2007" y="400"/>
                    </a:lnTo>
                    <a:lnTo>
                      <a:pt x="2018" y="405"/>
                    </a:lnTo>
                    <a:lnTo>
                      <a:pt x="1970" y="432"/>
                    </a:lnTo>
                    <a:cubicBezTo>
                      <a:pt x="1967" y="433"/>
                      <a:pt x="1964" y="433"/>
                      <a:pt x="1961" y="431"/>
                    </a:cubicBezTo>
                    <a:cubicBezTo>
                      <a:pt x="1959" y="429"/>
                      <a:pt x="1957" y="426"/>
                      <a:pt x="1958" y="423"/>
                    </a:cubicBezTo>
                    <a:lnTo>
                      <a:pt x="1975" y="310"/>
                    </a:lnTo>
                    <a:lnTo>
                      <a:pt x="1979" y="319"/>
                    </a:lnTo>
                    <a:lnTo>
                      <a:pt x="1906" y="287"/>
                    </a:lnTo>
                    <a:lnTo>
                      <a:pt x="1916" y="285"/>
                    </a:lnTo>
                    <a:lnTo>
                      <a:pt x="1859" y="359"/>
                    </a:lnTo>
                    <a:lnTo>
                      <a:pt x="1860" y="356"/>
                    </a:lnTo>
                    <a:lnTo>
                      <a:pt x="1838" y="547"/>
                    </a:lnTo>
                    <a:cubicBezTo>
                      <a:pt x="1838" y="551"/>
                      <a:pt x="1835" y="553"/>
                      <a:pt x="1832" y="554"/>
                    </a:cubicBezTo>
                    <a:lnTo>
                      <a:pt x="1789" y="561"/>
                    </a:lnTo>
                    <a:cubicBezTo>
                      <a:pt x="1784" y="561"/>
                      <a:pt x="1780" y="558"/>
                      <a:pt x="1780" y="554"/>
                    </a:cubicBezTo>
                    <a:lnTo>
                      <a:pt x="1764" y="462"/>
                    </a:lnTo>
                    <a:cubicBezTo>
                      <a:pt x="1764" y="461"/>
                      <a:pt x="1764" y="460"/>
                      <a:pt x="1764" y="459"/>
                    </a:cubicBezTo>
                    <a:lnTo>
                      <a:pt x="1800" y="314"/>
                    </a:lnTo>
                    <a:lnTo>
                      <a:pt x="1813" y="323"/>
                    </a:lnTo>
                    <a:lnTo>
                      <a:pt x="1780" y="348"/>
                    </a:lnTo>
                    <a:cubicBezTo>
                      <a:pt x="1777" y="350"/>
                      <a:pt x="1772" y="350"/>
                      <a:pt x="1769" y="347"/>
                    </a:cubicBezTo>
                    <a:cubicBezTo>
                      <a:pt x="1766" y="344"/>
                      <a:pt x="1766" y="340"/>
                      <a:pt x="1769" y="336"/>
                    </a:cubicBezTo>
                    <a:lnTo>
                      <a:pt x="1829" y="258"/>
                    </a:lnTo>
                    <a:cubicBezTo>
                      <a:pt x="1831" y="256"/>
                      <a:pt x="1833" y="255"/>
                      <a:pt x="1836" y="255"/>
                    </a:cubicBezTo>
                    <a:lnTo>
                      <a:pt x="1962" y="253"/>
                    </a:lnTo>
                    <a:lnTo>
                      <a:pt x="1955" y="266"/>
                    </a:lnTo>
                    <a:lnTo>
                      <a:pt x="1931" y="227"/>
                    </a:lnTo>
                    <a:lnTo>
                      <a:pt x="1938" y="231"/>
                    </a:lnTo>
                    <a:lnTo>
                      <a:pt x="1931" y="231"/>
                    </a:lnTo>
                    <a:lnTo>
                      <a:pt x="1745" y="209"/>
                    </a:lnTo>
                    <a:cubicBezTo>
                      <a:pt x="1742" y="209"/>
                      <a:pt x="1740" y="207"/>
                      <a:pt x="1739" y="205"/>
                    </a:cubicBezTo>
                    <a:cubicBezTo>
                      <a:pt x="1738" y="203"/>
                      <a:pt x="1738" y="200"/>
                      <a:pt x="1739" y="197"/>
                    </a:cubicBezTo>
                    <a:lnTo>
                      <a:pt x="1768" y="149"/>
                    </a:lnTo>
                    <a:lnTo>
                      <a:pt x="1779" y="160"/>
                    </a:lnTo>
                    <a:lnTo>
                      <a:pt x="1665" y="223"/>
                    </a:lnTo>
                    <a:cubicBezTo>
                      <a:pt x="1664" y="224"/>
                      <a:pt x="1663" y="225"/>
                      <a:pt x="1662" y="225"/>
                    </a:cubicBezTo>
                    <a:lnTo>
                      <a:pt x="1573" y="225"/>
                    </a:lnTo>
                    <a:cubicBezTo>
                      <a:pt x="1570" y="225"/>
                      <a:pt x="1567" y="222"/>
                      <a:pt x="1566" y="219"/>
                    </a:cubicBezTo>
                    <a:cubicBezTo>
                      <a:pt x="1564" y="216"/>
                      <a:pt x="1565" y="213"/>
                      <a:pt x="1568" y="211"/>
                    </a:cubicBezTo>
                    <a:lnTo>
                      <a:pt x="1674" y="111"/>
                    </a:lnTo>
                    <a:lnTo>
                      <a:pt x="1678" y="124"/>
                    </a:lnTo>
                    <a:lnTo>
                      <a:pt x="1451" y="70"/>
                    </a:lnTo>
                    <a:cubicBezTo>
                      <a:pt x="1449" y="69"/>
                      <a:pt x="1447" y="68"/>
                      <a:pt x="1446" y="66"/>
                    </a:cubicBezTo>
                    <a:lnTo>
                      <a:pt x="1417" y="12"/>
                    </a:lnTo>
                    <a:lnTo>
                      <a:pt x="1432" y="9"/>
                    </a:lnTo>
                    <a:lnTo>
                      <a:pt x="1429" y="44"/>
                    </a:lnTo>
                    <a:cubicBezTo>
                      <a:pt x="1428" y="48"/>
                      <a:pt x="1425" y="51"/>
                      <a:pt x="1421" y="51"/>
                    </a:cubicBezTo>
                    <a:lnTo>
                      <a:pt x="100" y="51"/>
                    </a:lnTo>
                    <a:lnTo>
                      <a:pt x="107" y="40"/>
                    </a:lnTo>
                    <a:lnTo>
                      <a:pt x="132" y="104"/>
                    </a:lnTo>
                    <a:cubicBezTo>
                      <a:pt x="133" y="106"/>
                      <a:pt x="133" y="109"/>
                      <a:pt x="131" y="111"/>
                    </a:cubicBezTo>
                    <a:lnTo>
                      <a:pt x="100" y="162"/>
                    </a:lnTo>
                    <a:cubicBezTo>
                      <a:pt x="98" y="166"/>
                      <a:pt x="94" y="167"/>
                      <a:pt x="90" y="166"/>
                    </a:cubicBezTo>
                    <a:cubicBezTo>
                      <a:pt x="86" y="164"/>
                      <a:pt x="84" y="161"/>
                      <a:pt x="85" y="157"/>
                    </a:cubicBezTo>
                    <a:lnTo>
                      <a:pt x="95" y="104"/>
                    </a:lnTo>
                    <a:lnTo>
                      <a:pt x="102" y="113"/>
                    </a:lnTo>
                    <a:lnTo>
                      <a:pt x="8" y="108"/>
                    </a:lnTo>
                    <a:close/>
                    <a:moveTo>
                      <a:pt x="103" y="97"/>
                    </a:moveTo>
                    <a:cubicBezTo>
                      <a:pt x="105" y="97"/>
                      <a:pt x="107" y="98"/>
                      <a:pt x="109" y="100"/>
                    </a:cubicBezTo>
                    <a:cubicBezTo>
                      <a:pt x="110" y="102"/>
                      <a:pt x="111" y="104"/>
                      <a:pt x="110" y="106"/>
                    </a:cubicBezTo>
                    <a:lnTo>
                      <a:pt x="101" y="160"/>
                    </a:lnTo>
                    <a:lnTo>
                      <a:pt x="86" y="154"/>
                    </a:lnTo>
                    <a:lnTo>
                      <a:pt x="118" y="102"/>
                    </a:lnTo>
                    <a:lnTo>
                      <a:pt x="117" y="110"/>
                    </a:lnTo>
                    <a:lnTo>
                      <a:pt x="92" y="46"/>
                    </a:lnTo>
                    <a:cubicBezTo>
                      <a:pt x="91" y="44"/>
                      <a:pt x="92" y="41"/>
                      <a:pt x="93" y="39"/>
                    </a:cubicBezTo>
                    <a:cubicBezTo>
                      <a:pt x="95" y="37"/>
                      <a:pt x="97" y="35"/>
                      <a:pt x="100" y="35"/>
                    </a:cubicBezTo>
                    <a:lnTo>
                      <a:pt x="1421" y="35"/>
                    </a:lnTo>
                    <a:lnTo>
                      <a:pt x="1413" y="43"/>
                    </a:lnTo>
                    <a:lnTo>
                      <a:pt x="1416" y="8"/>
                    </a:lnTo>
                    <a:cubicBezTo>
                      <a:pt x="1416" y="4"/>
                      <a:pt x="1418" y="1"/>
                      <a:pt x="1422" y="1"/>
                    </a:cubicBezTo>
                    <a:cubicBezTo>
                      <a:pt x="1425" y="0"/>
                      <a:pt x="1429" y="2"/>
                      <a:pt x="1431" y="5"/>
                    </a:cubicBezTo>
                    <a:lnTo>
                      <a:pt x="1460" y="58"/>
                    </a:lnTo>
                    <a:lnTo>
                      <a:pt x="1455" y="54"/>
                    </a:lnTo>
                    <a:lnTo>
                      <a:pt x="1681" y="109"/>
                    </a:lnTo>
                    <a:cubicBezTo>
                      <a:pt x="1684" y="110"/>
                      <a:pt x="1686" y="112"/>
                      <a:pt x="1687" y="115"/>
                    </a:cubicBezTo>
                    <a:cubicBezTo>
                      <a:pt x="1688" y="117"/>
                      <a:pt x="1687" y="120"/>
                      <a:pt x="1685" y="122"/>
                    </a:cubicBezTo>
                    <a:lnTo>
                      <a:pt x="1578" y="222"/>
                    </a:lnTo>
                    <a:lnTo>
                      <a:pt x="1573" y="208"/>
                    </a:lnTo>
                    <a:lnTo>
                      <a:pt x="1662" y="208"/>
                    </a:lnTo>
                    <a:lnTo>
                      <a:pt x="1658" y="210"/>
                    </a:lnTo>
                    <a:lnTo>
                      <a:pt x="1771" y="146"/>
                    </a:lnTo>
                    <a:cubicBezTo>
                      <a:pt x="1774" y="144"/>
                      <a:pt x="1778" y="145"/>
                      <a:pt x="1781" y="148"/>
                    </a:cubicBezTo>
                    <a:cubicBezTo>
                      <a:pt x="1783" y="150"/>
                      <a:pt x="1784" y="154"/>
                      <a:pt x="1782" y="157"/>
                    </a:cubicBezTo>
                    <a:lnTo>
                      <a:pt x="1753" y="206"/>
                    </a:lnTo>
                    <a:lnTo>
                      <a:pt x="1747" y="194"/>
                    </a:lnTo>
                    <a:lnTo>
                      <a:pt x="1931" y="215"/>
                    </a:lnTo>
                    <a:lnTo>
                      <a:pt x="1938" y="215"/>
                    </a:lnTo>
                    <a:cubicBezTo>
                      <a:pt x="1941" y="215"/>
                      <a:pt x="1944" y="217"/>
                      <a:pt x="1945" y="219"/>
                    </a:cubicBezTo>
                    <a:lnTo>
                      <a:pt x="1969" y="257"/>
                    </a:lnTo>
                    <a:cubicBezTo>
                      <a:pt x="1970" y="260"/>
                      <a:pt x="1970" y="263"/>
                      <a:pt x="1969" y="265"/>
                    </a:cubicBezTo>
                    <a:cubicBezTo>
                      <a:pt x="1967" y="268"/>
                      <a:pt x="1965" y="269"/>
                      <a:pt x="1962" y="269"/>
                    </a:cubicBezTo>
                    <a:lnTo>
                      <a:pt x="1836" y="271"/>
                    </a:lnTo>
                    <a:lnTo>
                      <a:pt x="1842" y="268"/>
                    </a:lnTo>
                    <a:lnTo>
                      <a:pt x="1781" y="346"/>
                    </a:lnTo>
                    <a:lnTo>
                      <a:pt x="1770" y="335"/>
                    </a:lnTo>
                    <a:lnTo>
                      <a:pt x="1803" y="310"/>
                    </a:lnTo>
                    <a:cubicBezTo>
                      <a:pt x="1806" y="308"/>
                      <a:pt x="1810" y="308"/>
                      <a:pt x="1813" y="310"/>
                    </a:cubicBezTo>
                    <a:cubicBezTo>
                      <a:pt x="1815" y="312"/>
                      <a:pt x="1817" y="315"/>
                      <a:pt x="1816" y="318"/>
                    </a:cubicBezTo>
                    <a:lnTo>
                      <a:pt x="1780" y="463"/>
                    </a:lnTo>
                    <a:lnTo>
                      <a:pt x="1780" y="460"/>
                    </a:lnTo>
                    <a:lnTo>
                      <a:pt x="1795" y="551"/>
                    </a:lnTo>
                    <a:lnTo>
                      <a:pt x="1786" y="545"/>
                    </a:lnTo>
                    <a:lnTo>
                      <a:pt x="1829" y="538"/>
                    </a:lnTo>
                    <a:lnTo>
                      <a:pt x="1822" y="545"/>
                    </a:lnTo>
                    <a:lnTo>
                      <a:pt x="1844" y="354"/>
                    </a:lnTo>
                    <a:cubicBezTo>
                      <a:pt x="1845" y="352"/>
                      <a:pt x="1845" y="351"/>
                      <a:pt x="1846" y="350"/>
                    </a:cubicBezTo>
                    <a:lnTo>
                      <a:pt x="1903" y="275"/>
                    </a:lnTo>
                    <a:cubicBezTo>
                      <a:pt x="1905" y="272"/>
                      <a:pt x="1909" y="271"/>
                      <a:pt x="1912" y="272"/>
                    </a:cubicBezTo>
                    <a:lnTo>
                      <a:pt x="1986" y="304"/>
                    </a:lnTo>
                    <a:cubicBezTo>
                      <a:pt x="1989" y="305"/>
                      <a:pt x="1991" y="309"/>
                      <a:pt x="1990" y="313"/>
                    </a:cubicBezTo>
                    <a:lnTo>
                      <a:pt x="1974" y="426"/>
                    </a:lnTo>
                    <a:lnTo>
                      <a:pt x="1962" y="418"/>
                    </a:lnTo>
                    <a:lnTo>
                      <a:pt x="2010" y="391"/>
                    </a:lnTo>
                    <a:cubicBezTo>
                      <a:pt x="2013" y="390"/>
                      <a:pt x="2015" y="390"/>
                      <a:pt x="2017" y="390"/>
                    </a:cubicBezTo>
                    <a:cubicBezTo>
                      <a:pt x="2020" y="391"/>
                      <a:pt x="2021" y="393"/>
                      <a:pt x="2022" y="396"/>
                    </a:cubicBezTo>
                    <a:lnTo>
                      <a:pt x="2043" y="464"/>
                    </a:lnTo>
                    <a:cubicBezTo>
                      <a:pt x="2043" y="465"/>
                      <a:pt x="2043" y="467"/>
                      <a:pt x="2043" y="468"/>
                    </a:cubicBezTo>
                    <a:lnTo>
                      <a:pt x="2036" y="498"/>
                    </a:lnTo>
                    <a:cubicBezTo>
                      <a:pt x="2036" y="499"/>
                      <a:pt x="2035" y="500"/>
                      <a:pt x="2034" y="501"/>
                    </a:cubicBezTo>
                    <a:lnTo>
                      <a:pt x="2021" y="519"/>
                    </a:lnTo>
                    <a:lnTo>
                      <a:pt x="2022" y="517"/>
                    </a:lnTo>
                    <a:lnTo>
                      <a:pt x="2011" y="546"/>
                    </a:lnTo>
                    <a:lnTo>
                      <a:pt x="2011" y="542"/>
                    </a:lnTo>
                    <a:lnTo>
                      <a:pt x="2014" y="570"/>
                    </a:lnTo>
                    <a:lnTo>
                      <a:pt x="2006" y="563"/>
                    </a:lnTo>
                    <a:lnTo>
                      <a:pt x="2066" y="565"/>
                    </a:lnTo>
                    <a:lnTo>
                      <a:pt x="2061" y="566"/>
                    </a:lnTo>
                    <a:lnTo>
                      <a:pt x="2204" y="474"/>
                    </a:lnTo>
                    <a:lnTo>
                      <a:pt x="2200" y="484"/>
                    </a:lnTo>
                    <a:lnTo>
                      <a:pt x="2192" y="462"/>
                    </a:lnTo>
                    <a:cubicBezTo>
                      <a:pt x="2191" y="460"/>
                      <a:pt x="2191" y="458"/>
                      <a:pt x="2193" y="456"/>
                    </a:cubicBezTo>
                    <a:cubicBezTo>
                      <a:pt x="2194" y="454"/>
                      <a:pt x="2196" y="452"/>
                      <a:pt x="2198" y="452"/>
                    </a:cubicBezTo>
                    <a:lnTo>
                      <a:pt x="2338" y="425"/>
                    </a:lnTo>
                    <a:lnTo>
                      <a:pt x="2332" y="431"/>
                    </a:lnTo>
                    <a:lnTo>
                      <a:pt x="2348" y="363"/>
                    </a:lnTo>
                    <a:cubicBezTo>
                      <a:pt x="2349" y="360"/>
                      <a:pt x="2351" y="357"/>
                      <a:pt x="2354" y="357"/>
                    </a:cubicBezTo>
                    <a:lnTo>
                      <a:pt x="2600" y="300"/>
                    </a:lnTo>
                    <a:lnTo>
                      <a:pt x="2595" y="305"/>
                    </a:lnTo>
                    <a:lnTo>
                      <a:pt x="2653" y="155"/>
                    </a:lnTo>
                    <a:cubicBezTo>
                      <a:pt x="2654" y="151"/>
                      <a:pt x="2659" y="149"/>
                      <a:pt x="2663" y="151"/>
                    </a:cubicBezTo>
                    <a:lnTo>
                      <a:pt x="2743" y="181"/>
                    </a:lnTo>
                    <a:cubicBezTo>
                      <a:pt x="2746" y="182"/>
                      <a:pt x="2749" y="185"/>
                      <a:pt x="2749" y="188"/>
                    </a:cubicBezTo>
                    <a:lnTo>
                      <a:pt x="2749" y="280"/>
                    </a:lnTo>
                    <a:lnTo>
                      <a:pt x="2746" y="274"/>
                    </a:lnTo>
                    <a:lnTo>
                      <a:pt x="2782" y="309"/>
                    </a:lnTo>
                    <a:cubicBezTo>
                      <a:pt x="2784" y="311"/>
                      <a:pt x="2785" y="313"/>
                      <a:pt x="2784" y="316"/>
                    </a:cubicBezTo>
                    <a:lnTo>
                      <a:pt x="2779" y="356"/>
                    </a:lnTo>
                    <a:cubicBezTo>
                      <a:pt x="2779" y="358"/>
                      <a:pt x="2777" y="361"/>
                      <a:pt x="2774" y="362"/>
                    </a:cubicBezTo>
                    <a:lnTo>
                      <a:pt x="2629" y="433"/>
                    </a:lnTo>
                    <a:lnTo>
                      <a:pt x="2633" y="429"/>
                    </a:lnTo>
                    <a:lnTo>
                      <a:pt x="2597" y="527"/>
                    </a:lnTo>
                    <a:lnTo>
                      <a:pt x="2594" y="518"/>
                    </a:lnTo>
                    <a:lnTo>
                      <a:pt x="2644" y="551"/>
                    </a:lnTo>
                    <a:cubicBezTo>
                      <a:pt x="2647" y="553"/>
                      <a:pt x="2648" y="556"/>
                      <a:pt x="2647" y="559"/>
                    </a:cubicBezTo>
                    <a:cubicBezTo>
                      <a:pt x="2647" y="562"/>
                      <a:pt x="2645" y="564"/>
                      <a:pt x="2642" y="565"/>
                    </a:cubicBezTo>
                    <a:lnTo>
                      <a:pt x="2448" y="624"/>
                    </a:lnTo>
                    <a:lnTo>
                      <a:pt x="2453" y="619"/>
                    </a:lnTo>
                    <a:lnTo>
                      <a:pt x="2402" y="745"/>
                    </a:lnTo>
                    <a:cubicBezTo>
                      <a:pt x="2401" y="748"/>
                      <a:pt x="2398" y="750"/>
                      <a:pt x="2395" y="750"/>
                    </a:cubicBezTo>
                    <a:cubicBezTo>
                      <a:pt x="2392" y="751"/>
                      <a:pt x="2389" y="749"/>
                      <a:pt x="2388" y="746"/>
                    </a:cubicBezTo>
                    <a:lnTo>
                      <a:pt x="2363" y="703"/>
                    </a:lnTo>
                    <a:lnTo>
                      <a:pt x="2377" y="697"/>
                    </a:lnTo>
                    <a:lnTo>
                      <a:pt x="2401" y="770"/>
                    </a:lnTo>
                    <a:cubicBezTo>
                      <a:pt x="2401" y="772"/>
                      <a:pt x="2401" y="774"/>
                      <a:pt x="2401" y="775"/>
                    </a:cubicBezTo>
                    <a:lnTo>
                      <a:pt x="2363" y="869"/>
                    </a:lnTo>
                    <a:cubicBezTo>
                      <a:pt x="2362" y="872"/>
                      <a:pt x="2358" y="874"/>
                      <a:pt x="2355" y="873"/>
                    </a:cubicBezTo>
                    <a:cubicBezTo>
                      <a:pt x="2351" y="873"/>
                      <a:pt x="2348" y="870"/>
                      <a:pt x="2348" y="866"/>
                    </a:cubicBezTo>
                    <a:lnTo>
                      <a:pt x="2344" y="709"/>
                    </a:lnTo>
                    <a:lnTo>
                      <a:pt x="2356" y="716"/>
                    </a:lnTo>
                    <a:lnTo>
                      <a:pt x="2318" y="736"/>
                    </a:lnTo>
                    <a:lnTo>
                      <a:pt x="2322" y="727"/>
                    </a:lnTo>
                    <a:lnTo>
                      <a:pt x="2339" y="799"/>
                    </a:lnTo>
                    <a:cubicBezTo>
                      <a:pt x="2340" y="802"/>
                      <a:pt x="2338" y="805"/>
                      <a:pt x="2336" y="807"/>
                    </a:cubicBezTo>
                    <a:cubicBezTo>
                      <a:pt x="2333" y="809"/>
                      <a:pt x="2330" y="809"/>
                      <a:pt x="2327" y="808"/>
                    </a:cubicBezTo>
                    <a:lnTo>
                      <a:pt x="2277" y="778"/>
                    </a:lnTo>
                    <a:lnTo>
                      <a:pt x="2287" y="765"/>
                    </a:lnTo>
                    <a:lnTo>
                      <a:pt x="2336" y="810"/>
                    </a:lnTo>
                    <a:cubicBezTo>
                      <a:pt x="2338" y="811"/>
                      <a:pt x="2339" y="814"/>
                      <a:pt x="2339" y="817"/>
                    </a:cubicBezTo>
                    <a:lnTo>
                      <a:pt x="2331" y="873"/>
                    </a:lnTo>
                    <a:lnTo>
                      <a:pt x="2330" y="869"/>
                    </a:lnTo>
                    <a:lnTo>
                      <a:pt x="2363" y="935"/>
                    </a:lnTo>
                    <a:cubicBezTo>
                      <a:pt x="2364" y="937"/>
                      <a:pt x="2364" y="940"/>
                      <a:pt x="2363" y="942"/>
                    </a:cubicBezTo>
                    <a:cubicBezTo>
                      <a:pt x="2362" y="945"/>
                      <a:pt x="2360" y="946"/>
                      <a:pt x="2357" y="947"/>
                    </a:cubicBezTo>
                    <a:lnTo>
                      <a:pt x="2313" y="955"/>
                    </a:lnTo>
                    <a:lnTo>
                      <a:pt x="2315" y="940"/>
                    </a:lnTo>
                    <a:lnTo>
                      <a:pt x="2363" y="960"/>
                    </a:lnTo>
                    <a:cubicBezTo>
                      <a:pt x="2366" y="961"/>
                      <a:pt x="2368" y="963"/>
                      <a:pt x="2368" y="966"/>
                    </a:cubicBezTo>
                    <a:cubicBezTo>
                      <a:pt x="2368" y="969"/>
                      <a:pt x="2367" y="971"/>
                      <a:pt x="2365" y="973"/>
                    </a:cubicBezTo>
                    <a:lnTo>
                      <a:pt x="2123" y="1173"/>
                    </a:lnTo>
                    <a:lnTo>
                      <a:pt x="2125" y="1170"/>
                    </a:lnTo>
                    <a:lnTo>
                      <a:pt x="2084" y="1273"/>
                    </a:lnTo>
                    <a:lnTo>
                      <a:pt x="2084" y="1268"/>
                    </a:lnTo>
                    <a:lnTo>
                      <a:pt x="2151" y="1513"/>
                    </a:lnTo>
                    <a:cubicBezTo>
                      <a:pt x="2151" y="1514"/>
                      <a:pt x="2151" y="1515"/>
                      <a:pt x="2151" y="1516"/>
                    </a:cubicBezTo>
                    <a:lnTo>
                      <a:pt x="2134" y="1621"/>
                    </a:lnTo>
                    <a:cubicBezTo>
                      <a:pt x="2134" y="1624"/>
                      <a:pt x="2131" y="1627"/>
                      <a:pt x="2127" y="1627"/>
                    </a:cubicBezTo>
                    <a:lnTo>
                      <a:pt x="2090" y="1632"/>
                    </a:lnTo>
                    <a:cubicBezTo>
                      <a:pt x="2087" y="1633"/>
                      <a:pt x="2083" y="1631"/>
                      <a:pt x="2082" y="1628"/>
                    </a:cubicBezTo>
                    <a:lnTo>
                      <a:pt x="2019" y="1490"/>
                    </a:lnTo>
                    <a:cubicBezTo>
                      <a:pt x="2019" y="1489"/>
                      <a:pt x="2019" y="1488"/>
                      <a:pt x="2019" y="1487"/>
                    </a:cubicBezTo>
                    <a:lnTo>
                      <a:pt x="2010" y="1382"/>
                    </a:lnTo>
                    <a:lnTo>
                      <a:pt x="2012" y="1387"/>
                    </a:lnTo>
                    <a:lnTo>
                      <a:pt x="1961" y="1329"/>
                    </a:lnTo>
                    <a:lnTo>
                      <a:pt x="1967" y="1331"/>
                    </a:lnTo>
                    <a:lnTo>
                      <a:pt x="1770" y="1318"/>
                    </a:lnTo>
                    <a:cubicBezTo>
                      <a:pt x="1767" y="1318"/>
                      <a:pt x="1764" y="1315"/>
                      <a:pt x="1763" y="1312"/>
                    </a:cubicBezTo>
                    <a:lnTo>
                      <a:pt x="1755" y="1272"/>
                    </a:lnTo>
                    <a:lnTo>
                      <a:pt x="1770" y="1271"/>
                    </a:lnTo>
                    <a:lnTo>
                      <a:pt x="1765" y="1305"/>
                    </a:lnTo>
                    <a:cubicBezTo>
                      <a:pt x="1764" y="1308"/>
                      <a:pt x="1761" y="1311"/>
                      <a:pt x="1757" y="1311"/>
                    </a:cubicBezTo>
                    <a:lnTo>
                      <a:pt x="1652" y="1313"/>
                    </a:lnTo>
                    <a:lnTo>
                      <a:pt x="1653" y="1297"/>
                    </a:lnTo>
                    <a:lnTo>
                      <a:pt x="1703" y="1307"/>
                    </a:lnTo>
                    <a:cubicBezTo>
                      <a:pt x="1707" y="1308"/>
                      <a:pt x="1710" y="1311"/>
                      <a:pt x="1710" y="1315"/>
                    </a:cubicBezTo>
                    <a:lnTo>
                      <a:pt x="1708" y="1385"/>
                    </a:lnTo>
                    <a:cubicBezTo>
                      <a:pt x="1708" y="1388"/>
                      <a:pt x="1707" y="1390"/>
                      <a:pt x="1705" y="1391"/>
                    </a:cubicBezTo>
                    <a:cubicBezTo>
                      <a:pt x="1703" y="1393"/>
                      <a:pt x="1700" y="1393"/>
                      <a:pt x="1697" y="1392"/>
                    </a:cubicBezTo>
                    <a:lnTo>
                      <a:pt x="1572" y="1346"/>
                    </a:lnTo>
                    <a:lnTo>
                      <a:pt x="1575" y="1346"/>
                    </a:lnTo>
                    <a:lnTo>
                      <a:pt x="1431" y="1350"/>
                    </a:lnTo>
                    <a:lnTo>
                      <a:pt x="1438" y="1343"/>
                    </a:lnTo>
                    <a:lnTo>
                      <a:pt x="1429" y="1396"/>
                    </a:lnTo>
                    <a:cubicBezTo>
                      <a:pt x="1428" y="1398"/>
                      <a:pt x="1427" y="1400"/>
                      <a:pt x="1426" y="1401"/>
                    </a:cubicBezTo>
                    <a:lnTo>
                      <a:pt x="1327" y="1474"/>
                    </a:lnTo>
                    <a:lnTo>
                      <a:pt x="1331" y="1467"/>
                    </a:lnTo>
                    <a:lnTo>
                      <a:pt x="1340" y="1584"/>
                    </a:lnTo>
                    <a:cubicBezTo>
                      <a:pt x="1341" y="1587"/>
                      <a:pt x="1339" y="1589"/>
                      <a:pt x="1337" y="1591"/>
                    </a:cubicBezTo>
                    <a:cubicBezTo>
                      <a:pt x="1335" y="1593"/>
                      <a:pt x="1332" y="1593"/>
                      <a:pt x="1329" y="1592"/>
                    </a:cubicBezTo>
                    <a:lnTo>
                      <a:pt x="1235" y="1554"/>
                    </a:lnTo>
                    <a:cubicBezTo>
                      <a:pt x="1234" y="1553"/>
                      <a:pt x="1232" y="1552"/>
                      <a:pt x="1231" y="1550"/>
                    </a:cubicBezTo>
                    <a:lnTo>
                      <a:pt x="1110" y="1342"/>
                    </a:lnTo>
                    <a:lnTo>
                      <a:pt x="1120" y="1345"/>
                    </a:lnTo>
                    <a:lnTo>
                      <a:pt x="1020" y="1392"/>
                    </a:lnTo>
                    <a:cubicBezTo>
                      <a:pt x="1017" y="1394"/>
                      <a:pt x="1013" y="1393"/>
                      <a:pt x="1011" y="1390"/>
                    </a:cubicBezTo>
                    <a:lnTo>
                      <a:pt x="878" y="1217"/>
                    </a:lnTo>
                    <a:lnTo>
                      <a:pt x="885" y="1220"/>
                    </a:lnTo>
                    <a:lnTo>
                      <a:pt x="667" y="1256"/>
                    </a:lnTo>
                    <a:cubicBezTo>
                      <a:pt x="665" y="1257"/>
                      <a:pt x="664" y="1256"/>
                      <a:pt x="662" y="1256"/>
                    </a:cubicBezTo>
                    <a:lnTo>
                      <a:pt x="479" y="1166"/>
                    </a:lnTo>
                    <a:lnTo>
                      <a:pt x="484" y="1166"/>
                    </a:lnTo>
                    <a:lnTo>
                      <a:pt x="374" y="1176"/>
                    </a:lnTo>
                    <a:cubicBezTo>
                      <a:pt x="372" y="1177"/>
                      <a:pt x="369" y="1176"/>
                      <a:pt x="367" y="1173"/>
                    </a:cubicBezTo>
                    <a:lnTo>
                      <a:pt x="294" y="1078"/>
                    </a:lnTo>
                    <a:lnTo>
                      <a:pt x="297" y="1081"/>
                    </a:lnTo>
                    <a:lnTo>
                      <a:pt x="206" y="1043"/>
                    </a:lnTo>
                    <a:cubicBezTo>
                      <a:pt x="204" y="1042"/>
                      <a:pt x="203" y="1041"/>
                      <a:pt x="202" y="1039"/>
                    </a:cubicBezTo>
                    <a:lnTo>
                      <a:pt x="112" y="869"/>
                    </a:lnTo>
                    <a:cubicBezTo>
                      <a:pt x="111" y="867"/>
                      <a:pt x="111" y="865"/>
                      <a:pt x="112" y="863"/>
                    </a:cubicBezTo>
                    <a:lnTo>
                      <a:pt x="131" y="805"/>
                    </a:lnTo>
                    <a:lnTo>
                      <a:pt x="138" y="815"/>
                    </a:lnTo>
                    <a:lnTo>
                      <a:pt x="93" y="815"/>
                    </a:lnTo>
                    <a:cubicBezTo>
                      <a:pt x="90" y="815"/>
                      <a:pt x="87" y="813"/>
                      <a:pt x="86" y="811"/>
                    </a:cubicBezTo>
                    <a:lnTo>
                      <a:pt x="16" y="656"/>
                    </a:lnTo>
                    <a:cubicBezTo>
                      <a:pt x="16" y="655"/>
                      <a:pt x="16" y="653"/>
                      <a:pt x="16" y="652"/>
                    </a:cubicBezTo>
                    <a:lnTo>
                      <a:pt x="39" y="251"/>
                    </a:lnTo>
                    <a:cubicBezTo>
                      <a:pt x="39" y="247"/>
                      <a:pt x="42" y="244"/>
                      <a:pt x="46" y="244"/>
                    </a:cubicBezTo>
                    <a:lnTo>
                      <a:pt x="77" y="237"/>
                    </a:lnTo>
                    <a:lnTo>
                      <a:pt x="76" y="252"/>
                    </a:lnTo>
                    <a:lnTo>
                      <a:pt x="38" y="239"/>
                    </a:lnTo>
                    <a:cubicBezTo>
                      <a:pt x="35" y="238"/>
                      <a:pt x="33" y="236"/>
                      <a:pt x="33" y="233"/>
                    </a:cubicBezTo>
                    <a:lnTo>
                      <a:pt x="1" y="102"/>
                    </a:lnTo>
                    <a:cubicBezTo>
                      <a:pt x="0" y="99"/>
                      <a:pt x="1" y="97"/>
                      <a:pt x="2" y="95"/>
                    </a:cubicBezTo>
                    <a:cubicBezTo>
                      <a:pt x="4" y="93"/>
                      <a:pt x="6" y="92"/>
                      <a:pt x="9" y="92"/>
                    </a:cubicBezTo>
                    <a:lnTo>
                      <a:pt x="103" y="97"/>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91" name="Freeform 347"/>
              <p:cNvSpPr>
                <a:spLocks/>
              </p:cNvSpPr>
              <p:nvPr/>
            </p:nvSpPr>
            <p:spPr bwMode="auto">
              <a:xfrm>
                <a:off x="1924" y="2530"/>
                <a:ext cx="75" cy="70"/>
              </a:xfrm>
              <a:custGeom>
                <a:avLst/>
                <a:gdLst/>
                <a:ahLst/>
                <a:cxnLst>
                  <a:cxn ang="0">
                    <a:pos x="0" y="57"/>
                  </a:cxn>
                  <a:cxn ang="0">
                    <a:pos x="12" y="3"/>
                  </a:cxn>
                  <a:cxn ang="0">
                    <a:pos x="23" y="0"/>
                  </a:cxn>
                  <a:cxn ang="0">
                    <a:pos x="66" y="27"/>
                  </a:cxn>
                  <a:cxn ang="0">
                    <a:pos x="75" y="39"/>
                  </a:cxn>
                  <a:cxn ang="0">
                    <a:pos x="71" y="52"/>
                  </a:cxn>
                  <a:cxn ang="0">
                    <a:pos x="51" y="70"/>
                  </a:cxn>
                  <a:cxn ang="0">
                    <a:pos x="0" y="57"/>
                  </a:cxn>
                </a:cxnLst>
                <a:rect l="0" t="0" r="r" b="b"/>
                <a:pathLst>
                  <a:path w="75" h="70">
                    <a:moveTo>
                      <a:pt x="0" y="57"/>
                    </a:moveTo>
                    <a:lnTo>
                      <a:pt x="12" y="3"/>
                    </a:lnTo>
                    <a:lnTo>
                      <a:pt x="23" y="0"/>
                    </a:lnTo>
                    <a:lnTo>
                      <a:pt x="66" y="27"/>
                    </a:lnTo>
                    <a:lnTo>
                      <a:pt x="75" y="39"/>
                    </a:lnTo>
                    <a:lnTo>
                      <a:pt x="71" y="52"/>
                    </a:lnTo>
                    <a:lnTo>
                      <a:pt x="51" y="70"/>
                    </a:lnTo>
                    <a:lnTo>
                      <a:pt x="0" y="57"/>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92" name="Freeform 348"/>
              <p:cNvSpPr>
                <a:spLocks noEditPoints="1"/>
              </p:cNvSpPr>
              <p:nvPr/>
            </p:nvSpPr>
            <p:spPr bwMode="auto">
              <a:xfrm>
                <a:off x="1922" y="2528"/>
                <a:ext cx="79" cy="74"/>
              </a:xfrm>
              <a:custGeom>
                <a:avLst/>
                <a:gdLst/>
                <a:ahLst/>
                <a:cxnLst>
                  <a:cxn ang="0">
                    <a:pos x="6" y="263"/>
                  </a:cxn>
                  <a:cxn ang="0">
                    <a:pos x="1" y="254"/>
                  </a:cxn>
                  <a:cxn ang="0">
                    <a:pos x="42" y="19"/>
                  </a:cxn>
                  <a:cxn ang="0">
                    <a:pos x="47" y="12"/>
                  </a:cxn>
                  <a:cxn ang="0">
                    <a:pos x="84" y="1"/>
                  </a:cxn>
                  <a:cxn ang="0">
                    <a:pos x="91" y="2"/>
                  </a:cxn>
                  <a:cxn ang="0">
                    <a:pos x="240" y="120"/>
                  </a:cxn>
                  <a:cxn ang="0">
                    <a:pos x="242" y="122"/>
                  </a:cxn>
                  <a:cxn ang="0">
                    <a:pos x="271" y="173"/>
                  </a:cxn>
                  <a:cxn ang="0">
                    <a:pos x="272" y="178"/>
                  </a:cxn>
                  <a:cxn ang="0">
                    <a:pos x="260" y="239"/>
                  </a:cxn>
                  <a:cxn ang="0">
                    <a:pos x="258" y="243"/>
                  </a:cxn>
                  <a:cxn ang="0">
                    <a:pos x="188" y="318"/>
                  </a:cxn>
                  <a:cxn ang="0">
                    <a:pos x="180" y="320"/>
                  </a:cxn>
                  <a:cxn ang="0">
                    <a:pos x="6" y="263"/>
                  </a:cxn>
                  <a:cxn ang="0">
                    <a:pos x="185" y="305"/>
                  </a:cxn>
                  <a:cxn ang="0">
                    <a:pos x="177" y="307"/>
                  </a:cxn>
                  <a:cxn ang="0">
                    <a:pos x="246" y="232"/>
                  </a:cxn>
                  <a:cxn ang="0">
                    <a:pos x="244" y="236"/>
                  </a:cxn>
                  <a:cxn ang="0">
                    <a:pos x="257" y="175"/>
                  </a:cxn>
                  <a:cxn ang="0">
                    <a:pos x="258" y="181"/>
                  </a:cxn>
                  <a:cxn ang="0">
                    <a:pos x="228" y="130"/>
                  </a:cxn>
                  <a:cxn ang="0">
                    <a:pos x="230" y="132"/>
                  </a:cxn>
                  <a:cxn ang="0">
                    <a:pos x="81" y="15"/>
                  </a:cxn>
                  <a:cxn ang="0">
                    <a:pos x="89" y="16"/>
                  </a:cxn>
                  <a:cxn ang="0">
                    <a:pos x="52" y="28"/>
                  </a:cxn>
                  <a:cxn ang="0">
                    <a:pos x="57" y="21"/>
                  </a:cxn>
                  <a:cxn ang="0">
                    <a:pos x="16" y="257"/>
                  </a:cxn>
                  <a:cxn ang="0">
                    <a:pos x="11" y="248"/>
                  </a:cxn>
                  <a:cxn ang="0">
                    <a:pos x="185" y="305"/>
                  </a:cxn>
                </a:cxnLst>
                <a:rect l="0" t="0" r="r" b="b"/>
                <a:pathLst>
                  <a:path w="273" h="321">
                    <a:moveTo>
                      <a:pt x="6" y="263"/>
                    </a:moveTo>
                    <a:cubicBezTo>
                      <a:pt x="2" y="262"/>
                      <a:pt x="0" y="258"/>
                      <a:pt x="1" y="254"/>
                    </a:cubicBezTo>
                    <a:lnTo>
                      <a:pt x="42" y="19"/>
                    </a:lnTo>
                    <a:cubicBezTo>
                      <a:pt x="42" y="16"/>
                      <a:pt x="44" y="13"/>
                      <a:pt x="47" y="12"/>
                    </a:cubicBezTo>
                    <a:lnTo>
                      <a:pt x="84" y="1"/>
                    </a:lnTo>
                    <a:cubicBezTo>
                      <a:pt x="86" y="0"/>
                      <a:pt x="89" y="1"/>
                      <a:pt x="91" y="2"/>
                    </a:cubicBezTo>
                    <a:lnTo>
                      <a:pt x="240" y="120"/>
                    </a:lnTo>
                    <a:cubicBezTo>
                      <a:pt x="241" y="120"/>
                      <a:pt x="241" y="121"/>
                      <a:pt x="242" y="122"/>
                    </a:cubicBezTo>
                    <a:lnTo>
                      <a:pt x="271" y="173"/>
                    </a:lnTo>
                    <a:cubicBezTo>
                      <a:pt x="272" y="174"/>
                      <a:pt x="273" y="177"/>
                      <a:pt x="272" y="178"/>
                    </a:cubicBezTo>
                    <a:lnTo>
                      <a:pt x="260" y="239"/>
                    </a:lnTo>
                    <a:cubicBezTo>
                      <a:pt x="259" y="240"/>
                      <a:pt x="259" y="242"/>
                      <a:pt x="258" y="243"/>
                    </a:cubicBezTo>
                    <a:lnTo>
                      <a:pt x="188" y="318"/>
                    </a:lnTo>
                    <a:cubicBezTo>
                      <a:pt x="186" y="320"/>
                      <a:pt x="183" y="321"/>
                      <a:pt x="180" y="320"/>
                    </a:cubicBezTo>
                    <a:lnTo>
                      <a:pt x="6" y="263"/>
                    </a:lnTo>
                    <a:close/>
                    <a:moveTo>
                      <a:pt x="185" y="305"/>
                    </a:moveTo>
                    <a:lnTo>
                      <a:pt x="177" y="307"/>
                    </a:lnTo>
                    <a:lnTo>
                      <a:pt x="246" y="232"/>
                    </a:lnTo>
                    <a:lnTo>
                      <a:pt x="244" y="236"/>
                    </a:lnTo>
                    <a:lnTo>
                      <a:pt x="257" y="175"/>
                    </a:lnTo>
                    <a:lnTo>
                      <a:pt x="258" y="181"/>
                    </a:lnTo>
                    <a:lnTo>
                      <a:pt x="228" y="130"/>
                    </a:lnTo>
                    <a:lnTo>
                      <a:pt x="230" y="132"/>
                    </a:lnTo>
                    <a:lnTo>
                      <a:pt x="81" y="15"/>
                    </a:lnTo>
                    <a:lnTo>
                      <a:pt x="89" y="16"/>
                    </a:lnTo>
                    <a:lnTo>
                      <a:pt x="52" y="28"/>
                    </a:lnTo>
                    <a:lnTo>
                      <a:pt x="57" y="21"/>
                    </a:lnTo>
                    <a:lnTo>
                      <a:pt x="16" y="257"/>
                    </a:lnTo>
                    <a:lnTo>
                      <a:pt x="11" y="248"/>
                    </a:lnTo>
                    <a:lnTo>
                      <a:pt x="185" y="305"/>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93" name="Freeform 349"/>
              <p:cNvSpPr>
                <a:spLocks/>
              </p:cNvSpPr>
              <p:nvPr/>
            </p:nvSpPr>
            <p:spPr bwMode="auto">
              <a:xfrm>
                <a:off x="1720" y="1959"/>
                <a:ext cx="186" cy="154"/>
              </a:xfrm>
              <a:custGeom>
                <a:avLst/>
                <a:gdLst/>
                <a:ahLst/>
                <a:cxnLst>
                  <a:cxn ang="0">
                    <a:pos x="0" y="43"/>
                  </a:cxn>
                  <a:cxn ang="0">
                    <a:pos x="18" y="69"/>
                  </a:cxn>
                  <a:cxn ang="0">
                    <a:pos x="45" y="72"/>
                  </a:cxn>
                  <a:cxn ang="0">
                    <a:pos x="53" y="83"/>
                  </a:cxn>
                  <a:cxn ang="0">
                    <a:pos x="81" y="82"/>
                  </a:cxn>
                  <a:cxn ang="0">
                    <a:pos x="76" y="128"/>
                  </a:cxn>
                  <a:cxn ang="0">
                    <a:pos x="88" y="148"/>
                  </a:cxn>
                  <a:cxn ang="0">
                    <a:pos x="105" y="154"/>
                  </a:cxn>
                  <a:cxn ang="0">
                    <a:pos x="138" y="136"/>
                  </a:cxn>
                  <a:cxn ang="0">
                    <a:pos x="125" y="133"/>
                  </a:cxn>
                  <a:cxn ang="0">
                    <a:pos x="118" y="107"/>
                  </a:cxn>
                  <a:cxn ang="0">
                    <a:pos x="142" y="112"/>
                  </a:cxn>
                  <a:cxn ang="0">
                    <a:pos x="176" y="96"/>
                  </a:cxn>
                  <a:cxn ang="0">
                    <a:pos x="166" y="83"/>
                  </a:cxn>
                  <a:cxn ang="0">
                    <a:pos x="178" y="72"/>
                  </a:cxn>
                  <a:cxn ang="0">
                    <a:pos x="173" y="63"/>
                  </a:cxn>
                  <a:cxn ang="0">
                    <a:pos x="186" y="53"/>
                  </a:cxn>
                  <a:cxn ang="0">
                    <a:pos x="169" y="51"/>
                  </a:cxn>
                  <a:cxn ang="0">
                    <a:pos x="169" y="40"/>
                  </a:cxn>
                  <a:cxn ang="0">
                    <a:pos x="143" y="26"/>
                  </a:cxn>
                  <a:cxn ang="0">
                    <a:pos x="155" y="23"/>
                  </a:cxn>
                  <a:cxn ang="0">
                    <a:pos x="74" y="25"/>
                  </a:cxn>
                  <a:cxn ang="0">
                    <a:pos x="47" y="0"/>
                  </a:cxn>
                  <a:cxn ang="0">
                    <a:pos x="48" y="11"/>
                  </a:cxn>
                  <a:cxn ang="0">
                    <a:pos x="25" y="21"/>
                  </a:cxn>
                  <a:cxn ang="0">
                    <a:pos x="32" y="40"/>
                  </a:cxn>
                  <a:cxn ang="0">
                    <a:pos x="23" y="46"/>
                  </a:cxn>
                  <a:cxn ang="0">
                    <a:pos x="18" y="29"/>
                  </a:cxn>
                  <a:cxn ang="0">
                    <a:pos x="27" y="7"/>
                  </a:cxn>
                  <a:cxn ang="0">
                    <a:pos x="0" y="43"/>
                  </a:cxn>
                </a:cxnLst>
                <a:rect l="0" t="0" r="r" b="b"/>
                <a:pathLst>
                  <a:path w="186" h="154">
                    <a:moveTo>
                      <a:pt x="0" y="43"/>
                    </a:moveTo>
                    <a:lnTo>
                      <a:pt x="18" y="69"/>
                    </a:lnTo>
                    <a:lnTo>
                      <a:pt x="45" y="72"/>
                    </a:lnTo>
                    <a:lnTo>
                      <a:pt x="53" y="83"/>
                    </a:lnTo>
                    <a:lnTo>
                      <a:pt x="81" y="82"/>
                    </a:lnTo>
                    <a:lnTo>
                      <a:pt x="76" y="128"/>
                    </a:lnTo>
                    <a:lnTo>
                      <a:pt x="88" y="148"/>
                    </a:lnTo>
                    <a:lnTo>
                      <a:pt x="105" y="154"/>
                    </a:lnTo>
                    <a:lnTo>
                      <a:pt x="138" y="136"/>
                    </a:lnTo>
                    <a:lnTo>
                      <a:pt x="125" y="133"/>
                    </a:lnTo>
                    <a:lnTo>
                      <a:pt x="118" y="107"/>
                    </a:lnTo>
                    <a:lnTo>
                      <a:pt x="142" y="112"/>
                    </a:lnTo>
                    <a:lnTo>
                      <a:pt x="176" y="96"/>
                    </a:lnTo>
                    <a:lnTo>
                      <a:pt x="166" y="83"/>
                    </a:lnTo>
                    <a:lnTo>
                      <a:pt x="178" y="72"/>
                    </a:lnTo>
                    <a:lnTo>
                      <a:pt x="173" y="63"/>
                    </a:lnTo>
                    <a:lnTo>
                      <a:pt x="186" y="53"/>
                    </a:lnTo>
                    <a:lnTo>
                      <a:pt x="169" y="51"/>
                    </a:lnTo>
                    <a:lnTo>
                      <a:pt x="169" y="40"/>
                    </a:lnTo>
                    <a:lnTo>
                      <a:pt x="143" y="26"/>
                    </a:lnTo>
                    <a:lnTo>
                      <a:pt x="155" y="23"/>
                    </a:lnTo>
                    <a:lnTo>
                      <a:pt x="74" y="25"/>
                    </a:lnTo>
                    <a:lnTo>
                      <a:pt x="47" y="0"/>
                    </a:lnTo>
                    <a:lnTo>
                      <a:pt x="48" y="11"/>
                    </a:lnTo>
                    <a:lnTo>
                      <a:pt x="25" y="21"/>
                    </a:lnTo>
                    <a:lnTo>
                      <a:pt x="32" y="40"/>
                    </a:lnTo>
                    <a:lnTo>
                      <a:pt x="23" y="46"/>
                    </a:lnTo>
                    <a:lnTo>
                      <a:pt x="18" y="29"/>
                    </a:lnTo>
                    <a:lnTo>
                      <a:pt x="27" y="7"/>
                    </a:lnTo>
                    <a:lnTo>
                      <a:pt x="0" y="43"/>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94" name="Freeform 350"/>
              <p:cNvSpPr>
                <a:spLocks noEditPoints="1"/>
              </p:cNvSpPr>
              <p:nvPr/>
            </p:nvSpPr>
            <p:spPr bwMode="auto">
              <a:xfrm>
                <a:off x="1718" y="1958"/>
                <a:ext cx="190" cy="157"/>
              </a:xfrm>
              <a:custGeom>
                <a:avLst/>
                <a:gdLst/>
                <a:ahLst/>
                <a:cxnLst>
                  <a:cxn ang="0">
                    <a:pos x="16" y="189"/>
                  </a:cxn>
                  <a:cxn ang="0">
                    <a:pos x="69" y="301"/>
                  </a:cxn>
                  <a:cxn ang="0">
                    <a:pos x="168" y="318"/>
                  </a:cxn>
                  <a:cxn ang="0">
                    <a:pos x="191" y="362"/>
                  </a:cxn>
                  <a:cxn ang="0">
                    <a:pos x="290" y="359"/>
                  </a:cxn>
                  <a:cxn ang="0">
                    <a:pos x="279" y="568"/>
                  </a:cxn>
                  <a:cxn ang="0">
                    <a:pos x="319" y="648"/>
                  </a:cxn>
                  <a:cxn ang="0">
                    <a:pos x="372" y="673"/>
                  </a:cxn>
                  <a:cxn ang="0">
                    <a:pos x="478" y="593"/>
                  </a:cxn>
                  <a:cxn ang="0">
                    <a:pos x="435" y="594"/>
                  </a:cxn>
                  <a:cxn ang="0">
                    <a:pos x="406" y="478"/>
                  </a:cxn>
                  <a:cxn ang="0">
                    <a:pos x="416" y="468"/>
                  </a:cxn>
                  <a:cxn ang="0">
                    <a:pos x="492" y="490"/>
                  </a:cxn>
                  <a:cxn ang="0">
                    <a:pos x="606" y="430"/>
                  </a:cxn>
                  <a:cxn ang="0">
                    <a:pos x="574" y="365"/>
                  </a:cxn>
                  <a:cxn ang="0">
                    <a:pos x="615" y="324"/>
                  </a:cxn>
                  <a:cxn ang="0">
                    <a:pos x="598" y="276"/>
                  </a:cxn>
                  <a:cxn ang="0">
                    <a:pos x="647" y="248"/>
                  </a:cxn>
                  <a:cxn ang="0">
                    <a:pos x="583" y="231"/>
                  </a:cxn>
                  <a:cxn ang="0">
                    <a:pos x="586" y="186"/>
                  </a:cxn>
                  <a:cxn ang="0">
                    <a:pos x="491" y="119"/>
                  </a:cxn>
                  <a:cxn ang="0">
                    <a:pos x="539" y="97"/>
                  </a:cxn>
                  <a:cxn ang="0">
                    <a:pos x="262" y="125"/>
                  </a:cxn>
                  <a:cxn ang="0">
                    <a:pos x="162" y="14"/>
                  </a:cxn>
                  <a:cxn ang="0">
                    <a:pos x="180" y="55"/>
                  </a:cxn>
                  <a:cxn ang="0">
                    <a:pos x="97" y="105"/>
                  </a:cxn>
                  <a:cxn ang="0">
                    <a:pos x="126" y="177"/>
                  </a:cxn>
                  <a:cxn ang="0">
                    <a:pos x="94" y="214"/>
                  </a:cxn>
                  <a:cxn ang="0">
                    <a:pos x="80" y="210"/>
                  </a:cxn>
                  <a:cxn ang="0">
                    <a:pos x="60" y="133"/>
                  </a:cxn>
                  <a:cxn ang="0">
                    <a:pos x="106" y="41"/>
                  </a:cxn>
                  <a:cxn ang="0">
                    <a:pos x="92" y="33"/>
                  </a:cxn>
                  <a:cxn ang="0">
                    <a:pos x="107" y="40"/>
                  </a:cxn>
                  <a:cxn ang="0">
                    <a:pos x="75" y="133"/>
                  </a:cxn>
                  <a:cxn ang="0">
                    <a:pos x="83" y="202"/>
                  </a:cxn>
                  <a:cxn ang="0">
                    <a:pos x="111" y="181"/>
                  </a:cxn>
                  <a:cxn ang="0">
                    <a:pos x="90" y="91"/>
                  </a:cxn>
                  <a:cxn ang="0">
                    <a:pos x="164" y="56"/>
                  </a:cxn>
                  <a:cxn ang="0">
                    <a:pos x="165" y="1"/>
                  </a:cxn>
                  <a:cxn ang="0">
                    <a:pos x="267" y="111"/>
                  </a:cxn>
                  <a:cxn ang="0">
                    <a:pos x="541" y="97"/>
                  </a:cxn>
                  <a:cxn ang="0">
                    <a:pos x="544" y="112"/>
                  </a:cxn>
                  <a:cxn ang="0">
                    <a:pos x="503" y="113"/>
                  </a:cxn>
                  <a:cxn ang="0">
                    <a:pos x="599" y="179"/>
                  </a:cxn>
                  <a:cxn ang="0">
                    <a:pos x="592" y="223"/>
                  </a:cxn>
                  <a:cxn ang="0">
                    <a:pos x="656" y="237"/>
                  </a:cxn>
                  <a:cxn ang="0">
                    <a:pos x="609" y="288"/>
                  </a:cxn>
                  <a:cxn ang="0">
                    <a:pos x="630" y="317"/>
                  </a:cxn>
                  <a:cxn ang="0">
                    <a:pos x="586" y="375"/>
                  </a:cxn>
                  <a:cxn ang="0">
                    <a:pos x="620" y="421"/>
                  </a:cxn>
                  <a:cxn ang="0">
                    <a:pos x="500" y="503"/>
                  </a:cxn>
                  <a:cxn ang="0">
                    <a:pos x="412" y="484"/>
                  </a:cxn>
                  <a:cxn ang="0">
                    <a:pos x="445" y="584"/>
                  </a:cxn>
                  <a:cxn ang="0">
                    <a:pos x="485" y="592"/>
                  </a:cxn>
                  <a:cxn ang="0">
                    <a:pos x="487" y="606"/>
                  </a:cxn>
                  <a:cxn ang="0">
                    <a:pos x="365" y="688"/>
                  </a:cxn>
                  <a:cxn ang="0">
                    <a:pos x="305" y="655"/>
                  </a:cxn>
                  <a:cxn ang="0">
                    <a:pos x="263" y="567"/>
                  </a:cxn>
                  <a:cxn ang="0">
                    <a:pos x="285" y="373"/>
                  </a:cxn>
                  <a:cxn ang="0">
                    <a:pos x="184" y="374"/>
                  </a:cxn>
                  <a:cxn ang="0">
                    <a:pos x="160" y="330"/>
                  </a:cxn>
                  <a:cxn ang="0">
                    <a:pos x="60" y="313"/>
                  </a:cxn>
                  <a:cxn ang="0">
                    <a:pos x="2" y="188"/>
                  </a:cxn>
                </a:cxnLst>
                <a:rect l="0" t="0" r="r" b="b"/>
                <a:pathLst>
                  <a:path w="657" h="689">
                    <a:moveTo>
                      <a:pt x="15" y="197"/>
                    </a:moveTo>
                    <a:lnTo>
                      <a:pt x="16" y="189"/>
                    </a:lnTo>
                    <a:lnTo>
                      <a:pt x="75" y="305"/>
                    </a:lnTo>
                    <a:lnTo>
                      <a:pt x="69" y="301"/>
                    </a:lnTo>
                    <a:lnTo>
                      <a:pt x="162" y="315"/>
                    </a:lnTo>
                    <a:cubicBezTo>
                      <a:pt x="164" y="315"/>
                      <a:pt x="166" y="316"/>
                      <a:pt x="168" y="318"/>
                    </a:cubicBezTo>
                    <a:lnTo>
                      <a:pt x="198" y="365"/>
                    </a:lnTo>
                    <a:lnTo>
                      <a:pt x="191" y="362"/>
                    </a:lnTo>
                    <a:lnTo>
                      <a:pt x="284" y="357"/>
                    </a:lnTo>
                    <a:cubicBezTo>
                      <a:pt x="286" y="357"/>
                      <a:pt x="289" y="357"/>
                      <a:pt x="290" y="359"/>
                    </a:cubicBezTo>
                    <a:cubicBezTo>
                      <a:pt x="292" y="361"/>
                      <a:pt x="293" y="363"/>
                      <a:pt x="293" y="365"/>
                    </a:cubicBezTo>
                    <a:lnTo>
                      <a:pt x="279" y="568"/>
                    </a:lnTo>
                    <a:lnTo>
                      <a:pt x="278" y="564"/>
                    </a:lnTo>
                    <a:lnTo>
                      <a:pt x="319" y="648"/>
                    </a:lnTo>
                    <a:lnTo>
                      <a:pt x="316" y="645"/>
                    </a:lnTo>
                    <a:lnTo>
                      <a:pt x="372" y="673"/>
                    </a:lnTo>
                    <a:lnTo>
                      <a:pt x="364" y="674"/>
                    </a:lnTo>
                    <a:lnTo>
                      <a:pt x="478" y="593"/>
                    </a:lnTo>
                    <a:lnTo>
                      <a:pt x="480" y="607"/>
                    </a:lnTo>
                    <a:lnTo>
                      <a:pt x="435" y="594"/>
                    </a:lnTo>
                    <a:cubicBezTo>
                      <a:pt x="432" y="593"/>
                      <a:pt x="430" y="590"/>
                      <a:pt x="429" y="588"/>
                    </a:cubicBezTo>
                    <a:lnTo>
                      <a:pt x="406" y="478"/>
                    </a:lnTo>
                    <a:cubicBezTo>
                      <a:pt x="405" y="475"/>
                      <a:pt x="406" y="472"/>
                      <a:pt x="408" y="470"/>
                    </a:cubicBezTo>
                    <a:cubicBezTo>
                      <a:pt x="410" y="468"/>
                      <a:pt x="413" y="468"/>
                      <a:pt x="416" y="468"/>
                    </a:cubicBezTo>
                    <a:lnTo>
                      <a:pt x="498" y="489"/>
                    </a:lnTo>
                    <a:lnTo>
                      <a:pt x="492" y="490"/>
                    </a:lnTo>
                    <a:lnTo>
                      <a:pt x="609" y="419"/>
                    </a:lnTo>
                    <a:lnTo>
                      <a:pt x="606" y="430"/>
                    </a:lnTo>
                    <a:lnTo>
                      <a:pt x="573" y="374"/>
                    </a:lnTo>
                    <a:cubicBezTo>
                      <a:pt x="571" y="371"/>
                      <a:pt x="571" y="367"/>
                      <a:pt x="574" y="365"/>
                    </a:cubicBezTo>
                    <a:lnTo>
                      <a:pt x="616" y="316"/>
                    </a:lnTo>
                    <a:lnTo>
                      <a:pt x="615" y="324"/>
                    </a:lnTo>
                    <a:lnTo>
                      <a:pt x="596" y="286"/>
                    </a:lnTo>
                    <a:cubicBezTo>
                      <a:pt x="594" y="282"/>
                      <a:pt x="595" y="279"/>
                      <a:pt x="598" y="276"/>
                    </a:cubicBezTo>
                    <a:lnTo>
                      <a:pt x="643" y="234"/>
                    </a:lnTo>
                    <a:lnTo>
                      <a:pt x="647" y="248"/>
                    </a:lnTo>
                    <a:lnTo>
                      <a:pt x="590" y="239"/>
                    </a:lnTo>
                    <a:cubicBezTo>
                      <a:pt x="586" y="239"/>
                      <a:pt x="583" y="235"/>
                      <a:pt x="583" y="231"/>
                    </a:cubicBezTo>
                    <a:lnTo>
                      <a:pt x="583" y="179"/>
                    </a:lnTo>
                    <a:lnTo>
                      <a:pt x="586" y="186"/>
                    </a:lnTo>
                    <a:lnTo>
                      <a:pt x="494" y="127"/>
                    </a:lnTo>
                    <a:cubicBezTo>
                      <a:pt x="492" y="125"/>
                      <a:pt x="490" y="122"/>
                      <a:pt x="491" y="119"/>
                    </a:cubicBezTo>
                    <a:cubicBezTo>
                      <a:pt x="491" y="116"/>
                      <a:pt x="493" y="113"/>
                      <a:pt x="496" y="112"/>
                    </a:cubicBezTo>
                    <a:lnTo>
                      <a:pt x="539" y="97"/>
                    </a:lnTo>
                    <a:lnTo>
                      <a:pt x="542" y="113"/>
                    </a:lnTo>
                    <a:lnTo>
                      <a:pt x="262" y="125"/>
                    </a:lnTo>
                    <a:cubicBezTo>
                      <a:pt x="259" y="125"/>
                      <a:pt x="257" y="124"/>
                      <a:pt x="255" y="122"/>
                    </a:cubicBezTo>
                    <a:lnTo>
                      <a:pt x="162" y="14"/>
                    </a:lnTo>
                    <a:lnTo>
                      <a:pt x="176" y="8"/>
                    </a:lnTo>
                    <a:lnTo>
                      <a:pt x="180" y="55"/>
                    </a:lnTo>
                    <a:cubicBezTo>
                      <a:pt x="180" y="58"/>
                      <a:pt x="179" y="61"/>
                      <a:pt x="176" y="63"/>
                    </a:cubicBezTo>
                    <a:lnTo>
                      <a:pt x="97" y="105"/>
                    </a:lnTo>
                    <a:lnTo>
                      <a:pt x="101" y="96"/>
                    </a:lnTo>
                    <a:lnTo>
                      <a:pt x="126" y="177"/>
                    </a:lnTo>
                    <a:cubicBezTo>
                      <a:pt x="127" y="180"/>
                      <a:pt x="126" y="183"/>
                      <a:pt x="124" y="185"/>
                    </a:cubicBezTo>
                    <a:lnTo>
                      <a:pt x="94" y="214"/>
                    </a:lnTo>
                    <a:cubicBezTo>
                      <a:pt x="92" y="215"/>
                      <a:pt x="89" y="216"/>
                      <a:pt x="86" y="215"/>
                    </a:cubicBezTo>
                    <a:cubicBezTo>
                      <a:pt x="83" y="215"/>
                      <a:pt x="81" y="213"/>
                      <a:pt x="80" y="210"/>
                    </a:cubicBezTo>
                    <a:lnTo>
                      <a:pt x="60" y="137"/>
                    </a:lnTo>
                    <a:cubicBezTo>
                      <a:pt x="59" y="136"/>
                      <a:pt x="59" y="134"/>
                      <a:pt x="60" y="133"/>
                    </a:cubicBezTo>
                    <a:lnTo>
                      <a:pt x="91" y="35"/>
                    </a:lnTo>
                    <a:lnTo>
                      <a:pt x="106" y="41"/>
                    </a:lnTo>
                    <a:lnTo>
                      <a:pt x="15" y="197"/>
                    </a:lnTo>
                    <a:close/>
                    <a:moveTo>
                      <a:pt x="92" y="33"/>
                    </a:moveTo>
                    <a:cubicBezTo>
                      <a:pt x="94" y="30"/>
                      <a:pt x="99" y="28"/>
                      <a:pt x="102" y="30"/>
                    </a:cubicBezTo>
                    <a:cubicBezTo>
                      <a:pt x="106" y="32"/>
                      <a:pt x="108" y="36"/>
                      <a:pt x="107" y="40"/>
                    </a:cubicBezTo>
                    <a:lnTo>
                      <a:pt x="75" y="138"/>
                    </a:lnTo>
                    <a:lnTo>
                      <a:pt x="75" y="133"/>
                    </a:lnTo>
                    <a:lnTo>
                      <a:pt x="96" y="206"/>
                    </a:lnTo>
                    <a:lnTo>
                      <a:pt x="83" y="202"/>
                    </a:lnTo>
                    <a:lnTo>
                      <a:pt x="113" y="173"/>
                    </a:lnTo>
                    <a:lnTo>
                      <a:pt x="111" y="181"/>
                    </a:lnTo>
                    <a:lnTo>
                      <a:pt x="86" y="100"/>
                    </a:lnTo>
                    <a:cubicBezTo>
                      <a:pt x="85" y="97"/>
                      <a:pt x="86" y="93"/>
                      <a:pt x="90" y="91"/>
                    </a:cubicBezTo>
                    <a:lnTo>
                      <a:pt x="168" y="49"/>
                    </a:lnTo>
                    <a:lnTo>
                      <a:pt x="164" y="56"/>
                    </a:lnTo>
                    <a:lnTo>
                      <a:pt x="160" y="9"/>
                    </a:lnTo>
                    <a:cubicBezTo>
                      <a:pt x="160" y="6"/>
                      <a:pt x="161" y="2"/>
                      <a:pt x="165" y="1"/>
                    </a:cubicBezTo>
                    <a:cubicBezTo>
                      <a:pt x="168" y="0"/>
                      <a:pt x="172" y="1"/>
                      <a:pt x="174" y="3"/>
                    </a:cubicBezTo>
                    <a:lnTo>
                      <a:pt x="267" y="111"/>
                    </a:lnTo>
                    <a:lnTo>
                      <a:pt x="261" y="109"/>
                    </a:lnTo>
                    <a:lnTo>
                      <a:pt x="541" y="97"/>
                    </a:lnTo>
                    <a:cubicBezTo>
                      <a:pt x="545" y="97"/>
                      <a:pt x="548" y="99"/>
                      <a:pt x="549" y="103"/>
                    </a:cubicBezTo>
                    <a:cubicBezTo>
                      <a:pt x="550" y="107"/>
                      <a:pt x="548" y="111"/>
                      <a:pt x="544" y="112"/>
                    </a:cubicBezTo>
                    <a:lnTo>
                      <a:pt x="501" y="127"/>
                    </a:lnTo>
                    <a:lnTo>
                      <a:pt x="503" y="113"/>
                    </a:lnTo>
                    <a:lnTo>
                      <a:pt x="595" y="172"/>
                    </a:lnTo>
                    <a:cubicBezTo>
                      <a:pt x="597" y="174"/>
                      <a:pt x="599" y="176"/>
                      <a:pt x="599" y="179"/>
                    </a:cubicBezTo>
                    <a:lnTo>
                      <a:pt x="599" y="231"/>
                    </a:lnTo>
                    <a:lnTo>
                      <a:pt x="592" y="223"/>
                    </a:lnTo>
                    <a:lnTo>
                      <a:pt x="650" y="232"/>
                    </a:lnTo>
                    <a:cubicBezTo>
                      <a:pt x="653" y="232"/>
                      <a:pt x="655" y="234"/>
                      <a:pt x="656" y="237"/>
                    </a:cubicBezTo>
                    <a:cubicBezTo>
                      <a:pt x="657" y="240"/>
                      <a:pt x="656" y="244"/>
                      <a:pt x="654" y="246"/>
                    </a:cubicBezTo>
                    <a:lnTo>
                      <a:pt x="609" y="288"/>
                    </a:lnTo>
                    <a:lnTo>
                      <a:pt x="610" y="278"/>
                    </a:lnTo>
                    <a:lnTo>
                      <a:pt x="630" y="317"/>
                    </a:lnTo>
                    <a:cubicBezTo>
                      <a:pt x="631" y="320"/>
                      <a:pt x="631" y="324"/>
                      <a:pt x="628" y="326"/>
                    </a:cubicBezTo>
                    <a:lnTo>
                      <a:pt x="586" y="375"/>
                    </a:lnTo>
                    <a:lnTo>
                      <a:pt x="587" y="366"/>
                    </a:lnTo>
                    <a:lnTo>
                      <a:pt x="620" y="421"/>
                    </a:lnTo>
                    <a:cubicBezTo>
                      <a:pt x="622" y="425"/>
                      <a:pt x="621" y="430"/>
                      <a:pt x="617" y="432"/>
                    </a:cubicBezTo>
                    <a:lnTo>
                      <a:pt x="500" y="503"/>
                    </a:lnTo>
                    <a:cubicBezTo>
                      <a:pt x="498" y="504"/>
                      <a:pt x="496" y="505"/>
                      <a:pt x="494" y="504"/>
                    </a:cubicBezTo>
                    <a:lnTo>
                      <a:pt x="412" y="484"/>
                    </a:lnTo>
                    <a:lnTo>
                      <a:pt x="421" y="474"/>
                    </a:lnTo>
                    <a:lnTo>
                      <a:pt x="445" y="584"/>
                    </a:lnTo>
                    <a:lnTo>
                      <a:pt x="439" y="578"/>
                    </a:lnTo>
                    <a:lnTo>
                      <a:pt x="485" y="592"/>
                    </a:lnTo>
                    <a:cubicBezTo>
                      <a:pt x="488" y="593"/>
                      <a:pt x="490" y="595"/>
                      <a:pt x="490" y="598"/>
                    </a:cubicBezTo>
                    <a:cubicBezTo>
                      <a:pt x="491" y="601"/>
                      <a:pt x="489" y="604"/>
                      <a:pt x="487" y="606"/>
                    </a:cubicBezTo>
                    <a:lnTo>
                      <a:pt x="373" y="687"/>
                    </a:lnTo>
                    <a:cubicBezTo>
                      <a:pt x="371" y="689"/>
                      <a:pt x="367" y="689"/>
                      <a:pt x="365" y="688"/>
                    </a:cubicBezTo>
                    <a:lnTo>
                      <a:pt x="308" y="659"/>
                    </a:lnTo>
                    <a:cubicBezTo>
                      <a:pt x="307" y="658"/>
                      <a:pt x="306" y="657"/>
                      <a:pt x="305" y="655"/>
                    </a:cubicBezTo>
                    <a:lnTo>
                      <a:pt x="264" y="571"/>
                    </a:lnTo>
                    <a:cubicBezTo>
                      <a:pt x="263" y="570"/>
                      <a:pt x="263" y="568"/>
                      <a:pt x="263" y="567"/>
                    </a:cubicBezTo>
                    <a:lnTo>
                      <a:pt x="277" y="364"/>
                    </a:lnTo>
                    <a:lnTo>
                      <a:pt x="285" y="373"/>
                    </a:lnTo>
                    <a:lnTo>
                      <a:pt x="192" y="378"/>
                    </a:lnTo>
                    <a:cubicBezTo>
                      <a:pt x="189" y="378"/>
                      <a:pt x="186" y="377"/>
                      <a:pt x="184" y="374"/>
                    </a:cubicBezTo>
                    <a:lnTo>
                      <a:pt x="154" y="327"/>
                    </a:lnTo>
                    <a:lnTo>
                      <a:pt x="160" y="330"/>
                    </a:lnTo>
                    <a:lnTo>
                      <a:pt x="66" y="317"/>
                    </a:lnTo>
                    <a:cubicBezTo>
                      <a:pt x="64" y="317"/>
                      <a:pt x="62" y="315"/>
                      <a:pt x="60" y="313"/>
                    </a:cubicBezTo>
                    <a:lnTo>
                      <a:pt x="1" y="196"/>
                    </a:lnTo>
                    <a:cubicBezTo>
                      <a:pt x="0" y="194"/>
                      <a:pt x="0" y="191"/>
                      <a:pt x="2" y="188"/>
                    </a:cubicBezTo>
                    <a:lnTo>
                      <a:pt x="92" y="33"/>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95" name="Freeform 351"/>
              <p:cNvSpPr>
                <a:spLocks/>
              </p:cNvSpPr>
              <p:nvPr/>
            </p:nvSpPr>
            <p:spPr bwMode="auto">
              <a:xfrm>
                <a:off x="4170" y="1813"/>
                <a:ext cx="98" cy="198"/>
              </a:xfrm>
              <a:custGeom>
                <a:avLst/>
                <a:gdLst/>
                <a:ahLst/>
                <a:cxnLst>
                  <a:cxn ang="0">
                    <a:pos x="0" y="10"/>
                  </a:cxn>
                  <a:cxn ang="0">
                    <a:pos x="15" y="31"/>
                  </a:cxn>
                  <a:cxn ang="0">
                    <a:pos x="34" y="39"/>
                  </a:cxn>
                  <a:cxn ang="0">
                    <a:pos x="25" y="55"/>
                  </a:cxn>
                  <a:cxn ang="0">
                    <a:pos x="58" y="81"/>
                  </a:cxn>
                  <a:cxn ang="0">
                    <a:pos x="74" y="117"/>
                  </a:cxn>
                  <a:cxn ang="0">
                    <a:pos x="76" y="147"/>
                  </a:cxn>
                  <a:cxn ang="0">
                    <a:pos x="34" y="173"/>
                  </a:cxn>
                  <a:cxn ang="0">
                    <a:pos x="40" y="198"/>
                  </a:cxn>
                  <a:cxn ang="0">
                    <a:pos x="54" y="180"/>
                  </a:cxn>
                  <a:cxn ang="0">
                    <a:pos x="61" y="185"/>
                  </a:cxn>
                  <a:cxn ang="0">
                    <a:pos x="65" y="174"/>
                  </a:cxn>
                  <a:cxn ang="0">
                    <a:pos x="98" y="156"/>
                  </a:cxn>
                  <a:cxn ang="0">
                    <a:pos x="93" y="106"/>
                  </a:cxn>
                  <a:cxn ang="0">
                    <a:pos x="49" y="61"/>
                  </a:cxn>
                  <a:cxn ang="0">
                    <a:pos x="53" y="46"/>
                  </a:cxn>
                  <a:cxn ang="0">
                    <a:pos x="80" y="23"/>
                  </a:cxn>
                  <a:cxn ang="0">
                    <a:pos x="42" y="0"/>
                  </a:cxn>
                  <a:cxn ang="0">
                    <a:pos x="0" y="10"/>
                  </a:cxn>
                </a:cxnLst>
                <a:rect l="0" t="0" r="r" b="b"/>
                <a:pathLst>
                  <a:path w="98" h="198">
                    <a:moveTo>
                      <a:pt x="0" y="10"/>
                    </a:moveTo>
                    <a:lnTo>
                      <a:pt x="15" y="31"/>
                    </a:lnTo>
                    <a:lnTo>
                      <a:pt x="34" y="39"/>
                    </a:lnTo>
                    <a:lnTo>
                      <a:pt x="25" y="55"/>
                    </a:lnTo>
                    <a:lnTo>
                      <a:pt x="58" y="81"/>
                    </a:lnTo>
                    <a:lnTo>
                      <a:pt x="74" y="117"/>
                    </a:lnTo>
                    <a:lnTo>
                      <a:pt x="76" y="147"/>
                    </a:lnTo>
                    <a:lnTo>
                      <a:pt x="34" y="173"/>
                    </a:lnTo>
                    <a:lnTo>
                      <a:pt x="40" y="198"/>
                    </a:lnTo>
                    <a:lnTo>
                      <a:pt x="54" y="180"/>
                    </a:lnTo>
                    <a:lnTo>
                      <a:pt x="61" y="185"/>
                    </a:lnTo>
                    <a:lnTo>
                      <a:pt x="65" y="174"/>
                    </a:lnTo>
                    <a:lnTo>
                      <a:pt x="98" y="156"/>
                    </a:lnTo>
                    <a:lnTo>
                      <a:pt x="93" y="106"/>
                    </a:lnTo>
                    <a:lnTo>
                      <a:pt x="49" y="61"/>
                    </a:lnTo>
                    <a:lnTo>
                      <a:pt x="53" y="46"/>
                    </a:lnTo>
                    <a:lnTo>
                      <a:pt x="80" y="23"/>
                    </a:lnTo>
                    <a:lnTo>
                      <a:pt x="42" y="0"/>
                    </a:lnTo>
                    <a:lnTo>
                      <a:pt x="0" y="1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96" name="Freeform 352"/>
              <p:cNvSpPr>
                <a:spLocks noEditPoints="1"/>
              </p:cNvSpPr>
              <p:nvPr/>
            </p:nvSpPr>
            <p:spPr bwMode="auto">
              <a:xfrm>
                <a:off x="4168" y="1811"/>
                <a:ext cx="103" cy="202"/>
              </a:xfrm>
              <a:custGeom>
                <a:avLst/>
                <a:gdLst/>
                <a:ahLst/>
                <a:cxnLst>
                  <a:cxn ang="0">
                    <a:pos x="15" y="48"/>
                  </a:cxn>
                  <a:cxn ang="0">
                    <a:pos x="62" y="137"/>
                  </a:cxn>
                  <a:cxn ang="0">
                    <a:pos x="131" y="182"/>
                  </a:cxn>
                  <a:cxn ang="0">
                    <a:pos x="97" y="240"/>
                  </a:cxn>
                  <a:cxn ang="0">
                    <a:pos x="216" y="359"/>
                  </a:cxn>
                  <a:cxn ang="0">
                    <a:pos x="269" y="516"/>
                  </a:cxn>
                  <a:cxn ang="0">
                    <a:pos x="272" y="655"/>
                  </a:cxn>
                  <a:cxn ang="0">
                    <a:pos x="130" y="764"/>
                  </a:cxn>
                  <a:cxn ang="0">
                    <a:pos x="139" y="868"/>
                  </a:cxn>
                  <a:cxn ang="0">
                    <a:pos x="190" y="788"/>
                  </a:cxn>
                  <a:cxn ang="0">
                    <a:pos x="222" y="809"/>
                  </a:cxn>
                  <a:cxn ang="0">
                    <a:pos x="221" y="767"/>
                  </a:cxn>
                  <a:cxn ang="0">
                    <a:pos x="340" y="684"/>
                  </a:cxn>
                  <a:cxn ang="0">
                    <a:pos x="320" y="474"/>
                  </a:cxn>
                  <a:cxn ang="0">
                    <a:pos x="167" y="277"/>
                  </a:cxn>
                  <a:cxn ang="0">
                    <a:pos x="183" y="205"/>
                  </a:cxn>
                  <a:cxn ang="0">
                    <a:pos x="278" y="103"/>
                  </a:cxn>
                  <a:cxn ang="0">
                    <a:pos x="147" y="15"/>
                  </a:cxn>
                  <a:cxn ang="0">
                    <a:pos x="11" y="60"/>
                  </a:cxn>
                  <a:cxn ang="0">
                    <a:pos x="156" y="2"/>
                  </a:cxn>
                  <a:cxn ang="0">
                    <a:pos x="291" y="108"/>
                  </a:cxn>
                  <a:cxn ang="0">
                    <a:pos x="196" y="213"/>
                  </a:cxn>
                  <a:cxn ang="0">
                    <a:pos x="181" y="274"/>
                  </a:cxn>
                  <a:cxn ang="0">
                    <a:pos x="334" y="468"/>
                  </a:cxn>
                  <a:cxn ang="0">
                    <a:pos x="352" y="690"/>
                  </a:cxn>
                  <a:cxn ang="0">
                    <a:pos x="234" y="775"/>
                  </a:cxn>
                  <a:cxn ang="0">
                    <a:pos x="224" y="818"/>
                  </a:cxn>
                  <a:cxn ang="0">
                    <a:pos x="212" y="822"/>
                  </a:cxn>
                  <a:cxn ang="0">
                    <a:pos x="199" y="800"/>
                  </a:cxn>
                  <a:cxn ang="0">
                    <a:pos x="145" y="880"/>
                  </a:cxn>
                  <a:cxn ang="0">
                    <a:pos x="114" y="767"/>
                  </a:cxn>
                  <a:cxn ang="0">
                    <a:pos x="262" y="642"/>
                  </a:cxn>
                  <a:cxn ang="0">
                    <a:pos x="253" y="517"/>
                  </a:cxn>
                  <a:cxn ang="0">
                    <a:pos x="201" y="364"/>
                  </a:cxn>
                  <a:cxn ang="0">
                    <a:pos x="86" y="251"/>
                  </a:cxn>
                  <a:cxn ang="0">
                    <a:pos x="116" y="175"/>
                  </a:cxn>
                  <a:cxn ang="0">
                    <a:pos x="55" y="151"/>
                  </a:cxn>
                  <a:cxn ang="0">
                    <a:pos x="1" y="56"/>
                  </a:cxn>
                  <a:cxn ang="0">
                    <a:pos x="6" y="44"/>
                  </a:cxn>
                </a:cxnLst>
                <a:rect l="0" t="0" r="r" b="b"/>
                <a:pathLst>
                  <a:path w="353" h="881">
                    <a:moveTo>
                      <a:pt x="11" y="60"/>
                    </a:moveTo>
                    <a:lnTo>
                      <a:pt x="15" y="48"/>
                    </a:lnTo>
                    <a:lnTo>
                      <a:pt x="65" y="140"/>
                    </a:lnTo>
                    <a:lnTo>
                      <a:pt x="62" y="137"/>
                    </a:lnTo>
                    <a:lnTo>
                      <a:pt x="127" y="172"/>
                    </a:lnTo>
                    <a:cubicBezTo>
                      <a:pt x="131" y="174"/>
                      <a:pt x="133" y="179"/>
                      <a:pt x="131" y="182"/>
                    </a:cubicBezTo>
                    <a:lnTo>
                      <a:pt x="99" y="249"/>
                    </a:lnTo>
                    <a:lnTo>
                      <a:pt x="97" y="240"/>
                    </a:lnTo>
                    <a:lnTo>
                      <a:pt x="214" y="355"/>
                    </a:lnTo>
                    <a:cubicBezTo>
                      <a:pt x="215" y="356"/>
                      <a:pt x="216" y="357"/>
                      <a:pt x="216" y="359"/>
                    </a:cubicBezTo>
                    <a:lnTo>
                      <a:pt x="269" y="514"/>
                    </a:lnTo>
                    <a:cubicBezTo>
                      <a:pt x="269" y="515"/>
                      <a:pt x="269" y="515"/>
                      <a:pt x="269" y="516"/>
                    </a:cubicBezTo>
                    <a:lnTo>
                      <a:pt x="275" y="648"/>
                    </a:lnTo>
                    <a:cubicBezTo>
                      <a:pt x="275" y="651"/>
                      <a:pt x="274" y="653"/>
                      <a:pt x="272" y="655"/>
                    </a:cubicBezTo>
                    <a:lnTo>
                      <a:pt x="127" y="772"/>
                    </a:lnTo>
                    <a:lnTo>
                      <a:pt x="130" y="764"/>
                    </a:lnTo>
                    <a:lnTo>
                      <a:pt x="154" y="871"/>
                    </a:lnTo>
                    <a:lnTo>
                      <a:pt x="139" y="868"/>
                    </a:lnTo>
                    <a:lnTo>
                      <a:pt x="185" y="791"/>
                    </a:lnTo>
                    <a:cubicBezTo>
                      <a:pt x="186" y="789"/>
                      <a:pt x="188" y="788"/>
                      <a:pt x="190" y="788"/>
                    </a:cubicBezTo>
                    <a:cubicBezTo>
                      <a:pt x="193" y="787"/>
                      <a:pt x="195" y="788"/>
                      <a:pt x="197" y="789"/>
                    </a:cubicBezTo>
                    <a:lnTo>
                      <a:pt x="222" y="809"/>
                    </a:lnTo>
                    <a:lnTo>
                      <a:pt x="209" y="814"/>
                    </a:lnTo>
                    <a:lnTo>
                      <a:pt x="221" y="767"/>
                    </a:lnTo>
                    <a:cubicBezTo>
                      <a:pt x="222" y="765"/>
                      <a:pt x="223" y="763"/>
                      <a:pt x="225" y="762"/>
                    </a:cubicBezTo>
                    <a:lnTo>
                      <a:pt x="340" y="684"/>
                    </a:lnTo>
                    <a:lnTo>
                      <a:pt x="336" y="691"/>
                    </a:lnTo>
                    <a:lnTo>
                      <a:pt x="320" y="474"/>
                    </a:lnTo>
                    <a:lnTo>
                      <a:pt x="321" y="478"/>
                    </a:lnTo>
                    <a:lnTo>
                      <a:pt x="167" y="277"/>
                    </a:lnTo>
                    <a:cubicBezTo>
                      <a:pt x="166" y="275"/>
                      <a:pt x="165" y="273"/>
                      <a:pt x="166" y="271"/>
                    </a:cubicBezTo>
                    <a:lnTo>
                      <a:pt x="183" y="205"/>
                    </a:lnTo>
                    <a:cubicBezTo>
                      <a:pt x="183" y="204"/>
                      <a:pt x="184" y="203"/>
                      <a:pt x="185" y="202"/>
                    </a:cubicBezTo>
                    <a:lnTo>
                      <a:pt x="278" y="103"/>
                    </a:lnTo>
                    <a:lnTo>
                      <a:pt x="279" y="115"/>
                    </a:lnTo>
                    <a:lnTo>
                      <a:pt x="147" y="15"/>
                    </a:lnTo>
                    <a:lnTo>
                      <a:pt x="154" y="16"/>
                    </a:lnTo>
                    <a:lnTo>
                      <a:pt x="11" y="60"/>
                    </a:lnTo>
                    <a:close/>
                    <a:moveTo>
                      <a:pt x="149" y="1"/>
                    </a:moveTo>
                    <a:cubicBezTo>
                      <a:pt x="152" y="0"/>
                      <a:pt x="154" y="1"/>
                      <a:pt x="156" y="2"/>
                    </a:cubicBezTo>
                    <a:lnTo>
                      <a:pt x="288" y="102"/>
                    </a:lnTo>
                    <a:cubicBezTo>
                      <a:pt x="290" y="104"/>
                      <a:pt x="291" y="106"/>
                      <a:pt x="291" y="108"/>
                    </a:cubicBezTo>
                    <a:cubicBezTo>
                      <a:pt x="292" y="110"/>
                      <a:pt x="291" y="113"/>
                      <a:pt x="289" y="114"/>
                    </a:cubicBezTo>
                    <a:lnTo>
                      <a:pt x="196" y="213"/>
                    </a:lnTo>
                    <a:lnTo>
                      <a:pt x="198" y="209"/>
                    </a:lnTo>
                    <a:lnTo>
                      <a:pt x="181" y="274"/>
                    </a:lnTo>
                    <a:lnTo>
                      <a:pt x="180" y="268"/>
                    </a:lnTo>
                    <a:lnTo>
                      <a:pt x="334" y="468"/>
                    </a:lnTo>
                    <a:cubicBezTo>
                      <a:pt x="335" y="469"/>
                      <a:pt x="336" y="471"/>
                      <a:pt x="336" y="472"/>
                    </a:cubicBezTo>
                    <a:lnTo>
                      <a:pt x="352" y="690"/>
                    </a:lnTo>
                    <a:cubicBezTo>
                      <a:pt x="353" y="693"/>
                      <a:pt x="351" y="695"/>
                      <a:pt x="349" y="697"/>
                    </a:cubicBezTo>
                    <a:lnTo>
                      <a:pt x="234" y="775"/>
                    </a:lnTo>
                    <a:lnTo>
                      <a:pt x="237" y="771"/>
                    </a:lnTo>
                    <a:lnTo>
                      <a:pt x="224" y="818"/>
                    </a:lnTo>
                    <a:cubicBezTo>
                      <a:pt x="224" y="820"/>
                      <a:pt x="222" y="822"/>
                      <a:pt x="219" y="823"/>
                    </a:cubicBezTo>
                    <a:cubicBezTo>
                      <a:pt x="217" y="824"/>
                      <a:pt x="214" y="824"/>
                      <a:pt x="212" y="822"/>
                    </a:cubicBezTo>
                    <a:lnTo>
                      <a:pt x="187" y="802"/>
                    </a:lnTo>
                    <a:lnTo>
                      <a:pt x="199" y="800"/>
                    </a:lnTo>
                    <a:lnTo>
                      <a:pt x="153" y="877"/>
                    </a:lnTo>
                    <a:cubicBezTo>
                      <a:pt x="151" y="879"/>
                      <a:pt x="148" y="881"/>
                      <a:pt x="145" y="880"/>
                    </a:cubicBezTo>
                    <a:cubicBezTo>
                      <a:pt x="141" y="880"/>
                      <a:pt x="139" y="877"/>
                      <a:pt x="138" y="874"/>
                    </a:cubicBezTo>
                    <a:lnTo>
                      <a:pt x="114" y="767"/>
                    </a:lnTo>
                    <a:cubicBezTo>
                      <a:pt x="114" y="764"/>
                      <a:pt x="115" y="761"/>
                      <a:pt x="117" y="759"/>
                    </a:cubicBezTo>
                    <a:lnTo>
                      <a:pt x="262" y="642"/>
                    </a:lnTo>
                    <a:lnTo>
                      <a:pt x="259" y="649"/>
                    </a:lnTo>
                    <a:lnTo>
                      <a:pt x="253" y="517"/>
                    </a:lnTo>
                    <a:lnTo>
                      <a:pt x="254" y="519"/>
                    </a:lnTo>
                    <a:lnTo>
                      <a:pt x="201" y="364"/>
                    </a:lnTo>
                    <a:lnTo>
                      <a:pt x="203" y="367"/>
                    </a:lnTo>
                    <a:lnTo>
                      <a:pt x="86" y="251"/>
                    </a:lnTo>
                    <a:cubicBezTo>
                      <a:pt x="84" y="249"/>
                      <a:pt x="83" y="245"/>
                      <a:pt x="85" y="242"/>
                    </a:cubicBezTo>
                    <a:lnTo>
                      <a:pt x="116" y="175"/>
                    </a:lnTo>
                    <a:lnTo>
                      <a:pt x="120" y="186"/>
                    </a:lnTo>
                    <a:lnTo>
                      <a:pt x="55" y="151"/>
                    </a:lnTo>
                    <a:cubicBezTo>
                      <a:pt x="53" y="150"/>
                      <a:pt x="52" y="149"/>
                      <a:pt x="51" y="148"/>
                    </a:cubicBezTo>
                    <a:lnTo>
                      <a:pt x="1" y="56"/>
                    </a:lnTo>
                    <a:cubicBezTo>
                      <a:pt x="0" y="54"/>
                      <a:pt x="0" y="51"/>
                      <a:pt x="1" y="49"/>
                    </a:cubicBezTo>
                    <a:cubicBezTo>
                      <a:pt x="2" y="47"/>
                      <a:pt x="4" y="45"/>
                      <a:pt x="6" y="44"/>
                    </a:cubicBezTo>
                    <a:lnTo>
                      <a:pt x="149" y="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97" name="Freeform 353"/>
              <p:cNvSpPr>
                <a:spLocks/>
              </p:cNvSpPr>
              <p:nvPr/>
            </p:nvSpPr>
            <p:spPr bwMode="auto">
              <a:xfrm>
                <a:off x="3349" y="1872"/>
                <a:ext cx="135" cy="84"/>
              </a:xfrm>
              <a:custGeom>
                <a:avLst/>
                <a:gdLst/>
                <a:ahLst/>
                <a:cxnLst>
                  <a:cxn ang="0">
                    <a:pos x="0" y="84"/>
                  </a:cxn>
                  <a:cxn ang="0">
                    <a:pos x="36" y="66"/>
                  </a:cxn>
                  <a:cxn ang="0">
                    <a:pos x="29" y="56"/>
                  </a:cxn>
                  <a:cxn ang="0">
                    <a:pos x="40" y="45"/>
                  </a:cxn>
                  <a:cxn ang="0">
                    <a:pos x="75" y="9"/>
                  </a:cxn>
                  <a:cxn ang="0">
                    <a:pos x="120" y="0"/>
                  </a:cxn>
                  <a:cxn ang="0">
                    <a:pos x="135" y="32"/>
                  </a:cxn>
                  <a:cxn ang="0">
                    <a:pos x="124" y="45"/>
                  </a:cxn>
                  <a:cxn ang="0">
                    <a:pos x="72" y="68"/>
                  </a:cxn>
                  <a:cxn ang="0">
                    <a:pos x="0" y="84"/>
                  </a:cxn>
                </a:cxnLst>
                <a:rect l="0" t="0" r="r" b="b"/>
                <a:pathLst>
                  <a:path w="135" h="84">
                    <a:moveTo>
                      <a:pt x="0" y="84"/>
                    </a:moveTo>
                    <a:lnTo>
                      <a:pt x="36" y="66"/>
                    </a:lnTo>
                    <a:lnTo>
                      <a:pt x="29" y="56"/>
                    </a:lnTo>
                    <a:lnTo>
                      <a:pt x="40" y="45"/>
                    </a:lnTo>
                    <a:lnTo>
                      <a:pt x="75" y="9"/>
                    </a:lnTo>
                    <a:lnTo>
                      <a:pt x="120" y="0"/>
                    </a:lnTo>
                    <a:lnTo>
                      <a:pt x="135" y="32"/>
                    </a:lnTo>
                    <a:lnTo>
                      <a:pt x="124" y="45"/>
                    </a:lnTo>
                    <a:lnTo>
                      <a:pt x="72" y="68"/>
                    </a:lnTo>
                    <a:lnTo>
                      <a:pt x="0" y="84"/>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98" name="Freeform 354"/>
              <p:cNvSpPr>
                <a:spLocks noEditPoints="1"/>
              </p:cNvSpPr>
              <p:nvPr/>
            </p:nvSpPr>
            <p:spPr bwMode="auto">
              <a:xfrm>
                <a:off x="3347" y="1870"/>
                <a:ext cx="139" cy="88"/>
              </a:xfrm>
              <a:custGeom>
                <a:avLst/>
                <a:gdLst/>
                <a:ahLst/>
                <a:cxnLst>
                  <a:cxn ang="0">
                    <a:pos x="11" y="384"/>
                  </a:cxn>
                  <a:cxn ang="0">
                    <a:pos x="1" y="380"/>
                  </a:cxn>
                  <a:cxn ang="0">
                    <a:pos x="4" y="370"/>
                  </a:cxn>
                  <a:cxn ang="0">
                    <a:pos x="126" y="289"/>
                  </a:cxn>
                  <a:cxn ang="0">
                    <a:pos x="124" y="300"/>
                  </a:cxn>
                  <a:cxn ang="0">
                    <a:pos x="101" y="259"/>
                  </a:cxn>
                  <a:cxn ang="0">
                    <a:pos x="102" y="250"/>
                  </a:cxn>
                  <a:cxn ang="0">
                    <a:pos x="138" y="202"/>
                  </a:cxn>
                  <a:cxn ang="0">
                    <a:pos x="262" y="43"/>
                  </a:cxn>
                  <a:cxn ang="0">
                    <a:pos x="266" y="40"/>
                  </a:cxn>
                  <a:cxn ang="0">
                    <a:pos x="420" y="1"/>
                  </a:cxn>
                  <a:cxn ang="0">
                    <a:pos x="430" y="6"/>
                  </a:cxn>
                  <a:cxn ang="0">
                    <a:pos x="480" y="149"/>
                  </a:cxn>
                  <a:cxn ang="0">
                    <a:pos x="479" y="156"/>
                  </a:cxn>
                  <a:cxn ang="0">
                    <a:pos x="440" y="212"/>
                  </a:cxn>
                  <a:cxn ang="0">
                    <a:pos x="437" y="214"/>
                  </a:cxn>
                  <a:cxn ang="0">
                    <a:pos x="261" y="313"/>
                  </a:cxn>
                  <a:cxn ang="0">
                    <a:pos x="259" y="314"/>
                  </a:cxn>
                  <a:cxn ang="0">
                    <a:pos x="11" y="384"/>
                  </a:cxn>
                  <a:cxn ang="0">
                    <a:pos x="255" y="298"/>
                  </a:cxn>
                  <a:cxn ang="0">
                    <a:pos x="253" y="299"/>
                  </a:cxn>
                  <a:cxn ang="0">
                    <a:pos x="430" y="200"/>
                  </a:cxn>
                  <a:cxn ang="0">
                    <a:pos x="427" y="203"/>
                  </a:cxn>
                  <a:cxn ang="0">
                    <a:pos x="466" y="147"/>
                  </a:cxn>
                  <a:cxn ang="0">
                    <a:pos x="465" y="154"/>
                  </a:cxn>
                  <a:cxn ang="0">
                    <a:pos x="415" y="11"/>
                  </a:cxn>
                  <a:cxn ang="0">
                    <a:pos x="424" y="16"/>
                  </a:cxn>
                  <a:cxn ang="0">
                    <a:pos x="270" y="56"/>
                  </a:cxn>
                  <a:cxn ang="0">
                    <a:pos x="275" y="53"/>
                  </a:cxn>
                  <a:cxn ang="0">
                    <a:pos x="151" y="212"/>
                  </a:cxn>
                  <a:cxn ang="0">
                    <a:pos x="115" y="260"/>
                  </a:cxn>
                  <a:cxn ang="0">
                    <a:pos x="116" y="251"/>
                  </a:cxn>
                  <a:cxn ang="0">
                    <a:pos x="138" y="292"/>
                  </a:cxn>
                  <a:cxn ang="0">
                    <a:pos x="135" y="303"/>
                  </a:cxn>
                  <a:cxn ang="0">
                    <a:pos x="13" y="383"/>
                  </a:cxn>
                  <a:cxn ang="0">
                    <a:pos x="6" y="369"/>
                  </a:cxn>
                  <a:cxn ang="0">
                    <a:pos x="255" y="298"/>
                  </a:cxn>
                </a:cxnLst>
                <a:rect l="0" t="0" r="r" b="b"/>
                <a:pathLst>
                  <a:path w="481" h="385">
                    <a:moveTo>
                      <a:pt x="11" y="384"/>
                    </a:moveTo>
                    <a:cubicBezTo>
                      <a:pt x="7" y="385"/>
                      <a:pt x="3" y="383"/>
                      <a:pt x="1" y="380"/>
                    </a:cubicBezTo>
                    <a:cubicBezTo>
                      <a:pt x="0" y="376"/>
                      <a:pt x="1" y="372"/>
                      <a:pt x="4" y="370"/>
                    </a:cubicBezTo>
                    <a:lnTo>
                      <a:pt x="126" y="289"/>
                    </a:lnTo>
                    <a:lnTo>
                      <a:pt x="124" y="300"/>
                    </a:lnTo>
                    <a:lnTo>
                      <a:pt x="101" y="259"/>
                    </a:lnTo>
                    <a:cubicBezTo>
                      <a:pt x="100" y="256"/>
                      <a:pt x="100" y="253"/>
                      <a:pt x="102" y="250"/>
                    </a:cubicBezTo>
                    <a:lnTo>
                      <a:pt x="138" y="202"/>
                    </a:lnTo>
                    <a:lnTo>
                      <a:pt x="262" y="43"/>
                    </a:lnTo>
                    <a:cubicBezTo>
                      <a:pt x="263" y="42"/>
                      <a:pt x="265" y="41"/>
                      <a:pt x="266" y="40"/>
                    </a:cubicBezTo>
                    <a:lnTo>
                      <a:pt x="420" y="1"/>
                    </a:lnTo>
                    <a:cubicBezTo>
                      <a:pt x="424" y="0"/>
                      <a:pt x="429" y="2"/>
                      <a:pt x="430" y="6"/>
                    </a:cubicBezTo>
                    <a:lnTo>
                      <a:pt x="480" y="149"/>
                    </a:lnTo>
                    <a:cubicBezTo>
                      <a:pt x="481" y="151"/>
                      <a:pt x="481" y="154"/>
                      <a:pt x="479" y="156"/>
                    </a:cubicBezTo>
                    <a:lnTo>
                      <a:pt x="440" y="212"/>
                    </a:lnTo>
                    <a:cubicBezTo>
                      <a:pt x="439" y="213"/>
                      <a:pt x="439" y="214"/>
                      <a:pt x="437" y="214"/>
                    </a:cubicBezTo>
                    <a:lnTo>
                      <a:pt x="261" y="313"/>
                    </a:lnTo>
                    <a:cubicBezTo>
                      <a:pt x="260" y="313"/>
                      <a:pt x="260" y="313"/>
                      <a:pt x="259" y="314"/>
                    </a:cubicBezTo>
                    <a:lnTo>
                      <a:pt x="11" y="384"/>
                    </a:lnTo>
                    <a:close/>
                    <a:moveTo>
                      <a:pt x="255" y="298"/>
                    </a:moveTo>
                    <a:lnTo>
                      <a:pt x="253" y="299"/>
                    </a:lnTo>
                    <a:lnTo>
                      <a:pt x="430" y="200"/>
                    </a:lnTo>
                    <a:lnTo>
                      <a:pt x="427" y="203"/>
                    </a:lnTo>
                    <a:lnTo>
                      <a:pt x="466" y="147"/>
                    </a:lnTo>
                    <a:lnTo>
                      <a:pt x="465" y="154"/>
                    </a:lnTo>
                    <a:lnTo>
                      <a:pt x="415" y="11"/>
                    </a:lnTo>
                    <a:lnTo>
                      <a:pt x="424" y="16"/>
                    </a:lnTo>
                    <a:lnTo>
                      <a:pt x="270" y="56"/>
                    </a:lnTo>
                    <a:lnTo>
                      <a:pt x="275" y="53"/>
                    </a:lnTo>
                    <a:lnTo>
                      <a:pt x="151" y="212"/>
                    </a:lnTo>
                    <a:lnTo>
                      <a:pt x="115" y="260"/>
                    </a:lnTo>
                    <a:lnTo>
                      <a:pt x="116" y="251"/>
                    </a:lnTo>
                    <a:lnTo>
                      <a:pt x="138" y="292"/>
                    </a:lnTo>
                    <a:cubicBezTo>
                      <a:pt x="140" y="296"/>
                      <a:pt x="139" y="300"/>
                      <a:pt x="135" y="303"/>
                    </a:cubicBezTo>
                    <a:lnTo>
                      <a:pt x="13" y="383"/>
                    </a:lnTo>
                    <a:lnTo>
                      <a:pt x="6" y="369"/>
                    </a:lnTo>
                    <a:lnTo>
                      <a:pt x="255" y="298"/>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99" name="Freeform 355"/>
              <p:cNvSpPr>
                <a:spLocks/>
              </p:cNvSpPr>
              <p:nvPr/>
            </p:nvSpPr>
            <p:spPr bwMode="auto">
              <a:xfrm>
                <a:off x="3335" y="1894"/>
                <a:ext cx="56" cy="62"/>
              </a:xfrm>
              <a:custGeom>
                <a:avLst/>
                <a:gdLst/>
                <a:ahLst/>
                <a:cxnLst>
                  <a:cxn ang="0">
                    <a:pos x="0" y="12"/>
                  </a:cxn>
                  <a:cxn ang="0">
                    <a:pos x="12" y="62"/>
                  </a:cxn>
                  <a:cxn ang="0">
                    <a:pos x="51" y="43"/>
                  </a:cxn>
                  <a:cxn ang="0">
                    <a:pos x="45" y="34"/>
                  </a:cxn>
                  <a:cxn ang="0">
                    <a:pos x="56" y="23"/>
                  </a:cxn>
                  <a:cxn ang="0">
                    <a:pos x="56" y="9"/>
                  </a:cxn>
                  <a:cxn ang="0">
                    <a:pos x="28" y="0"/>
                  </a:cxn>
                  <a:cxn ang="0">
                    <a:pos x="0" y="12"/>
                  </a:cxn>
                </a:cxnLst>
                <a:rect l="0" t="0" r="r" b="b"/>
                <a:pathLst>
                  <a:path w="56" h="62">
                    <a:moveTo>
                      <a:pt x="0" y="12"/>
                    </a:moveTo>
                    <a:lnTo>
                      <a:pt x="12" y="62"/>
                    </a:lnTo>
                    <a:lnTo>
                      <a:pt x="51" y="43"/>
                    </a:lnTo>
                    <a:lnTo>
                      <a:pt x="45" y="34"/>
                    </a:lnTo>
                    <a:lnTo>
                      <a:pt x="56" y="23"/>
                    </a:lnTo>
                    <a:lnTo>
                      <a:pt x="56" y="9"/>
                    </a:lnTo>
                    <a:lnTo>
                      <a:pt x="28" y="0"/>
                    </a:lnTo>
                    <a:lnTo>
                      <a:pt x="0" y="12"/>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00" name="Freeform 356"/>
              <p:cNvSpPr>
                <a:spLocks noEditPoints="1"/>
              </p:cNvSpPr>
              <p:nvPr/>
            </p:nvSpPr>
            <p:spPr bwMode="auto">
              <a:xfrm>
                <a:off x="3333" y="1892"/>
                <a:ext cx="60" cy="66"/>
              </a:xfrm>
              <a:custGeom>
                <a:avLst/>
                <a:gdLst/>
                <a:ahLst/>
                <a:cxnLst>
                  <a:cxn ang="0">
                    <a:pos x="12" y="70"/>
                  </a:cxn>
                  <a:cxn ang="0">
                    <a:pos x="16" y="62"/>
                  </a:cxn>
                  <a:cxn ang="0">
                    <a:pos x="58" y="279"/>
                  </a:cxn>
                  <a:cxn ang="0">
                    <a:pos x="46" y="274"/>
                  </a:cxn>
                  <a:cxn ang="0">
                    <a:pos x="181" y="192"/>
                  </a:cxn>
                  <a:cxn ang="0">
                    <a:pos x="178" y="203"/>
                  </a:cxn>
                  <a:cxn ang="0">
                    <a:pos x="154" y="162"/>
                  </a:cxn>
                  <a:cxn ang="0">
                    <a:pos x="154" y="153"/>
                  </a:cxn>
                  <a:cxn ang="0">
                    <a:pos x="194" y="105"/>
                  </a:cxn>
                  <a:cxn ang="0">
                    <a:pos x="192" y="110"/>
                  </a:cxn>
                  <a:cxn ang="0">
                    <a:pos x="192" y="48"/>
                  </a:cxn>
                  <a:cxn ang="0">
                    <a:pos x="197" y="56"/>
                  </a:cxn>
                  <a:cxn ang="0">
                    <a:pos x="101" y="16"/>
                  </a:cxn>
                  <a:cxn ang="0">
                    <a:pos x="108" y="15"/>
                  </a:cxn>
                  <a:cxn ang="0">
                    <a:pos x="12" y="70"/>
                  </a:cxn>
                  <a:cxn ang="0">
                    <a:pos x="100" y="2"/>
                  </a:cxn>
                  <a:cxn ang="0">
                    <a:pos x="107" y="1"/>
                  </a:cxn>
                  <a:cxn ang="0">
                    <a:pos x="204" y="41"/>
                  </a:cxn>
                  <a:cxn ang="0">
                    <a:pos x="208" y="48"/>
                  </a:cxn>
                  <a:cxn ang="0">
                    <a:pos x="208" y="110"/>
                  </a:cxn>
                  <a:cxn ang="0">
                    <a:pos x="207" y="115"/>
                  </a:cxn>
                  <a:cxn ang="0">
                    <a:pos x="167" y="163"/>
                  </a:cxn>
                  <a:cxn ang="0">
                    <a:pos x="167" y="154"/>
                  </a:cxn>
                  <a:cxn ang="0">
                    <a:pos x="192" y="195"/>
                  </a:cxn>
                  <a:cxn ang="0">
                    <a:pos x="189" y="206"/>
                  </a:cxn>
                  <a:cxn ang="0">
                    <a:pos x="54" y="287"/>
                  </a:cxn>
                  <a:cxn ang="0">
                    <a:pos x="47" y="288"/>
                  </a:cxn>
                  <a:cxn ang="0">
                    <a:pos x="42" y="282"/>
                  </a:cxn>
                  <a:cxn ang="0">
                    <a:pos x="1" y="65"/>
                  </a:cxn>
                  <a:cxn ang="0">
                    <a:pos x="4" y="56"/>
                  </a:cxn>
                  <a:cxn ang="0">
                    <a:pos x="100" y="2"/>
                  </a:cxn>
                </a:cxnLst>
                <a:rect l="0" t="0" r="r" b="b"/>
                <a:pathLst>
                  <a:path w="208" h="289">
                    <a:moveTo>
                      <a:pt x="12" y="70"/>
                    </a:moveTo>
                    <a:lnTo>
                      <a:pt x="16" y="62"/>
                    </a:lnTo>
                    <a:lnTo>
                      <a:pt x="58" y="279"/>
                    </a:lnTo>
                    <a:lnTo>
                      <a:pt x="46" y="274"/>
                    </a:lnTo>
                    <a:lnTo>
                      <a:pt x="181" y="192"/>
                    </a:lnTo>
                    <a:lnTo>
                      <a:pt x="178" y="203"/>
                    </a:lnTo>
                    <a:lnTo>
                      <a:pt x="154" y="162"/>
                    </a:lnTo>
                    <a:cubicBezTo>
                      <a:pt x="152" y="159"/>
                      <a:pt x="152" y="155"/>
                      <a:pt x="154" y="153"/>
                    </a:cubicBezTo>
                    <a:lnTo>
                      <a:pt x="194" y="105"/>
                    </a:lnTo>
                    <a:lnTo>
                      <a:pt x="192" y="110"/>
                    </a:lnTo>
                    <a:lnTo>
                      <a:pt x="192" y="48"/>
                    </a:lnTo>
                    <a:lnTo>
                      <a:pt x="197" y="56"/>
                    </a:lnTo>
                    <a:lnTo>
                      <a:pt x="101" y="16"/>
                    </a:lnTo>
                    <a:lnTo>
                      <a:pt x="108" y="15"/>
                    </a:lnTo>
                    <a:lnTo>
                      <a:pt x="12" y="70"/>
                    </a:lnTo>
                    <a:close/>
                    <a:moveTo>
                      <a:pt x="100" y="2"/>
                    </a:moveTo>
                    <a:cubicBezTo>
                      <a:pt x="102" y="0"/>
                      <a:pt x="104" y="0"/>
                      <a:pt x="107" y="1"/>
                    </a:cubicBezTo>
                    <a:lnTo>
                      <a:pt x="204" y="41"/>
                    </a:lnTo>
                    <a:cubicBezTo>
                      <a:pt x="207" y="42"/>
                      <a:pt x="208" y="45"/>
                      <a:pt x="208" y="48"/>
                    </a:cubicBezTo>
                    <a:lnTo>
                      <a:pt x="208" y="110"/>
                    </a:lnTo>
                    <a:cubicBezTo>
                      <a:pt x="208" y="112"/>
                      <a:pt x="208" y="113"/>
                      <a:pt x="207" y="115"/>
                    </a:cubicBezTo>
                    <a:lnTo>
                      <a:pt x="167" y="163"/>
                    </a:lnTo>
                    <a:lnTo>
                      <a:pt x="167" y="154"/>
                    </a:lnTo>
                    <a:lnTo>
                      <a:pt x="192" y="195"/>
                    </a:lnTo>
                    <a:cubicBezTo>
                      <a:pt x="194" y="199"/>
                      <a:pt x="193" y="204"/>
                      <a:pt x="189" y="206"/>
                    </a:cubicBezTo>
                    <a:lnTo>
                      <a:pt x="54" y="287"/>
                    </a:lnTo>
                    <a:cubicBezTo>
                      <a:pt x="52" y="289"/>
                      <a:pt x="49" y="289"/>
                      <a:pt x="47" y="288"/>
                    </a:cubicBezTo>
                    <a:cubicBezTo>
                      <a:pt x="44" y="287"/>
                      <a:pt x="43" y="285"/>
                      <a:pt x="42" y="282"/>
                    </a:cubicBezTo>
                    <a:lnTo>
                      <a:pt x="1" y="65"/>
                    </a:lnTo>
                    <a:cubicBezTo>
                      <a:pt x="0" y="61"/>
                      <a:pt x="2" y="58"/>
                      <a:pt x="4" y="56"/>
                    </a:cubicBezTo>
                    <a:lnTo>
                      <a:pt x="100" y="2"/>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01" name="Freeform 357"/>
              <p:cNvSpPr>
                <a:spLocks/>
              </p:cNvSpPr>
              <p:nvPr/>
            </p:nvSpPr>
            <p:spPr bwMode="auto">
              <a:xfrm>
                <a:off x="2931" y="1455"/>
                <a:ext cx="130" cy="98"/>
              </a:xfrm>
              <a:custGeom>
                <a:avLst/>
                <a:gdLst/>
                <a:ahLst/>
                <a:cxnLst>
                  <a:cxn ang="0">
                    <a:pos x="0" y="23"/>
                  </a:cxn>
                  <a:cxn ang="0">
                    <a:pos x="0" y="7"/>
                  </a:cxn>
                  <a:cxn ang="0">
                    <a:pos x="34" y="0"/>
                  </a:cxn>
                  <a:cxn ang="0">
                    <a:pos x="61" y="19"/>
                  </a:cxn>
                  <a:cxn ang="0">
                    <a:pos x="91" y="14"/>
                  </a:cxn>
                  <a:cxn ang="0">
                    <a:pos x="127" y="45"/>
                  </a:cxn>
                  <a:cxn ang="0">
                    <a:pos x="122" y="77"/>
                  </a:cxn>
                  <a:cxn ang="0">
                    <a:pos x="130" y="91"/>
                  </a:cxn>
                  <a:cxn ang="0">
                    <a:pos x="103" y="98"/>
                  </a:cxn>
                  <a:cxn ang="0">
                    <a:pos x="90" y="71"/>
                  </a:cxn>
                  <a:cxn ang="0">
                    <a:pos x="79" y="82"/>
                  </a:cxn>
                  <a:cxn ang="0">
                    <a:pos x="34" y="56"/>
                  </a:cxn>
                  <a:cxn ang="0">
                    <a:pos x="13" y="28"/>
                  </a:cxn>
                  <a:cxn ang="0">
                    <a:pos x="2" y="33"/>
                  </a:cxn>
                  <a:cxn ang="0">
                    <a:pos x="0" y="23"/>
                  </a:cxn>
                </a:cxnLst>
                <a:rect l="0" t="0" r="r" b="b"/>
                <a:pathLst>
                  <a:path w="130" h="98">
                    <a:moveTo>
                      <a:pt x="0" y="23"/>
                    </a:moveTo>
                    <a:lnTo>
                      <a:pt x="0" y="7"/>
                    </a:lnTo>
                    <a:lnTo>
                      <a:pt x="34" y="0"/>
                    </a:lnTo>
                    <a:lnTo>
                      <a:pt x="61" y="19"/>
                    </a:lnTo>
                    <a:lnTo>
                      <a:pt x="91" y="14"/>
                    </a:lnTo>
                    <a:lnTo>
                      <a:pt x="127" y="45"/>
                    </a:lnTo>
                    <a:lnTo>
                      <a:pt x="122" y="77"/>
                    </a:lnTo>
                    <a:lnTo>
                      <a:pt x="130" y="91"/>
                    </a:lnTo>
                    <a:lnTo>
                      <a:pt x="103" y="98"/>
                    </a:lnTo>
                    <a:lnTo>
                      <a:pt x="90" y="71"/>
                    </a:lnTo>
                    <a:lnTo>
                      <a:pt x="79" y="82"/>
                    </a:lnTo>
                    <a:lnTo>
                      <a:pt x="34" y="56"/>
                    </a:lnTo>
                    <a:lnTo>
                      <a:pt x="13" y="28"/>
                    </a:lnTo>
                    <a:lnTo>
                      <a:pt x="2" y="33"/>
                    </a:lnTo>
                    <a:lnTo>
                      <a:pt x="0" y="23"/>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02" name="Freeform 358"/>
              <p:cNvSpPr>
                <a:spLocks noEditPoints="1"/>
              </p:cNvSpPr>
              <p:nvPr/>
            </p:nvSpPr>
            <p:spPr bwMode="auto">
              <a:xfrm>
                <a:off x="2929" y="1453"/>
                <a:ext cx="135" cy="102"/>
              </a:xfrm>
              <a:custGeom>
                <a:avLst/>
                <a:gdLst/>
                <a:ahLst/>
                <a:cxnLst>
                  <a:cxn ang="0">
                    <a:pos x="0" y="111"/>
                  </a:cxn>
                  <a:cxn ang="0">
                    <a:pos x="0" y="41"/>
                  </a:cxn>
                  <a:cxn ang="0">
                    <a:pos x="6" y="33"/>
                  </a:cxn>
                  <a:cxn ang="0">
                    <a:pos x="122" y="1"/>
                  </a:cxn>
                  <a:cxn ang="0">
                    <a:pos x="130" y="3"/>
                  </a:cxn>
                  <a:cxn ang="0">
                    <a:pos x="222" y="87"/>
                  </a:cxn>
                  <a:cxn ang="0">
                    <a:pos x="215" y="85"/>
                  </a:cxn>
                  <a:cxn ang="0">
                    <a:pos x="320" y="62"/>
                  </a:cxn>
                  <a:cxn ang="0">
                    <a:pos x="327" y="64"/>
                  </a:cxn>
                  <a:cxn ang="0">
                    <a:pos x="450" y="200"/>
                  </a:cxn>
                  <a:cxn ang="0">
                    <a:pos x="452" y="206"/>
                  </a:cxn>
                  <a:cxn ang="0">
                    <a:pos x="435" y="348"/>
                  </a:cxn>
                  <a:cxn ang="0">
                    <a:pos x="435" y="344"/>
                  </a:cxn>
                  <a:cxn ang="0">
                    <a:pos x="464" y="405"/>
                  </a:cxn>
                  <a:cxn ang="0">
                    <a:pos x="464" y="411"/>
                  </a:cxn>
                  <a:cxn ang="0">
                    <a:pos x="459" y="416"/>
                  </a:cxn>
                  <a:cxn ang="0">
                    <a:pos x="364" y="448"/>
                  </a:cxn>
                  <a:cxn ang="0">
                    <a:pos x="354" y="443"/>
                  </a:cxn>
                  <a:cxn ang="0">
                    <a:pos x="310" y="325"/>
                  </a:cxn>
                  <a:cxn ang="0">
                    <a:pos x="323" y="327"/>
                  </a:cxn>
                  <a:cxn ang="0">
                    <a:pos x="285" y="374"/>
                  </a:cxn>
                  <a:cxn ang="0">
                    <a:pos x="274" y="376"/>
                  </a:cxn>
                  <a:cxn ang="0">
                    <a:pos x="119" y="261"/>
                  </a:cxn>
                  <a:cxn ang="0">
                    <a:pos x="117" y="258"/>
                  </a:cxn>
                  <a:cxn ang="0">
                    <a:pos x="43" y="135"/>
                  </a:cxn>
                  <a:cxn ang="0">
                    <a:pos x="54" y="137"/>
                  </a:cxn>
                  <a:cxn ang="0">
                    <a:pos x="17" y="162"/>
                  </a:cxn>
                  <a:cxn ang="0">
                    <a:pos x="9" y="163"/>
                  </a:cxn>
                  <a:cxn ang="0">
                    <a:pos x="5" y="157"/>
                  </a:cxn>
                  <a:cxn ang="0">
                    <a:pos x="0" y="111"/>
                  </a:cxn>
                  <a:cxn ang="0">
                    <a:pos x="21" y="155"/>
                  </a:cxn>
                  <a:cxn ang="0">
                    <a:pos x="8" y="149"/>
                  </a:cxn>
                  <a:cxn ang="0">
                    <a:pos x="45" y="124"/>
                  </a:cxn>
                  <a:cxn ang="0">
                    <a:pos x="52" y="123"/>
                  </a:cxn>
                  <a:cxn ang="0">
                    <a:pos x="57" y="126"/>
                  </a:cxn>
                  <a:cxn ang="0">
                    <a:pos x="131" y="250"/>
                  </a:cxn>
                  <a:cxn ang="0">
                    <a:pos x="129" y="248"/>
                  </a:cxn>
                  <a:cxn ang="0">
                    <a:pos x="283" y="363"/>
                  </a:cxn>
                  <a:cxn ang="0">
                    <a:pos x="272" y="364"/>
                  </a:cxn>
                  <a:cxn ang="0">
                    <a:pos x="311" y="317"/>
                  </a:cxn>
                  <a:cxn ang="0">
                    <a:pos x="319" y="314"/>
                  </a:cxn>
                  <a:cxn ang="0">
                    <a:pos x="325" y="319"/>
                  </a:cxn>
                  <a:cxn ang="0">
                    <a:pos x="369" y="438"/>
                  </a:cxn>
                  <a:cxn ang="0">
                    <a:pos x="359" y="433"/>
                  </a:cxn>
                  <a:cxn ang="0">
                    <a:pos x="454" y="401"/>
                  </a:cxn>
                  <a:cxn ang="0">
                    <a:pos x="449" y="412"/>
                  </a:cxn>
                  <a:cxn ang="0">
                    <a:pos x="420" y="351"/>
                  </a:cxn>
                  <a:cxn ang="0">
                    <a:pos x="420" y="346"/>
                  </a:cxn>
                  <a:cxn ang="0">
                    <a:pos x="436" y="204"/>
                  </a:cxn>
                  <a:cxn ang="0">
                    <a:pos x="438" y="210"/>
                  </a:cxn>
                  <a:cxn ang="0">
                    <a:pos x="315" y="75"/>
                  </a:cxn>
                  <a:cxn ang="0">
                    <a:pos x="323" y="77"/>
                  </a:cxn>
                  <a:cxn ang="0">
                    <a:pos x="218" y="101"/>
                  </a:cxn>
                  <a:cxn ang="0">
                    <a:pos x="211" y="99"/>
                  </a:cxn>
                  <a:cxn ang="0">
                    <a:pos x="119" y="14"/>
                  </a:cxn>
                  <a:cxn ang="0">
                    <a:pos x="126" y="16"/>
                  </a:cxn>
                  <a:cxn ang="0">
                    <a:pos x="11" y="48"/>
                  </a:cxn>
                  <a:cxn ang="0">
                    <a:pos x="16" y="41"/>
                  </a:cxn>
                  <a:cxn ang="0">
                    <a:pos x="16" y="109"/>
                  </a:cxn>
                  <a:cxn ang="0">
                    <a:pos x="21" y="155"/>
                  </a:cxn>
                </a:cxnLst>
                <a:rect l="0" t="0" r="r" b="b"/>
                <a:pathLst>
                  <a:path w="465" h="449">
                    <a:moveTo>
                      <a:pt x="0" y="111"/>
                    </a:moveTo>
                    <a:lnTo>
                      <a:pt x="0" y="41"/>
                    </a:lnTo>
                    <a:cubicBezTo>
                      <a:pt x="0" y="37"/>
                      <a:pt x="3" y="34"/>
                      <a:pt x="6" y="33"/>
                    </a:cubicBezTo>
                    <a:lnTo>
                      <a:pt x="122" y="1"/>
                    </a:lnTo>
                    <a:cubicBezTo>
                      <a:pt x="125" y="0"/>
                      <a:pt x="128" y="1"/>
                      <a:pt x="130" y="3"/>
                    </a:cubicBezTo>
                    <a:lnTo>
                      <a:pt x="222" y="87"/>
                    </a:lnTo>
                    <a:lnTo>
                      <a:pt x="215" y="85"/>
                    </a:lnTo>
                    <a:lnTo>
                      <a:pt x="320" y="62"/>
                    </a:lnTo>
                    <a:cubicBezTo>
                      <a:pt x="322" y="61"/>
                      <a:pt x="325" y="62"/>
                      <a:pt x="327" y="64"/>
                    </a:cubicBezTo>
                    <a:lnTo>
                      <a:pt x="450" y="200"/>
                    </a:lnTo>
                    <a:cubicBezTo>
                      <a:pt x="452" y="201"/>
                      <a:pt x="452" y="204"/>
                      <a:pt x="452" y="206"/>
                    </a:cubicBezTo>
                    <a:lnTo>
                      <a:pt x="435" y="348"/>
                    </a:lnTo>
                    <a:lnTo>
                      <a:pt x="435" y="344"/>
                    </a:lnTo>
                    <a:lnTo>
                      <a:pt x="464" y="405"/>
                    </a:lnTo>
                    <a:cubicBezTo>
                      <a:pt x="465" y="407"/>
                      <a:pt x="465" y="409"/>
                      <a:pt x="464" y="411"/>
                    </a:cubicBezTo>
                    <a:cubicBezTo>
                      <a:pt x="463" y="414"/>
                      <a:pt x="461" y="415"/>
                      <a:pt x="459" y="416"/>
                    </a:cubicBezTo>
                    <a:lnTo>
                      <a:pt x="364" y="448"/>
                    </a:lnTo>
                    <a:cubicBezTo>
                      <a:pt x="360" y="449"/>
                      <a:pt x="355" y="447"/>
                      <a:pt x="354" y="443"/>
                    </a:cubicBezTo>
                    <a:lnTo>
                      <a:pt x="310" y="325"/>
                    </a:lnTo>
                    <a:lnTo>
                      <a:pt x="323" y="327"/>
                    </a:lnTo>
                    <a:lnTo>
                      <a:pt x="285" y="374"/>
                    </a:lnTo>
                    <a:cubicBezTo>
                      <a:pt x="282" y="378"/>
                      <a:pt x="277" y="378"/>
                      <a:pt x="274" y="376"/>
                    </a:cubicBezTo>
                    <a:lnTo>
                      <a:pt x="119" y="261"/>
                    </a:lnTo>
                    <a:cubicBezTo>
                      <a:pt x="119" y="260"/>
                      <a:pt x="118" y="259"/>
                      <a:pt x="117" y="258"/>
                    </a:cubicBezTo>
                    <a:lnTo>
                      <a:pt x="43" y="135"/>
                    </a:lnTo>
                    <a:lnTo>
                      <a:pt x="54" y="137"/>
                    </a:lnTo>
                    <a:lnTo>
                      <a:pt x="17" y="162"/>
                    </a:lnTo>
                    <a:cubicBezTo>
                      <a:pt x="15" y="164"/>
                      <a:pt x="12" y="164"/>
                      <a:pt x="9" y="163"/>
                    </a:cubicBezTo>
                    <a:cubicBezTo>
                      <a:pt x="7" y="162"/>
                      <a:pt x="5" y="159"/>
                      <a:pt x="5" y="157"/>
                    </a:cubicBezTo>
                    <a:lnTo>
                      <a:pt x="0" y="111"/>
                    </a:lnTo>
                    <a:close/>
                    <a:moveTo>
                      <a:pt x="21" y="155"/>
                    </a:moveTo>
                    <a:lnTo>
                      <a:pt x="8" y="149"/>
                    </a:lnTo>
                    <a:lnTo>
                      <a:pt x="45" y="124"/>
                    </a:lnTo>
                    <a:cubicBezTo>
                      <a:pt x="47" y="123"/>
                      <a:pt x="49" y="122"/>
                      <a:pt x="52" y="123"/>
                    </a:cubicBezTo>
                    <a:cubicBezTo>
                      <a:pt x="54" y="123"/>
                      <a:pt x="56" y="124"/>
                      <a:pt x="57" y="126"/>
                    </a:cubicBezTo>
                    <a:lnTo>
                      <a:pt x="131" y="250"/>
                    </a:lnTo>
                    <a:lnTo>
                      <a:pt x="129" y="248"/>
                    </a:lnTo>
                    <a:lnTo>
                      <a:pt x="283" y="363"/>
                    </a:lnTo>
                    <a:lnTo>
                      <a:pt x="272" y="364"/>
                    </a:lnTo>
                    <a:lnTo>
                      <a:pt x="311" y="317"/>
                    </a:lnTo>
                    <a:cubicBezTo>
                      <a:pt x="313" y="315"/>
                      <a:pt x="316" y="314"/>
                      <a:pt x="319" y="314"/>
                    </a:cubicBezTo>
                    <a:cubicBezTo>
                      <a:pt x="321" y="314"/>
                      <a:pt x="324" y="316"/>
                      <a:pt x="325" y="319"/>
                    </a:cubicBezTo>
                    <a:lnTo>
                      <a:pt x="369" y="438"/>
                    </a:lnTo>
                    <a:lnTo>
                      <a:pt x="359" y="433"/>
                    </a:lnTo>
                    <a:lnTo>
                      <a:pt x="454" y="401"/>
                    </a:lnTo>
                    <a:lnTo>
                      <a:pt x="449" y="412"/>
                    </a:lnTo>
                    <a:lnTo>
                      <a:pt x="420" y="351"/>
                    </a:lnTo>
                    <a:cubicBezTo>
                      <a:pt x="420" y="349"/>
                      <a:pt x="419" y="348"/>
                      <a:pt x="420" y="346"/>
                    </a:cubicBezTo>
                    <a:lnTo>
                      <a:pt x="436" y="204"/>
                    </a:lnTo>
                    <a:lnTo>
                      <a:pt x="438" y="210"/>
                    </a:lnTo>
                    <a:lnTo>
                      <a:pt x="315" y="75"/>
                    </a:lnTo>
                    <a:lnTo>
                      <a:pt x="323" y="77"/>
                    </a:lnTo>
                    <a:lnTo>
                      <a:pt x="218" y="101"/>
                    </a:lnTo>
                    <a:cubicBezTo>
                      <a:pt x="216" y="102"/>
                      <a:pt x="213" y="101"/>
                      <a:pt x="211" y="99"/>
                    </a:cubicBezTo>
                    <a:lnTo>
                      <a:pt x="119" y="14"/>
                    </a:lnTo>
                    <a:lnTo>
                      <a:pt x="126" y="16"/>
                    </a:lnTo>
                    <a:lnTo>
                      <a:pt x="11" y="48"/>
                    </a:lnTo>
                    <a:lnTo>
                      <a:pt x="16" y="41"/>
                    </a:lnTo>
                    <a:lnTo>
                      <a:pt x="16" y="109"/>
                    </a:lnTo>
                    <a:lnTo>
                      <a:pt x="21" y="155"/>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03" name="Freeform 359"/>
              <p:cNvSpPr>
                <a:spLocks/>
              </p:cNvSpPr>
              <p:nvPr/>
            </p:nvSpPr>
            <p:spPr bwMode="auto">
              <a:xfrm>
                <a:off x="2904" y="2201"/>
                <a:ext cx="176" cy="161"/>
              </a:xfrm>
              <a:custGeom>
                <a:avLst/>
                <a:gdLst/>
                <a:ahLst/>
                <a:cxnLst>
                  <a:cxn ang="0">
                    <a:pos x="0" y="151"/>
                  </a:cxn>
                  <a:cxn ang="0">
                    <a:pos x="23" y="146"/>
                  </a:cxn>
                  <a:cxn ang="0">
                    <a:pos x="136" y="161"/>
                  </a:cxn>
                  <a:cxn ang="0">
                    <a:pos x="162" y="154"/>
                  </a:cxn>
                  <a:cxn ang="0">
                    <a:pos x="145" y="142"/>
                  </a:cxn>
                  <a:cxn ang="0">
                    <a:pos x="145" y="93"/>
                  </a:cxn>
                  <a:cxn ang="0">
                    <a:pos x="176" y="93"/>
                  </a:cxn>
                  <a:cxn ang="0">
                    <a:pos x="174" y="66"/>
                  </a:cxn>
                  <a:cxn ang="0">
                    <a:pos x="145" y="69"/>
                  </a:cxn>
                  <a:cxn ang="0">
                    <a:pos x="142" y="23"/>
                  </a:cxn>
                  <a:cxn ang="0">
                    <a:pos x="129" y="14"/>
                  </a:cxn>
                  <a:cxn ang="0">
                    <a:pos x="111" y="15"/>
                  </a:cxn>
                  <a:cxn ang="0">
                    <a:pos x="107" y="28"/>
                  </a:cxn>
                  <a:cxn ang="0">
                    <a:pos x="87" y="30"/>
                  </a:cxn>
                  <a:cxn ang="0">
                    <a:pos x="64" y="0"/>
                  </a:cxn>
                  <a:cxn ang="0">
                    <a:pos x="11" y="6"/>
                  </a:cxn>
                  <a:cxn ang="0">
                    <a:pos x="30" y="68"/>
                  </a:cxn>
                  <a:cxn ang="0">
                    <a:pos x="0" y="151"/>
                  </a:cxn>
                </a:cxnLst>
                <a:rect l="0" t="0" r="r" b="b"/>
                <a:pathLst>
                  <a:path w="176" h="161">
                    <a:moveTo>
                      <a:pt x="0" y="151"/>
                    </a:moveTo>
                    <a:lnTo>
                      <a:pt x="23" y="146"/>
                    </a:lnTo>
                    <a:lnTo>
                      <a:pt x="136" y="161"/>
                    </a:lnTo>
                    <a:lnTo>
                      <a:pt x="162" y="154"/>
                    </a:lnTo>
                    <a:lnTo>
                      <a:pt x="145" y="142"/>
                    </a:lnTo>
                    <a:lnTo>
                      <a:pt x="145" y="93"/>
                    </a:lnTo>
                    <a:lnTo>
                      <a:pt x="176" y="93"/>
                    </a:lnTo>
                    <a:lnTo>
                      <a:pt x="174" y="66"/>
                    </a:lnTo>
                    <a:lnTo>
                      <a:pt x="145" y="69"/>
                    </a:lnTo>
                    <a:lnTo>
                      <a:pt x="142" y="23"/>
                    </a:lnTo>
                    <a:lnTo>
                      <a:pt x="129" y="14"/>
                    </a:lnTo>
                    <a:lnTo>
                      <a:pt x="111" y="15"/>
                    </a:lnTo>
                    <a:lnTo>
                      <a:pt x="107" y="28"/>
                    </a:lnTo>
                    <a:lnTo>
                      <a:pt x="87" y="30"/>
                    </a:lnTo>
                    <a:lnTo>
                      <a:pt x="64" y="0"/>
                    </a:lnTo>
                    <a:lnTo>
                      <a:pt x="11" y="6"/>
                    </a:lnTo>
                    <a:lnTo>
                      <a:pt x="30" y="68"/>
                    </a:lnTo>
                    <a:lnTo>
                      <a:pt x="0" y="15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04" name="Freeform 360"/>
              <p:cNvSpPr>
                <a:spLocks noEditPoints="1"/>
              </p:cNvSpPr>
              <p:nvPr/>
            </p:nvSpPr>
            <p:spPr bwMode="auto">
              <a:xfrm>
                <a:off x="2901" y="2199"/>
                <a:ext cx="182" cy="165"/>
              </a:xfrm>
              <a:custGeom>
                <a:avLst/>
                <a:gdLst/>
                <a:ahLst/>
                <a:cxnLst>
                  <a:cxn ang="0">
                    <a:pos x="6" y="660"/>
                  </a:cxn>
                  <a:cxn ang="0">
                    <a:pos x="90" y="637"/>
                  </a:cxn>
                  <a:cxn ang="0">
                    <a:pos x="477" y="705"/>
                  </a:cxn>
                  <a:cxn ang="0">
                    <a:pos x="564" y="689"/>
                  </a:cxn>
                  <a:cxn ang="0">
                    <a:pos x="502" y="629"/>
                  </a:cxn>
                  <a:cxn ang="0">
                    <a:pos x="510" y="407"/>
                  </a:cxn>
                  <a:cxn ang="0">
                    <a:pos x="608" y="416"/>
                  </a:cxn>
                  <a:cxn ang="0">
                    <a:pos x="609" y="305"/>
                  </a:cxn>
                  <a:cxn ang="0">
                    <a:pos x="505" y="315"/>
                  </a:cxn>
                  <a:cxn ang="0">
                    <a:pos x="492" y="107"/>
                  </a:cxn>
                  <a:cxn ang="0">
                    <a:pos x="449" y="75"/>
                  </a:cxn>
                  <a:cxn ang="0">
                    <a:pos x="394" y="80"/>
                  </a:cxn>
                  <a:cxn ang="0">
                    <a:pos x="386" y="135"/>
                  </a:cxn>
                  <a:cxn ang="0">
                    <a:pos x="311" y="148"/>
                  </a:cxn>
                  <a:cxn ang="0">
                    <a:pos x="223" y="13"/>
                  </a:cxn>
                  <a:cxn ang="0">
                    <a:pos x="48" y="44"/>
                  </a:cxn>
                  <a:cxn ang="0">
                    <a:pos x="121" y="302"/>
                  </a:cxn>
                  <a:cxn ang="0">
                    <a:pos x="16" y="670"/>
                  </a:cxn>
                  <a:cxn ang="0">
                    <a:pos x="106" y="306"/>
                  </a:cxn>
                  <a:cxn ang="0">
                    <a:pos x="41" y="32"/>
                  </a:cxn>
                  <a:cxn ang="0">
                    <a:pos x="229" y="1"/>
                  </a:cxn>
                  <a:cxn ang="0">
                    <a:pos x="317" y="136"/>
                  </a:cxn>
                  <a:cxn ang="0">
                    <a:pos x="377" y="125"/>
                  </a:cxn>
                  <a:cxn ang="0">
                    <a:pos x="386" y="71"/>
                  </a:cxn>
                  <a:cxn ang="0">
                    <a:pos x="454" y="61"/>
                  </a:cxn>
                  <a:cxn ang="0">
                    <a:pos x="505" y="101"/>
                  </a:cxn>
                  <a:cxn ang="0">
                    <a:pos x="518" y="308"/>
                  </a:cxn>
                  <a:cxn ang="0">
                    <a:pos x="607" y="289"/>
                  </a:cxn>
                  <a:cxn ang="0">
                    <a:pos x="616" y="297"/>
                  </a:cxn>
                  <a:cxn ang="0">
                    <a:pos x="622" y="421"/>
                  </a:cxn>
                  <a:cxn ang="0">
                    <a:pos x="510" y="423"/>
                  </a:cxn>
                  <a:cxn ang="0">
                    <a:pos x="518" y="629"/>
                  </a:cxn>
                  <a:cxn ang="0">
                    <a:pos x="575" y="677"/>
                  </a:cxn>
                  <a:cxn ang="0">
                    <a:pos x="572" y="691"/>
                  </a:cxn>
                  <a:cxn ang="0">
                    <a:pos x="478" y="720"/>
                  </a:cxn>
                  <a:cxn ang="0">
                    <a:pos x="91" y="653"/>
                  </a:cxn>
                  <a:cxn ang="0">
                    <a:pos x="3" y="674"/>
                  </a:cxn>
                  <a:cxn ang="0">
                    <a:pos x="106" y="302"/>
                  </a:cxn>
                </a:cxnLst>
                <a:rect l="0" t="0" r="r" b="b"/>
                <a:pathLst>
                  <a:path w="625" h="721">
                    <a:moveTo>
                      <a:pt x="16" y="670"/>
                    </a:moveTo>
                    <a:lnTo>
                      <a:pt x="6" y="660"/>
                    </a:lnTo>
                    <a:lnTo>
                      <a:pt x="87" y="637"/>
                    </a:lnTo>
                    <a:cubicBezTo>
                      <a:pt x="88" y="637"/>
                      <a:pt x="89" y="637"/>
                      <a:pt x="90" y="637"/>
                    </a:cubicBezTo>
                    <a:lnTo>
                      <a:pt x="481" y="705"/>
                    </a:lnTo>
                    <a:lnTo>
                      <a:pt x="477" y="705"/>
                    </a:lnTo>
                    <a:lnTo>
                      <a:pt x="567" y="675"/>
                    </a:lnTo>
                    <a:lnTo>
                      <a:pt x="564" y="689"/>
                    </a:lnTo>
                    <a:lnTo>
                      <a:pt x="504" y="635"/>
                    </a:lnTo>
                    <a:cubicBezTo>
                      <a:pt x="503" y="633"/>
                      <a:pt x="502" y="631"/>
                      <a:pt x="502" y="629"/>
                    </a:cubicBezTo>
                    <a:lnTo>
                      <a:pt x="502" y="415"/>
                    </a:lnTo>
                    <a:cubicBezTo>
                      <a:pt x="502" y="411"/>
                      <a:pt x="505" y="407"/>
                      <a:pt x="510" y="407"/>
                    </a:cubicBezTo>
                    <a:lnTo>
                      <a:pt x="616" y="407"/>
                    </a:lnTo>
                    <a:lnTo>
                      <a:pt x="608" y="416"/>
                    </a:lnTo>
                    <a:lnTo>
                      <a:pt x="600" y="298"/>
                    </a:lnTo>
                    <a:lnTo>
                      <a:pt x="609" y="305"/>
                    </a:lnTo>
                    <a:lnTo>
                      <a:pt x="511" y="317"/>
                    </a:lnTo>
                    <a:cubicBezTo>
                      <a:pt x="509" y="317"/>
                      <a:pt x="506" y="316"/>
                      <a:pt x="505" y="315"/>
                    </a:cubicBezTo>
                    <a:cubicBezTo>
                      <a:pt x="503" y="313"/>
                      <a:pt x="502" y="311"/>
                      <a:pt x="502" y="309"/>
                    </a:cubicBezTo>
                    <a:lnTo>
                      <a:pt x="492" y="107"/>
                    </a:lnTo>
                    <a:lnTo>
                      <a:pt x="495" y="113"/>
                    </a:lnTo>
                    <a:lnTo>
                      <a:pt x="449" y="75"/>
                    </a:lnTo>
                    <a:lnTo>
                      <a:pt x="455" y="77"/>
                    </a:lnTo>
                    <a:lnTo>
                      <a:pt x="394" y="80"/>
                    </a:lnTo>
                    <a:lnTo>
                      <a:pt x="401" y="74"/>
                    </a:lnTo>
                    <a:lnTo>
                      <a:pt x="386" y="135"/>
                    </a:lnTo>
                    <a:cubicBezTo>
                      <a:pt x="385" y="138"/>
                      <a:pt x="382" y="141"/>
                      <a:pt x="379" y="141"/>
                    </a:cubicBezTo>
                    <a:lnTo>
                      <a:pt x="311" y="148"/>
                    </a:lnTo>
                    <a:cubicBezTo>
                      <a:pt x="308" y="148"/>
                      <a:pt x="305" y="147"/>
                      <a:pt x="304" y="144"/>
                    </a:cubicBezTo>
                    <a:lnTo>
                      <a:pt x="223" y="13"/>
                    </a:lnTo>
                    <a:lnTo>
                      <a:pt x="231" y="16"/>
                    </a:lnTo>
                    <a:lnTo>
                      <a:pt x="48" y="44"/>
                    </a:lnTo>
                    <a:lnTo>
                      <a:pt x="55" y="34"/>
                    </a:lnTo>
                    <a:lnTo>
                      <a:pt x="121" y="302"/>
                    </a:lnTo>
                    <a:cubicBezTo>
                      <a:pt x="122" y="303"/>
                      <a:pt x="122" y="305"/>
                      <a:pt x="121" y="306"/>
                    </a:cubicBezTo>
                    <a:lnTo>
                      <a:pt x="16" y="670"/>
                    </a:lnTo>
                    <a:close/>
                    <a:moveTo>
                      <a:pt x="106" y="302"/>
                    </a:moveTo>
                    <a:lnTo>
                      <a:pt x="106" y="306"/>
                    </a:lnTo>
                    <a:lnTo>
                      <a:pt x="39" y="38"/>
                    </a:lnTo>
                    <a:cubicBezTo>
                      <a:pt x="39" y="36"/>
                      <a:pt x="39" y="34"/>
                      <a:pt x="41" y="32"/>
                    </a:cubicBezTo>
                    <a:cubicBezTo>
                      <a:pt x="42" y="30"/>
                      <a:pt x="44" y="29"/>
                      <a:pt x="46" y="28"/>
                    </a:cubicBezTo>
                    <a:lnTo>
                      <a:pt x="229" y="1"/>
                    </a:lnTo>
                    <a:cubicBezTo>
                      <a:pt x="232" y="0"/>
                      <a:pt x="235" y="2"/>
                      <a:pt x="237" y="4"/>
                    </a:cubicBezTo>
                    <a:lnTo>
                      <a:pt x="317" y="136"/>
                    </a:lnTo>
                    <a:lnTo>
                      <a:pt x="310" y="132"/>
                    </a:lnTo>
                    <a:lnTo>
                      <a:pt x="377" y="125"/>
                    </a:lnTo>
                    <a:lnTo>
                      <a:pt x="370" y="131"/>
                    </a:lnTo>
                    <a:lnTo>
                      <a:pt x="386" y="71"/>
                    </a:lnTo>
                    <a:cubicBezTo>
                      <a:pt x="387" y="67"/>
                      <a:pt x="390" y="65"/>
                      <a:pt x="393" y="64"/>
                    </a:cubicBezTo>
                    <a:lnTo>
                      <a:pt x="454" y="61"/>
                    </a:lnTo>
                    <a:cubicBezTo>
                      <a:pt x="456" y="61"/>
                      <a:pt x="458" y="62"/>
                      <a:pt x="460" y="63"/>
                    </a:cubicBezTo>
                    <a:lnTo>
                      <a:pt x="505" y="101"/>
                    </a:lnTo>
                    <a:cubicBezTo>
                      <a:pt x="507" y="102"/>
                      <a:pt x="508" y="104"/>
                      <a:pt x="508" y="107"/>
                    </a:cubicBezTo>
                    <a:lnTo>
                      <a:pt x="518" y="308"/>
                    </a:lnTo>
                    <a:lnTo>
                      <a:pt x="509" y="301"/>
                    </a:lnTo>
                    <a:lnTo>
                      <a:pt x="607" y="289"/>
                    </a:lnTo>
                    <a:cubicBezTo>
                      <a:pt x="609" y="289"/>
                      <a:pt x="612" y="290"/>
                      <a:pt x="613" y="291"/>
                    </a:cubicBezTo>
                    <a:cubicBezTo>
                      <a:pt x="615" y="293"/>
                      <a:pt x="616" y="295"/>
                      <a:pt x="616" y="297"/>
                    </a:cubicBezTo>
                    <a:lnTo>
                      <a:pt x="624" y="415"/>
                    </a:lnTo>
                    <a:cubicBezTo>
                      <a:pt x="625" y="417"/>
                      <a:pt x="624" y="419"/>
                      <a:pt x="622" y="421"/>
                    </a:cubicBezTo>
                    <a:cubicBezTo>
                      <a:pt x="621" y="423"/>
                      <a:pt x="619" y="423"/>
                      <a:pt x="616" y="423"/>
                    </a:cubicBezTo>
                    <a:lnTo>
                      <a:pt x="510" y="423"/>
                    </a:lnTo>
                    <a:lnTo>
                      <a:pt x="518" y="415"/>
                    </a:lnTo>
                    <a:lnTo>
                      <a:pt x="518" y="629"/>
                    </a:lnTo>
                    <a:lnTo>
                      <a:pt x="515" y="623"/>
                    </a:lnTo>
                    <a:lnTo>
                      <a:pt x="575" y="677"/>
                    </a:lnTo>
                    <a:cubicBezTo>
                      <a:pt x="577" y="679"/>
                      <a:pt x="578" y="682"/>
                      <a:pt x="577" y="685"/>
                    </a:cubicBezTo>
                    <a:cubicBezTo>
                      <a:pt x="577" y="687"/>
                      <a:pt x="575" y="690"/>
                      <a:pt x="572" y="691"/>
                    </a:cubicBezTo>
                    <a:lnTo>
                      <a:pt x="482" y="720"/>
                    </a:lnTo>
                    <a:cubicBezTo>
                      <a:pt x="481" y="720"/>
                      <a:pt x="479" y="721"/>
                      <a:pt x="478" y="720"/>
                    </a:cubicBezTo>
                    <a:lnTo>
                      <a:pt x="87" y="653"/>
                    </a:lnTo>
                    <a:lnTo>
                      <a:pt x="91" y="653"/>
                    </a:lnTo>
                    <a:lnTo>
                      <a:pt x="11" y="676"/>
                    </a:lnTo>
                    <a:cubicBezTo>
                      <a:pt x="8" y="677"/>
                      <a:pt x="5" y="676"/>
                      <a:pt x="3" y="674"/>
                    </a:cubicBezTo>
                    <a:cubicBezTo>
                      <a:pt x="1" y="672"/>
                      <a:pt x="0" y="669"/>
                      <a:pt x="1" y="666"/>
                    </a:cubicBezTo>
                    <a:lnTo>
                      <a:pt x="106" y="302"/>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05" name="Freeform 361"/>
              <p:cNvSpPr>
                <a:spLocks/>
              </p:cNvSpPr>
              <p:nvPr/>
            </p:nvSpPr>
            <p:spPr bwMode="auto">
              <a:xfrm>
                <a:off x="2908" y="2186"/>
                <a:ext cx="14" cy="15"/>
              </a:xfrm>
              <a:custGeom>
                <a:avLst/>
                <a:gdLst/>
                <a:ahLst/>
                <a:cxnLst>
                  <a:cxn ang="0">
                    <a:pos x="0" y="5"/>
                  </a:cxn>
                  <a:cxn ang="0">
                    <a:pos x="5" y="15"/>
                  </a:cxn>
                  <a:cxn ang="0">
                    <a:pos x="14" y="0"/>
                  </a:cxn>
                  <a:cxn ang="0">
                    <a:pos x="0" y="5"/>
                  </a:cxn>
                </a:cxnLst>
                <a:rect l="0" t="0" r="r" b="b"/>
                <a:pathLst>
                  <a:path w="14" h="15">
                    <a:moveTo>
                      <a:pt x="0" y="5"/>
                    </a:moveTo>
                    <a:lnTo>
                      <a:pt x="5" y="15"/>
                    </a:lnTo>
                    <a:lnTo>
                      <a:pt x="14" y="0"/>
                    </a:lnTo>
                    <a:lnTo>
                      <a:pt x="0" y="5"/>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06" name="Freeform 362"/>
              <p:cNvSpPr>
                <a:spLocks noEditPoints="1"/>
              </p:cNvSpPr>
              <p:nvPr/>
            </p:nvSpPr>
            <p:spPr bwMode="auto">
              <a:xfrm>
                <a:off x="2906" y="2184"/>
                <a:ext cx="19" cy="19"/>
              </a:xfrm>
              <a:custGeom>
                <a:avLst/>
                <a:gdLst/>
                <a:ahLst/>
                <a:cxnLst>
                  <a:cxn ang="0">
                    <a:pos x="13" y="36"/>
                  </a:cxn>
                  <a:cxn ang="0">
                    <a:pos x="17" y="26"/>
                  </a:cxn>
                  <a:cxn ang="0">
                    <a:pos x="33" y="70"/>
                  </a:cxn>
                  <a:cxn ang="0">
                    <a:pos x="19" y="69"/>
                  </a:cxn>
                  <a:cxn ang="0">
                    <a:pos x="50" y="5"/>
                  </a:cxn>
                  <a:cxn ang="0">
                    <a:pos x="61" y="16"/>
                  </a:cxn>
                  <a:cxn ang="0">
                    <a:pos x="13" y="36"/>
                  </a:cxn>
                  <a:cxn ang="0">
                    <a:pos x="54" y="1"/>
                  </a:cxn>
                  <a:cxn ang="0">
                    <a:pos x="63" y="3"/>
                  </a:cxn>
                  <a:cxn ang="0">
                    <a:pos x="65" y="12"/>
                  </a:cxn>
                  <a:cxn ang="0">
                    <a:pos x="33" y="76"/>
                  </a:cxn>
                  <a:cxn ang="0">
                    <a:pos x="26" y="80"/>
                  </a:cxn>
                  <a:cxn ang="0">
                    <a:pos x="18" y="75"/>
                  </a:cxn>
                  <a:cxn ang="0">
                    <a:pos x="2" y="31"/>
                  </a:cxn>
                  <a:cxn ang="0">
                    <a:pos x="6" y="21"/>
                  </a:cxn>
                  <a:cxn ang="0">
                    <a:pos x="54" y="1"/>
                  </a:cxn>
                </a:cxnLst>
                <a:rect l="0" t="0" r="r" b="b"/>
                <a:pathLst>
                  <a:path w="66" h="81">
                    <a:moveTo>
                      <a:pt x="13" y="36"/>
                    </a:moveTo>
                    <a:lnTo>
                      <a:pt x="17" y="26"/>
                    </a:lnTo>
                    <a:lnTo>
                      <a:pt x="33" y="70"/>
                    </a:lnTo>
                    <a:lnTo>
                      <a:pt x="19" y="69"/>
                    </a:lnTo>
                    <a:lnTo>
                      <a:pt x="50" y="5"/>
                    </a:lnTo>
                    <a:lnTo>
                      <a:pt x="61" y="16"/>
                    </a:lnTo>
                    <a:lnTo>
                      <a:pt x="13" y="36"/>
                    </a:lnTo>
                    <a:close/>
                    <a:moveTo>
                      <a:pt x="54" y="1"/>
                    </a:moveTo>
                    <a:cubicBezTo>
                      <a:pt x="57" y="0"/>
                      <a:pt x="61" y="1"/>
                      <a:pt x="63" y="3"/>
                    </a:cubicBezTo>
                    <a:cubicBezTo>
                      <a:pt x="66" y="5"/>
                      <a:pt x="66" y="9"/>
                      <a:pt x="65" y="12"/>
                    </a:cubicBezTo>
                    <a:lnTo>
                      <a:pt x="33" y="76"/>
                    </a:lnTo>
                    <a:cubicBezTo>
                      <a:pt x="32" y="79"/>
                      <a:pt x="29" y="81"/>
                      <a:pt x="26" y="80"/>
                    </a:cubicBezTo>
                    <a:cubicBezTo>
                      <a:pt x="22" y="80"/>
                      <a:pt x="20" y="78"/>
                      <a:pt x="18" y="75"/>
                    </a:cubicBezTo>
                    <a:lnTo>
                      <a:pt x="2" y="31"/>
                    </a:lnTo>
                    <a:cubicBezTo>
                      <a:pt x="0" y="27"/>
                      <a:pt x="2" y="23"/>
                      <a:pt x="6" y="21"/>
                    </a:cubicBezTo>
                    <a:lnTo>
                      <a:pt x="54" y="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07" name="Freeform 363"/>
              <p:cNvSpPr>
                <a:spLocks/>
              </p:cNvSpPr>
              <p:nvPr/>
            </p:nvSpPr>
            <p:spPr bwMode="auto">
              <a:xfrm>
                <a:off x="3020" y="2358"/>
                <a:ext cx="134" cy="125"/>
              </a:xfrm>
              <a:custGeom>
                <a:avLst/>
                <a:gdLst/>
                <a:ahLst/>
                <a:cxnLst>
                  <a:cxn ang="0">
                    <a:pos x="0" y="96"/>
                  </a:cxn>
                  <a:cxn ang="0">
                    <a:pos x="0" y="59"/>
                  </a:cxn>
                  <a:cxn ang="0">
                    <a:pos x="15" y="58"/>
                  </a:cxn>
                  <a:cxn ang="0">
                    <a:pos x="15" y="10"/>
                  </a:cxn>
                  <a:cxn ang="0">
                    <a:pos x="42" y="4"/>
                  </a:cxn>
                  <a:cxn ang="0">
                    <a:pos x="51" y="13"/>
                  </a:cxn>
                  <a:cxn ang="0">
                    <a:pos x="75" y="0"/>
                  </a:cxn>
                  <a:cxn ang="0">
                    <a:pos x="115" y="52"/>
                  </a:cxn>
                  <a:cxn ang="0">
                    <a:pos x="134" y="61"/>
                  </a:cxn>
                  <a:cxn ang="0">
                    <a:pos x="80" y="108"/>
                  </a:cxn>
                  <a:cxn ang="0">
                    <a:pos x="48" y="108"/>
                  </a:cxn>
                  <a:cxn ang="0">
                    <a:pos x="31" y="124"/>
                  </a:cxn>
                  <a:cxn ang="0">
                    <a:pos x="12" y="125"/>
                  </a:cxn>
                  <a:cxn ang="0">
                    <a:pos x="12" y="110"/>
                  </a:cxn>
                  <a:cxn ang="0">
                    <a:pos x="0" y="96"/>
                  </a:cxn>
                </a:cxnLst>
                <a:rect l="0" t="0" r="r" b="b"/>
                <a:pathLst>
                  <a:path w="134" h="125">
                    <a:moveTo>
                      <a:pt x="0" y="96"/>
                    </a:moveTo>
                    <a:lnTo>
                      <a:pt x="0" y="59"/>
                    </a:lnTo>
                    <a:lnTo>
                      <a:pt x="15" y="58"/>
                    </a:lnTo>
                    <a:lnTo>
                      <a:pt x="15" y="10"/>
                    </a:lnTo>
                    <a:lnTo>
                      <a:pt x="42" y="4"/>
                    </a:lnTo>
                    <a:lnTo>
                      <a:pt x="51" y="13"/>
                    </a:lnTo>
                    <a:lnTo>
                      <a:pt x="75" y="0"/>
                    </a:lnTo>
                    <a:lnTo>
                      <a:pt x="115" y="52"/>
                    </a:lnTo>
                    <a:lnTo>
                      <a:pt x="134" y="61"/>
                    </a:lnTo>
                    <a:lnTo>
                      <a:pt x="80" y="108"/>
                    </a:lnTo>
                    <a:lnTo>
                      <a:pt x="48" y="108"/>
                    </a:lnTo>
                    <a:lnTo>
                      <a:pt x="31" y="124"/>
                    </a:lnTo>
                    <a:lnTo>
                      <a:pt x="12" y="125"/>
                    </a:lnTo>
                    <a:lnTo>
                      <a:pt x="12" y="110"/>
                    </a:lnTo>
                    <a:lnTo>
                      <a:pt x="0" y="96"/>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08" name="Freeform 364"/>
              <p:cNvSpPr>
                <a:spLocks noEditPoints="1"/>
              </p:cNvSpPr>
              <p:nvPr/>
            </p:nvSpPr>
            <p:spPr bwMode="auto">
              <a:xfrm>
                <a:off x="3017" y="2356"/>
                <a:ext cx="140" cy="129"/>
              </a:xfrm>
              <a:custGeom>
                <a:avLst/>
                <a:gdLst/>
                <a:ahLst/>
                <a:cxnLst>
                  <a:cxn ang="0">
                    <a:pos x="2" y="432"/>
                  </a:cxn>
                  <a:cxn ang="0">
                    <a:pos x="0" y="427"/>
                  </a:cxn>
                  <a:cxn ang="0">
                    <a:pos x="0" y="264"/>
                  </a:cxn>
                  <a:cxn ang="0">
                    <a:pos x="8" y="256"/>
                  </a:cxn>
                  <a:cxn ang="0">
                    <a:pos x="59" y="254"/>
                  </a:cxn>
                  <a:cxn ang="0">
                    <a:pos x="52" y="262"/>
                  </a:cxn>
                  <a:cxn ang="0">
                    <a:pos x="52" y="51"/>
                  </a:cxn>
                  <a:cxn ang="0">
                    <a:pos x="58" y="43"/>
                  </a:cxn>
                  <a:cxn ang="0">
                    <a:pos x="152" y="18"/>
                  </a:cxn>
                  <a:cxn ang="0">
                    <a:pos x="160" y="20"/>
                  </a:cxn>
                  <a:cxn ang="0">
                    <a:pos x="191" y="57"/>
                  </a:cxn>
                  <a:cxn ang="0">
                    <a:pos x="181" y="56"/>
                  </a:cxn>
                  <a:cxn ang="0">
                    <a:pos x="263" y="2"/>
                  </a:cxn>
                  <a:cxn ang="0">
                    <a:pos x="269" y="1"/>
                  </a:cxn>
                  <a:cxn ang="0">
                    <a:pos x="274" y="4"/>
                  </a:cxn>
                  <a:cxn ang="0">
                    <a:pos x="412" y="231"/>
                  </a:cxn>
                  <a:cxn ang="0">
                    <a:pos x="410" y="228"/>
                  </a:cxn>
                  <a:cxn ang="0">
                    <a:pos x="476" y="267"/>
                  </a:cxn>
                  <a:cxn ang="0">
                    <a:pos x="480" y="273"/>
                  </a:cxn>
                  <a:cxn ang="0">
                    <a:pos x="478" y="279"/>
                  </a:cxn>
                  <a:cxn ang="0">
                    <a:pos x="290" y="484"/>
                  </a:cxn>
                  <a:cxn ang="0">
                    <a:pos x="285" y="486"/>
                  </a:cxn>
                  <a:cxn ang="0">
                    <a:pos x="176" y="486"/>
                  </a:cxn>
                  <a:cxn ang="0">
                    <a:pos x="183" y="483"/>
                  </a:cxn>
                  <a:cxn ang="0">
                    <a:pos x="124" y="556"/>
                  </a:cxn>
                  <a:cxn ang="0">
                    <a:pos x="118" y="559"/>
                  </a:cxn>
                  <a:cxn ang="0">
                    <a:pos x="50" y="560"/>
                  </a:cxn>
                  <a:cxn ang="0">
                    <a:pos x="44" y="558"/>
                  </a:cxn>
                  <a:cxn ang="0">
                    <a:pos x="42" y="552"/>
                  </a:cxn>
                  <a:cxn ang="0">
                    <a:pos x="43" y="488"/>
                  </a:cxn>
                  <a:cxn ang="0">
                    <a:pos x="45" y="493"/>
                  </a:cxn>
                  <a:cxn ang="0">
                    <a:pos x="2" y="432"/>
                  </a:cxn>
                  <a:cxn ang="0">
                    <a:pos x="58" y="484"/>
                  </a:cxn>
                  <a:cxn ang="0">
                    <a:pos x="59" y="488"/>
                  </a:cxn>
                  <a:cxn ang="0">
                    <a:pos x="58" y="553"/>
                  </a:cxn>
                  <a:cxn ang="0">
                    <a:pos x="50" y="544"/>
                  </a:cxn>
                  <a:cxn ang="0">
                    <a:pos x="118" y="543"/>
                  </a:cxn>
                  <a:cxn ang="0">
                    <a:pos x="112" y="546"/>
                  </a:cxn>
                  <a:cxn ang="0">
                    <a:pos x="170" y="473"/>
                  </a:cxn>
                  <a:cxn ang="0">
                    <a:pos x="176" y="470"/>
                  </a:cxn>
                  <a:cxn ang="0">
                    <a:pos x="285" y="470"/>
                  </a:cxn>
                  <a:cxn ang="0">
                    <a:pos x="279" y="473"/>
                  </a:cxn>
                  <a:cxn ang="0">
                    <a:pos x="467" y="268"/>
                  </a:cxn>
                  <a:cxn ang="0">
                    <a:pos x="468" y="281"/>
                  </a:cxn>
                  <a:cxn ang="0">
                    <a:pos x="402" y="242"/>
                  </a:cxn>
                  <a:cxn ang="0">
                    <a:pos x="399" y="239"/>
                  </a:cxn>
                  <a:cxn ang="0">
                    <a:pos x="261" y="13"/>
                  </a:cxn>
                  <a:cxn ang="0">
                    <a:pos x="272" y="15"/>
                  </a:cxn>
                  <a:cxn ang="0">
                    <a:pos x="189" y="69"/>
                  </a:cxn>
                  <a:cxn ang="0">
                    <a:pos x="179" y="68"/>
                  </a:cxn>
                  <a:cxn ang="0">
                    <a:pos x="148" y="31"/>
                  </a:cxn>
                  <a:cxn ang="0">
                    <a:pos x="156" y="33"/>
                  </a:cxn>
                  <a:cxn ang="0">
                    <a:pos x="62" y="58"/>
                  </a:cxn>
                  <a:cxn ang="0">
                    <a:pos x="68" y="51"/>
                  </a:cxn>
                  <a:cxn ang="0">
                    <a:pos x="68" y="262"/>
                  </a:cxn>
                  <a:cxn ang="0">
                    <a:pos x="60" y="270"/>
                  </a:cxn>
                  <a:cxn ang="0">
                    <a:pos x="9" y="272"/>
                  </a:cxn>
                  <a:cxn ang="0">
                    <a:pos x="16" y="264"/>
                  </a:cxn>
                  <a:cxn ang="0">
                    <a:pos x="16" y="427"/>
                  </a:cxn>
                  <a:cxn ang="0">
                    <a:pos x="15" y="423"/>
                  </a:cxn>
                  <a:cxn ang="0">
                    <a:pos x="58" y="484"/>
                  </a:cxn>
                </a:cxnLst>
                <a:rect l="0" t="0" r="r" b="b"/>
                <a:pathLst>
                  <a:path w="481" h="561">
                    <a:moveTo>
                      <a:pt x="2" y="432"/>
                    </a:moveTo>
                    <a:cubicBezTo>
                      <a:pt x="1" y="431"/>
                      <a:pt x="0" y="429"/>
                      <a:pt x="0" y="427"/>
                    </a:cubicBezTo>
                    <a:lnTo>
                      <a:pt x="0" y="264"/>
                    </a:lnTo>
                    <a:cubicBezTo>
                      <a:pt x="0" y="259"/>
                      <a:pt x="4" y="256"/>
                      <a:pt x="8" y="256"/>
                    </a:cubicBezTo>
                    <a:lnTo>
                      <a:pt x="59" y="254"/>
                    </a:lnTo>
                    <a:lnTo>
                      <a:pt x="52" y="262"/>
                    </a:lnTo>
                    <a:lnTo>
                      <a:pt x="52" y="51"/>
                    </a:lnTo>
                    <a:cubicBezTo>
                      <a:pt x="52" y="47"/>
                      <a:pt x="54" y="44"/>
                      <a:pt x="58" y="43"/>
                    </a:cubicBezTo>
                    <a:lnTo>
                      <a:pt x="152" y="18"/>
                    </a:lnTo>
                    <a:cubicBezTo>
                      <a:pt x="155" y="17"/>
                      <a:pt x="158" y="18"/>
                      <a:pt x="160" y="20"/>
                    </a:cubicBezTo>
                    <a:lnTo>
                      <a:pt x="191" y="57"/>
                    </a:lnTo>
                    <a:lnTo>
                      <a:pt x="181" y="56"/>
                    </a:lnTo>
                    <a:lnTo>
                      <a:pt x="263" y="2"/>
                    </a:lnTo>
                    <a:cubicBezTo>
                      <a:pt x="265" y="1"/>
                      <a:pt x="267" y="0"/>
                      <a:pt x="269" y="1"/>
                    </a:cubicBezTo>
                    <a:cubicBezTo>
                      <a:pt x="271" y="1"/>
                      <a:pt x="273" y="2"/>
                      <a:pt x="274" y="4"/>
                    </a:cubicBezTo>
                    <a:lnTo>
                      <a:pt x="412" y="231"/>
                    </a:lnTo>
                    <a:lnTo>
                      <a:pt x="410" y="228"/>
                    </a:lnTo>
                    <a:lnTo>
                      <a:pt x="476" y="267"/>
                    </a:lnTo>
                    <a:cubicBezTo>
                      <a:pt x="479" y="268"/>
                      <a:pt x="480" y="270"/>
                      <a:pt x="480" y="273"/>
                    </a:cubicBezTo>
                    <a:cubicBezTo>
                      <a:pt x="481" y="275"/>
                      <a:pt x="480" y="277"/>
                      <a:pt x="478" y="279"/>
                    </a:cubicBezTo>
                    <a:lnTo>
                      <a:pt x="290" y="484"/>
                    </a:lnTo>
                    <a:cubicBezTo>
                      <a:pt x="289" y="485"/>
                      <a:pt x="287" y="486"/>
                      <a:pt x="285" y="486"/>
                    </a:cubicBezTo>
                    <a:lnTo>
                      <a:pt x="176" y="486"/>
                    </a:lnTo>
                    <a:lnTo>
                      <a:pt x="183" y="483"/>
                    </a:lnTo>
                    <a:lnTo>
                      <a:pt x="124" y="556"/>
                    </a:lnTo>
                    <a:cubicBezTo>
                      <a:pt x="123" y="558"/>
                      <a:pt x="121" y="559"/>
                      <a:pt x="118" y="559"/>
                    </a:cubicBezTo>
                    <a:lnTo>
                      <a:pt x="50" y="560"/>
                    </a:lnTo>
                    <a:cubicBezTo>
                      <a:pt x="48" y="561"/>
                      <a:pt x="46" y="560"/>
                      <a:pt x="44" y="558"/>
                    </a:cubicBezTo>
                    <a:cubicBezTo>
                      <a:pt x="43" y="557"/>
                      <a:pt x="42" y="554"/>
                      <a:pt x="42" y="552"/>
                    </a:cubicBezTo>
                    <a:lnTo>
                      <a:pt x="43" y="488"/>
                    </a:lnTo>
                    <a:lnTo>
                      <a:pt x="45" y="493"/>
                    </a:lnTo>
                    <a:lnTo>
                      <a:pt x="2" y="432"/>
                    </a:lnTo>
                    <a:close/>
                    <a:moveTo>
                      <a:pt x="58" y="484"/>
                    </a:moveTo>
                    <a:cubicBezTo>
                      <a:pt x="59" y="485"/>
                      <a:pt x="59" y="487"/>
                      <a:pt x="59" y="488"/>
                    </a:cubicBezTo>
                    <a:lnTo>
                      <a:pt x="58" y="553"/>
                    </a:lnTo>
                    <a:lnTo>
                      <a:pt x="50" y="544"/>
                    </a:lnTo>
                    <a:lnTo>
                      <a:pt x="118" y="543"/>
                    </a:lnTo>
                    <a:lnTo>
                      <a:pt x="112" y="546"/>
                    </a:lnTo>
                    <a:lnTo>
                      <a:pt x="170" y="473"/>
                    </a:lnTo>
                    <a:cubicBezTo>
                      <a:pt x="172" y="471"/>
                      <a:pt x="174" y="470"/>
                      <a:pt x="176" y="470"/>
                    </a:cubicBezTo>
                    <a:lnTo>
                      <a:pt x="285" y="470"/>
                    </a:lnTo>
                    <a:lnTo>
                      <a:pt x="279" y="473"/>
                    </a:lnTo>
                    <a:lnTo>
                      <a:pt x="467" y="268"/>
                    </a:lnTo>
                    <a:lnTo>
                      <a:pt x="468" y="281"/>
                    </a:lnTo>
                    <a:lnTo>
                      <a:pt x="402" y="242"/>
                    </a:lnTo>
                    <a:cubicBezTo>
                      <a:pt x="400" y="241"/>
                      <a:pt x="399" y="240"/>
                      <a:pt x="399" y="239"/>
                    </a:cubicBezTo>
                    <a:lnTo>
                      <a:pt x="261" y="13"/>
                    </a:lnTo>
                    <a:lnTo>
                      <a:pt x="272" y="15"/>
                    </a:lnTo>
                    <a:lnTo>
                      <a:pt x="189" y="69"/>
                    </a:lnTo>
                    <a:cubicBezTo>
                      <a:pt x="186" y="71"/>
                      <a:pt x="181" y="71"/>
                      <a:pt x="179" y="68"/>
                    </a:cubicBezTo>
                    <a:lnTo>
                      <a:pt x="148" y="31"/>
                    </a:lnTo>
                    <a:lnTo>
                      <a:pt x="156" y="33"/>
                    </a:lnTo>
                    <a:lnTo>
                      <a:pt x="62" y="58"/>
                    </a:lnTo>
                    <a:lnTo>
                      <a:pt x="68" y="51"/>
                    </a:lnTo>
                    <a:lnTo>
                      <a:pt x="68" y="262"/>
                    </a:lnTo>
                    <a:cubicBezTo>
                      <a:pt x="68" y="266"/>
                      <a:pt x="64" y="270"/>
                      <a:pt x="60" y="270"/>
                    </a:cubicBezTo>
                    <a:lnTo>
                      <a:pt x="9" y="272"/>
                    </a:lnTo>
                    <a:lnTo>
                      <a:pt x="16" y="264"/>
                    </a:lnTo>
                    <a:lnTo>
                      <a:pt x="16" y="427"/>
                    </a:lnTo>
                    <a:lnTo>
                      <a:pt x="15" y="423"/>
                    </a:lnTo>
                    <a:lnTo>
                      <a:pt x="58" y="484"/>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09" name="Freeform 365"/>
              <p:cNvSpPr>
                <a:spLocks/>
              </p:cNvSpPr>
              <p:nvPr/>
            </p:nvSpPr>
            <p:spPr bwMode="auto">
              <a:xfrm>
                <a:off x="3150" y="2153"/>
                <a:ext cx="23" cy="30"/>
              </a:xfrm>
              <a:custGeom>
                <a:avLst/>
                <a:gdLst/>
                <a:ahLst/>
                <a:cxnLst>
                  <a:cxn ang="0">
                    <a:pos x="0" y="5"/>
                  </a:cxn>
                  <a:cxn ang="0">
                    <a:pos x="2" y="16"/>
                  </a:cxn>
                  <a:cxn ang="0">
                    <a:pos x="8" y="30"/>
                  </a:cxn>
                  <a:cxn ang="0">
                    <a:pos x="23" y="13"/>
                  </a:cxn>
                  <a:cxn ang="0">
                    <a:pos x="22" y="0"/>
                  </a:cxn>
                  <a:cxn ang="0">
                    <a:pos x="0" y="5"/>
                  </a:cxn>
                </a:cxnLst>
                <a:rect l="0" t="0" r="r" b="b"/>
                <a:pathLst>
                  <a:path w="23" h="30">
                    <a:moveTo>
                      <a:pt x="0" y="5"/>
                    </a:moveTo>
                    <a:lnTo>
                      <a:pt x="2" y="16"/>
                    </a:lnTo>
                    <a:lnTo>
                      <a:pt x="8" y="30"/>
                    </a:lnTo>
                    <a:lnTo>
                      <a:pt x="23" y="13"/>
                    </a:lnTo>
                    <a:lnTo>
                      <a:pt x="22" y="0"/>
                    </a:lnTo>
                    <a:lnTo>
                      <a:pt x="0" y="5"/>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10" name="Freeform 366"/>
              <p:cNvSpPr>
                <a:spLocks noEditPoints="1"/>
              </p:cNvSpPr>
              <p:nvPr/>
            </p:nvSpPr>
            <p:spPr bwMode="auto">
              <a:xfrm>
                <a:off x="3147" y="2152"/>
                <a:ext cx="28" cy="33"/>
              </a:xfrm>
              <a:custGeom>
                <a:avLst/>
                <a:gdLst/>
                <a:ahLst/>
                <a:cxnLst>
                  <a:cxn ang="0">
                    <a:pos x="10" y="35"/>
                  </a:cxn>
                  <a:cxn ang="0">
                    <a:pos x="16" y="25"/>
                  </a:cxn>
                  <a:cxn ang="0">
                    <a:pos x="26" y="74"/>
                  </a:cxn>
                  <a:cxn ang="0">
                    <a:pos x="45" y="134"/>
                  </a:cxn>
                  <a:cxn ang="0">
                    <a:pos x="31" y="132"/>
                  </a:cxn>
                  <a:cxn ang="0">
                    <a:pos x="82" y="58"/>
                  </a:cxn>
                  <a:cxn ang="0">
                    <a:pos x="80" y="63"/>
                  </a:cxn>
                  <a:cxn ang="0">
                    <a:pos x="78" y="9"/>
                  </a:cxn>
                  <a:cxn ang="0">
                    <a:pos x="88" y="16"/>
                  </a:cxn>
                  <a:cxn ang="0">
                    <a:pos x="10" y="35"/>
                  </a:cxn>
                  <a:cxn ang="0">
                    <a:pos x="84" y="1"/>
                  </a:cxn>
                  <a:cxn ang="0">
                    <a:pos x="91" y="2"/>
                  </a:cxn>
                  <a:cxn ang="0">
                    <a:pos x="94" y="8"/>
                  </a:cxn>
                  <a:cxn ang="0">
                    <a:pos x="96" y="62"/>
                  </a:cxn>
                  <a:cxn ang="0">
                    <a:pos x="95" y="67"/>
                  </a:cxn>
                  <a:cxn ang="0">
                    <a:pos x="44" y="141"/>
                  </a:cxn>
                  <a:cxn ang="0">
                    <a:pos x="37" y="144"/>
                  </a:cxn>
                  <a:cxn ang="0">
                    <a:pos x="30" y="139"/>
                  </a:cxn>
                  <a:cxn ang="0">
                    <a:pos x="10" y="77"/>
                  </a:cxn>
                  <a:cxn ang="0">
                    <a:pos x="1" y="29"/>
                  </a:cxn>
                  <a:cxn ang="0">
                    <a:pos x="7" y="19"/>
                  </a:cxn>
                  <a:cxn ang="0">
                    <a:pos x="84" y="1"/>
                  </a:cxn>
                </a:cxnLst>
                <a:rect l="0" t="0" r="r" b="b"/>
                <a:pathLst>
                  <a:path w="97" h="145">
                    <a:moveTo>
                      <a:pt x="10" y="35"/>
                    </a:moveTo>
                    <a:lnTo>
                      <a:pt x="16" y="25"/>
                    </a:lnTo>
                    <a:lnTo>
                      <a:pt x="26" y="74"/>
                    </a:lnTo>
                    <a:lnTo>
                      <a:pt x="45" y="134"/>
                    </a:lnTo>
                    <a:lnTo>
                      <a:pt x="31" y="132"/>
                    </a:lnTo>
                    <a:lnTo>
                      <a:pt x="82" y="58"/>
                    </a:lnTo>
                    <a:lnTo>
                      <a:pt x="80" y="63"/>
                    </a:lnTo>
                    <a:lnTo>
                      <a:pt x="78" y="9"/>
                    </a:lnTo>
                    <a:lnTo>
                      <a:pt x="88" y="16"/>
                    </a:lnTo>
                    <a:lnTo>
                      <a:pt x="10" y="35"/>
                    </a:lnTo>
                    <a:close/>
                    <a:moveTo>
                      <a:pt x="84" y="1"/>
                    </a:moveTo>
                    <a:cubicBezTo>
                      <a:pt x="86" y="0"/>
                      <a:pt x="89" y="1"/>
                      <a:pt x="91" y="2"/>
                    </a:cubicBezTo>
                    <a:cubicBezTo>
                      <a:pt x="93" y="3"/>
                      <a:pt x="94" y="6"/>
                      <a:pt x="94" y="8"/>
                    </a:cubicBezTo>
                    <a:lnTo>
                      <a:pt x="96" y="62"/>
                    </a:lnTo>
                    <a:cubicBezTo>
                      <a:pt x="97" y="64"/>
                      <a:pt x="96" y="65"/>
                      <a:pt x="95" y="67"/>
                    </a:cubicBezTo>
                    <a:lnTo>
                      <a:pt x="44" y="141"/>
                    </a:lnTo>
                    <a:cubicBezTo>
                      <a:pt x="43" y="143"/>
                      <a:pt x="40" y="145"/>
                      <a:pt x="37" y="144"/>
                    </a:cubicBezTo>
                    <a:cubicBezTo>
                      <a:pt x="34" y="144"/>
                      <a:pt x="31" y="142"/>
                      <a:pt x="30" y="139"/>
                    </a:cubicBezTo>
                    <a:lnTo>
                      <a:pt x="10" y="77"/>
                    </a:lnTo>
                    <a:lnTo>
                      <a:pt x="1" y="29"/>
                    </a:lnTo>
                    <a:cubicBezTo>
                      <a:pt x="0" y="24"/>
                      <a:pt x="2" y="20"/>
                      <a:pt x="7" y="19"/>
                    </a:cubicBezTo>
                    <a:lnTo>
                      <a:pt x="84" y="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11" name="Freeform 367"/>
              <p:cNvSpPr>
                <a:spLocks/>
              </p:cNvSpPr>
              <p:nvPr/>
            </p:nvSpPr>
            <p:spPr bwMode="auto">
              <a:xfrm>
                <a:off x="2862" y="1956"/>
                <a:ext cx="107" cy="146"/>
              </a:xfrm>
              <a:custGeom>
                <a:avLst/>
                <a:gdLst/>
                <a:ahLst/>
                <a:cxnLst>
                  <a:cxn ang="0">
                    <a:pos x="0" y="105"/>
                  </a:cxn>
                  <a:cxn ang="0">
                    <a:pos x="15" y="77"/>
                  </a:cxn>
                  <a:cxn ang="0">
                    <a:pos x="41" y="81"/>
                  </a:cxn>
                  <a:cxn ang="0">
                    <a:pos x="70" y="24"/>
                  </a:cxn>
                  <a:cxn ang="0">
                    <a:pos x="84" y="14"/>
                  </a:cxn>
                  <a:cxn ang="0">
                    <a:pos x="78" y="2"/>
                  </a:cxn>
                  <a:cxn ang="0">
                    <a:pos x="85" y="0"/>
                  </a:cxn>
                  <a:cxn ang="0">
                    <a:pos x="95" y="35"/>
                  </a:cxn>
                  <a:cxn ang="0">
                    <a:pos x="78" y="42"/>
                  </a:cxn>
                  <a:cxn ang="0">
                    <a:pos x="98" y="70"/>
                  </a:cxn>
                  <a:cxn ang="0">
                    <a:pos x="85" y="103"/>
                  </a:cxn>
                  <a:cxn ang="0">
                    <a:pos x="107" y="128"/>
                  </a:cxn>
                  <a:cxn ang="0">
                    <a:pos x="104" y="146"/>
                  </a:cxn>
                  <a:cxn ang="0">
                    <a:pos x="68" y="138"/>
                  </a:cxn>
                  <a:cxn ang="0">
                    <a:pos x="40" y="138"/>
                  </a:cxn>
                  <a:cxn ang="0">
                    <a:pos x="17" y="138"/>
                  </a:cxn>
                  <a:cxn ang="0">
                    <a:pos x="17" y="114"/>
                  </a:cxn>
                  <a:cxn ang="0">
                    <a:pos x="0" y="105"/>
                  </a:cxn>
                </a:cxnLst>
                <a:rect l="0" t="0" r="r" b="b"/>
                <a:pathLst>
                  <a:path w="107" h="146">
                    <a:moveTo>
                      <a:pt x="0" y="105"/>
                    </a:moveTo>
                    <a:lnTo>
                      <a:pt x="15" y="77"/>
                    </a:lnTo>
                    <a:lnTo>
                      <a:pt x="41" y="81"/>
                    </a:lnTo>
                    <a:lnTo>
                      <a:pt x="70" y="24"/>
                    </a:lnTo>
                    <a:lnTo>
                      <a:pt x="84" y="14"/>
                    </a:lnTo>
                    <a:lnTo>
                      <a:pt x="78" y="2"/>
                    </a:lnTo>
                    <a:lnTo>
                      <a:pt x="85" y="0"/>
                    </a:lnTo>
                    <a:lnTo>
                      <a:pt x="95" y="35"/>
                    </a:lnTo>
                    <a:lnTo>
                      <a:pt x="78" y="42"/>
                    </a:lnTo>
                    <a:lnTo>
                      <a:pt x="98" y="70"/>
                    </a:lnTo>
                    <a:lnTo>
                      <a:pt x="85" y="103"/>
                    </a:lnTo>
                    <a:lnTo>
                      <a:pt x="107" y="128"/>
                    </a:lnTo>
                    <a:lnTo>
                      <a:pt x="104" y="146"/>
                    </a:lnTo>
                    <a:lnTo>
                      <a:pt x="68" y="138"/>
                    </a:lnTo>
                    <a:lnTo>
                      <a:pt x="40" y="138"/>
                    </a:lnTo>
                    <a:lnTo>
                      <a:pt x="17" y="138"/>
                    </a:lnTo>
                    <a:lnTo>
                      <a:pt x="17" y="114"/>
                    </a:lnTo>
                    <a:lnTo>
                      <a:pt x="0" y="105"/>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12" name="Freeform 368"/>
              <p:cNvSpPr>
                <a:spLocks noEditPoints="1"/>
              </p:cNvSpPr>
              <p:nvPr/>
            </p:nvSpPr>
            <p:spPr bwMode="auto">
              <a:xfrm>
                <a:off x="2859" y="1954"/>
                <a:ext cx="112" cy="150"/>
              </a:xfrm>
              <a:custGeom>
                <a:avLst/>
                <a:gdLst/>
                <a:ahLst/>
                <a:cxnLst>
                  <a:cxn ang="0">
                    <a:pos x="1" y="463"/>
                  </a:cxn>
                  <a:cxn ang="0">
                    <a:pos x="62" y="336"/>
                  </a:cxn>
                  <a:cxn ang="0">
                    <a:pos x="142" y="358"/>
                  </a:cxn>
                  <a:cxn ang="0">
                    <a:pos x="243" y="106"/>
                  </a:cxn>
                  <a:cxn ang="0">
                    <a:pos x="289" y="71"/>
                  </a:cxn>
                  <a:cxn ang="0">
                    <a:pos x="274" y="11"/>
                  </a:cxn>
                  <a:cxn ang="0">
                    <a:pos x="305" y="1"/>
                  </a:cxn>
                  <a:cxn ang="0">
                    <a:pos x="343" y="161"/>
                  </a:cxn>
                  <a:cxn ang="0">
                    <a:pos x="281" y="198"/>
                  </a:cxn>
                  <a:cxn ang="0">
                    <a:pos x="352" y="311"/>
                  </a:cxn>
                  <a:cxn ang="0">
                    <a:pos x="309" y="462"/>
                  </a:cxn>
                  <a:cxn ang="0">
                    <a:pos x="383" y="565"/>
                  </a:cxn>
                  <a:cxn ang="0">
                    <a:pos x="376" y="649"/>
                  </a:cxn>
                  <a:cxn ang="0">
                    <a:pos x="366" y="656"/>
                  </a:cxn>
                  <a:cxn ang="0">
                    <a:pos x="242" y="620"/>
                  </a:cxn>
                  <a:cxn ang="0">
                    <a:pos x="68" y="620"/>
                  </a:cxn>
                  <a:cxn ang="0">
                    <a:pos x="60" y="612"/>
                  </a:cxn>
                  <a:cxn ang="0">
                    <a:pos x="61" y="513"/>
                  </a:cxn>
                  <a:cxn ang="0">
                    <a:pos x="71" y="500"/>
                  </a:cxn>
                  <a:cxn ang="0">
                    <a:pos x="76" y="612"/>
                  </a:cxn>
                  <a:cxn ang="0">
                    <a:pos x="146" y="603"/>
                  </a:cxn>
                  <a:cxn ang="0">
                    <a:pos x="244" y="605"/>
                  </a:cxn>
                  <a:cxn ang="0">
                    <a:pos x="360" y="648"/>
                  </a:cxn>
                  <a:cxn ang="0">
                    <a:pos x="370" y="574"/>
                  </a:cxn>
                  <a:cxn ang="0">
                    <a:pos x="293" y="457"/>
                  </a:cxn>
                  <a:cxn ang="0">
                    <a:pos x="338" y="318"/>
                  </a:cxn>
                  <a:cxn ang="0">
                    <a:pos x="270" y="189"/>
                  </a:cxn>
                  <a:cxn ang="0">
                    <a:pos x="332" y="156"/>
                  </a:cxn>
                  <a:cxn ang="0">
                    <a:pos x="293" y="10"/>
                  </a:cxn>
                  <a:cxn ang="0">
                    <a:pos x="281" y="26"/>
                  </a:cxn>
                  <a:cxn ang="0">
                    <a:pos x="304" y="65"/>
                  </a:cxn>
                  <a:cxn ang="0">
                    <a:pos x="254" y="118"/>
                  </a:cxn>
                  <a:cxn ang="0">
                    <a:pos x="157" y="364"/>
                  </a:cxn>
                  <a:cxn ang="0">
                    <a:pos x="59" y="352"/>
                  </a:cxn>
                  <a:cxn ang="0">
                    <a:pos x="16" y="469"/>
                  </a:cxn>
                  <a:cxn ang="0">
                    <a:pos x="71" y="500"/>
                  </a:cxn>
                </a:cxnLst>
                <a:rect l="0" t="0" r="r" b="b"/>
                <a:pathLst>
                  <a:path w="385" h="657">
                    <a:moveTo>
                      <a:pt x="4" y="472"/>
                    </a:moveTo>
                    <a:cubicBezTo>
                      <a:pt x="1" y="470"/>
                      <a:pt x="0" y="466"/>
                      <a:pt x="1" y="463"/>
                    </a:cubicBezTo>
                    <a:lnTo>
                      <a:pt x="53" y="341"/>
                    </a:lnTo>
                    <a:cubicBezTo>
                      <a:pt x="55" y="338"/>
                      <a:pt x="58" y="336"/>
                      <a:pt x="62" y="336"/>
                    </a:cubicBezTo>
                    <a:lnTo>
                      <a:pt x="151" y="353"/>
                    </a:lnTo>
                    <a:lnTo>
                      <a:pt x="142" y="358"/>
                    </a:lnTo>
                    <a:lnTo>
                      <a:pt x="241" y="109"/>
                    </a:lnTo>
                    <a:cubicBezTo>
                      <a:pt x="242" y="108"/>
                      <a:pt x="242" y="107"/>
                      <a:pt x="243" y="106"/>
                    </a:cubicBezTo>
                    <a:lnTo>
                      <a:pt x="291" y="62"/>
                    </a:lnTo>
                    <a:lnTo>
                      <a:pt x="289" y="71"/>
                    </a:lnTo>
                    <a:lnTo>
                      <a:pt x="270" y="21"/>
                    </a:lnTo>
                    <a:cubicBezTo>
                      <a:pt x="269" y="17"/>
                      <a:pt x="270" y="13"/>
                      <a:pt x="274" y="11"/>
                    </a:cubicBezTo>
                    <a:lnTo>
                      <a:pt x="298" y="1"/>
                    </a:lnTo>
                    <a:cubicBezTo>
                      <a:pt x="300" y="0"/>
                      <a:pt x="303" y="0"/>
                      <a:pt x="305" y="1"/>
                    </a:cubicBezTo>
                    <a:cubicBezTo>
                      <a:pt x="307" y="2"/>
                      <a:pt x="308" y="4"/>
                      <a:pt x="309" y="7"/>
                    </a:cubicBezTo>
                    <a:lnTo>
                      <a:pt x="343" y="161"/>
                    </a:lnTo>
                    <a:cubicBezTo>
                      <a:pt x="344" y="165"/>
                      <a:pt x="342" y="169"/>
                      <a:pt x="339" y="170"/>
                    </a:cubicBezTo>
                    <a:lnTo>
                      <a:pt x="281" y="198"/>
                    </a:lnTo>
                    <a:lnTo>
                      <a:pt x="285" y="187"/>
                    </a:lnTo>
                    <a:lnTo>
                      <a:pt x="352" y="311"/>
                    </a:lnTo>
                    <a:cubicBezTo>
                      <a:pt x="353" y="313"/>
                      <a:pt x="353" y="315"/>
                      <a:pt x="353" y="317"/>
                    </a:cubicBezTo>
                    <a:lnTo>
                      <a:pt x="309" y="462"/>
                    </a:lnTo>
                    <a:lnTo>
                      <a:pt x="308" y="455"/>
                    </a:lnTo>
                    <a:lnTo>
                      <a:pt x="383" y="565"/>
                    </a:lnTo>
                    <a:cubicBezTo>
                      <a:pt x="384" y="567"/>
                      <a:pt x="385" y="568"/>
                      <a:pt x="384" y="570"/>
                    </a:cubicBezTo>
                    <a:lnTo>
                      <a:pt x="376" y="649"/>
                    </a:lnTo>
                    <a:cubicBezTo>
                      <a:pt x="376" y="652"/>
                      <a:pt x="375" y="654"/>
                      <a:pt x="373" y="655"/>
                    </a:cubicBezTo>
                    <a:cubicBezTo>
                      <a:pt x="371" y="656"/>
                      <a:pt x="368" y="657"/>
                      <a:pt x="366" y="656"/>
                    </a:cubicBezTo>
                    <a:lnTo>
                      <a:pt x="240" y="620"/>
                    </a:lnTo>
                    <a:lnTo>
                      <a:pt x="242" y="620"/>
                    </a:lnTo>
                    <a:lnTo>
                      <a:pt x="146" y="619"/>
                    </a:lnTo>
                    <a:lnTo>
                      <a:pt x="68" y="620"/>
                    </a:lnTo>
                    <a:cubicBezTo>
                      <a:pt x="66" y="620"/>
                      <a:pt x="63" y="620"/>
                      <a:pt x="62" y="618"/>
                    </a:cubicBezTo>
                    <a:cubicBezTo>
                      <a:pt x="60" y="617"/>
                      <a:pt x="60" y="615"/>
                      <a:pt x="60" y="612"/>
                    </a:cubicBezTo>
                    <a:lnTo>
                      <a:pt x="58" y="507"/>
                    </a:lnTo>
                    <a:lnTo>
                      <a:pt x="61" y="513"/>
                    </a:lnTo>
                    <a:lnTo>
                      <a:pt x="4" y="472"/>
                    </a:lnTo>
                    <a:close/>
                    <a:moveTo>
                      <a:pt x="71" y="500"/>
                    </a:moveTo>
                    <a:cubicBezTo>
                      <a:pt x="73" y="502"/>
                      <a:pt x="74" y="504"/>
                      <a:pt x="74" y="507"/>
                    </a:cubicBezTo>
                    <a:lnTo>
                      <a:pt x="76" y="612"/>
                    </a:lnTo>
                    <a:lnTo>
                      <a:pt x="67" y="604"/>
                    </a:lnTo>
                    <a:lnTo>
                      <a:pt x="146" y="603"/>
                    </a:lnTo>
                    <a:lnTo>
                      <a:pt x="242" y="604"/>
                    </a:lnTo>
                    <a:cubicBezTo>
                      <a:pt x="243" y="604"/>
                      <a:pt x="243" y="604"/>
                      <a:pt x="244" y="605"/>
                    </a:cubicBezTo>
                    <a:lnTo>
                      <a:pt x="370" y="641"/>
                    </a:lnTo>
                    <a:lnTo>
                      <a:pt x="360" y="648"/>
                    </a:lnTo>
                    <a:lnTo>
                      <a:pt x="369" y="569"/>
                    </a:lnTo>
                    <a:lnTo>
                      <a:pt x="370" y="574"/>
                    </a:lnTo>
                    <a:lnTo>
                      <a:pt x="294" y="464"/>
                    </a:lnTo>
                    <a:cubicBezTo>
                      <a:pt x="293" y="462"/>
                      <a:pt x="293" y="459"/>
                      <a:pt x="293" y="457"/>
                    </a:cubicBezTo>
                    <a:lnTo>
                      <a:pt x="337" y="312"/>
                    </a:lnTo>
                    <a:lnTo>
                      <a:pt x="338" y="318"/>
                    </a:lnTo>
                    <a:lnTo>
                      <a:pt x="271" y="195"/>
                    </a:lnTo>
                    <a:cubicBezTo>
                      <a:pt x="270" y="193"/>
                      <a:pt x="269" y="191"/>
                      <a:pt x="270" y="189"/>
                    </a:cubicBezTo>
                    <a:cubicBezTo>
                      <a:pt x="271" y="187"/>
                      <a:pt x="272" y="185"/>
                      <a:pt x="274" y="184"/>
                    </a:cubicBezTo>
                    <a:lnTo>
                      <a:pt x="332" y="156"/>
                    </a:lnTo>
                    <a:lnTo>
                      <a:pt x="327" y="165"/>
                    </a:lnTo>
                    <a:lnTo>
                      <a:pt x="293" y="10"/>
                    </a:lnTo>
                    <a:lnTo>
                      <a:pt x="304" y="16"/>
                    </a:lnTo>
                    <a:lnTo>
                      <a:pt x="281" y="26"/>
                    </a:lnTo>
                    <a:lnTo>
                      <a:pt x="285" y="15"/>
                    </a:lnTo>
                    <a:lnTo>
                      <a:pt x="304" y="65"/>
                    </a:lnTo>
                    <a:cubicBezTo>
                      <a:pt x="305" y="68"/>
                      <a:pt x="305" y="71"/>
                      <a:pt x="302" y="74"/>
                    </a:cubicBezTo>
                    <a:lnTo>
                      <a:pt x="254" y="118"/>
                    </a:lnTo>
                    <a:lnTo>
                      <a:pt x="256" y="115"/>
                    </a:lnTo>
                    <a:lnTo>
                      <a:pt x="157" y="364"/>
                    </a:lnTo>
                    <a:cubicBezTo>
                      <a:pt x="156" y="367"/>
                      <a:pt x="152" y="369"/>
                      <a:pt x="148" y="368"/>
                    </a:cubicBezTo>
                    <a:lnTo>
                      <a:pt x="59" y="352"/>
                    </a:lnTo>
                    <a:lnTo>
                      <a:pt x="68" y="347"/>
                    </a:lnTo>
                    <a:lnTo>
                      <a:pt x="16" y="469"/>
                    </a:lnTo>
                    <a:lnTo>
                      <a:pt x="13" y="459"/>
                    </a:lnTo>
                    <a:lnTo>
                      <a:pt x="71" y="500"/>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13" name="Freeform 369"/>
              <p:cNvSpPr>
                <a:spLocks/>
              </p:cNvSpPr>
              <p:nvPr/>
            </p:nvSpPr>
            <p:spPr bwMode="auto">
              <a:xfrm>
                <a:off x="2945" y="1978"/>
                <a:ext cx="181" cy="106"/>
              </a:xfrm>
              <a:custGeom>
                <a:avLst/>
                <a:gdLst/>
                <a:ahLst/>
                <a:cxnLst>
                  <a:cxn ang="0">
                    <a:pos x="0" y="80"/>
                  </a:cxn>
                  <a:cxn ang="0">
                    <a:pos x="13" y="47"/>
                  </a:cxn>
                  <a:cxn ang="0">
                    <a:pos x="58" y="38"/>
                  </a:cxn>
                  <a:cxn ang="0">
                    <a:pos x="63" y="28"/>
                  </a:cxn>
                  <a:cxn ang="0">
                    <a:pos x="83" y="24"/>
                  </a:cxn>
                  <a:cxn ang="0">
                    <a:pos x="114" y="0"/>
                  </a:cxn>
                  <a:cxn ang="0">
                    <a:pos x="124" y="28"/>
                  </a:cxn>
                  <a:cxn ang="0">
                    <a:pos x="148" y="38"/>
                  </a:cxn>
                  <a:cxn ang="0">
                    <a:pos x="181" y="77"/>
                  </a:cxn>
                  <a:cxn ang="0">
                    <a:pos x="97" y="88"/>
                  </a:cxn>
                  <a:cxn ang="0">
                    <a:pos x="70" y="77"/>
                  </a:cxn>
                  <a:cxn ang="0">
                    <a:pos x="58" y="96"/>
                  </a:cxn>
                  <a:cxn ang="0">
                    <a:pos x="34" y="96"/>
                  </a:cxn>
                  <a:cxn ang="0">
                    <a:pos x="22" y="106"/>
                  </a:cxn>
                  <a:cxn ang="0">
                    <a:pos x="0" y="80"/>
                  </a:cxn>
                </a:cxnLst>
                <a:rect l="0" t="0" r="r" b="b"/>
                <a:pathLst>
                  <a:path w="181" h="106">
                    <a:moveTo>
                      <a:pt x="0" y="80"/>
                    </a:moveTo>
                    <a:lnTo>
                      <a:pt x="13" y="47"/>
                    </a:lnTo>
                    <a:lnTo>
                      <a:pt x="58" y="38"/>
                    </a:lnTo>
                    <a:lnTo>
                      <a:pt x="63" y="28"/>
                    </a:lnTo>
                    <a:lnTo>
                      <a:pt x="83" y="24"/>
                    </a:lnTo>
                    <a:lnTo>
                      <a:pt x="114" y="0"/>
                    </a:lnTo>
                    <a:lnTo>
                      <a:pt x="124" y="28"/>
                    </a:lnTo>
                    <a:lnTo>
                      <a:pt x="148" y="38"/>
                    </a:lnTo>
                    <a:lnTo>
                      <a:pt x="181" y="77"/>
                    </a:lnTo>
                    <a:lnTo>
                      <a:pt x="97" y="88"/>
                    </a:lnTo>
                    <a:lnTo>
                      <a:pt x="70" y="77"/>
                    </a:lnTo>
                    <a:lnTo>
                      <a:pt x="58" y="96"/>
                    </a:lnTo>
                    <a:lnTo>
                      <a:pt x="34" y="96"/>
                    </a:lnTo>
                    <a:lnTo>
                      <a:pt x="22" y="106"/>
                    </a:lnTo>
                    <a:lnTo>
                      <a:pt x="0" y="8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14" name="Freeform 370"/>
              <p:cNvSpPr>
                <a:spLocks noEditPoints="1"/>
              </p:cNvSpPr>
              <p:nvPr/>
            </p:nvSpPr>
            <p:spPr bwMode="auto">
              <a:xfrm>
                <a:off x="2943" y="1976"/>
                <a:ext cx="186" cy="110"/>
              </a:xfrm>
              <a:custGeom>
                <a:avLst/>
                <a:gdLst/>
                <a:ahLst/>
                <a:cxnLst>
                  <a:cxn ang="0">
                    <a:pos x="2" y="366"/>
                  </a:cxn>
                  <a:cxn ang="0">
                    <a:pos x="1" y="359"/>
                  </a:cxn>
                  <a:cxn ang="0">
                    <a:pos x="45" y="213"/>
                  </a:cxn>
                  <a:cxn ang="0">
                    <a:pos x="51" y="208"/>
                  </a:cxn>
                  <a:cxn ang="0">
                    <a:pos x="204" y="170"/>
                  </a:cxn>
                  <a:cxn ang="0">
                    <a:pos x="199" y="175"/>
                  </a:cxn>
                  <a:cxn ang="0">
                    <a:pos x="215" y="128"/>
                  </a:cxn>
                  <a:cxn ang="0">
                    <a:pos x="221" y="123"/>
                  </a:cxn>
                  <a:cxn ang="0">
                    <a:pos x="293" y="107"/>
                  </a:cxn>
                  <a:cxn ang="0">
                    <a:pos x="289" y="109"/>
                  </a:cxn>
                  <a:cxn ang="0">
                    <a:pos x="395" y="3"/>
                  </a:cxn>
                  <a:cxn ang="0">
                    <a:pos x="402" y="1"/>
                  </a:cxn>
                  <a:cxn ang="0">
                    <a:pos x="408" y="6"/>
                  </a:cxn>
                  <a:cxn ang="0">
                    <a:pos x="442" y="131"/>
                  </a:cxn>
                  <a:cxn ang="0">
                    <a:pos x="438" y="126"/>
                  </a:cxn>
                  <a:cxn ang="0">
                    <a:pos x="520" y="170"/>
                  </a:cxn>
                  <a:cxn ang="0">
                    <a:pos x="522" y="173"/>
                  </a:cxn>
                  <a:cxn ang="0">
                    <a:pos x="639" y="340"/>
                  </a:cxn>
                  <a:cxn ang="0">
                    <a:pos x="640" y="348"/>
                  </a:cxn>
                  <a:cxn ang="0">
                    <a:pos x="634" y="353"/>
                  </a:cxn>
                  <a:cxn ang="0">
                    <a:pos x="344" y="402"/>
                  </a:cxn>
                  <a:cxn ang="0">
                    <a:pos x="339" y="402"/>
                  </a:cxn>
                  <a:cxn ang="0">
                    <a:pos x="245" y="352"/>
                  </a:cxn>
                  <a:cxn ang="0">
                    <a:pos x="256" y="349"/>
                  </a:cxn>
                  <a:cxn ang="0">
                    <a:pos x="214" y="431"/>
                  </a:cxn>
                  <a:cxn ang="0">
                    <a:pos x="206" y="436"/>
                  </a:cxn>
                  <a:cxn ang="0">
                    <a:pos x="124" y="436"/>
                  </a:cxn>
                  <a:cxn ang="0">
                    <a:pos x="130" y="433"/>
                  </a:cxn>
                  <a:cxn ang="0">
                    <a:pos x="90" y="478"/>
                  </a:cxn>
                  <a:cxn ang="0">
                    <a:pos x="84" y="480"/>
                  </a:cxn>
                  <a:cxn ang="0">
                    <a:pos x="77" y="477"/>
                  </a:cxn>
                  <a:cxn ang="0">
                    <a:pos x="2" y="366"/>
                  </a:cxn>
                  <a:cxn ang="0">
                    <a:pos x="91" y="468"/>
                  </a:cxn>
                  <a:cxn ang="0">
                    <a:pos x="78" y="467"/>
                  </a:cxn>
                  <a:cxn ang="0">
                    <a:pos x="118" y="422"/>
                  </a:cxn>
                  <a:cxn ang="0">
                    <a:pos x="124" y="420"/>
                  </a:cxn>
                  <a:cxn ang="0">
                    <a:pos x="206" y="420"/>
                  </a:cxn>
                  <a:cxn ang="0">
                    <a:pos x="199" y="424"/>
                  </a:cxn>
                  <a:cxn ang="0">
                    <a:pos x="242" y="341"/>
                  </a:cxn>
                  <a:cxn ang="0">
                    <a:pos x="247" y="337"/>
                  </a:cxn>
                  <a:cxn ang="0">
                    <a:pos x="253" y="338"/>
                  </a:cxn>
                  <a:cxn ang="0">
                    <a:pos x="346" y="388"/>
                  </a:cxn>
                  <a:cxn ang="0">
                    <a:pos x="341" y="387"/>
                  </a:cxn>
                  <a:cxn ang="0">
                    <a:pos x="631" y="337"/>
                  </a:cxn>
                  <a:cxn ang="0">
                    <a:pos x="626" y="349"/>
                  </a:cxn>
                  <a:cxn ang="0">
                    <a:pos x="509" y="182"/>
                  </a:cxn>
                  <a:cxn ang="0">
                    <a:pos x="512" y="185"/>
                  </a:cxn>
                  <a:cxn ang="0">
                    <a:pos x="431" y="140"/>
                  </a:cxn>
                  <a:cxn ang="0">
                    <a:pos x="427" y="135"/>
                  </a:cxn>
                  <a:cxn ang="0">
                    <a:pos x="392" y="11"/>
                  </a:cxn>
                  <a:cxn ang="0">
                    <a:pos x="406" y="14"/>
                  </a:cxn>
                  <a:cxn ang="0">
                    <a:pos x="300" y="120"/>
                  </a:cxn>
                  <a:cxn ang="0">
                    <a:pos x="296" y="122"/>
                  </a:cxn>
                  <a:cxn ang="0">
                    <a:pos x="225" y="139"/>
                  </a:cxn>
                  <a:cxn ang="0">
                    <a:pos x="230" y="134"/>
                  </a:cxn>
                  <a:cxn ang="0">
                    <a:pos x="214" y="180"/>
                  </a:cxn>
                  <a:cxn ang="0">
                    <a:pos x="208" y="185"/>
                  </a:cxn>
                  <a:cxn ang="0">
                    <a:pos x="54" y="223"/>
                  </a:cxn>
                  <a:cxn ang="0">
                    <a:pos x="60" y="218"/>
                  </a:cxn>
                  <a:cxn ang="0">
                    <a:pos x="16" y="364"/>
                  </a:cxn>
                  <a:cxn ang="0">
                    <a:pos x="15" y="357"/>
                  </a:cxn>
                  <a:cxn ang="0">
                    <a:pos x="91" y="468"/>
                  </a:cxn>
                </a:cxnLst>
                <a:rect l="0" t="0" r="r" b="b"/>
                <a:pathLst>
                  <a:path w="641" h="481">
                    <a:moveTo>
                      <a:pt x="2" y="366"/>
                    </a:moveTo>
                    <a:cubicBezTo>
                      <a:pt x="0" y="364"/>
                      <a:pt x="0" y="361"/>
                      <a:pt x="1" y="359"/>
                    </a:cubicBezTo>
                    <a:lnTo>
                      <a:pt x="45" y="213"/>
                    </a:lnTo>
                    <a:cubicBezTo>
                      <a:pt x="46" y="211"/>
                      <a:pt x="48" y="209"/>
                      <a:pt x="51" y="208"/>
                    </a:cubicBezTo>
                    <a:lnTo>
                      <a:pt x="204" y="170"/>
                    </a:lnTo>
                    <a:lnTo>
                      <a:pt x="199" y="175"/>
                    </a:lnTo>
                    <a:lnTo>
                      <a:pt x="215" y="128"/>
                    </a:lnTo>
                    <a:cubicBezTo>
                      <a:pt x="216" y="126"/>
                      <a:pt x="218" y="124"/>
                      <a:pt x="221" y="123"/>
                    </a:cubicBezTo>
                    <a:lnTo>
                      <a:pt x="293" y="107"/>
                    </a:lnTo>
                    <a:lnTo>
                      <a:pt x="289" y="109"/>
                    </a:lnTo>
                    <a:lnTo>
                      <a:pt x="395" y="3"/>
                    </a:lnTo>
                    <a:cubicBezTo>
                      <a:pt x="397" y="1"/>
                      <a:pt x="399" y="0"/>
                      <a:pt x="402" y="1"/>
                    </a:cubicBezTo>
                    <a:cubicBezTo>
                      <a:pt x="405" y="1"/>
                      <a:pt x="407" y="4"/>
                      <a:pt x="408" y="6"/>
                    </a:cubicBezTo>
                    <a:lnTo>
                      <a:pt x="442" y="131"/>
                    </a:lnTo>
                    <a:lnTo>
                      <a:pt x="438" y="126"/>
                    </a:lnTo>
                    <a:lnTo>
                      <a:pt x="520" y="170"/>
                    </a:lnTo>
                    <a:cubicBezTo>
                      <a:pt x="521" y="171"/>
                      <a:pt x="521" y="172"/>
                      <a:pt x="522" y="173"/>
                    </a:cubicBezTo>
                    <a:lnTo>
                      <a:pt x="639" y="340"/>
                    </a:lnTo>
                    <a:cubicBezTo>
                      <a:pt x="641" y="343"/>
                      <a:pt x="641" y="345"/>
                      <a:pt x="640" y="348"/>
                    </a:cubicBezTo>
                    <a:cubicBezTo>
                      <a:pt x="639" y="350"/>
                      <a:pt x="637" y="352"/>
                      <a:pt x="634" y="353"/>
                    </a:cubicBezTo>
                    <a:lnTo>
                      <a:pt x="344" y="402"/>
                    </a:lnTo>
                    <a:cubicBezTo>
                      <a:pt x="342" y="403"/>
                      <a:pt x="340" y="402"/>
                      <a:pt x="339" y="402"/>
                    </a:cubicBezTo>
                    <a:lnTo>
                      <a:pt x="245" y="352"/>
                    </a:lnTo>
                    <a:lnTo>
                      <a:pt x="256" y="349"/>
                    </a:lnTo>
                    <a:lnTo>
                      <a:pt x="214" y="431"/>
                    </a:lnTo>
                    <a:cubicBezTo>
                      <a:pt x="212" y="434"/>
                      <a:pt x="209" y="436"/>
                      <a:pt x="206" y="436"/>
                    </a:cubicBezTo>
                    <a:lnTo>
                      <a:pt x="124" y="436"/>
                    </a:lnTo>
                    <a:lnTo>
                      <a:pt x="130" y="433"/>
                    </a:lnTo>
                    <a:lnTo>
                      <a:pt x="90" y="478"/>
                    </a:lnTo>
                    <a:cubicBezTo>
                      <a:pt x="88" y="480"/>
                      <a:pt x="86" y="481"/>
                      <a:pt x="84" y="480"/>
                    </a:cubicBezTo>
                    <a:cubicBezTo>
                      <a:pt x="81" y="480"/>
                      <a:pt x="79" y="479"/>
                      <a:pt x="77" y="477"/>
                    </a:cubicBezTo>
                    <a:lnTo>
                      <a:pt x="2" y="366"/>
                    </a:lnTo>
                    <a:close/>
                    <a:moveTo>
                      <a:pt x="91" y="468"/>
                    </a:moveTo>
                    <a:lnTo>
                      <a:pt x="78" y="467"/>
                    </a:lnTo>
                    <a:lnTo>
                      <a:pt x="118" y="422"/>
                    </a:lnTo>
                    <a:cubicBezTo>
                      <a:pt x="119" y="421"/>
                      <a:pt x="122" y="420"/>
                      <a:pt x="124" y="420"/>
                    </a:cubicBezTo>
                    <a:lnTo>
                      <a:pt x="206" y="420"/>
                    </a:lnTo>
                    <a:lnTo>
                      <a:pt x="199" y="424"/>
                    </a:lnTo>
                    <a:lnTo>
                      <a:pt x="242" y="341"/>
                    </a:lnTo>
                    <a:cubicBezTo>
                      <a:pt x="243" y="339"/>
                      <a:pt x="245" y="338"/>
                      <a:pt x="247" y="337"/>
                    </a:cubicBezTo>
                    <a:cubicBezTo>
                      <a:pt x="249" y="337"/>
                      <a:pt x="251" y="337"/>
                      <a:pt x="253" y="338"/>
                    </a:cubicBezTo>
                    <a:lnTo>
                      <a:pt x="346" y="388"/>
                    </a:lnTo>
                    <a:lnTo>
                      <a:pt x="341" y="387"/>
                    </a:lnTo>
                    <a:lnTo>
                      <a:pt x="631" y="337"/>
                    </a:lnTo>
                    <a:lnTo>
                      <a:pt x="626" y="349"/>
                    </a:lnTo>
                    <a:lnTo>
                      <a:pt x="509" y="182"/>
                    </a:lnTo>
                    <a:lnTo>
                      <a:pt x="512" y="185"/>
                    </a:lnTo>
                    <a:lnTo>
                      <a:pt x="431" y="140"/>
                    </a:lnTo>
                    <a:cubicBezTo>
                      <a:pt x="429" y="139"/>
                      <a:pt x="427" y="137"/>
                      <a:pt x="427" y="135"/>
                    </a:cubicBezTo>
                    <a:lnTo>
                      <a:pt x="392" y="11"/>
                    </a:lnTo>
                    <a:lnTo>
                      <a:pt x="406" y="14"/>
                    </a:lnTo>
                    <a:lnTo>
                      <a:pt x="300" y="120"/>
                    </a:lnTo>
                    <a:cubicBezTo>
                      <a:pt x="299" y="121"/>
                      <a:pt x="298" y="122"/>
                      <a:pt x="296" y="122"/>
                    </a:cubicBezTo>
                    <a:lnTo>
                      <a:pt x="225" y="139"/>
                    </a:lnTo>
                    <a:lnTo>
                      <a:pt x="230" y="134"/>
                    </a:lnTo>
                    <a:lnTo>
                      <a:pt x="214" y="180"/>
                    </a:lnTo>
                    <a:cubicBezTo>
                      <a:pt x="213" y="183"/>
                      <a:pt x="211" y="185"/>
                      <a:pt x="208" y="185"/>
                    </a:cubicBezTo>
                    <a:lnTo>
                      <a:pt x="54" y="223"/>
                    </a:lnTo>
                    <a:lnTo>
                      <a:pt x="60" y="218"/>
                    </a:lnTo>
                    <a:lnTo>
                      <a:pt x="16" y="364"/>
                    </a:lnTo>
                    <a:lnTo>
                      <a:pt x="15" y="357"/>
                    </a:lnTo>
                    <a:lnTo>
                      <a:pt x="91" y="468"/>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15" name="Freeform 371"/>
              <p:cNvSpPr>
                <a:spLocks/>
              </p:cNvSpPr>
              <p:nvPr/>
            </p:nvSpPr>
            <p:spPr bwMode="auto">
              <a:xfrm>
                <a:off x="2931" y="1809"/>
                <a:ext cx="149" cy="216"/>
              </a:xfrm>
              <a:custGeom>
                <a:avLst/>
                <a:gdLst/>
                <a:ahLst/>
                <a:cxnLst>
                  <a:cxn ang="0">
                    <a:pos x="0" y="124"/>
                  </a:cxn>
                  <a:cxn ang="0">
                    <a:pos x="22" y="135"/>
                  </a:cxn>
                  <a:cxn ang="0">
                    <a:pos x="16" y="146"/>
                  </a:cxn>
                  <a:cxn ang="0">
                    <a:pos x="26" y="181"/>
                  </a:cxn>
                  <a:cxn ang="0">
                    <a:pos x="9" y="188"/>
                  </a:cxn>
                  <a:cxn ang="0">
                    <a:pos x="29" y="216"/>
                  </a:cxn>
                  <a:cxn ang="0">
                    <a:pos x="74" y="208"/>
                  </a:cxn>
                  <a:cxn ang="0">
                    <a:pos x="79" y="197"/>
                  </a:cxn>
                  <a:cxn ang="0">
                    <a:pos x="99" y="193"/>
                  </a:cxn>
                  <a:cxn ang="0">
                    <a:pos x="130" y="169"/>
                  </a:cxn>
                  <a:cxn ang="0">
                    <a:pos x="119" y="143"/>
                  </a:cxn>
                  <a:cxn ang="0">
                    <a:pos x="134" y="107"/>
                  </a:cxn>
                  <a:cxn ang="0">
                    <a:pos x="148" y="105"/>
                  </a:cxn>
                  <a:cxn ang="0">
                    <a:pos x="149" y="55"/>
                  </a:cxn>
                  <a:cxn ang="0">
                    <a:pos x="38" y="0"/>
                  </a:cxn>
                  <a:cxn ang="0">
                    <a:pos x="23" y="6"/>
                  </a:cxn>
                  <a:cxn ang="0">
                    <a:pos x="23" y="27"/>
                  </a:cxn>
                  <a:cxn ang="0">
                    <a:pos x="38" y="42"/>
                  </a:cxn>
                  <a:cxn ang="0">
                    <a:pos x="29" y="89"/>
                  </a:cxn>
                  <a:cxn ang="0">
                    <a:pos x="0" y="124"/>
                  </a:cxn>
                </a:cxnLst>
                <a:rect l="0" t="0" r="r" b="b"/>
                <a:pathLst>
                  <a:path w="149" h="216">
                    <a:moveTo>
                      <a:pt x="0" y="124"/>
                    </a:moveTo>
                    <a:lnTo>
                      <a:pt x="22" y="135"/>
                    </a:lnTo>
                    <a:lnTo>
                      <a:pt x="16" y="146"/>
                    </a:lnTo>
                    <a:lnTo>
                      <a:pt x="26" y="181"/>
                    </a:lnTo>
                    <a:lnTo>
                      <a:pt x="9" y="188"/>
                    </a:lnTo>
                    <a:lnTo>
                      <a:pt x="29" y="216"/>
                    </a:lnTo>
                    <a:lnTo>
                      <a:pt x="74" y="208"/>
                    </a:lnTo>
                    <a:lnTo>
                      <a:pt x="79" y="197"/>
                    </a:lnTo>
                    <a:lnTo>
                      <a:pt x="99" y="193"/>
                    </a:lnTo>
                    <a:lnTo>
                      <a:pt x="130" y="169"/>
                    </a:lnTo>
                    <a:lnTo>
                      <a:pt x="119" y="143"/>
                    </a:lnTo>
                    <a:lnTo>
                      <a:pt x="134" y="107"/>
                    </a:lnTo>
                    <a:lnTo>
                      <a:pt x="148" y="105"/>
                    </a:lnTo>
                    <a:lnTo>
                      <a:pt x="149" y="55"/>
                    </a:lnTo>
                    <a:lnTo>
                      <a:pt x="38" y="0"/>
                    </a:lnTo>
                    <a:lnTo>
                      <a:pt x="23" y="6"/>
                    </a:lnTo>
                    <a:lnTo>
                      <a:pt x="23" y="27"/>
                    </a:lnTo>
                    <a:lnTo>
                      <a:pt x="38" y="42"/>
                    </a:lnTo>
                    <a:lnTo>
                      <a:pt x="29" y="89"/>
                    </a:lnTo>
                    <a:lnTo>
                      <a:pt x="0" y="124"/>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16" name="Freeform 372"/>
              <p:cNvSpPr>
                <a:spLocks noEditPoints="1"/>
              </p:cNvSpPr>
              <p:nvPr/>
            </p:nvSpPr>
            <p:spPr bwMode="auto">
              <a:xfrm>
                <a:off x="2929" y="1808"/>
                <a:ext cx="154" cy="219"/>
              </a:xfrm>
              <a:custGeom>
                <a:avLst/>
                <a:gdLst/>
                <a:ahLst/>
                <a:cxnLst>
                  <a:cxn ang="0">
                    <a:pos x="14" y="541"/>
                  </a:cxn>
                  <a:cxn ang="0">
                    <a:pos x="90" y="599"/>
                  </a:cxn>
                  <a:cxn ang="0">
                    <a:pos x="71" y="641"/>
                  </a:cxn>
                  <a:cxn ang="0">
                    <a:pos x="101" y="806"/>
                  </a:cxn>
                  <a:cxn ang="0">
                    <a:pos x="47" y="824"/>
                  </a:cxn>
                  <a:cxn ang="0">
                    <a:pos x="106" y="945"/>
                  </a:cxn>
                  <a:cxn ang="0">
                    <a:pos x="254" y="911"/>
                  </a:cxn>
                  <a:cxn ang="0">
                    <a:pos x="277" y="860"/>
                  </a:cxn>
                  <a:cxn ang="0">
                    <a:pos x="345" y="845"/>
                  </a:cxn>
                  <a:cxn ang="0">
                    <a:pos x="449" y="747"/>
                  </a:cxn>
                  <a:cxn ang="0">
                    <a:pos x="412" y="629"/>
                  </a:cxn>
                  <a:cxn ang="0">
                    <a:pos x="469" y="469"/>
                  </a:cxn>
                  <a:cxn ang="0">
                    <a:pos x="511" y="465"/>
                  </a:cxn>
                  <a:cxn ang="0">
                    <a:pos x="517" y="253"/>
                  </a:cxn>
                  <a:cxn ang="0">
                    <a:pos x="141" y="16"/>
                  </a:cxn>
                  <a:cxn ang="0">
                    <a:pos x="95" y="32"/>
                  </a:cxn>
                  <a:cxn ang="0">
                    <a:pos x="93" y="118"/>
                  </a:cxn>
                  <a:cxn ang="0">
                    <a:pos x="146" y="189"/>
                  </a:cxn>
                  <a:cxn ang="0">
                    <a:pos x="114" y="401"/>
                  </a:cxn>
                  <a:cxn ang="0">
                    <a:pos x="101" y="392"/>
                  </a:cxn>
                  <a:cxn ang="0">
                    <a:pos x="130" y="187"/>
                  </a:cxn>
                  <a:cxn ang="0">
                    <a:pos x="80" y="128"/>
                  </a:cxn>
                  <a:cxn ang="0">
                    <a:pos x="79" y="32"/>
                  </a:cxn>
                  <a:cxn ang="0">
                    <a:pos x="134" y="1"/>
                  </a:cxn>
                  <a:cxn ang="0">
                    <a:pos x="526" y="240"/>
                  </a:cxn>
                  <a:cxn ang="0">
                    <a:pos x="527" y="465"/>
                  </a:cxn>
                  <a:cxn ang="0">
                    <a:pos x="472" y="484"/>
                  </a:cxn>
                  <a:cxn ang="0">
                    <a:pos x="427" y="634"/>
                  </a:cxn>
                  <a:cxn ang="0">
                    <a:pos x="464" y="742"/>
                  </a:cxn>
                  <a:cxn ang="0">
                    <a:pos x="356" y="857"/>
                  </a:cxn>
                  <a:cxn ang="0">
                    <a:pos x="280" y="875"/>
                  </a:cxn>
                  <a:cxn ang="0">
                    <a:pos x="270" y="917"/>
                  </a:cxn>
                  <a:cxn ang="0">
                    <a:pos x="109" y="960"/>
                  </a:cxn>
                  <a:cxn ang="0">
                    <a:pos x="33" y="831"/>
                  </a:cxn>
                  <a:cxn ang="0">
                    <a:pos x="36" y="820"/>
                  </a:cxn>
                  <a:cxn ang="0">
                    <a:pos x="90" y="801"/>
                  </a:cxn>
                  <a:cxn ang="0">
                    <a:pos x="56" y="640"/>
                  </a:cxn>
                  <a:cxn ang="0">
                    <a:pos x="78" y="603"/>
                  </a:cxn>
                  <a:cxn ang="0">
                    <a:pos x="3" y="544"/>
                  </a:cxn>
                </a:cxnLst>
                <a:rect l="0" t="0" r="r" b="b"/>
                <a:pathLst>
                  <a:path w="530" h="961">
                    <a:moveTo>
                      <a:pt x="16" y="552"/>
                    </a:moveTo>
                    <a:lnTo>
                      <a:pt x="14" y="541"/>
                    </a:lnTo>
                    <a:lnTo>
                      <a:pt x="87" y="589"/>
                    </a:lnTo>
                    <a:cubicBezTo>
                      <a:pt x="90" y="592"/>
                      <a:pt x="91" y="596"/>
                      <a:pt x="90" y="599"/>
                    </a:cubicBezTo>
                    <a:lnTo>
                      <a:pt x="71" y="646"/>
                    </a:lnTo>
                    <a:lnTo>
                      <a:pt x="71" y="641"/>
                    </a:lnTo>
                    <a:lnTo>
                      <a:pt x="106" y="798"/>
                    </a:lnTo>
                    <a:cubicBezTo>
                      <a:pt x="106" y="801"/>
                      <a:pt x="105" y="805"/>
                      <a:pt x="101" y="806"/>
                    </a:cubicBezTo>
                    <a:lnTo>
                      <a:pt x="43" y="835"/>
                    </a:lnTo>
                    <a:lnTo>
                      <a:pt x="47" y="824"/>
                    </a:lnTo>
                    <a:lnTo>
                      <a:pt x="114" y="949"/>
                    </a:lnTo>
                    <a:lnTo>
                      <a:pt x="106" y="945"/>
                    </a:lnTo>
                    <a:lnTo>
                      <a:pt x="260" y="906"/>
                    </a:lnTo>
                    <a:lnTo>
                      <a:pt x="254" y="911"/>
                    </a:lnTo>
                    <a:lnTo>
                      <a:pt x="271" y="865"/>
                    </a:lnTo>
                    <a:cubicBezTo>
                      <a:pt x="272" y="862"/>
                      <a:pt x="274" y="860"/>
                      <a:pt x="277" y="860"/>
                    </a:cubicBezTo>
                    <a:lnTo>
                      <a:pt x="349" y="843"/>
                    </a:lnTo>
                    <a:lnTo>
                      <a:pt x="345" y="845"/>
                    </a:lnTo>
                    <a:lnTo>
                      <a:pt x="451" y="739"/>
                    </a:lnTo>
                    <a:lnTo>
                      <a:pt x="449" y="747"/>
                    </a:lnTo>
                    <a:lnTo>
                      <a:pt x="412" y="634"/>
                    </a:lnTo>
                    <a:cubicBezTo>
                      <a:pt x="411" y="632"/>
                      <a:pt x="411" y="630"/>
                      <a:pt x="412" y="629"/>
                    </a:cubicBezTo>
                    <a:lnTo>
                      <a:pt x="463" y="474"/>
                    </a:lnTo>
                    <a:cubicBezTo>
                      <a:pt x="464" y="471"/>
                      <a:pt x="466" y="469"/>
                      <a:pt x="469" y="469"/>
                    </a:cubicBezTo>
                    <a:lnTo>
                      <a:pt x="517" y="457"/>
                    </a:lnTo>
                    <a:lnTo>
                      <a:pt x="511" y="465"/>
                    </a:lnTo>
                    <a:lnTo>
                      <a:pt x="513" y="246"/>
                    </a:lnTo>
                    <a:lnTo>
                      <a:pt x="517" y="253"/>
                    </a:lnTo>
                    <a:lnTo>
                      <a:pt x="134" y="15"/>
                    </a:lnTo>
                    <a:lnTo>
                      <a:pt x="141" y="16"/>
                    </a:lnTo>
                    <a:lnTo>
                      <a:pt x="90" y="39"/>
                    </a:lnTo>
                    <a:lnTo>
                      <a:pt x="95" y="32"/>
                    </a:lnTo>
                    <a:lnTo>
                      <a:pt x="95" y="123"/>
                    </a:lnTo>
                    <a:lnTo>
                      <a:pt x="93" y="118"/>
                    </a:lnTo>
                    <a:lnTo>
                      <a:pt x="144" y="183"/>
                    </a:lnTo>
                    <a:cubicBezTo>
                      <a:pt x="145" y="185"/>
                      <a:pt x="146" y="187"/>
                      <a:pt x="146" y="189"/>
                    </a:cubicBezTo>
                    <a:lnTo>
                      <a:pt x="115" y="398"/>
                    </a:lnTo>
                    <a:cubicBezTo>
                      <a:pt x="115" y="399"/>
                      <a:pt x="115" y="400"/>
                      <a:pt x="114" y="401"/>
                    </a:cubicBezTo>
                    <a:lnTo>
                      <a:pt x="16" y="552"/>
                    </a:lnTo>
                    <a:close/>
                    <a:moveTo>
                      <a:pt x="101" y="392"/>
                    </a:moveTo>
                    <a:lnTo>
                      <a:pt x="100" y="395"/>
                    </a:lnTo>
                    <a:lnTo>
                      <a:pt x="130" y="187"/>
                    </a:lnTo>
                    <a:lnTo>
                      <a:pt x="132" y="193"/>
                    </a:lnTo>
                    <a:lnTo>
                      <a:pt x="80" y="128"/>
                    </a:lnTo>
                    <a:cubicBezTo>
                      <a:pt x="79" y="127"/>
                      <a:pt x="79" y="125"/>
                      <a:pt x="79" y="123"/>
                    </a:cubicBezTo>
                    <a:lnTo>
                      <a:pt x="79" y="32"/>
                    </a:lnTo>
                    <a:cubicBezTo>
                      <a:pt x="79" y="29"/>
                      <a:pt x="81" y="26"/>
                      <a:pt x="83" y="24"/>
                    </a:cubicBezTo>
                    <a:lnTo>
                      <a:pt x="134" y="1"/>
                    </a:lnTo>
                    <a:cubicBezTo>
                      <a:pt x="137" y="0"/>
                      <a:pt x="140" y="0"/>
                      <a:pt x="142" y="2"/>
                    </a:cubicBezTo>
                    <a:lnTo>
                      <a:pt x="526" y="240"/>
                    </a:lnTo>
                    <a:cubicBezTo>
                      <a:pt x="528" y="241"/>
                      <a:pt x="530" y="244"/>
                      <a:pt x="529" y="247"/>
                    </a:cubicBezTo>
                    <a:lnTo>
                      <a:pt x="527" y="465"/>
                    </a:lnTo>
                    <a:cubicBezTo>
                      <a:pt x="527" y="468"/>
                      <a:pt x="524" y="472"/>
                      <a:pt x="521" y="472"/>
                    </a:cubicBezTo>
                    <a:lnTo>
                      <a:pt x="472" y="484"/>
                    </a:lnTo>
                    <a:lnTo>
                      <a:pt x="478" y="479"/>
                    </a:lnTo>
                    <a:lnTo>
                      <a:pt x="427" y="634"/>
                    </a:lnTo>
                    <a:lnTo>
                      <a:pt x="427" y="629"/>
                    </a:lnTo>
                    <a:lnTo>
                      <a:pt x="464" y="742"/>
                    </a:lnTo>
                    <a:cubicBezTo>
                      <a:pt x="465" y="745"/>
                      <a:pt x="464" y="748"/>
                      <a:pt x="462" y="750"/>
                    </a:cubicBezTo>
                    <a:lnTo>
                      <a:pt x="356" y="857"/>
                    </a:lnTo>
                    <a:cubicBezTo>
                      <a:pt x="355" y="858"/>
                      <a:pt x="354" y="858"/>
                      <a:pt x="352" y="859"/>
                    </a:cubicBezTo>
                    <a:lnTo>
                      <a:pt x="280" y="875"/>
                    </a:lnTo>
                    <a:lnTo>
                      <a:pt x="286" y="870"/>
                    </a:lnTo>
                    <a:lnTo>
                      <a:pt x="270" y="917"/>
                    </a:lnTo>
                    <a:cubicBezTo>
                      <a:pt x="269" y="919"/>
                      <a:pt x="267" y="921"/>
                      <a:pt x="264" y="922"/>
                    </a:cubicBezTo>
                    <a:lnTo>
                      <a:pt x="109" y="960"/>
                    </a:lnTo>
                    <a:cubicBezTo>
                      <a:pt x="106" y="961"/>
                      <a:pt x="102" y="959"/>
                      <a:pt x="100" y="956"/>
                    </a:cubicBezTo>
                    <a:lnTo>
                      <a:pt x="33" y="831"/>
                    </a:lnTo>
                    <a:cubicBezTo>
                      <a:pt x="32" y="829"/>
                      <a:pt x="32" y="827"/>
                      <a:pt x="32" y="825"/>
                    </a:cubicBezTo>
                    <a:cubicBezTo>
                      <a:pt x="33" y="823"/>
                      <a:pt x="34" y="821"/>
                      <a:pt x="36" y="820"/>
                    </a:cubicBezTo>
                    <a:lnTo>
                      <a:pt x="94" y="792"/>
                    </a:lnTo>
                    <a:lnTo>
                      <a:pt x="90" y="801"/>
                    </a:lnTo>
                    <a:lnTo>
                      <a:pt x="55" y="645"/>
                    </a:lnTo>
                    <a:cubicBezTo>
                      <a:pt x="55" y="643"/>
                      <a:pt x="55" y="641"/>
                      <a:pt x="56" y="640"/>
                    </a:cubicBezTo>
                    <a:lnTo>
                      <a:pt x="75" y="593"/>
                    </a:lnTo>
                    <a:lnTo>
                      <a:pt x="78" y="603"/>
                    </a:lnTo>
                    <a:lnTo>
                      <a:pt x="5" y="555"/>
                    </a:lnTo>
                    <a:cubicBezTo>
                      <a:pt x="1" y="552"/>
                      <a:pt x="0" y="547"/>
                      <a:pt x="3" y="544"/>
                    </a:cubicBezTo>
                    <a:lnTo>
                      <a:pt x="101" y="392"/>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17" name="Freeform 373"/>
              <p:cNvSpPr>
                <a:spLocks/>
              </p:cNvSpPr>
              <p:nvPr/>
            </p:nvSpPr>
            <p:spPr bwMode="auto">
              <a:xfrm>
                <a:off x="2899" y="2073"/>
                <a:ext cx="102" cy="117"/>
              </a:xfrm>
              <a:custGeom>
                <a:avLst/>
                <a:gdLst/>
                <a:ahLst/>
                <a:cxnLst>
                  <a:cxn ang="0">
                    <a:pos x="0" y="102"/>
                  </a:cxn>
                  <a:cxn ang="0">
                    <a:pos x="11" y="117"/>
                  </a:cxn>
                  <a:cxn ang="0">
                    <a:pos x="24" y="112"/>
                  </a:cxn>
                  <a:cxn ang="0">
                    <a:pos x="45" y="114"/>
                  </a:cxn>
                  <a:cxn ang="0">
                    <a:pos x="64" y="101"/>
                  </a:cxn>
                  <a:cxn ang="0">
                    <a:pos x="70" y="78"/>
                  </a:cxn>
                  <a:cxn ang="0">
                    <a:pos x="90" y="59"/>
                  </a:cxn>
                  <a:cxn ang="0">
                    <a:pos x="102" y="0"/>
                  </a:cxn>
                  <a:cxn ang="0">
                    <a:pos x="79" y="0"/>
                  </a:cxn>
                  <a:cxn ang="0">
                    <a:pos x="67" y="10"/>
                  </a:cxn>
                  <a:cxn ang="0">
                    <a:pos x="65" y="29"/>
                  </a:cxn>
                  <a:cxn ang="0">
                    <a:pos x="29" y="21"/>
                  </a:cxn>
                  <a:cxn ang="0">
                    <a:pos x="28" y="33"/>
                  </a:cxn>
                  <a:cxn ang="0">
                    <a:pos x="42" y="34"/>
                  </a:cxn>
                  <a:cxn ang="0">
                    <a:pos x="38" y="80"/>
                  </a:cxn>
                  <a:cxn ang="0">
                    <a:pos x="20" y="75"/>
                  </a:cxn>
                  <a:cxn ang="0">
                    <a:pos x="0" y="102"/>
                  </a:cxn>
                </a:cxnLst>
                <a:rect l="0" t="0" r="r" b="b"/>
                <a:pathLst>
                  <a:path w="102" h="117">
                    <a:moveTo>
                      <a:pt x="0" y="102"/>
                    </a:moveTo>
                    <a:lnTo>
                      <a:pt x="11" y="117"/>
                    </a:lnTo>
                    <a:lnTo>
                      <a:pt x="24" y="112"/>
                    </a:lnTo>
                    <a:lnTo>
                      <a:pt x="45" y="114"/>
                    </a:lnTo>
                    <a:lnTo>
                      <a:pt x="64" y="101"/>
                    </a:lnTo>
                    <a:lnTo>
                      <a:pt x="70" y="78"/>
                    </a:lnTo>
                    <a:lnTo>
                      <a:pt x="90" y="59"/>
                    </a:lnTo>
                    <a:lnTo>
                      <a:pt x="102" y="0"/>
                    </a:lnTo>
                    <a:lnTo>
                      <a:pt x="79" y="0"/>
                    </a:lnTo>
                    <a:lnTo>
                      <a:pt x="67" y="10"/>
                    </a:lnTo>
                    <a:lnTo>
                      <a:pt x="65" y="29"/>
                    </a:lnTo>
                    <a:lnTo>
                      <a:pt x="29" y="21"/>
                    </a:lnTo>
                    <a:lnTo>
                      <a:pt x="28" y="33"/>
                    </a:lnTo>
                    <a:lnTo>
                      <a:pt x="42" y="34"/>
                    </a:lnTo>
                    <a:lnTo>
                      <a:pt x="38" y="80"/>
                    </a:lnTo>
                    <a:lnTo>
                      <a:pt x="20" y="75"/>
                    </a:lnTo>
                    <a:lnTo>
                      <a:pt x="0" y="102"/>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18" name="Freeform 374"/>
              <p:cNvSpPr>
                <a:spLocks noEditPoints="1"/>
              </p:cNvSpPr>
              <p:nvPr/>
            </p:nvSpPr>
            <p:spPr bwMode="auto">
              <a:xfrm>
                <a:off x="2897" y="2071"/>
                <a:ext cx="107" cy="121"/>
              </a:xfrm>
              <a:custGeom>
                <a:avLst/>
                <a:gdLst/>
                <a:ahLst/>
                <a:cxnLst>
                  <a:cxn ang="0">
                    <a:pos x="15" y="452"/>
                  </a:cxn>
                  <a:cxn ang="0">
                    <a:pos x="42" y="513"/>
                  </a:cxn>
                  <a:cxn ang="0">
                    <a:pos x="93" y="492"/>
                  </a:cxn>
                  <a:cxn ang="0">
                    <a:pos x="159" y="501"/>
                  </a:cxn>
                  <a:cxn ang="0">
                    <a:pos x="221" y="451"/>
                  </a:cxn>
                  <a:cxn ang="0">
                    <a:pos x="242" y="345"/>
                  </a:cxn>
                  <a:cxn ang="0">
                    <a:pos x="309" y="264"/>
                  </a:cxn>
                  <a:cxn ang="0">
                    <a:pos x="360" y="16"/>
                  </a:cxn>
                  <a:cxn ang="0">
                    <a:pos x="285" y="14"/>
                  </a:cxn>
                  <a:cxn ang="0">
                    <a:pos x="248" y="55"/>
                  </a:cxn>
                  <a:cxn ang="0">
                    <a:pos x="236" y="143"/>
                  </a:cxn>
                  <a:cxn ang="0">
                    <a:pos x="105" y="106"/>
                  </a:cxn>
                  <a:cxn ang="0">
                    <a:pos x="113" y="153"/>
                  </a:cxn>
                  <a:cxn ang="0">
                    <a:pos x="154" y="148"/>
                  </a:cxn>
                  <a:cxn ang="0">
                    <a:pos x="161" y="157"/>
                  </a:cxn>
                  <a:cxn ang="0">
                    <a:pos x="143" y="366"/>
                  </a:cxn>
                  <a:cxn ang="0">
                    <a:pos x="75" y="343"/>
                  </a:cxn>
                  <a:cxn ang="0">
                    <a:pos x="15" y="460"/>
                  </a:cxn>
                  <a:cxn ang="0">
                    <a:pos x="80" y="328"/>
                  </a:cxn>
                  <a:cxn ang="0">
                    <a:pos x="130" y="358"/>
                  </a:cxn>
                  <a:cxn ang="0">
                    <a:pos x="153" y="164"/>
                  </a:cxn>
                  <a:cxn ang="0">
                    <a:pos x="97" y="153"/>
                  </a:cxn>
                  <a:cxn ang="0">
                    <a:pos x="103" y="92"/>
                  </a:cxn>
                  <a:cxn ang="0">
                    <a:pos x="234" y="128"/>
                  </a:cxn>
                  <a:cxn ang="0">
                    <a:pos x="232" y="54"/>
                  </a:cxn>
                  <a:cxn ang="0">
                    <a:pos x="273" y="3"/>
                  </a:cxn>
                  <a:cxn ang="0">
                    <a:pos x="360" y="0"/>
                  </a:cxn>
                  <a:cxn ang="0">
                    <a:pos x="368" y="10"/>
                  </a:cxn>
                  <a:cxn ang="0">
                    <a:pos x="323" y="270"/>
                  </a:cxn>
                  <a:cxn ang="0">
                    <a:pos x="256" y="352"/>
                  </a:cxn>
                  <a:cxn ang="0">
                    <a:pos x="234" y="459"/>
                  </a:cxn>
                  <a:cxn ang="0">
                    <a:pos x="163" y="515"/>
                  </a:cxn>
                  <a:cxn ang="0">
                    <a:pos x="96" y="507"/>
                  </a:cxn>
                  <a:cxn ang="0">
                    <a:pos x="38" y="524"/>
                  </a:cxn>
                  <a:cxn ang="0">
                    <a:pos x="2" y="452"/>
                  </a:cxn>
                </a:cxnLst>
                <a:rect l="0" t="0" r="r" b="b"/>
                <a:pathLst>
                  <a:path w="369" h="529">
                    <a:moveTo>
                      <a:pt x="15" y="460"/>
                    </a:moveTo>
                    <a:lnTo>
                      <a:pt x="15" y="452"/>
                    </a:lnTo>
                    <a:lnTo>
                      <a:pt x="52" y="517"/>
                    </a:lnTo>
                    <a:lnTo>
                      <a:pt x="42" y="513"/>
                    </a:lnTo>
                    <a:lnTo>
                      <a:pt x="89" y="493"/>
                    </a:lnTo>
                    <a:cubicBezTo>
                      <a:pt x="90" y="492"/>
                      <a:pt x="92" y="492"/>
                      <a:pt x="93" y="492"/>
                    </a:cubicBezTo>
                    <a:lnTo>
                      <a:pt x="165" y="499"/>
                    </a:lnTo>
                    <a:lnTo>
                      <a:pt x="159" y="501"/>
                    </a:lnTo>
                    <a:lnTo>
                      <a:pt x="224" y="446"/>
                    </a:lnTo>
                    <a:lnTo>
                      <a:pt x="221" y="451"/>
                    </a:lnTo>
                    <a:lnTo>
                      <a:pt x="240" y="349"/>
                    </a:lnTo>
                    <a:cubicBezTo>
                      <a:pt x="240" y="348"/>
                      <a:pt x="241" y="346"/>
                      <a:pt x="242" y="345"/>
                    </a:cubicBezTo>
                    <a:lnTo>
                      <a:pt x="311" y="260"/>
                    </a:lnTo>
                    <a:lnTo>
                      <a:pt x="309" y="264"/>
                    </a:lnTo>
                    <a:lnTo>
                      <a:pt x="353" y="7"/>
                    </a:lnTo>
                    <a:lnTo>
                      <a:pt x="360" y="16"/>
                    </a:lnTo>
                    <a:lnTo>
                      <a:pt x="279" y="16"/>
                    </a:lnTo>
                    <a:lnTo>
                      <a:pt x="285" y="14"/>
                    </a:lnTo>
                    <a:lnTo>
                      <a:pt x="246" y="60"/>
                    </a:lnTo>
                    <a:lnTo>
                      <a:pt x="248" y="55"/>
                    </a:lnTo>
                    <a:lnTo>
                      <a:pt x="240" y="137"/>
                    </a:lnTo>
                    <a:cubicBezTo>
                      <a:pt x="240" y="139"/>
                      <a:pt x="238" y="141"/>
                      <a:pt x="236" y="143"/>
                    </a:cubicBezTo>
                    <a:cubicBezTo>
                      <a:pt x="234" y="144"/>
                      <a:pt x="232" y="144"/>
                      <a:pt x="230" y="144"/>
                    </a:cubicBezTo>
                    <a:lnTo>
                      <a:pt x="105" y="106"/>
                    </a:lnTo>
                    <a:lnTo>
                      <a:pt x="115" y="99"/>
                    </a:lnTo>
                    <a:lnTo>
                      <a:pt x="113" y="153"/>
                    </a:lnTo>
                    <a:lnTo>
                      <a:pt x="105" y="145"/>
                    </a:lnTo>
                    <a:lnTo>
                      <a:pt x="154" y="148"/>
                    </a:lnTo>
                    <a:cubicBezTo>
                      <a:pt x="156" y="149"/>
                      <a:pt x="158" y="150"/>
                      <a:pt x="159" y="151"/>
                    </a:cubicBezTo>
                    <a:cubicBezTo>
                      <a:pt x="161" y="153"/>
                      <a:pt x="161" y="155"/>
                      <a:pt x="161" y="157"/>
                    </a:cubicBezTo>
                    <a:lnTo>
                      <a:pt x="146" y="359"/>
                    </a:lnTo>
                    <a:cubicBezTo>
                      <a:pt x="146" y="362"/>
                      <a:pt x="145" y="364"/>
                      <a:pt x="143" y="366"/>
                    </a:cubicBezTo>
                    <a:cubicBezTo>
                      <a:pt x="141" y="367"/>
                      <a:pt x="138" y="367"/>
                      <a:pt x="136" y="366"/>
                    </a:cubicBezTo>
                    <a:lnTo>
                      <a:pt x="75" y="343"/>
                    </a:lnTo>
                    <a:lnTo>
                      <a:pt x="84" y="339"/>
                    </a:lnTo>
                    <a:lnTo>
                      <a:pt x="15" y="460"/>
                    </a:lnTo>
                    <a:close/>
                    <a:moveTo>
                      <a:pt x="71" y="331"/>
                    </a:moveTo>
                    <a:cubicBezTo>
                      <a:pt x="73" y="328"/>
                      <a:pt x="77" y="326"/>
                      <a:pt x="80" y="328"/>
                    </a:cubicBezTo>
                    <a:lnTo>
                      <a:pt x="141" y="351"/>
                    </a:lnTo>
                    <a:lnTo>
                      <a:pt x="130" y="358"/>
                    </a:lnTo>
                    <a:lnTo>
                      <a:pt x="145" y="156"/>
                    </a:lnTo>
                    <a:lnTo>
                      <a:pt x="153" y="164"/>
                    </a:lnTo>
                    <a:lnTo>
                      <a:pt x="104" y="161"/>
                    </a:lnTo>
                    <a:cubicBezTo>
                      <a:pt x="100" y="161"/>
                      <a:pt x="96" y="157"/>
                      <a:pt x="97" y="153"/>
                    </a:cubicBezTo>
                    <a:lnTo>
                      <a:pt x="99" y="98"/>
                    </a:lnTo>
                    <a:cubicBezTo>
                      <a:pt x="99" y="96"/>
                      <a:pt x="101" y="93"/>
                      <a:pt x="103" y="92"/>
                    </a:cubicBezTo>
                    <a:cubicBezTo>
                      <a:pt x="105" y="91"/>
                      <a:pt x="107" y="90"/>
                      <a:pt x="110" y="91"/>
                    </a:cubicBezTo>
                    <a:lnTo>
                      <a:pt x="234" y="128"/>
                    </a:lnTo>
                    <a:lnTo>
                      <a:pt x="224" y="135"/>
                    </a:lnTo>
                    <a:lnTo>
                      <a:pt x="232" y="54"/>
                    </a:lnTo>
                    <a:cubicBezTo>
                      <a:pt x="232" y="52"/>
                      <a:pt x="233" y="50"/>
                      <a:pt x="234" y="49"/>
                    </a:cubicBezTo>
                    <a:lnTo>
                      <a:pt x="273" y="3"/>
                    </a:lnTo>
                    <a:cubicBezTo>
                      <a:pt x="275" y="1"/>
                      <a:pt x="277" y="0"/>
                      <a:pt x="279" y="0"/>
                    </a:cubicBezTo>
                    <a:lnTo>
                      <a:pt x="360" y="0"/>
                    </a:lnTo>
                    <a:cubicBezTo>
                      <a:pt x="363" y="0"/>
                      <a:pt x="365" y="1"/>
                      <a:pt x="367" y="3"/>
                    </a:cubicBezTo>
                    <a:cubicBezTo>
                      <a:pt x="368" y="5"/>
                      <a:pt x="369" y="7"/>
                      <a:pt x="368" y="10"/>
                    </a:cubicBezTo>
                    <a:lnTo>
                      <a:pt x="325" y="267"/>
                    </a:lnTo>
                    <a:cubicBezTo>
                      <a:pt x="325" y="268"/>
                      <a:pt x="324" y="269"/>
                      <a:pt x="323" y="270"/>
                    </a:cubicBezTo>
                    <a:lnTo>
                      <a:pt x="254" y="355"/>
                    </a:lnTo>
                    <a:lnTo>
                      <a:pt x="256" y="352"/>
                    </a:lnTo>
                    <a:lnTo>
                      <a:pt x="237" y="454"/>
                    </a:lnTo>
                    <a:cubicBezTo>
                      <a:pt x="237" y="456"/>
                      <a:pt x="236" y="457"/>
                      <a:pt x="234" y="459"/>
                    </a:cubicBezTo>
                    <a:lnTo>
                      <a:pt x="169" y="513"/>
                    </a:lnTo>
                    <a:cubicBezTo>
                      <a:pt x="168" y="514"/>
                      <a:pt x="166" y="515"/>
                      <a:pt x="163" y="515"/>
                    </a:cubicBezTo>
                    <a:lnTo>
                      <a:pt x="92" y="508"/>
                    </a:lnTo>
                    <a:lnTo>
                      <a:pt x="96" y="507"/>
                    </a:lnTo>
                    <a:lnTo>
                      <a:pt x="48" y="528"/>
                    </a:lnTo>
                    <a:cubicBezTo>
                      <a:pt x="44" y="529"/>
                      <a:pt x="40" y="528"/>
                      <a:pt x="38" y="524"/>
                    </a:cubicBezTo>
                    <a:lnTo>
                      <a:pt x="1" y="460"/>
                    </a:lnTo>
                    <a:cubicBezTo>
                      <a:pt x="0" y="457"/>
                      <a:pt x="0" y="454"/>
                      <a:pt x="2" y="452"/>
                    </a:cubicBezTo>
                    <a:lnTo>
                      <a:pt x="71" y="33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19" name="Freeform 375"/>
              <p:cNvSpPr>
                <a:spLocks/>
              </p:cNvSpPr>
              <p:nvPr/>
            </p:nvSpPr>
            <p:spPr bwMode="auto">
              <a:xfrm>
                <a:off x="2913" y="2055"/>
                <a:ext cx="264" cy="245"/>
              </a:xfrm>
              <a:custGeom>
                <a:avLst/>
                <a:gdLst/>
                <a:ahLst/>
                <a:cxnLst>
                  <a:cxn ang="0">
                    <a:pos x="0" y="145"/>
                  </a:cxn>
                  <a:cxn ang="0">
                    <a:pos x="1" y="152"/>
                  </a:cxn>
                  <a:cxn ang="0">
                    <a:pos x="54" y="145"/>
                  </a:cxn>
                  <a:cxn ang="0">
                    <a:pos x="77" y="176"/>
                  </a:cxn>
                  <a:cxn ang="0">
                    <a:pos x="97" y="174"/>
                  </a:cxn>
                  <a:cxn ang="0">
                    <a:pos x="101" y="160"/>
                  </a:cxn>
                  <a:cxn ang="0">
                    <a:pos x="119" y="159"/>
                  </a:cxn>
                  <a:cxn ang="0">
                    <a:pos x="132" y="168"/>
                  </a:cxn>
                  <a:cxn ang="0">
                    <a:pos x="135" y="216"/>
                  </a:cxn>
                  <a:cxn ang="0">
                    <a:pos x="163" y="213"/>
                  </a:cxn>
                  <a:cxn ang="0">
                    <a:pos x="243" y="245"/>
                  </a:cxn>
                  <a:cxn ang="0">
                    <a:pos x="243" y="230"/>
                  </a:cxn>
                  <a:cxn ang="0">
                    <a:pos x="227" y="224"/>
                  </a:cxn>
                  <a:cxn ang="0">
                    <a:pos x="230" y="189"/>
                  </a:cxn>
                  <a:cxn ang="0">
                    <a:pos x="255" y="177"/>
                  </a:cxn>
                  <a:cxn ang="0">
                    <a:pos x="240" y="153"/>
                  </a:cxn>
                  <a:cxn ang="0">
                    <a:pos x="237" y="113"/>
                  </a:cxn>
                  <a:cxn ang="0">
                    <a:pos x="234" y="103"/>
                  </a:cxn>
                  <a:cxn ang="0">
                    <a:pos x="243" y="85"/>
                  </a:cxn>
                  <a:cxn ang="0">
                    <a:pos x="255" y="52"/>
                  </a:cxn>
                  <a:cxn ang="0">
                    <a:pos x="264" y="39"/>
                  </a:cxn>
                  <a:cxn ang="0">
                    <a:pos x="259" y="20"/>
                  </a:cxn>
                  <a:cxn ang="0">
                    <a:pos x="213" y="0"/>
                  </a:cxn>
                  <a:cxn ang="0">
                    <a:pos x="128" y="11"/>
                  </a:cxn>
                  <a:cxn ang="0">
                    <a:pos x="101" y="0"/>
                  </a:cxn>
                  <a:cxn ang="0">
                    <a:pos x="89" y="19"/>
                  </a:cxn>
                  <a:cxn ang="0">
                    <a:pos x="76" y="77"/>
                  </a:cxn>
                  <a:cxn ang="0">
                    <a:pos x="55" y="97"/>
                  </a:cxn>
                  <a:cxn ang="0">
                    <a:pos x="50" y="120"/>
                  </a:cxn>
                  <a:cxn ang="0">
                    <a:pos x="31" y="132"/>
                  </a:cxn>
                  <a:cxn ang="0">
                    <a:pos x="9" y="131"/>
                  </a:cxn>
                  <a:cxn ang="0">
                    <a:pos x="0" y="145"/>
                  </a:cxn>
                </a:cxnLst>
                <a:rect l="0" t="0" r="r" b="b"/>
                <a:pathLst>
                  <a:path w="264" h="245">
                    <a:moveTo>
                      <a:pt x="0" y="145"/>
                    </a:moveTo>
                    <a:lnTo>
                      <a:pt x="1" y="152"/>
                    </a:lnTo>
                    <a:lnTo>
                      <a:pt x="54" y="145"/>
                    </a:lnTo>
                    <a:lnTo>
                      <a:pt x="77" y="176"/>
                    </a:lnTo>
                    <a:lnTo>
                      <a:pt x="97" y="174"/>
                    </a:lnTo>
                    <a:lnTo>
                      <a:pt x="101" y="160"/>
                    </a:lnTo>
                    <a:lnTo>
                      <a:pt x="119" y="159"/>
                    </a:lnTo>
                    <a:lnTo>
                      <a:pt x="132" y="168"/>
                    </a:lnTo>
                    <a:lnTo>
                      <a:pt x="135" y="216"/>
                    </a:lnTo>
                    <a:lnTo>
                      <a:pt x="163" y="213"/>
                    </a:lnTo>
                    <a:lnTo>
                      <a:pt x="243" y="245"/>
                    </a:lnTo>
                    <a:lnTo>
                      <a:pt x="243" y="230"/>
                    </a:lnTo>
                    <a:lnTo>
                      <a:pt x="227" y="224"/>
                    </a:lnTo>
                    <a:lnTo>
                      <a:pt x="230" y="189"/>
                    </a:lnTo>
                    <a:lnTo>
                      <a:pt x="255" y="177"/>
                    </a:lnTo>
                    <a:lnTo>
                      <a:pt x="240" y="153"/>
                    </a:lnTo>
                    <a:lnTo>
                      <a:pt x="237" y="113"/>
                    </a:lnTo>
                    <a:lnTo>
                      <a:pt x="234" y="103"/>
                    </a:lnTo>
                    <a:lnTo>
                      <a:pt x="243" y="85"/>
                    </a:lnTo>
                    <a:lnTo>
                      <a:pt x="255" y="52"/>
                    </a:lnTo>
                    <a:lnTo>
                      <a:pt x="264" y="39"/>
                    </a:lnTo>
                    <a:lnTo>
                      <a:pt x="259" y="20"/>
                    </a:lnTo>
                    <a:lnTo>
                      <a:pt x="213" y="0"/>
                    </a:lnTo>
                    <a:lnTo>
                      <a:pt x="128" y="11"/>
                    </a:lnTo>
                    <a:lnTo>
                      <a:pt x="101" y="0"/>
                    </a:lnTo>
                    <a:lnTo>
                      <a:pt x="89" y="19"/>
                    </a:lnTo>
                    <a:lnTo>
                      <a:pt x="76" y="77"/>
                    </a:lnTo>
                    <a:lnTo>
                      <a:pt x="55" y="97"/>
                    </a:lnTo>
                    <a:lnTo>
                      <a:pt x="50" y="120"/>
                    </a:lnTo>
                    <a:lnTo>
                      <a:pt x="31" y="132"/>
                    </a:lnTo>
                    <a:lnTo>
                      <a:pt x="9" y="131"/>
                    </a:lnTo>
                    <a:lnTo>
                      <a:pt x="0" y="145"/>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20" name="Freeform 376"/>
              <p:cNvSpPr>
                <a:spLocks noEditPoints="1"/>
              </p:cNvSpPr>
              <p:nvPr/>
            </p:nvSpPr>
            <p:spPr bwMode="auto">
              <a:xfrm>
                <a:off x="2911" y="2053"/>
                <a:ext cx="269" cy="249"/>
              </a:xfrm>
              <a:custGeom>
                <a:avLst/>
                <a:gdLst/>
                <a:ahLst/>
                <a:cxnLst>
                  <a:cxn ang="0">
                    <a:pos x="19" y="673"/>
                  </a:cxn>
                  <a:cxn ang="0">
                    <a:pos x="201" y="641"/>
                  </a:cxn>
                  <a:cxn ang="0">
                    <a:pos x="341" y="765"/>
                  </a:cxn>
                  <a:cxn ang="0">
                    <a:pos x="357" y="703"/>
                  </a:cxn>
                  <a:cxn ang="0">
                    <a:pos x="469" y="740"/>
                  </a:cxn>
                  <a:cxn ang="0">
                    <a:pos x="473" y="946"/>
                  </a:cxn>
                  <a:cxn ang="0">
                    <a:pos x="851" y="1073"/>
                  </a:cxn>
                  <a:cxn ang="0">
                    <a:pos x="842" y="1025"/>
                  </a:cxn>
                  <a:cxn ang="0">
                    <a:pos x="793" y="837"/>
                  </a:cxn>
                  <a:cxn ang="0">
                    <a:pos x="882" y="787"/>
                  </a:cxn>
                  <a:cxn ang="0">
                    <a:pos x="817" y="505"/>
                  </a:cxn>
                  <a:cxn ang="0">
                    <a:pos x="808" y="458"/>
                  </a:cxn>
                  <a:cxn ang="0">
                    <a:pos x="882" y="232"/>
                  </a:cxn>
                  <a:cxn ang="0">
                    <a:pos x="895" y="98"/>
                  </a:cxn>
                  <a:cxn ang="0">
                    <a:pos x="745" y="16"/>
                  </a:cxn>
                  <a:cxn ang="0">
                    <a:pos x="353" y="16"/>
                  </a:cxn>
                  <a:cxn ang="0">
                    <a:pos x="322" y="94"/>
                  </a:cxn>
                  <a:cxn ang="0">
                    <a:pos x="206" y="437"/>
                  </a:cxn>
                  <a:cxn ang="0">
                    <a:pos x="185" y="540"/>
                  </a:cxn>
                  <a:cxn ang="0">
                    <a:pos x="40" y="589"/>
                  </a:cxn>
                  <a:cxn ang="0">
                    <a:pos x="33" y="577"/>
                  </a:cxn>
                  <a:cxn ang="0">
                    <a:pos x="109" y="581"/>
                  </a:cxn>
                  <a:cxn ang="0">
                    <a:pos x="192" y="431"/>
                  </a:cxn>
                  <a:cxn ang="0">
                    <a:pos x="262" y="346"/>
                  </a:cxn>
                  <a:cxn ang="0">
                    <a:pos x="350" y="5"/>
                  </a:cxn>
                  <a:cxn ang="0">
                    <a:pos x="455" y="52"/>
                  </a:cxn>
                  <a:cxn ang="0">
                    <a:pos x="747" y="1"/>
                  </a:cxn>
                  <a:cxn ang="0">
                    <a:pos x="928" y="179"/>
                  </a:cxn>
                  <a:cxn ang="0">
                    <a:pos x="896" y="239"/>
                  </a:cxn>
                  <a:cxn ang="0">
                    <a:pos x="823" y="459"/>
                  </a:cxn>
                  <a:cxn ang="0">
                    <a:pos x="843" y="680"/>
                  </a:cxn>
                  <a:cxn ang="0">
                    <a:pos x="893" y="790"/>
                  </a:cxn>
                  <a:cxn ang="0">
                    <a:pos x="800" y="990"/>
                  </a:cxn>
                  <a:cxn ang="0">
                    <a:pos x="854" y="1018"/>
                  </a:cxn>
                  <a:cxn ang="0">
                    <a:pos x="844" y="1088"/>
                  </a:cxn>
                  <a:cxn ang="0">
                    <a:pos x="474" y="962"/>
                  </a:cxn>
                  <a:cxn ang="0">
                    <a:pos x="456" y="747"/>
                  </a:cxn>
                  <a:cxn ang="0">
                    <a:pos x="419" y="715"/>
                  </a:cxn>
                  <a:cxn ang="0">
                    <a:pos x="350" y="775"/>
                  </a:cxn>
                  <a:cxn ang="0">
                    <a:pos x="267" y="784"/>
                  </a:cxn>
                  <a:cxn ang="0">
                    <a:pos x="12" y="682"/>
                  </a:cxn>
                  <a:cxn ang="0">
                    <a:pos x="0" y="646"/>
                  </a:cxn>
                </a:cxnLst>
                <a:rect l="0" t="0" r="r" b="b"/>
                <a:pathLst>
                  <a:path w="929" h="1089">
                    <a:moveTo>
                      <a:pt x="16" y="648"/>
                    </a:moveTo>
                    <a:lnTo>
                      <a:pt x="16" y="644"/>
                    </a:lnTo>
                    <a:lnTo>
                      <a:pt x="19" y="673"/>
                    </a:lnTo>
                    <a:lnTo>
                      <a:pt x="10" y="666"/>
                    </a:lnTo>
                    <a:lnTo>
                      <a:pt x="193" y="637"/>
                    </a:lnTo>
                    <a:cubicBezTo>
                      <a:pt x="196" y="636"/>
                      <a:pt x="199" y="638"/>
                      <a:pt x="201" y="641"/>
                    </a:cubicBezTo>
                    <a:lnTo>
                      <a:pt x="281" y="776"/>
                    </a:lnTo>
                    <a:lnTo>
                      <a:pt x="273" y="772"/>
                    </a:lnTo>
                    <a:lnTo>
                      <a:pt x="341" y="765"/>
                    </a:lnTo>
                    <a:lnTo>
                      <a:pt x="334" y="771"/>
                    </a:lnTo>
                    <a:lnTo>
                      <a:pt x="349" y="709"/>
                    </a:lnTo>
                    <a:cubicBezTo>
                      <a:pt x="350" y="705"/>
                      <a:pt x="353" y="703"/>
                      <a:pt x="357" y="703"/>
                    </a:cubicBezTo>
                    <a:lnTo>
                      <a:pt x="418" y="699"/>
                    </a:lnTo>
                    <a:cubicBezTo>
                      <a:pt x="420" y="699"/>
                      <a:pt x="422" y="700"/>
                      <a:pt x="423" y="701"/>
                    </a:cubicBezTo>
                    <a:lnTo>
                      <a:pt x="469" y="740"/>
                    </a:lnTo>
                    <a:cubicBezTo>
                      <a:pt x="471" y="742"/>
                      <a:pt x="472" y="744"/>
                      <a:pt x="472" y="746"/>
                    </a:cubicBezTo>
                    <a:lnTo>
                      <a:pt x="481" y="953"/>
                    </a:lnTo>
                    <a:lnTo>
                      <a:pt x="473" y="946"/>
                    </a:lnTo>
                    <a:lnTo>
                      <a:pt x="571" y="934"/>
                    </a:lnTo>
                    <a:cubicBezTo>
                      <a:pt x="572" y="934"/>
                      <a:pt x="574" y="934"/>
                      <a:pt x="575" y="935"/>
                    </a:cubicBezTo>
                    <a:lnTo>
                      <a:pt x="851" y="1073"/>
                    </a:lnTo>
                    <a:lnTo>
                      <a:pt x="839" y="1081"/>
                    </a:lnTo>
                    <a:lnTo>
                      <a:pt x="838" y="1018"/>
                    </a:lnTo>
                    <a:lnTo>
                      <a:pt x="842" y="1025"/>
                    </a:lnTo>
                    <a:lnTo>
                      <a:pt x="788" y="996"/>
                    </a:lnTo>
                    <a:cubicBezTo>
                      <a:pt x="785" y="995"/>
                      <a:pt x="784" y="992"/>
                      <a:pt x="784" y="989"/>
                    </a:cubicBezTo>
                    <a:lnTo>
                      <a:pt x="793" y="837"/>
                    </a:lnTo>
                    <a:cubicBezTo>
                      <a:pt x="794" y="834"/>
                      <a:pt x="795" y="832"/>
                      <a:pt x="797" y="831"/>
                    </a:cubicBezTo>
                    <a:lnTo>
                      <a:pt x="884" y="777"/>
                    </a:lnTo>
                    <a:lnTo>
                      <a:pt x="882" y="787"/>
                    </a:lnTo>
                    <a:lnTo>
                      <a:pt x="828" y="684"/>
                    </a:lnTo>
                    <a:cubicBezTo>
                      <a:pt x="827" y="683"/>
                      <a:pt x="827" y="682"/>
                      <a:pt x="827" y="681"/>
                    </a:cubicBezTo>
                    <a:lnTo>
                      <a:pt x="817" y="505"/>
                    </a:lnTo>
                    <a:lnTo>
                      <a:pt x="817" y="507"/>
                    </a:lnTo>
                    <a:lnTo>
                      <a:pt x="807" y="463"/>
                    </a:lnTo>
                    <a:cubicBezTo>
                      <a:pt x="807" y="461"/>
                      <a:pt x="807" y="459"/>
                      <a:pt x="808" y="458"/>
                    </a:cubicBezTo>
                    <a:lnTo>
                      <a:pt x="840" y="380"/>
                    </a:lnTo>
                    <a:lnTo>
                      <a:pt x="881" y="234"/>
                    </a:lnTo>
                    <a:cubicBezTo>
                      <a:pt x="881" y="234"/>
                      <a:pt x="881" y="233"/>
                      <a:pt x="882" y="232"/>
                    </a:cubicBezTo>
                    <a:lnTo>
                      <a:pt x="914" y="177"/>
                    </a:lnTo>
                    <a:lnTo>
                      <a:pt x="913" y="182"/>
                    </a:lnTo>
                    <a:lnTo>
                      <a:pt x="895" y="98"/>
                    </a:lnTo>
                    <a:lnTo>
                      <a:pt x="899" y="103"/>
                    </a:lnTo>
                    <a:lnTo>
                      <a:pt x="739" y="15"/>
                    </a:lnTo>
                    <a:lnTo>
                      <a:pt x="745" y="16"/>
                    </a:lnTo>
                    <a:lnTo>
                      <a:pt x="453" y="67"/>
                    </a:lnTo>
                    <a:cubicBezTo>
                      <a:pt x="451" y="67"/>
                      <a:pt x="449" y="67"/>
                      <a:pt x="448" y="66"/>
                    </a:cubicBezTo>
                    <a:lnTo>
                      <a:pt x="353" y="16"/>
                    </a:lnTo>
                    <a:lnTo>
                      <a:pt x="364" y="12"/>
                    </a:lnTo>
                    <a:lnTo>
                      <a:pt x="321" y="97"/>
                    </a:lnTo>
                    <a:lnTo>
                      <a:pt x="322" y="94"/>
                    </a:lnTo>
                    <a:lnTo>
                      <a:pt x="278" y="349"/>
                    </a:lnTo>
                    <a:cubicBezTo>
                      <a:pt x="278" y="351"/>
                      <a:pt x="277" y="352"/>
                      <a:pt x="276" y="353"/>
                    </a:cubicBezTo>
                    <a:lnTo>
                      <a:pt x="206" y="437"/>
                    </a:lnTo>
                    <a:lnTo>
                      <a:pt x="207" y="434"/>
                    </a:lnTo>
                    <a:lnTo>
                      <a:pt x="188" y="535"/>
                    </a:lnTo>
                    <a:cubicBezTo>
                      <a:pt x="188" y="537"/>
                      <a:pt x="187" y="539"/>
                      <a:pt x="185" y="540"/>
                    </a:cubicBezTo>
                    <a:lnTo>
                      <a:pt x="119" y="594"/>
                    </a:lnTo>
                    <a:cubicBezTo>
                      <a:pt x="117" y="595"/>
                      <a:pt x="115" y="596"/>
                      <a:pt x="113" y="595"/>
                    </a:cubicBezTo>
                    <a:lnTo>
                      <a:pt x="40" y="589"/>
                    </a:lnTo>
                    <a:lnTo>
                      <a:pt x="47" y="584"/>
                    </a:lnTo>
                    <a:lnTo>
                      <a:pt x="16" y="648"/>
                    </a:lnTo>
                    <a:close/>
                    <a:moveTo>
                      <a:pt x="33" y="577"/>
                    </a:moveTo>
                    <a:cubicBezTo>
                      <a:pt x="35" y="574"/>
                      <a:pt x="38" y="572"/>
                      <a:pt x="41" y="573"/>
                    </a:cubicBezTo>
                    <a:lnTo>
                      <a:pt x="114" y="580"/>
                    </a:lnTo>
                    <a:lnTo>
                      <a:pt x="109" y="581"/>
                    </a:lnTo>
                    <a:lnTo>
                      <a:pt x="175" y="527"/>
                    </a:lnTo>
                    <a:lnTo>
                      <a:pt x="172" y="532"/>
                    </a:lnTo>
                    <a:lnTo>
                      <a:pt x="192" y="431"/>
                    </a:lnTo>
                    <a:cubicBezTo>
                      <a:pt x="192" y="429"/>
                      <a:pt x="192" y="428"/>
                      <a:pt x="193" y="427"/>
                    </a:cubicBezTo>
                    <a:lnTo>
                      <a:pt x="264" y="343"/>
                    </a:lnTo>
                    <a:lnTo>
                      <a:pt x="262" y="346"/>
                    </a:lnTo>
                    <a:lnTo>
                      <a:pt x="306" y="92"/>
                    </a:lnTo>
                    <a:cubicBezTo>
                      <a:pt x="307" y="91"/>
                      <a:pt x="307" y="90"/>
                      <a:pt x="307" y="89"/>
                    </a:cubicBezTo>
                    <a:lnTo>
                      <a:pt x="350" y="5"/>
                    </a:lnTo>
                    <a:cubicBezTo>
                      <a:pt x="351" y="3"/>
                      <a:pt x="353" y="1"/>
                      <a:pt x="355" y="1"/>
                    </a:cubicBezTo>
                    <a:cubicBezTo>
                      <a:pt x="357" y="0"/>
                      <a:pt x="359" y="0"/>
                      <a:pt x="361" y="1"/>
                    </a:cubicBezTo>
                    <a:lnTo>
                      <a:pt x="455" y="52"/>
                    </a:lnTo>
                    <a:lnTo>
                      <a:pt x="450" y="51"/>
                    </a:lnTo>
                    <a:lnTo>
                      <a:pt x="742" y="1"/>
                    </a:lnTo>
                    <a:cubicBezTo>
                      <a:pt x="744" y="0"/>
                      <a:pt x="746" y="1"/>
                      <a:pt x="747" y="1"/>
                    </a:cubicBezTo>
                    <a:lnTo>
                      <a:pt x="906" y="89"/>
                    </a:lnTo>
                    <a:cubicBezTo>
                      <a:pt x="908" y="90"/>
                      <a:pt x="910" y="92"/>
                      <a:pt x="910" y="95"/>
                    </a:cubicBezTo>
                    <a:lnTo>
                      <a:pt x="928" y="179"/>
                    </a:lnTo>
                    <a:cubicBezTo>
                      <a:pt x="929" y="181"/>
                      <a:pt x="928" y="183"/>
                      <a:pt x="927" y="185"/>
                    </a:cubicBezTo>
                    <a:lnTo>
                      <a:pt x="896" y="240"/>
                    </a:lnTo>
                    <a:lnTo>
                      <a:pt x="896" y="239"/>
                    </a:lnTo>
                    <a:lnTo>
                      <a:pt x="855" y="386"/>
                    </a:lnTo>
                    <a:lnTo>
                      <a:pt x="823" y="464"/>
                    </a:lnTo>
                    <a:lnTo>
                      <a:pt x="823" y="459"/>
                    </a:lnTo>
                    <a:lnTo>
                      <a:pt x="833" y="503"/>
                    </a:lnTo>
                    <a:cubicBezTo>
                      <a:pt x="833" y="503"/>
                      <a:pt x="833" y="504"/>
                      <a:pt x="833" y="504"/>
                    </a:cubicBezTo>
                    <a:lnTo>
                      <a:pt x="843" y="680"/>
                    </a:lnTo>
                    <a:lnTo>
                      <a:pt x="842" y="677"/>
                    </a:lnTo>
                    <a:lnTo>
                      <a:pt x="896" y="780"/>
                    </a:lnTo>
                    <a:cubicBezTo>
                      <a:pt x="898" y="783"/>
                      <a:pt x="896" y="788"/>
                      <a:pt x="893" y="790"/>
                    </a:cubicBezTo>
                    <a:lnTo>
                      <a:pt x="806" y="844"/>
                    </a:lnTo>
                    <a:lnTo>
                      <a:pt x="809" y="838"/>
                    </a:lnTo>
                    <a:lnTo>
                      <a:pt x="800" y="990"/>
                    </a:lnTo>
                    <a:lnTo>
                      <a:pt x="796" y="982"/>
                    </a:lnTo>
                    <a:lnTo>
                      <a:pt x="849" y="1011"/>
                    </a:lnTo>
                    <a:cubicBezTo>
                      <a:pt x="852" y="1012"/>
                      <a:pt x="854" y="1015"/>
                      <a:pt x="854" y="1018"/>
                    </a:cubicBezTo>
                    <a:lnTo>
                      <a:pt x="855" y="1080"/>
                    </a:lnTo>
                    <a:cubicBezTo>
                      <a:pt x="855" y="1083"/>
                      <a:pt x="854" y="1086"/>
                      <a:pt x="851" y="1087"/>
                    </a:cubicBezTo>
                    <a:cubicBezTo>
                      <a:pt x="849" y="1089"/>
                      <a:pt x="846" y="1089"/>
                      <a:pt x="844" y="1088"/>
                    </a:cubicBezTo>
                    <a:lnTo>
                      <a:pt x="568" y="949"/>
                    </a:lnTo>
                    <a:lnTo>
                      <a:pt x="573" y="950"/>
                    </a:lnTo>
                    <a:lnTo>
                      <a:pt x="474" y="962"/>
                    </a:lnTo>
                    <a:cubicBezTo>
                      <a:pt x="472" y="962"/>
                      <a:pt x="470" y="961"/>
                      <a:pt x="468" y="960"/>
                    </a:cubicBezTo>
                    <a:cubicBezTo>
                      <a:pt x="467" y="959"/>
                      <a:pt x="466" y="956"/>
                      <a:pt x="465" y="954"/>
                    </a:cubicBezTo>
                    <a:lnTo>
                      <a:pt x="456" y="747"/>
                    </a:lnTo>
                    <a:lnTo>
                      <a:pt x="459" y="752"/>
                    </a:lnTo>
                    <a:lnTo>
                      <a:pt x="413" y="713"/>
                    </a:lnTo>
                    <a:lnTo>
                      <a:pt x="419" y="715"/>
                    </a:lnTo>
                    <a:lnTo>
                      <a:pt x="358" y="719"/>
                    </a:lnTo>
                    <a:lnTo>
                      <a:pt x="365" y="713"/>
                    </a:lnTo>
                    <a:lnTo>
                      <a:pt x="350" y="775"/>
                    </a:lnTo>
                    <a:cubicBezTo>
                      <a:pt x="349" y="778"/>
                      <a:pt x="346" y="781"/>
                      <a:pt x="343" y="781"/>
                    </a:cubicBezTo>
                    <a:lnTo>
                      <a:pt x="275" y="788"/>
                    </a:lnTo>
                    <a:cubicBezTo>
                      <a:pt x="272" y="788"/>
                      <a:pt x="269" y="787"/>
                      <a:pt x="267" y="784"/>
                    </a:cubicBezTo>
                    <a:lnTo>
                      <a:pt x="187" y="649"/>
                    </a:lnTo>
                    <a:lnTo>
                      <a:pt x="195" y="653"/>
                    </a:lnTo>
                    <a:lnTo>
                      <a:pt x="12" y="682"/>
                    </a:lnTo>
                    <a:cubicBezTo>
                      <a:pt x="10" y="682"/>
                      <a:pt x="8" y="681"/>
                      <a:pt x="6" y="680"/>
                    </a:cubicBezTo>
                    <a:cubicBezTo>
                      <a:pt x="5" y="679"/>
                      <a:pt x="3" y="677"/>
                      <a:pt x="3" y="674"/>
                    </a:cubicBezTo>
                    <a:lnTo>
                      <a:pt x="0" y="646"/>
                    </a:lnTo>
                    <a:cubicBezTo>
                      <a:pt x="0" y="644"/>
                      <a:pt x="1" y="643"/>
                      <a:pt x="1" y="641"/>
                    </a:cubicBezTo>
                    <a:lnTo>
                      <a:pt x="33" y="577"/>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21" name="Freeform 377"/>
              <p:cNvSpPr>
                <a:spLocks/>
              </p:cNvSpPr>
              <p:nvPr/>
            </p:nvSpPr>
            <p:spPr bwMode="auto">
              <a:xfrm>
                <a:off x="3196" y="1634"/>
                <a:ext cx="32" cy="15"/>
              </a:xfrm>
              <a:custGeom>
                <a:avLst/>
                <a:gdLst/>
                <a:ahLst/>
                <a:cxnLst>
                  <a:cxn ang="0">
                    <a:pos x="0" y="7"/>
                  </a:cxn>
                  <a:cxn ang="0">
                    <a:pos x="12" y="15"/>
                  </a:cxn>
                  <a:cxn ang="0">
                    <a:pos x="32" y="0"/>
                  </a:cxn>
                  <a:cxn ang="0">
                    <a:pos x="0" y="7"/>
                  </a:cxn>
                </a:cxnLst>
                <a:rect l="0" t="0" r="r" b="b"/>
                <a:pathLst>
                  <a:path w="32" h="15">
                    <a:moveTo>
                      <a:pt x="0" y="7"/>
                    </a:moveTo>
                    <a:lnTo>
                      <a:pt x="12" y="15"/>
                    </a:lnTo>
                    <a:lnTo>
                      <a:pt x="32" y="0"/>
                    </a:lnTo>
                    <a:lnTo>
                      <a:pt x="0" y="7"/>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22" name="Freeform 378"/>
              <p:cNvSpPr>
                <a:spLocks noEditPoints="1"/>
              </p:cNvSpPr>
              <p:nvPr/>
            </p:nvSpPr>
            <p:spPr bwMode="auto">
              <a:xfrm>
                <a:off x="3194" y="1632"/>
                <a:ext cx="37" cy="19"/>
              </a:xfrm>
              <a:custGeom>
                <a:avLst/>
                <a:gdLst/>
                <a:ahLst/>
                <a:cxnLst>
                  <a:cxn ang="0">
                    <a:pos x="11" y="49"/>
                  </a:cxn>
                  <a:cxn ang="0">
                    <a:pos x="13" y="35"/>
                  </a:cxn>
                  <a:cxn ang="0">
                    <a:pos x="53" y="66"/>
                  </a:cxn>
                  <a:cxn ang="0">
                    <a:pos x="43" y="66"/>
                  </a:cxn>
                  <a:cxn ang="0">
                    <a:pos x="115" y="2"/>
                  </a:cxn>
                  <a:cxn ang="0">
                    <a:pos x="123" y="16"/>
                  </a:cxn>
                  <a:cxn ang="0">
                    <a:pos x="11" y="49"/>
                  </a:cxn>
                  <a:cxn ang="0">
                    <a:pos x="118" y="1"/>
                  </a:cxn>
                  <a:cxn ang="0">
                    <a:pos x="127" y="5"/>
                  </a:cxn>
                  <a:cxn ang="0">
                    <a:pos x="126" y="14"/>
                  </a:cxn>
                  <a:cxn ang="0">
                    <a:pos x="53" y="78"/>
                  </a:cxn>
                  <a:cxn ang="0">
                    <a:pos x="43" y="79"/>
                  </a:cxn>
                  <a:cxn ang="0">
                    <a:pos x="4" y="47"/>
                  </a:cxn>
                  <a:cxn ang="0">
                    <a:pos x="1" y="40"/>
                  </a:cxn>
                  <a:cxn ang="0">
                    <a:pos x="6" y="34"/>
                  </a:cxn>
                  <a:cxn ang="0">
                    <a:pos x="118" y="1"/>
                  </a:cxn>
                </a:cxnLst>
                <a:rect l="0" t="0" r="r" b="b"/>
                <a:pathLst>
                  <a:path w="129" h="81">
                    <a:moveTo>
                      <a:pt x="11" y="49"/>
                    </a:moveTo>
                    <a:lnTo>
                      <a:pt x="13" y="35"/>
                    </a:lnTo>
                    <a:lnTo>
                      <a:pt x="53" y="66"/>
                    </a:lnTo>
                    <a:lnTo>
                      <a:pt x="43" y="66"/>
                    </a:lnTo>
                    <a:lnTo>
                      <a:pt x="115" y="2"/>
                    </a:lnTo>
                    <a:lnTo>
                      <a:pt x="123" y="16"/>
                    </a:lnTo>
                    <a:lnTo>
                      <a:pt x="11" y="49"/>
                    </a:lnTo>
                    <a:close/>
                    <a:moveTo>
                      <a:pt x="118" y="1"/>
                    </a:moveTo>
                    <a:cubicBezTo>
                      <a:pt x="122" y="0"/>
                      <a:pt x="126" y="1"/>
                      <a:pt x="127" y="5"/>
                    </a:cubicBezTo>
                    <a:cubicBezTo>
                      <a:pt x="129" y="8"/>
                      <a:pt x="129" y="12"/>
                      <a:pt x="126" y="14"/>
                    </a:cubicBezTo>
                    <a:lnTo>
                      <a:pt x="53" y="78"/>
                    </a:lnTo>
                    <a:cubicBezTo>
                      <a:pt x="50" y="81"/>
                      <a:pt x="46" y="81"/>
                      <a:pt x="43" y="79"/>
                    </a:cubicBezTo>
                    <a:lnTo>
                      <a:pt x="4" y="47"/>
                    </a:lnTo>
                    <a:cubicBezTo>
                      <a:pt x="1" y="46"/>
                      <a:pt x="0" y="43"/>
                      <a:pt x="1" y="40"/>
                    </a:cubicBezTo>
                    <a:cubicBezTo>
                      <a:pt x="1" y="37"/>
                      <a:pt x="3" y="34"/>
                      <a:pt x="6" y="34"/>
                    </a:cubicBezTo>
                    <a:lnTo>
                      <a:pt x="118" y="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23" name="Freeform 379"/>
              <p:cNvSpPr>
                <a:spLocks/>
              </p:cNvSpPr>
              <p:nvPr/>
            </p:nvSpPr>
            <p:spPr bwMode="auto">
              <a:xfrm>
                <a:off x="2755" y="1959"/>
                <a:ext cx="37" cy="81"/>
              </a:xfrm>
              <a:custGeom>
                <a:avLst/>
                <a:gdLst/>
                <a:ahLst/>
                <a:cxnLst>
                  <a:cxn ang="0">
                    <a:pos x="0" y="20"/>
                  </a:cxn>
                  <a:cxn ang="0">
                    <a:pos x="14" y="81"/>
                  </a:cxn>
                  <a:cxn ang="0">
                    <a:pos x="27" y="80"/>
                  </a:cxn>
                  <a:cxn ang="0">
                    <a:pos x="37" y="10"/>
                  </a:cxn>
                  <a:cxn ang="0">
                    <a:pos x="27" y="0"/>
                  </a:cxn>
                  <a:cxn ang="0">
                    <a:pos x="20" y="7"/>
                  </a:cxn>
                  <a:cxn ang="0">
                    <a:pos x="0" y="20"/>
                  </a:cxn>
                </a:cxnLst>
                <a:rect l="0" t="0" r="r" b="b"/>
                <a:pathLst>
                  <a:path w="37" h="81">
                    <a:moveTo>
                      <a:pt x="0" y="20"/>
                    </a:moveTo>
                    <a:lnTo>
                      <a:pt x="14" y="81"/>
                    </a:lnTo>
                    <a:lnTo>
                      <a:pt x="27" y="80"/>
                    </a:lnTo>
                    <a:lnTo>
                      <a:pt x="37" y="10"/>
                    </a:lnTo>
                    <a:lnTo>
                      <a:pt x="27" y="0"/>
                    </a:lnTo>
                    <a:lnTo>
                      <a:pt x="20" y="7"/>
                    </a:lnTo>
                    <a:lnTo>
                      <a:pt x="0" y="2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24" name="Freeform 380"/>
              <p:cNvSpPr>
                <a:spLocks noEditPoints="1"/>
              </p:cNvSpPr>
              <p:nvPr/>
            </p:nvSpPr>
            <p:spPr bwMode="auto">
              <a:xfrm>
                <a:off x="2753" y="1958"/>
                <a:ext cx="42" cy="84"/>
              </a:xfrm>
              <a:custGeom>
                <a:avLst/>
                <a:gdLst/>
                <a:ahLst/>
                <a:cxnLst>
                  <a:cxn ang="0">
                    <a:pos x="14" y="100"/>
                  </a:cxn>
                  <a:cxn ang="0">
                    <a:pos x="16" y="93"/>
                  </a:cxn>
                  <a:cxn ang="0">
                    <a:pos x="65" y="359"/>
                  </a:cxn>
                  <a:cxn ang="0">
                    <a:pos x="57" y="352"/>
                  </a:cxn>
                  <a:cxn ang="0">
                    <a:pos x="99" y="349"/>
                  </a:cxn>
                  <a:cxn ang="0">
                    <a:pos x="92" y="356"/>
                  </a:cxn>
                  <a:cxn ang="0">
                    <a:pos x="129" y="49"/>
                  </a:cxn>
                  <a:cxn ang="0">
                    <a:pos x="130" y="55"/>
                  </a:cxn>
                  <a:cxn ang="0">
                    <a:pos x="94" y="14"/>
                  </a:cxn>
                  <a:cxn ang="0">
                    <a:pos x="106" y="14"/>
                  </a:cxn>
                  <a:cxn ang="0">
                    <a:pos x="83" y="40"/>
                  </a:cxn>
                  <a:cxn ang="0">
                    <a:pos x="14" y="100"/>
                  </a:cxn>
                  <a:cxn ang="0">
                    <a:pos x="71" y="29"/>
                  </a:cxn>
                  <a:cxn ang="0">
                    <a:pos x="94" y="3"/>
                  </a:cxn>
                  <a:cxn ang="0">
                    <a:pos x="100" y="0"/>
                  </a:cxn>
                  <a:cxn ang="0">
                    <a:pos x="106" y="3"/>
                  </a:cxn>
                  <a:cxn ang="0">
                    <a:pos x="142" y="44"/>
                  </a:cxn>
                  <a:cxn ang="0">
                    <a:pos x="144" y="51"/>
                  </a:cxn>
                  <a:cxn ang="0">
                    <a:pos x="108" y="358"/>
                  </a:cxn>
                  <a:cxn ang="0">
                    <a:pos x="100" y="365"/>
                  </a:cxn>
                  <a:cxn ang="0">
                    <a:pos x="58" y="368"/>
                  </a:cxn>
                  <a:cxn ang="0">
                    <a:pos x="50" y="362"/>
                  </a:cxn>
                  <a:cxn ang="0">
                    <a:pos x="1" y="95"/>
                  </a:cxn>
                  <a:cxn ang="0">
                    <a:pos x="3" y="88"/>
                  </a:cxn>
                  <a:cxn ang="0">
                    <a:pos x="71" y="29"/>
                  </a:cxn>
                </a:cxnLst>
                <a:rect l="0" t="0" r="r" b="b"/>
                <a:pathLst>
                  <a:path w="145" h="369">
                    <a:moveTo>
                      <a:pt x="14" y="100"/>
                    </a:moveTo>
                    <a:lnTo>
                      <a:pt x="16" y="93"/>
                    </a:lnTo>
                    <a:lnTo>
                      <a:pt x="65" y="359"/>
                    </a:lnTo>
                    <a:lnTo>
                      <a:pt x="57" y="352"/>
                    </a:lnTo>
                    <a:lnTo>
                      <a:pt x="99" y="349"/>
                    </a:lnTo>
                    <a:lnTo>
                      <a:pt x="92" y="356"/>
                    </a:lnTo>
                    <a:lnTo>
                      <a:pt x="129" y="49"/>
                    </a:lnTo>
                    <a:lnTo>
                      <a:pt x="130" y="55"/>
                    </a:lnTo>
                    <a:lnTo>
                      <a:pt x="94" y="14"/>
                    </a:lnTo>
                    <a:lnTo>
                      <a:pt x="106" y="14"/>
                    </a:lnTo>
                    <a:lnTo>
                      <a:pt x="83" y="40"/>
                    </a:lnTo>
                    <a:lnTo>
                      <a:pt x="14" y="100"/>
                    </a:lnTo>
                    <a:close/>
                    <a:moveTo>
                      <a:pt x="71" y="29"/>
                    </a:moveTo>
                    <a:lnTo>
                      <a:pt x="94" y="3"/>
                    </a:lnTo>
                    <a:cubicBezTo>
                      <a:pt x="95" y="1"/>
                      <a:pt x="97" y="0"/>
                      <a:pt x="100" y="0"/>
                    </a:cubicBezTo>
                    <a:cubicBezTo>
                      <a:pt x="102" y="0"/>
                      <a:pt x="104" y="1"/>
                      <a:pt x="106" y="3"/>
                    </a:cubicBezTo>
                    <a:lnTo>
                      <a:pt x="142" y="44"/>
                    </a:lnTo>
                    <a:cubicBezTo>
                      <a:pt x="144" y="46"/>
                      <a:pt x="145" y="48"/>
                      <a:pt x="144" y="51"/>
                    </a:cubicBezTo>
                    <a:lnTo>
                      <a:pt x="108" y="358"/>
                    </a:lnTo>
                    <a:cubicBezTo>
                      <a:pt x="107" y="362"/>
                      <a:pt x="104" y="365"/>
                      <a:pt x="100" y="365"/>
                    </a:cubicBezTo>
                    <a:lnTo>
                      <a:pt x="58" y="368"/>
                    </a:lnTo>
                    <a:cubicBezTo>
                      <a:pt x="54" y="369"/>
                      <a:pt x="50" y="366"/>
                      <a:pt x="50" y="362"/>
                    </a:cubicBezTo>
                    <a:lnTo>
                      <a:pt x="1" y="95"/>
                    </a:lnTo>
                    <a:cubicBezTo>
                      <a:pt x="0" y="93"/>
                      <a:pt x="1" y="90"/>
                      <a:pt x="3" y="88"/>
                    </a:cubicBezTo>
                    <a:lnTo>
                      <a:pt x="71" y="29"/>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25" name="Freeform 381"/>
              <p:cNvSpPr>
                <a:spLocks/>
              </p:cNvSpPr>
              <p:nvPr/>
            </p:nvSpPr>
            <p:spPr bwMode="auto">
              <a:xfrm>
                <a:off x="2871" y="2095"/>
                <a:ext cx="28" cy="18"/>
              </a:xfrm>
              <a:custGeom>
                <a:avLst/>
                <a:gdLst/>
                <a:ahLst/>
                <a:cxnLst>
                  <a:cxn ang="0">
                    <a:pos x="0" y="18"/>
                  </a:cxn>
                  <a:cxn ang="0">
                    <a:pos x="2" y="0"/>
                  </a:cxn>
                  <a:cxn ang="0">
                    <a:pos x="28" y="0"/>
                  </a:cxn>
                  <a:cxn ang="0">
                    <a:pos x="28" y="16"/>
                  </a:cxn>
                  <a:cxn ang="0">
                    <a:pos x="0" y="18"/>
                  </a:cxn>
                </a:cxnLst>
                <a:rect l="0" t="0" r="r" b="b"/>
                <a:pathLst>
                  <a:path w="28" h="18">
                    <a:moveTo>
                      <a:pt x="0" y="18"/>
                    </a:moveTo>
                    <a:lnTo>
                      <a:pt x="2" y="0"/>
                    </a:lnTo>
                    <a:lnTo>
                      <a:pt x="28" y="0"/>
                    </a:lnTo>
                    <a:lnTo>
                      <a:pt x="28" y="16"/>
                    </a:lnTo>
                    <a:lnTo>
                      <a:pt x="0" y="18"/>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26" name="Freeform 382"/>
              <p:cNvSpPr>
                <a:spLocks noEditPoints="1"/>
              </p:cNvSpPr>
              <p:nvPr/>
            </p:nvSpPr>
            <p:spPr bwMode="auto">
              <a:xfrm>
                <a:off x="2869" y="2093"/>
                <a:ext cx="32" cy="22"/>
              </a:xfrm>
              <a:custGeom>
                <a:avLst/>
                <a:gdLst/>
                <a:ahLst/>
                <a:cxnLst>
                  <a:cxn ang="0">
                    <a:pos x="9" y="96"/>
                  </a:cxn>
                  <a:cxn ang="0">
                    <a:pos x="3" y="94"/>
                  </a:cxn>
                  <a:cxn ang="0">
                    <a:pos x="0" y="88"/>
                  </a:cxn>
                  <a:cxn ang="0">
                    <a:pos x="8" y="10"/>
                  </a:cxn>
                  <a:cxn ang="0">
                    <a:pos x="16" y="2"/>
                  </a:cxn>
                  <a:cxn ang="0">
                    <a:pos x="104" y="0"/>
                  </a:cxn>
                  <a:cxn ang="0">
                    <a:pos x="110" y="3"/>
                  </a:cxn>
                  <a:cxn ang="0">
                    <a:pos x="112" y="8"/>
                  </a:cxn>
                  <a:cxn ang="0">
                    <a:pos x="112" y="79"/>
                  </a:cxn>
                  <a:cxn ang="0">
                    <a:pos x="105" y="87"/>
                  </a:cxn>
                  <a:cxn ang="0">
                    <a:pos x="9" y="96"/>
                  </a:cxn>
                  <a:cxn ang="0">
                    <a:pos x="104" y="71"/>
                  </a:cxn>
                  <a:cxn ang="0">
                    <a:pos x="96" y="79"/>
                  </a:cxn>
                  <a:cxn ang="0">
                    <a:pos x="96" y="8"/>
                  </a:cxn>
                  <a:cxn ang="0">
                    <a:pos x="105" y="16"/>
                  </a:cxn>
                  <a:cxn ang="0">
                    <a:pos x="16" y="18"/>
                  </a:cxn>
                  <a:cxn ang="0">
                    <a:pos x="24" y="11"/>
                  </a:cxn>
                  <a:cxn ang="0">
                    <a:pos x="16" y="89"/>
                  </a:cxn>
                  <a:cxn ang="0">
                    <a:pos x="8" y="80"/>
                  </a:cxn>
                  <a:cxn ang="0">
                    <a:pos x="104" y="71"/>
                  </a:cxn>
                </a:cxnLst>
                <a:rect l="0" t="0" r="r" b="b"/>
                <a:pathLst>
                  <a:path w="112" h="97">
                    <a:moveTo>
                      <a:pt x="9" y="96"/>
                    </a:moveTo>
                    <a:cubicBezTo>
                      <a:pt x="7" y="97"/>
                      <a:pt x="4" y="96"/>
                      <a:pt x="3" y="94"/>
                    </a:cubicBezTo>
                    <a:cubicBezTo>
                      <a:pt x="1" y="92"/>
                      <a:pt x="0" y="90"/>
                      <a:pt x="0" y="88"/>
                    </a:cubicBezTo>
                    <a:lnTo>
                      <a:pt x="8" y="10"/>
                    </a:lnTo>
                    <a:cubicBezTo>
                      <a:pt x="9" y="6"/>
                      <a:pt x="12" y="2"/>
                      <a:pt x="16" y="2"/>
                    </a:cubicBezTo>
                    <a:lnTo>
                      <a:pt x="104" y="0"/>
                    </a:lnTo>
                    <a:cubicBezTo>
                      <a:pt x="106" y="0"/>
                      <a:pt x="109" y="1"/>
                      <a:pt x="110" y="3"/>
                    </a:cubicBezTo>
                    <a:cubicBezTo>
                      <a:pt x="112" y="4"/>
                      <a:pt x="112" y="6"/>
                      <a:pt x="112" y="8"/>
                    </a:cubicBezTo>
                    <a:lnTo>
                      <a:pt x="112" y="79"/>
                    </a:lnTo>
                    <a:cubicBezTo>
                      <a:pt x="112" y="83"/>
                      <a:pt x="109" y="87"/>
                      <a:pt x="105" y="87"/>
                    </a:cubicBezTo>
                    <a:lnTo>
                      <a:pt x="9" y="96"/>
                    </a:lnTo>
                    <a:close/>
                    <a:moveTo>
                      <a:pt x="104" y="71"/>
                    </a:moveTo>
                    <a:lnTo>
                      <a:pt x="96" y="79"/>
                    </a:lnTo>
                    <a:lnTo>
                      <a:pt x="96" y="8"/>
                    </a:lnTo>
                    <a:lnTo>
                      <a:pt x="105" y="16"/>
                    </a:lnTo>
                    <a:lnTo>
                      <a:pt x="16" y="18"/>
                    </a:lnTo>
                    <a:lnTo>
                      <a:pt x="24" y="11"/>
                    </a:lnTo>
                    <a:lnTo>
                      <a:pt x="16" y="89"/>
                    </a:lnTo>
                    <a:lnTo>
                      <a:pt x="8" y="80"/>
                    </a:lnTo>
                    <a:lnTo>
                      <a:pt x="104" y="7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27" name="Freeform 383"/>
              <p:cNvSpPr>
                <a:spLocks/>
              </p:cNvSpPr>
              <p:nvPr/>
            </p:nvSpPr>
            <p:spPr bwMode="auto">
              <a:xfrm>
                <a:off x="3205" y="1883"/>
                <a:ext cx="209" cy="194"/>
              </a:xfrm>
              <a:custGeom>
                <a:avLst/>
                <a:gdLst/>
                <a:ahLst/>
                <a:cxnLst>
                  <a:cxn ang="0">
                    <a:pos x="0" y="135"/>
                  </a:cxn>
                  <a:cxn ang="0">
                    <a:pos x="16" y="125"/>
                  </a:cxn>
                  <a:cxn ang="0">
                    <a:pos x="18" y="101"/>
                  </a:cxn>
                  <a:cxn ang="0">
                    <a:pos x="45" y="69"/>
                  </a:cxn>
                  <a:cxn ang="0">
                    <a:pos x="56" y="12"/>
                  </a:cxn>
                  <a:cxn ang="0">
                    <a:pos x="77" y="0"/>
                  </a:cxn>
                  <a:cxn ang="0">
                    <a:pos x="93" y="38"/>
                  </a:cxn>
                  <a:cxn ang="0">
                    <a:pos x="139" y="71"/>
                  </a:cxn>
                  <a:cxn ang="0">
                    <a:pos x="123" y="91"/>
                  </a:cxn>
                  <a:cxn ang="0">
                    <a:pos x="138" y="96"/>
                  </a:cxn>
                  <a:cxn ang="0">
                    <a:pos x="155" y="120"/>
                  </a:cxn>
                  <a:cxn ang="0">
                    <a:pos x="209" y="133"/>
                  </a:cxn>
                  <a:cxn ang="0">
                    <a:pos x="167" y="173"/>
                  </a:cxn>
                  <a:cxn ang="0">
                    <a:pos x="123" y="188"/>
                  </a:cxn>
                  <a:cxn ang="0">
                    <a:pos x="84" y="194"/>
                  </a:cxn>
                  <a:cxn ang="0">
                    <a:pos x="40" y="179"/>
                  </a:cxn>
                  <a:cxn ang="0">
                    <a:pos x="25" y="151"/>
                  </a:cxn>
                  <a:cxn ang="0">
                    <a:pos x="0" y="135"/>
                  </a:cxn>
                </a:cxnLst>
                <a:rect l="0" t="0" r="r" b="b"/>
                <a:pathLst>
                  <a:path w="209" h="194">
                    <a:moveTo>
                      <a:pt x="0" y="135"/>
                    </a:moveTo>
                    <a:lnTo>
                      <a:pt x="16" y="125"/>
                    </a:lnTo>
                    <a:lnTo>
                      <a:pt x="18" y="101"/>
                    </a:lnTo>
                    <a:lnTo>
                      <a:pt x="45" y="69"/>
                    </a:lnTo>
                    <a:lnTo>
                      <a:pt x="56" y="12"/>
                    </a:lnTo>
                    <a:lnTo>
                      <a:pt x="77" y="0"/>
                    </a:lnTo>
                    <a:lnTo>
                      <a:pt x="93" y="38"/>
                    </a:lnTo>
                    <a:lnTo>
                      <a:pt x="139" y="71"/>
                    </a:lnTo>
                    <a:lnTo>
                      <a:pt x="123" y="91"/>
                    </a:lnTo>
                    <a:lnTo>
                      <a:pt x="138" y="96"/>
                    </a:lnTo>
                    <a:lnTo>
                      <a:pt x="155" y="120"/>
                    </a:lnTo>
                    <a:lnTo>
                      <a:pt x="209" y="133"/>
                    </a:lnTo>
                    <a:lnTo>
                      <a:pt x="167" y="173"/>
                    </a:lnTo>
                    <a:lnTo>
                      <a:pt x="123" y="188"/>
                    </a:lnTo>
                    <a:lnTo>
                      <a:pt x="84" y="194"/>
                    </a:lnTo>
                    <a:lnTo>
                      <a:pt x="40" y="179"/>
                    </a:lnTo>
                    <a:lnTo>
                      <a:pt x="25" y="151"/>
                    </a:lnTo>
                    <a:lnTo>
                      <a:pt x="0" y="135"/>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28" name="Freeform 384"/>
              <p:cNvSpPr>
                <a:spLocks noEditPoints="1"/>
              </p:cNvSpPr>
              <p:nvPr/>
            </p:nvSpPr>
            <p:spPr bwMode="auto">
              <a:xfrm>
                <a:off x="3203" y="1881"/>
                <a:ext cx="214" cy="198"/>
              </a:xfrm>
              <a:custGeom>
                <a:avLst/>
                <a:gdLst/>
                <a:ahLst/>
                <a:cxnLst>
                  <a:cxn ang="0">
                    <a:pos x="0" y="602"/>
                  </a:cxn>
                  <a:cxn ang="0">
                    <a:pos x="58" y="550"/>
                  </a:cxn>
                  <a:cxn ang="0">
                    <a:pos x="61" y="450"/>
                  </a:cxn>
                  <a:cxn ang="0">
                    <a:pos x="156" y="306"/>
                  </a:cxn>
                  <a:cxn ang="0">
                    <a:pos x="192" y="62"/>
                  </a:cxn>
                  <a:cxn ang="0">
                    <a:pos x="269" y="2"/>
                  </a:cxn>
                  <a:cxn ang="0">
                    <a:pos x="281" y="6"/>
                  </a:cxn>
                  <a:cxn ang="0">
                    <a:pos x="333" y="172"/>
                  </a:cxn>
                  <a:cxn ang="0">
                    <a:pos x="493" y="326"/>
                  </a:cxn>
                  <a:cxn ang="0">
                    <a:pos x="433" y="401"/>
                  </a:cxn>
                  <a:cxn ang="0">
                    <a:pos x="490" y="426"/>
                  </a:cxn>
                  <a:cxn ang="0">
                    <a:pos x="543" y="527"/>
                  </a:cxn>
                  <a:cxn ang="0">
                    <a:pos x="736" y="589"/>
                  </a:cxn>
                  <a:cxn ang="0">
                    <a:pos x="589" y="772"/>
                  </a:cxn>
                  <a:cxn ang="0">
                    <a:pos x="436" y="837"/>
                  </a:cxn>
                  <a:cxn ang="0">
                    <a:pos x="299" y="864"/>
                  </a:cxn>
                  <a:cxn ang="0">
                    <a:pos x="143" y="799"/>
                  </a:cxn>
                  <a:cxn ang="0">
                    <a:pos x="85" y="675"/>
                  </a:cxn>
                  <a:cxn ang="0">
                    <a:pos x="3" y="608"/>
                  </a:cxn>
                  <a:cxn ang="0">
                    <a:pos x="100" y="668"/>
                  </a:cxn>
                  <a:cxn ang="0">
                    <a:pos x="149" y="784"/>
                  </a:cxn>
                  <a:cxn ang="0">
                    <a:pos x="295" y="849"/>
                  </a:cxn>
                  <a:cxn ang="0">
                    <a:pos x="430" y="822"/>
                  </a:cxn>
                  <a:cxn ang="0">
                    <a:pos x="577" y="761"/>
                  </a:cxn>
                  <a:cxn ang="0">
                    <a:pos x="726" y="599"/>
                  </a:cxn>
                  <a:cxn ang="0">
                    <a:pos x="533" y="539"/>
                  </a:cxn>
                  <a:cxn ang="0">
                    <a:pos x="479" y="437"/>
                  </a:cxn>
                  <a:cxn ang="0">
                    <a:pos x="423" y="411"/>
                  </a:cxn>
                  <a:cxn ang="0">
                    <a:pos x="480" y="317"/>
                  </a:cxn>
                  <a:cxn ang="0">
                    <a:pos x="322" y="184"/>
                  </a:cxn>
                  <a:cxn ang="0">
                    <a:pos x="266" y="11"/>
                  </a:cxn>
                  <a:cxn ang="0">
                    <a:pos x="204" y="70"/>
                  </a:cxn>
                  <a:cxn ang="0">
                    <a:pos x="170" y="311"/>
                  </a:cxn>
                  <a:cxn ang="0">
                    <a:pos x="76" y="454"/>
                  </a:cxn>
                  <a:cxn ang="0">
                    <a:pos x="71" y="557"/>
                  </a:cxn>
                  <a:cxn ang="0">
                    <a:pos x="14" y="608"/>
                  </a:cxn>
                  <a:cxn ang="0">
                    <a:pos x="97" y="665"/>
                  </a:cxn>
                </a:cxnLst>
                <a:rect l="0" t="0" r="r" b="b"/>
                <a:pathLst>
                  <a:path w="737" h="865">
                    <a:moveTo>
                      <a:pt x="3" y="608"/>
                    </a:moveTo>
                    <a:cubicBezTo>
                      <a:pt x="1" y="606"/>
                      <a:pt x="0" y="604"/>
                      <a:pt x="0" y="602"/>
                    </a:cubicBezTo>
                    <a:cubicBezTo>
                      <a:pt x="0" y="599"/>
                      <a:pt x="2" y="597"/>
                      <a:pt x="3" y="595"/>
                    </a:cubicBezTo>
                    <a:lnTo>
                      <a:pt x="58" y="550"/>
                    </a:lnTo>
                    <a:lnTo>
                      <a:pt x="55" y="556"/>
                    </a:lnTo>
                    <a:lnTo>
                      <a:pt x="61" y="450"/>
                    </a:lnTo>
                    <a:cubicBezTo>
                      <a:pt x="61" y="448"/>
                      <a:pt x="61" y="447"/>
                      <a:pt x="62" y="446"/>
                    </a:cubicBezTo>
                    <a:lnTo>
                      <a:pt x="156" y="306"/>
                    </a:lnTo>
                    <a:lnTo>
                      <a:pt x="154" y="309"/>
                    </a:lnTo>
                    <a:lnTo>
                      <a:pt x="192" y="62"/>
                    </a:lnTo>
                    <a:cubicBezTo>
                      <a:pt x="192" y="60"/>
                      <a:pt x="193" y="58"/>
                      <a:pt x="195" y="57"/>
                    </a:cubicBezTo>
                    <a:lnTo>
                      <a:pt x="269" y="2"/>
                    </a:lnTo>
                    <a:cubicBezTo>
                      <a:pt x="271" y="0"/>
                      <a:pt x="274" y="0"/>
                      <a:pt x="276" y="1"/>
                    </a:cubicBezTo>
                    <a:cubicBezTo>
                      <a:pt x="279" y="2"/>
                      <a:pt x="281" y="4"/>
                      <a:pt x="281" y="6"/>
                    </a:cubicBezTo>
                    <a:lnTo>
                      <a:pt x="335" y="176"/>
                    </a:lnTo>
                    <a:lnTo>
                      <a:pt x="333" y="172"/>
                    </a:lnTo>
                    <a:lnTo>
                      <a:pt x="492" y="316"/>
                    </a:lnTo>
                    <a:cubicBezTo>
                      <a:pt x="495" y="318"/>
                      <a:pt x="495" y="323"/>
                      <a:pt x="493" y="326"/>
                    </a:cubicBezTo>
                    <a:lnTo>
                      <a:pt x="437" y="413"/>
                    </a:lnTo>
                    <a:lnTo>
                      <a:pt x="433" y="401"/>
                    </a:lnTo>
                    <a:lnTo>
                      <a:pt x="486" y="423"/>
                    </a:lnTo>
                    <a:cubicBezTo>
                      <a:pt x="487" y="423"/>
                      <a:pt x="489" y="425"/>
                      <a:pt x="490" y="426"/>
                    </a:cubicBezTo>
                    <a:lnTo>
                      <a:pt x="547" y="531"/>
                    </a:lnTo>
                    <a:lnTo>
                      <a:pt x="543" y="527"/>
                    </a:lnTo>
                    <a:lnTo>
                      <a:pt x="731" y="584"/>
                    </a:lnTo>
                    <a:cubicBezTo>
                      <a:pt x="733" y="585"/>
                      <a:pt x="735" y="587"/>
                      <a:pt x="736" y="589"/>
                    </a:cubicBezTo>
                    <a:cubicBezTo>
                      <a:pt x="737" y="592"/>
                      <a:pt x="736" y="595"/>
                      <a:pt x="735" y="597"/>
                    </a:cubicBezTo>
                    <a:lnTo>
                      <a:pt x="589" y="772"/>
                    </a:lnTo>
                    <a:cubicBezTo>
                      <a:pt x="588" y="773"/>
                      <a:pt x="587" y="773"/>
                      <a:pt x="586" y="774"/>
                    </a:cubicBezTo>
                    <a:lnTo>
                      <a:pt x="436" y="837"/>
                    </a:lnTo>
                    <a:cubicBezTo>
                      <a:pt x="436" y="837"/>
                      <a:pt x="435" y="838"/>
                      <a:pt x="435" y="838"/>
                    </a:cubicBezTo>
                    <a:lnTo>
                      <a:pt x="299" y="864"/>
                    </a:lnTo>
                    <a:cubicBezTo>
                      <a:pt x="297" y="865"/>
                      <a:pt x="295" y="864"/>
                      <a:pt x="294" y="864"/>
                    </a:cubicBezTo>
                    <a:lnTo>
                      <a:pt x="143" y="799"/>
                    </a:lnTo>
                    <a:cubicBezTo>
                      <a:pt x="141" y="798"/>
                      <a:pt x="139" y="797"/>
                      <a:pt x="139" y="795"/>
                    </a:cubicBezTo>
                    <a:lnTo>
                      <a:pt x="85" y="675"/>
                    </a:lnTo>
                    <a:lnTo>
                      <a:pt x="87" y="678"/>
                    </a:lnTo>
                    <a:lnTo>
                      <a:pt x="3" y="608"/>
                    </a:lnTo>
                    <a:close/>
                    <a:moveTo>
                      <a:pt x="97" y="665"/>
                    </a:moveTo>
                    <a:cubicBezTo>
                      <a:pt x="98" y="666"/>
                      <a:pt x="99" y="667"/>
                      <a:pt x="100" y="668"/>
                    </a:cubicBezTo>
                    <a:lnTo>
                      <a:pt x="153" y="788"/>
                    </a:lnTo>
                    <a:lnTo>
                      <a:pt x="149" y="784"/>
                    </a:lnTo>
                    <a:lnTo>
                      <a:pt x="300" y="849"/>
                    </a:lnTo>
                    <a:lnTo>
                      <a:pt x="295" y="849"/>
                    </a:lnTo>
                    <a:lnTo>
                      <a:pt x="432" y="822"/>
                    </a:lnTo>
                    <a:lnTo>
                      <a:pt x="430" y="822"/>
                    </a:lnTo>
                    <a:lnTo>
                      <a:pt x="580" y="759"/>
                    </a:lnTo>
                    <a:lnTo>
                      <a:pt x="577" y="761"/>
                    </a:lnTo>
                    <a:lnTo>
                      <a:pt x="722" y="586"/>
                    </a:lnTo>
                    <a:lnTo>
                      <a:pt x="726" y="599"/>
                    </a:lnTo>
                    <a:lnTo>
                      <a:pt x="538" y="543"/>
                    </a:lnTo>
                    <a:cubicBezTo>
                      <a:pt x="536" y="542"/>
                      <a:pt x="534" y="541"/>
                      <a:pt x="533" y="539"/>
                    </a:cubicBezTo>
                    <a:lnTo>
                      <a:pt x="475" y="434"/>
                    </a:lnTo>
                    <a:lnTo>
                      <a:pt x="479" y="437"/>
                    </a:lnTo>
                    <a:lnTo>
                      <a:pt x="427" y="416"/>
                    </a:lnTo>
                    <a:cubicBezTo>
                      <a:pt x="425" y="415"/>
                      <a:pt x="423" y="413"/>
                      <a:pt x="423" y="411"/>
                    </a:cubicBezTo>
                    <a:cubicBezTo>
                      <a:pt x="422" y="408"/>
                      <a:pt x="422" y="406"/>
                      <a:pt x="424" y="404"/>
                    </a:cubicBezTo>
                    <a:lnTo>
                      <a:pt x="480" y="317"/>
                    </a:lnTo>
                    <a:lnTo>
                      <a:pt x="481" y="328"/>
                    </a:lnTo>
                    <a:lnTo>
                      <a:pt x="322" y="184"/>
                    </a:lnTo>
                    <a:cubicBezTo>
                      <a:pt x="321" y="183"/>
                      <a:pt x="320" y="182"/>
                      <a:pt x="320" y="181"/>
                    </a:cubicBezTo>
                    <a:lnTo>
                      <a:pt x="266" y="11"/>
                    </a:lnTo>
                    <a:lnTo>
                      <a:pt x="278" y="15"/>
                    </a:lnTo>
                    <a:lnTo>
                      <a:pt x="204" y="70"/>
                    </a:lnTo>
                    <a:lnTo>
                      <a:pt x="207" y="65"/>
                    </a:lnTo>
                    <a:lnTo>
                      <a:pt x="170" y="311"/>
                    </a:lnTo>
                    <a:cubicBezTo>
                      <a:pt x="170" y="312"/>
                      <a:pt x="170" y="313"/>
                      <a:pt x="169" y="314"/>
                    </a:cubicBezTo>
                    <a:lnTo>
                      <a:pt x="76" y="454"/>
                    </a:lnTo>
                    <a:lnTo>
                      <a:pt x="77" y="450"/>
                    </a:lnTo>
                    <a:lnTo>
                      <a:pt x="71" y="557"/>
                    </a:lnTo>
                    <a:cubicBezTo>
                      <a:pt x="71" y="559"/>
                      <a:pt x="70" y="561"/>
                      <a:pt x="68" y="563"/>
                    </a:cubicBezTo>
                    <a:lnTo>
                      <a:pt x="14" y="608"/>
                    </a:lnTo>
                    <a:lnTo>
                      <a:pt x="14" y="595"/>
                    </a:lnTo>
                    <a:lnTo>
                      <a:pt x="97" y="665"/>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29" name="Freeform 385"/>
              <p:cNvSpPr>
                <a:spLocks/>
              </p:cNvSpPr>
              <p:nvPr/>
            </p:nvSpPr>
            <p:spPr bwMode="auto">
              <a:xfrm>
                <a:off x="3326" y="1956"/>
                <a:ext cx="23" cy="25"/>
              </a:xfrm>
              <a:custGeom>
                <a:avLst/>
                <a:gdLst/>
                <a:ahLst/>
                <a:cxnLst>
                  <a:cxn ang="0">
                    <a:pos x="0" y="20"/>
                  </a:cxn>
                  <a:cxn ang="0">
                    <a:pos x="16" y="25"/>
                  </a:cxn>
                  <a:cxn ang="0">
                    <a:pos x="22" y="17"/>
                  </a:cxn>
                  <a:cxn ang="0">
                    <a:pos x="11" y="16"/>
                  </a:cxn>
                  <a:cxn ang="0">
                    <a:pos x="23" y="10"/>
                  </a:cxn>
                  <a:cxn ang="0">
                    <a:pos x="17" y="0"/>
                  </a:cxn>
                  <a:cxn ang="0">
                    <a:pos x="0" y="20"/>
                  </a:cxn>
                </a:cxnLst>
                <a:rect l="0" t="0" r="r" b="b"/>
                <a:pathLst>
                  <a:path w="23" h="25">
                    <a:moveTo>
                      <a:pt x="0" y="20"/>
                    </a:moveTo>
                    <a:lnTo>
                      <a:pt x="16" y="25"/>
                    </a:lnTo>
                    <a:lnTo>
                      <a:pt x="22" y="17"/>
                    </a:lnTo>
                    <a:lnTo>
                      <a:pt x="11" y="16"/>
                    </a:lnTo>
                    <a:lnTo>
                      <a:pt x="23" y="10"/>
                    </a:lnTo>
                    <a:lnTo>
                      <a:pt x="17" y="0"/>
                    </a:lnTo>
                    <a:lnTo>
                      <a:pt x="0" y="2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30" name="Freeform 386"/>
              <p:cNvSpPr>
                <a:spLocks noEditPoints="1"/>
              </p:cNvSpPr>
              <p:nvPr/>
            </p:nvSpPr>
            <p:spPr bwMode="auto">
              <a:xfrm>
                <a:off x="3324" y="1954"/>
                <a:ext cx="28" cy="29"/>
              </a:xfrm>
              <a:custGeom>
                <a:avLst/>
                <a:gdLst/>
                <a:ahLst/>
                <a:cxnLst>
                  <a:cxn ang="0">
                    <a:pos x="15" y="103"/>
                  </a:cxn>
                  <a:cxn ang="0">
                    <a:pos x="11" y="91"/>
                  </a:cxn>
                  <a:cxn ang="0">
                    <a:pos x="67" y="113"/>
                  </a:cxn>
                  <a:cxn ang="0">
                    <a:pos x="57" y="117"/>
                  </a:cxn>
                  <a:cxn ang="0">
                    <a:pos x="77" y="80"/>
                  </a:cxn>
                  <a:cxn ang="0">
                    <a:pos x="83" y="92"/>
                  </a:cxn>
                  <a:cxn ang="0">
                    <a:pos x="44" y="87"/>
                  </a:cxn>
                  <a:cxn ang="0">
                    <a:pos x="37" y="81"/>
                  </a:cxn>
                  <a:cxn ang="0">
                    <a:pos x="41" y="72"/>
                  </a:cxn>
                  <a:cxn ang="0">
                    <a:pos x="84" y="45"/>
                  </a:cxn>
                  <a:cxn ang="0">
                    <a:pos x="81" y="55"/>
                  </a:cxn>
                  <a:cxn ang="0">
                    <a:pos x="61" y="12"/>
                  </a:cxn>
                  <a:cxn ang="0">
                    <a:pos x="75" y="13"/>
                  </a:cxn>
                  <a:cxn ang="0">
                    <a:pos x="15" y="103"/>
                  </a:cxn>
                  <a:cxn ang="0">
                    <a:pos x="61" y="4"/>
                  </a:cxn>
                  <a:cxn ang="0">
                    <a:pos x="69" y="0"/>
                  </a:cxn>
                  <a:cxn ang="0">
                    <a:pos x="75" y="5"/>
                  </a:cxn>
                  <a:cxn ang="0">
                    <a:pos x="96" y="48"/>
                  </a:cxn>
                  <a:cxn ang="0">
                    <a:pos x="93" y="58"/>
                  </a:cxn>
                  <a:cxn ang="0">
                    <a:pos x="49" y="86"/>
                  </a:cxn>
                  <a:cxn ang="0">
                    <a:pos x="46" y="71"/>
                  </a:cxn>
                  <a:cxn ang="0">
                    <a:pos x="85" y="76"/>
                  </a:cxn>
                  <a:cxn ang="0">
                    <a:pos x="91" y="81"/>
                  </a:cxn>
                  <a:cxn ang="0">
                    <a:pos x="91" y="88"/>
                  </a:cxn>
                  <a:cxn ang="0">
                    <a:pos x="71" y="124"/>
                  </a:cxn>
                  <a:cxn ang="0">
                    <a:pos x="61" y="128"/>
                  </a:cxn>
                  <a:cxn ang="0">
                    <a:pos x="5" y="105"/>
                  </a:cxn>
                  <a:cxn ang="0">
                    <a:pos x="1" y="100"/>
                  </a:cxn>
                  <a:cxn ang="0">
                    <a:pos x="2" y="94"/>
                  </a:cxn>
                  <a:cxn ang="0">
                    <a:pos x="61" y="4"/>
                  </a:cxn>
                </a:cxnLst>
                <a:rect l="0" t="0" r="r" b="b"/>
                <a:pathLst>
                  <a:path w="97" h="129">
                    <a:moveTo>
                      <a:pt x="15" y="103"/>
                    </a:moveTo>
                    <a:lnTo>
                      <a:pt x="11" y="91"/>
                    </a:lnTo>
                    <a:lnTo>
                      <a:pt x="67" y="113"/>
                    </a:lnTo>
                    <a:lnTo>
                      <a:pt x="57" y="117"/>
                    </a:lnTo>
                    <a:lnTo>
                      <a:pt x="77" y="80"/>
                    </a:lnTo>
                    <a:lnTo>
                      <a:pt x="83" y="92"/>
                    </a:lnTo>
                    <a:lnTo>
                      <a:pt x="44" y="87"/>
                    </a:lnTo>
                    <a:cubicBezTo>
                      <a:pt x="40" y="87"/>
                      <a:pt x="38" y="84"/>
                      <a:pt x="37" y="81"/>
                    </a:cubicBezTo>
                    <a:cubicBezTo>
                      <a:pt x="36" y="78"/>
                      <a:pt x="38" y="74"/>
                      <a:pt x="41" y="72"/>
                    </a:cubicBezTo>
                    <a:lnTo>
                      <a:pt x="84" y="45"/>
                    </a:lnTo>
                    <a:lnTo>
                      <a:pt x="81" y="55"/>
                    </a:lnTo>
                    <a:lnTo>
                      <a:pt x="61" y="12"/>
                    </a:lnTo>
                    <a:lnTo>
                      <a:pt x="75" y="13"/>
                    </a:lnTo>
                    <a:lnTo>
                      <a:pt x="15" y="103"/>
                    </a:lnTo>
                    <a:close/>
                    <a:moveTo>
                      <a:pt x="61" y="4"/>
                    </a:moveTo>
                    <a:cubicBezTo>
                      <a:pt x="63" y="2"/>
                      <a:pt x="66" y="0"/>
                      <a:pt x="69" y="0"/>
                    </a:cubicBezTo>
                    <a:cubicBezTo>
                      <a:pt x="72" y="1"/>
                      <a:pt x="74" y="2"/>
                      <a:pt x="75" y="5"/>
                    </a:cubicBezTo>
                    <a:lnTo>
                      <a:pt x="96" y="48"/>
                    </a:lnTo>
                    <a:cubicBezTo>
                      <a:pt x="97" y="52"/>
                      <a:pt x="96" y="56"/>
                      <a:pt x="93" y="58"/>
                    </a:cubicBezTo>
                    <a:lnTo>
                      <a:pt x="49" y="86"/>
                    </a:lnTo>
                    <a:lnTo>
                      <a:pt x="46" y="71"/>
                    </a:lnTo>
                    <a:lnTo>
                      <a:pt x="85" y="76"/>
                    </a:lnTo>
                    <a:cubicBezTo>
                      <a:pt x="88" y="77"/>
                      <a:pt x="90" y="78"/>
                      <a:pt x="91" y="81"/>
                    </a:cubicBezTo>
                    <a:cubicBezTo>
                      <a:pt x="92" y="83"/>
                      <a:pt x="92" y="86"/>
                      <a:pt x="91" y="88"/>
                    </a:cubicBezTo>
                    <a:lnTo>
                      <a:pt x="71" y="124"/>
                    </a:lnTo>
                    <a:cubicBezTo>
                      <a:pt x="69" y="128"/>
                      <a:pt x="64" y="129"/>
                      <a:pt x="61" y="128"/>
                    </a:cubicBezTo>
                    <a:lnTo>
                      <a:pt x="5" y="105"/>
                    </a:lnTo>
                    <a:cubicBezTo>
                      <a:pt x="3" y="105"/>
                      <a:pt x="2" y="103"/>
                      <a:pt x="1" y="100"/>
                    </a:cubicBezTo>
                    <a:cubicBezTo>
                      <a:pt x="0" y="98"/>
                      <a:pt x="0" y="96"/>
                      <a:pt x="2" y="94"/>
                    </a:cubicBezTo>
                    <a:lnTo>
                      <a:pt x="61" y="4"/>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31" name="Freeform 387"/>
              <p:cNvSpPr>
                <a:spLocks/>
              </p:cNvSpPr>
              <p:nvPr/>
            </p:nvSpPr>
            <p:spPr bwMode="auto">
              <a:xfrm>
                <a:off x="2862" y="2095"/>
                <a:ext cx="79" cy="80"/>
              </a:xfrm>
              <a:custGeom>
                <a:avLst/>
                <a:gdLst/>
                <a:ahLst/>
                <a:cxnLst>
                  <a:cxn ang="0">
                    <a:pos x="0" y="38"/>
                  </a:cxn>
                  <a:cxn ang="0">
                    <a:pos x="8" y="25"/>
                  </a:cxn>
                  <a:cxn ang="0">
                    <a:pos x="15" y="27"/>
                  </a:cxn>
                  <a:cxn ang="0">
                    <a:pos x="11" y="16"/>
                  </a:cxn>
                  <a:cxn ang="0">
                    <a:pos x="36" y="14"/>
                  </a:cxn>
                  <a:cxn ang="0">
                    <a:pos x="36" y="0"/>
                  </a:cxn>
                  <a:cxn ang="0">
                    <a:pos x="65" y="0"/>
                  </a:cxn>
                  <a:cxn ang="0">
                    <a:pos x="64" y="13"/>
                  </a:cxn>
                  <a:cxn ang="0">
                    <a:pos x="79" y="13"/>
                  </a:cxn>
                  <a:cxn ang="0">
                    <a:pos x="74" y="59"/>
                  </a:cxn>
                  <a:cxn ang="0">
                    <a:pos x="56" y="53"/>
                  </a:cxn>
                  <a:cxn ang="0">
                    <a:pos x="35" y="80"/>
                  </a:cxn>
                  <a:cxn ang="0">
                    <a:pos x="0" y="38"/>
                  </a:cxn>
                </a:cxnLst>
                <a:rect l="0" t="0" r="r" b="b"/>
                <a:pathLst>
                  <a:path w="79" h="80">
                    <a:moveTo>
                      <a:pt x="0" y="38"/>
                    </a:moveTo>
                    <a:lnTo>
                      <a:pt x="8" y="25"/>
                    </a:lnTo>
                    <a:lnTo>
                      <a:pt x="15" y="27"/>
                    </a:lnTo>
                    <a:lnTo>
                      <a:pt x="11" y="16"/>
                    </a:lnTo>
                    <a:lnTo>
                      <a:pt x="36" y="14"/>
                    </a:lnTo>
                    <a:lnTo>
                      <a:pt x="36" y="0"/>
                    </a:lnTo>
                    <a:lnTo>
                      <a:pt x="65" y="0"/>
                    </a:lnTo>
                    <a:lnTo>
                      <a:pt x="64" y="13"/>
                    </a:lnTo>
                    <a:lnTo>
                      <a:pt x="79" y="13"/>
                    </a:lnTo>
                    <a:lnTo>
                      <a:pt x="74" y="59"/>
                    </a:lnTo>
                    <a:lnTo>
                      <a:pt x="56" y="53"/>
                    </a:lnTo>
                    <a:lnTo>
                      <a:pt x="35" y="80"/>
                    </a:lnTo>
                    <a:lnTo>
                      <a:pt x="0" y="38"/>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32" name="Freeform 388"/>
              <p:cNvSpPr>
                <a:spLocks noEditPoints="1"/>
              </p:cNvSpPr>
              <p:nvPr/>
            </p:nvSpPr>
            <p:spPr bwMode="auto">
              <a:xfrm>
                <a:off x="2859" y="2093"/>
                <a:ext cx="84" cy="84"/>
              </a:xfrm>
              <a:custGeom>
                <a:avLst/>
                <a:gdLst/>
                <a:ahLst/>
                <a:cxnLst>
                  <a:cxn ang="0">
                    <a:pos x="2" y="180"/>
                  </a:cxn>
                  <a:cxn ang="0">
                    <a:pos x="1" y="171"/>
                  </a:cxn>
                  <a:cxn ang="0">
                    <a:pos x="31" y="116"/>
                  </a:cxn>
                  <a:cxn ang="0">
                    <a:pos x="40" y="112"/>
                  </a:cxn>
                  <a:cxn ang="0">
                    <a:pos x="61" y="117"/>
                  </a:cxn>
                  <a:cxn ang="0">
                    <a:pos x="52" y="128"/>
                  </a:cxn>
                  <a:cxn ang="0">
                    <a:pos x="38" y="83"/>
                  </a:cxn>
                  <a:cxn ang="0">
                    <a:pos x="39" y="76"/>
                  </a:cxn>
                  <a:cxn ang="0">
                    <a:pos x="45" y="72"/>
                  </a:cxn>
                  <a:cxn ang="0">
                    <a:pos x="132" y="64"/>
                  </a:cxn>
                  <a:cxn ang="0">
                    <a:pos x="125" y="72"/>
                  </a:cxn>
                  <a:cxn ang="0">
                    <a:pos x="125" y="8"/>
                  </a:cxn>
                  <a:cxn ang="0">
                    <a:pos x="128" y="3"/>
                  </a:cxn>
                  <a:cxn ang="0">
                    <a:pos x="133" y="0"/>
                  </a:cxn>
                  <a:cxn ang="0">
                    <a:pos x="232" y="2"/>
                  </a:cxn>
                  <a:cxn ang="0">
                    <a:pos x="238" y="5"/>
                  </a:cxn>
                  <a:cxn ang="0">
                    <a:pos x="240" y="11"/>
                  </a:cxn>
                  <a:cxn ang="0">
                    <a:pos x="237" y="64"/>
                  </a:cxn>
                  <a:cxn ang="0">
                    <a:pos x="230" y="56"/>
                  </a:cxn>
                  <a:cxn ang="0">
                    <a:pos x="281" y="59"/>
                  </a:cxn>
                  <a:cxn ang="0">
                    <a:pos x="287" y="62"/>
                  </a:cxn>
                  <a:cxn ang="0">
                    <a:pos x="288" y="67"/>
                  </a:cxn>
                  <a:cxn ang="0">
                    <a:pos x="273" y="266"/>
                  </a:cxn>
                  <a:cxn ang="0">
                    <a:pos x="269" y="272"/>
                  </a:cxn>
                  <a:cxn ang="0">
                    <a:pos x="262" y="273"/>
                  </a:cxn>
                  <a:cxn ang="0">
                    <a:pos x="198" y="250"/>
                  </a:cxn>
                  <a:cxn ang="0">
                    <a:pos x="208" y="246"/>
                  </a:cxn>
                  <a:cxn ang="0">
                    <a:pos x="136" y="365"/>
                  </a:cxn>
                  <a:cxn ang="0">
                    <a:pos x="129" y="368"/>
                  </a:cxn>
                  <a:cxn ang="0">
                    <a:pos x="122" y="365"/>
                  </a:cxn>
                  <a:cxn ang="0">
                    <a:pos x="2" y="180"/>
                  </a:cxn>
                  <a:cxn ang="0">
                    <a:pos x="136" y="356"/>
                  </a:cxn>
                  <a:cxn ang="0">
                    <a:pos x="122" y="356"/>
                  </a:cxn>
                  <a:cxn ang="0">
                    <a:pos x="194" y="238"/>
                  </a:cxn>
                  <a:cxn ang="0">
                    <a:pos x="204" y="235"/>
                  </a:cxn>
                  <a:cxn ang="0">
                    <a:pos x="268" y="258"/>
                  </a:cxn>
                  <a:cxn ang="0">
                    <a:pos x="257" y="265"/>
                  </a:cxn>
                  <a:cxn ang="0">
                    <a:pos x="272" y="66"/>
                  </a:cxn>
                  <a:cxn ang="0">
                    <a:pos x="280" y="75"/>
                  </a:cxn>
                  <a:cxn ang="0">
                    <a:pos x="229" y="72"/>
                  </a:cxn>
                  <a:cxn ang="0">
                    <a:pos x="221" y="63"/>
                  </a:cxn>
                  <a:cxn ang="0">
                    <a:pos x="224" y="10"/>
                  </a:cxn>
                  <a:cxn ang="0">
                    <a:pos x="232" y="18"/>
                  </a:cxn>
                  <a:cxn ang="0">
                    <a:pos x="133" y="16"/>
                  </a:cxn>
                  <a:cxn ang="0">
                    <a:pos x="141" y="8"/>
                  </a:cxn>
                  <a:cxn ang="0">
                    <a:pos x="141" y="72"/>
                  </a:cxn>
                  <a:cxn ang="0">
                    <a:pos x="134" y="80"/>
                  </a:cxn>
                  <a:cxn ang="0">
                    <a:pos x="46" y="88"/>
                  </a:cxn>
                  <a:cxn ang="0">
                    <a:pos x="53" y="78"/>
                  </a:cxn>
                  <a:cxn ang="0">
                    <a:pos x="67" y="123"/>
                  </a:cxn>
                  <a:cxn ang="0">
                    <a:pos x="65" y="131"/>
                  </a:cxn>
                  <a:cxn ang="0">
                    <a:pos x="58" y="133"/>
                  </a:cxn>
                  <a:cxn ang="0">
                    <a:pos x="36" y="128"/>
                  </a:cxn>
                  <a:cxn ang="0">
                    <a:pos x="45" y="124"/>
                  </a:cxn>
                  <a:cxn ang="0">
                    <a:pos x="16" y="179"/>
                  </a:cxn>
                  <a:cxn ang="0">
                    <a:pos x="15" y="171"/>
                  </a:cxn>
                  <a:cxn ang="0">
                    <a:pos x="136" y="356"/>
                  </a:cxn>
                </a:cxnLst>
                <a:rect l="0" t="0" r="r" b="b"/>
                <a:pathLst>
                  <a:path w="289" h="369">
                    <a:moveTo>
                      <a:pt x="2" y="180"/>
                    </a:moveTo>
                    <a:cubicBezTo>
                      <a:pt x="0" y="177"/>
                      <a:pt x="0" y="174"/>
                      <a:pt x="1" y="171"/>
                    </a:cubicBezTo>
                    <a:lnTo>
                      <a:pt x="31" y="116"/>
                    </a:lnTo>
                    <a:cubicBezTo>
                      <a:pt x="33" y="113"/>
                      <a:pt x="37" y="112"/>
                      <a:pt x="40" y="112"/>
                    </a:cubicBezTo>
                    <a:lnTo>
                      <a:pt x="61" y="117"/>
                    </a:lnTo>
                    <a:lnTo>
                      <a:pt x="52" y="128"/>
                    </a:lnTo>
                    <a:lnTo>
                      <a:pt x="38" y="83"/>
                    </a:lnTo>
                    <a:cubicBezTo>
                      <a:pt x="37" y="80"/>
                      <a:pt x="37" y="78"/>
                      <a:pt x="39" y="76"/>
                    </a:cubicBezTo>
                    <a:cubicBezTo>
                      <a:pt x="40" y="74"/>
                      <a:pt x="42" y="72"/>
                      <a:pt x="45" y="72"/>
                    </a:cubicBezTo>
                    <a:lnTo>
                      <a:pt x="132" y="64"/>
                    </a:lnTo>
                    <a:lnTo>
                      <a:pt x="125" y="72"/>
                    </a:lnTo>
                    <a:lnTo>
                      <a:pt x="125" y="8"/>
                    </a:lnTo>
                    <a:cubicBezTo>
                      <a:pt x="125" y="6"/>
                      <a:pt x="126" y="4"/>
                      <a:pt x="128" y="3"/>
                    </a:cubicBezTo>
                    <a:cubicBezTo>
                      <a:pt x="129" y="1"/>
                      <a:pt x="131" y="0"/>
                      <a:pt x="133" y="0"/>
                    </a:cubicBezTo>
                    <a:lnTo>
                      <a:pt x="232" y="2"/>
                    </a:lnTo>
                    <a:cubicBezTo>
                      <a:pt x="235" y="2"/>
                      <a:pt x="237" y="3"/>
                      <a:pt x="238" y="5"/>
                    </a:cubicBezTo>
                    <a:cubicBezTo>
                      <a:pt x="240" y="6"/>
                      <a:pt x="240" y="8"/>
                      <a:pt x="240" y="11"/>
                    </a:cubicBezTo>
                    <a:lnTo>
                      <a:pt x="237" y="64"/>
                    </a:lnTo>
                    <a:lnTo>
                      <a:pt x="230" y="56"/>
                    </a:lnTo>
                    <a:lnTo>
                      <a:pt x="281" y="59"/>
                    </a:lnTo>
                    <a:cubicBezTo>
                      <a:pt x="283" y="59"/>
                      <a:pt x="285" y="60"/>
                      <a:pt x="287" y="62"/>
                    </a:cubicBezTo>
                    <a:cubicBezTo>
                      <a:pt x="288" y="63"/>
                      <a:pt x="289" y="65"/>
                      <a:pt x="288" y="67"/>
                    </a:cubicBezTo>
                    <a:lnTo>
                      <a:pt x="273" y="266"/>
                    </a:lnTo>
                    <a:cubicBezTo>
                      <a:pt x="273" y="268"/>
                      <a:pt x="271" y="271"/>
                      <a:pt x="269" y="272"/>
                    </a:cubicBezTo>
                    <a:cubicBezTo>
                      <a:pt x="267" y="273"/>
                      <a:pt x="264" y="274"/>
                      <a:pt x="262" y="273"/>
                    </a:cubicBezTo>
                    <a:lnTo>
                      <a:pt x="198" y="250"/>
                    </a:lnTo>
                    <a:lnTo>
                      <a:pt x="208" y="246"/>
                    </a:lnTo>
                    <a:lnTo>
                      <a:pt x="136" y="365"/>
                    </a:lnTo>
                    <a:cubicBezTo>
                      <a:pt x="134" y="367"/>
                      <a:pt x="132" y="368"/>
                      <a:pt x="129" y="368"/>
                    </a:cubicBezTo>
                    <a:cubicBezTo>
                      <a:pt x="126" y="369"/>
                      <a:pt x="124" y="367"/>
                      <a:pt x="122" y="365"/>
                    </a:cubicBezTo>
                    <a:lnTo>
                      <a:pt x="2" y="180"/>
                    </a:lnTo>
                    <a:close/>
                    <a:moveTo>
                      <a:pt x="136" y="356"/>
                    </a:moveTo>
                    <a:lnTo>
                      <a:pt x="122" y="356"/>
                    </a:lnTo>
                    <a:lnTo>
                      <a:pt x="194" y="238"/>
                    </a:lnTo>
                    <a:cubicBezTo>
                      <a:pt x="196" y="235"/>
                      <a:pt x="200" y="233"/>
                      <a:pt x="204" y="235"/>
                    </a:cubicBezTo>
                    <a:lnTo>
                      <a:pt x="268" y="258"/>
                    </a:lnTo>
                    <a:lnTo>
                      <a:pt x="257" y="265"/>
                    </a:lnTo>
                    <a:lnTo>
                      <a:pt x="272" y="66"/>
                    </a:lnTo>
                    <a:lnTo>
                      <a:pt x="280" y="75"/>
                    </a:lnTo>
                    <a:lnTo>
                      <a:pt x="229" y="72"/>
                    </a:lnTo>
                    <a:cubicBezTo>
                      <a:pt x="225" y="71"/>
                      <a:pt x="221" y="67"/>
                      <a:pt x="221" y="63"/>
                    </a:cubicBezTo>
                    <a:lnTo>
                      <a:pt x="224" y="10"/>
                    </a:lnTo>
                    <a:lnTo>
                      <a:pt x="232" y="18"/>
                    </a:lnTo>
                    <a:lnTo>
                      <a:pt x="133" y="16"/>
                    </a:lnTo>
                    <a:lnTo>
                      <a:pt x="141" y="8"/>
                    </a:lnTo>
                    <a:lnTo>
                      <a:pt x="141" y="72"/>
                    </a:lnTo>
                    <a:cubicBezTo>
                      <a:pt x="141" y="76"/>
                      <a:pt x="138" y="79"/>
                      <a:pt x="134" y="80"/>
                    </a:cubicBezTo>
                    <a:lnTo>
                      <a:pt x="46" y="88"/>
                    </a:lnTo>
                    <a:lnTo>
                      <a:pt x="53" y="78"/>
                    </a:lnTo>
                    <a:lnTo>
                      <a:pt x="67" y="123"/>
                    </a:lnTo>
                    <a:cubicBezTo>
                      <a:pt x="68" y="126"/>
                      <a:pt x="67" y="129"/>
                      <a:pt x="65" y="131"/>
                    </a:cubicBezTo>
                    <a:cubicBezTo>
                      <a:pt x="63" y="133"/>
                      <a:pt x="60" y="134"/>
                      <a:pt x="58" y="133"/>
                    </a:cubicBezTo>
                    <a:lnTo>
                      <a:pt x="36" y="128"/>
                    </a:lnTo>
                    <a:lnTo>
                      <a:pt x="45" y="124"/>
                    </a:lnTo>
                    <a:lnTo>
                      <a:pt x="16" y="179"/>
                    </a:lnTo>
                    <a:lnTo>
                      <a:pt x="15" y="171"/>
                    </a:lnTo>
                    <a:lnTo>
                      <a:pt x="136" y="356"/>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33" name="Freeform 389"/>
              <p:cNvSpPr>
                <a:spLocks/>
              </p:cNvSpPr>
              <p:nvPr/>
            </p:nvSpPr>
            <p:spPr bwMode="auto">
              <a:xfrm>
                <a:off x="2509" y="1941"/>
                <a:ext cx="42" cy="11"/>
              </a:xfrm>
              <a:custGeom>
                <a:avLst/>
                <a:gdLst/>
                <a:ahLst/>
                <a:cxnLst>
                  <a:cxn ang="0">
                    <a:pos x="0" y="11"/>
                  </a:cxn>
                  <a:cxn ang="0">
                    <a:pos x="2" y="0"/>
                  </a:cxn>
                  <a:cxn ang="0">
                    <a:pos x="42" y="5"/>
                  </a:cxn>
                  <a:cxn ang="0">
                    <a:pos x="0" y="11"/>
                  </a:cxn>
                </a:cxnLst>
                <a:rect l="0" t="0" r="r" b="b"/>
                <a:pathLst>
                  <a:path w="42" h="11">
                    <a:moveTo>
                      <a:pt x="0" y="11"/>
                    </a:moveTo>
                    <a:lnTo>
                      <a:pt x="2" y="0"/>
                    </a:lnTo>
                    <a:lnTo>
                      <a:pt x="42" y="5"/>
                    </a:lnTo>
                    <a:lnTo>
                      <a:pt x="0" y="1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34" name="Freeform 390"/>
              <p:cNvSpPr>
                <a:spLocks noEditPoints="1"/>
              </p:cNvSpPr>
              <p:nvPr/>
            </p:nvSpPr>
            <p:spPr bwMode="auto">
              <a:xfrm>
                <a:off x="2507" y="1939"/>
                <a:ext cx="46" cy="15"/>
              </a:xfrm>
              <a:custGeom>
                <a:avLst/>
                <a:gdLst/>
                <a:ahLst/>
                <a:cxnLst>
                  <a:cxn ang="0">
                    <a:pos x="10" y="64"/>
                  </a:cxn>
                  <a:cxn ang="0">
                    <a:pos x="3" y="62"/>
                  </a:cxn>
                  <a:cxn ang="0">
                    <a:pos x="1" y="56"/>
                  </a:cxn>
                  <a:cxn ang="0">
                    <a:pos x="6" y="8"/>
                  </a:cxn>
                  <a:cxn ang="0">
                    <a:pos x="9" y="2"/>
                  </a:cxn>
                  <a:cxn ang="0">
                    <a:pos x="15" y="1"/>
                  </a:cxn>
                  <a:cxn ang="0">
                    <a:pos x="154" y="19"/>
                  </a:cxn>
                  <a:cxn ang="0">
                    <a:pos x="160" y="26"/>
                  </a:cxn>
                  <a:cxn ang="0">
                    <a:pos x="154" y="35"/>
                  </a:cxn>
                  <a:cxn ang="0">
                    <a:pos x="10" y="64"/>
                  </a:cxn>
                  <a:cxn ang="0">
                    <a:pos x="151" y="19"/>
                  </a:cxn>
                  <a:cxn ang="0">
                    <a:pos x="151" y="35"/>
                  </a:cxn>
                  <a:cxn ang="0">
                    <a:pos x="13" y="16"/>
                  </a:cxn>
                  <a:cxn ang="0">
                    <a:pos x="22" y="9"/>
                  </a:cxn>
                  <a:cxn ang="0">
                    <a:pos x="16" y="57"/>
                  </a:cxn>
                  <a:cxn ang="0">
                    <a:pos x="7" y="49"/>
                  </a:cxn>
                  <a:cxn ang="0">
                    <a:pos x="151" y="19"/>
                  </a:cxn>
                </a:cxnLst>
                <a:rect l="0" t="0" r="r" b="b"/>
                <a:pathLst>
                  <a:path w="161" h="65">
                    <a:moveTo>
                      <a:pt x="10" y="64"/>
                    </a:moveTo>
                    <a:cubicBezTo>
                      <a:pt x="8" y="65"/>
                      <a:pt x="5" y="64"/>
                      <a:pt x="3" y="62"/>
                    </a:cubicBezTo>
                    <a:cubicBezTo>
                      <a:pt x="1" y="61"/>
                      <a:pt x="0" y="58"/>
                      <a:pt x="1" y="56"/>
                    </a:cubicBezTo>
                    <a:lnTo>
                      <a:pt x="6" y="8"/>
                    </a:lnTo>
                    <a:cubicBezTo>
                      <a:pt x="6" y="5"/>
                      <a:pt x="7" y="3"/>
                      <a:pt x="9" y="2"/>
                    </a:cubicBezTo>
                    <a:cubicBezTo>
                      <a:pt x="11" y="1"/>
                      <a:pt x="13" y="0"/>
                      <a:pt x="15" y="1"/>
                    </a:cubicBezTo>
                    <a:lnTo>
                      <a:pt x="154" y="19"/>
                    </a:lnTo>
                    <a:cubicBezTo>
                      <a:pt x="157" y="19"/>
                      <a:pt x="160" y="23"/>
                      <a:pt x="160" y="26"/>
                    </a:cubicBezTo>
                    <a:cubicBezTo>
                      <a:pt x="161" y="30"/>
                      <a:pt x="158" y="34"/>
                      <a:pt x="154" y="35"/>
                    </a:cubicBezTo>
                    <a:lnTo>
                      <a:pt x="10" y="64"/>
                    </a:lnTo>
                    <a:close/>
                    <a:moveTo>
                      <a:pt x="151" y="19"/>
                    </a:moveTo>
                    <a:lnTo>
                      <a:pt x="151" y="35"/>
                    </a:lnTo>
                    <a:lnTo>
                      <a:pt x="13" y="16"/>
                    </a:lnTo>
                    <a:lnTo>
                      <a:pt x="22" y="9"/>
                    </a:lnTo>
                    <a:lnTo>
                      <a:pt x="16" y="57"/>
                    </a:lnTo>
                    <a:lnTo>
                      <a:pt x="7" y="49"/>
                    </a:lnTo>
                    <a:lnTo>
                      <a:pt x="151" y="19"/>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35" name="Freeform 391"/>
              <p:cNvSpPr>
                <a:spLocks/>
              </p:cNvSpPr>
              <p:nvPr/>
            </p:nvSpPr>
            <p:spPr bwMode="auto">
              <a:xfrm>
                <a:off x="2699" y="1974"/>
                <a:ext cx="61" cy="84"/>
              </a:xfrm>
              <a:custGeom>
                <a:avLst/>
                <a:gdLst/>
                <a:ahLst/>
                <a:cxnLst>
                  <a:cxn ang="0">
                    <a:pos x="0" y="79"/>
                  </a:cxn>
                  <a:cxn ang="0">
                    <a:pos x="6" y="22"/>
                  </a:cxn>
                  <a:cxn ang="0">
                    <a:pos x="3" y="4"/>
                  </a:cxn>
                  <a:cxn ang="0">
                    <a:pos x="41" y="0"/>
                  </a:cxn>
                  <a:cxn ang="0">
                    <a:pos x="61" y="66"/>
                  </a:cxn>
                  <a:cxn ang="0">
                    <a:pos x="16" y="84"/>
                  </a:cxn>
                  <a:cxn ang="0">
                    <a:pos x="0" y="79"/>
                  </a:cxn>
                </a:cxnLst>
                <a:rect l="0" t="0" r="r" b="b"/>
                <a:pathLst>
                  <a:path w="61" h="84">
                    <a:moveTo>
                      <a:pt x="0" y="79"/>
                    </a:moveTo>
                    <a:lnTo>
                      <a:pt x="6" y="22"/>
                    </a:lnTo>
                    <a:lnTo>
                      <a:pt x="3" y="4"/>
                    </a:lnTo>
                    <a:lnTo>
                      <a:pt x="41" y="0"/>
                    </a:lnTo>
                    <a:lnTo>
                      <a:pt x="61" y="66"/>
                    </a:lnTo>
                    <a:lnTo>
                      <a:pt x="16" y="84"/>
                    </a:lnTo>
                    <a:lnTo>
                      <a:pt x="0" y="79"/>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36" name="Freeform 392"/>
              <p:cNvSpPr>
                <a:spLocks noEditPoints="1"/>
              </p:cNvSpPr>
              <p:nvPr/>
            </p:nvSpPr>
            <p:spPr bwMode="auto">
              <a:xfrm>
                <a:off x="2697" y="1972"/>
                <a:ext cx="65" cy="88"/>
              </a:xfrm>
              <a:custGeom>
                <a:avLst/>
                <a:gdLst/>
                <a:ahLst/>
                <a:cxnLst>
                  <a:cxn ang="0">
                    <a:pos x="6" y="363"/>
                  </a:cxn>
                  <a:cxn ang="0">
                    <a:pos x="0" y="355"/>
                  </a:cxn>
                  <a:cxn ang="0">
                    <a:pos x="19" y="101"/>
                  </a:cxn>
                  <a:cxn ang="0">
                    <a:pos x="19" y="103"/>
                  </a:cxn>
                  <a:cxn ang="0">
                    <a:pos x="9" y="24"/>
                  </a:cxn>
                  <a:cxn ang="0">
                    <a:pos x="11" y="18"/>
                  </a:cxn>
                  <a:cxn ang="0">
                    <a:pos x="16" y="15"/>
                  </a:cxn>
                  <a:cxn ang="0">
                    <a:pos x="147" y="1"/>
                  </a:cxn>
                  <a:cxn ang="0">
                    <a:pos x="155" y="7"/>
                  </a:cxn>
                  <a:cxn ang="0">
                    <a:pos x="224" y="296"/>
                  </a:cxn>
                  <a:cxn ang="0">
                    <a:pos x="220" y="305"/>
                  </a:cxn>
                  <a:cxn ang="0">
                    <a:pos x="65" y="384"/>
                  </a:cxn>
                  <a:cxn ang="0">
                    <a:pos x="59" y="384"/>
                  </a:cxn>
                  <a:cxn ang="0">
                    <a:pos x="6" y="363"/>
                  </a:cxn>
                  <a:cxn ang="0">
                    <a:pos x="65" y="369"/>
                  </a:cxn>
                  <a:cxn ang="0">
                    <a:pos x="58" y="369"/>
                  </a:cxn>
                  <a:cxn ang="0">
                    <a:pos x="213" y="291"/>
                  </a:cxn>
                  <a:cxn ang="0">
                    <a:pos x="209" y="300"/>
                  </a:cxn>
                  <a:cxn ang="0">
                    <a:pos x="140" y="10"/>
                  </a:cxn>
                  <a:cxn ang="0">
                    <a:pos x="148" y="16"/>
                  </a:cxn>
                  <a:cxn ang="0">
                    <a:pos x="18" y="31"/>
                  </a:cxn>
                  <a:cxn ang="0">
                    <a:pos x="25" y="22"/>
                  </a:cxn>
                  <a:cxn ang="0">
                    <a:pos x="35" y="101"/>
                  </a:cxn>
                  <a:cxn ang="0">
                    <a:pos x="35" y="102"/>
                  </a:cxn>
                  <a:cxn ang="0">
                    <a:pos x="16" y="356"/>
                  </a:cxn>
                  <a:cxn ang="0">
                    <a:pos x="11" y="348"/>
                  </a:cxn>
                  <a:cxn ang="0">
                    <a:pos x="65" y="369"/>
                  </a:cxn>
                </a:cxnLst>
                <a:rect l="0" t="0" r="r" b="b"/>
                <a:pathLst>
                  <a:path w="225" h="385">
                    <a:moveTo>
                      <a:pt x="6" y="363"/>
                    </a:moveTo>
                    <a:cubicBezTo>
                      <a:pt x="2" y="361"/>
                      <a:pt x="0" y="358"/>
                      <a:pt x="0" y="355"/>
                    </a:cubicBezTo>
                    <a:lnTo>
                      <a:pt x="19" y="101"/>
                    </a:lnTo>
                    <a:lnTo>
                      <a:pt x="19" y="103"/>
                    </a:lnTo>
                    <a:lnTo>
                      <a:pt x="9" y="24"/>
                    </a:lnTo>
                    <a:cubicBezTo>
                      <a:pt x="9" y="22"/>
                      <a:pt x="9" y="20"/>
                      <a:pt x="11" y="18"/>
                    </a:cubicBezTo>
                    <a:cubicBezTo>
                      <a:pt x="12" y="17"/>
                      <a:pt x="14" y="15"/>
                      <a:pt x="16" y="15"/>
                    </a:cubicBezTo>
                    <a:lnTo>
                      <a:pt x="147" y="1"/>
                    </a:lnTo>
                    <a:cubicBezTo>
                      <a:pt x="151" y="0"/>
                      <a:pt x="154" y="3"/>
                      <a:pt x="155" y="7"/>
                    </a:cubicBezTo>
                    <a:lnTo>
                      <a:pt x="224" y="296"/>
                    </a:lnTo>
                    <a:cubicBezTo>
                      <a:pt x="225" y="300"/>
                      <a:pt x="223" y="303"/>
                      <a:pt x="220" y="305"/>
                    </a:cubicBezTo>
                    <a:lnTo>
                      <a:pt x="65" y="384"/>
                    </a:lnTo>
                    <a:cubicBezTo>
                      <a:pt x="63" y="385"/>
                      <a:pt x="61" y="385"/>
                      <a:pt x="59" y="384"/>
                    </a:cubicBezTo>
                    <a:lnTo>
                      <a:pt x="6" y="363"/>
                    </a:lnTo>
                    <a:close/>
                    <a:moveTo>
                      <a:pt x="65" y="369"/>
                    </a:moveTo>
                    <a:lnTo>
                      <a:pt x="58" y="369"/>
                    </a:lnTo>
                    <a:lnTo>
                      <a:pt x="213" y="291"/>
                    </a:lnTo>
                    <a:lnTo>
                      <a:pt x="209" y="300"/>
                    </a:lnTo>
                    <a:lnTo>
                      <a:pt x="140" y="10"/>
                    </a:lnTo>
                    <a:lnTo>
                      <a:pt x="148" y="16"/>
                    </a:lnTo>
                    <a:lnTo>
                      <a:pt x="18" y="31"/>
                    </a:lnTo>
                    <a:lnTo>
                      <a:pt x="25" y="22"/>
                    </a:lnTo>
                    <a:lnTo>
                      <a:pt x="35" y="101"/>
                    </a:lnTo>
                    <a:cubicBezTo>
                      <a:pt x="35" y="101"/>
                      <a:pt x="35" y="102"/>
                      <a:pt x="35" y="102"/>
                    </a:cubicBezTo>
                    <a:lnTo>
                      <a:pt x="16" y="356"/>
                    </a:lnTo>
                    <a:lnTo>
                      <a:pt x="11" y="348"/>
                    </a:lnTo>
                    <a:lnTo>
                      <a:pt x="65" y="369"/>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37" name="Freeform 393"/>
              <p:cNvSpPr>
                <a:spLocks/>
              </p:cNvSpPr>
              <p:nvPr/>
            </p:nvSpPr>
            <p:spPr bwMode="auto">
              <a:xfrm>
                <a:off x="2532" y="1956"/>
                <a:ext cx="102" cy="69"/>
              </a:xfrm>
              <a:custGeom>
                <a:avLst/>
                <a:gdLst/>
                <a:ahLst/>
                <a:cxnLst>
                  <a:cxn ang="0">
                    <a:pos x="0" y="23"/>
                  </a:cxn>
                  <a:cxn ang="0">
                    <a:pos x="18" y="13"/>
                  </a:cxn>
                  <a:cxn ang="0">
                    <a:pos x="18" y="0"/>
                  </a:cxn>
                  <a:cxn ang="0">
                    <a:pos x="51" y="3"/>
                  </a:cxn>
                  <a:cxn ang="0">
                    <a:pos x="60" y="9"/>
                  </a:cxn>
                  <a:cxn ang="0">
                    <a:pos x="84" y="2"/>
                  </a:cxn>
                  <a:cxn ang="0">
                    <a:pos x="98" y="33"/>
                  </a:cxn>
                  <a:cxn ang="0">
                    <a:pos x="102" y="56"/>
                  </a:cxn>
                  <a:cxn ang="0">
                    <a:pos x="94" y="54"/>
                  </a:cxn>
                  <a:cxn ang="0">
                    <a:pos x="91" y="67"/>
                  </a:cxn>
                  <a:cxn ang="0">
                    <a:pos x="77" y="69"/>
                  </a:cxn>
                  <a:cxn ang="0">
                    <a:pos x="76" y="56"/>
                  </a:cxn>
                  <a:cxn ang="0">
                    <a:pos x="67" y="56"/>
                  </a:cxn>
                  <a:cxn ang="0">
                    <a:pos x="53" y="36"/>
                  </a:cxn>
                  <a:cxn ang="0">
                    <a:pos x="25" y="47"/>
                  </a:cxn>
                  <a:cxn ang="0">
                    <a:pos x="0" y="23"/>
                  </a:cxn>
                </a:cxnLst>
                <a:rect l="0" t="0" r="r" b="b"/>
                <a:pathLst>
                  <a:path w="102" h="69">
                    <a:moveTo>
                      <a:pt x="0" y="23"/>
                    </a:moveTo>
                    <a:lnTo>
                      <a:pt x="18" y="13"/>
                    </a:lnTo>
                    <a:lnTo>
                      <a:pt x="18" y="0"/>
                    </a:lnTo>
                    <a:lnTo>
                      <a:pt x="51" y="3"/>
                    </a:lnTo>
                    <a:lnTo>
                      <a:pt x="60" y="9"/>
                    </a:lnTo>
                    <a:lnTo>
                      <a:pt x="84" y="2"/>
                    </a:lnTo>
                    <a:lnTo>
                      <a:pt x="98" y="33"/>
                    </a:lnTo>
                    <a:lnTo>
                      <a:pt x="102" y="56"/>
                    </a:lnTo>
                    <a:lnTo>
                      <a:pt x="94" y="54"/>
                    </a:lnTo>
                    <a:lnTo>
                      <a:pt x="91" y="67"/>
                    </a:lnTo>
                    <a:lnTo>
                      <a:pt x="77" y="69"/>
                    </a:lnTo>
                    <a:lnTo>
                      <a:pt x="76" y="56"/>
                    </a:lnTo>
                    <a:lnTo>
                      <a:pt x="67" y="56"/>
                    </a:lnTo>
                    <a:lnTo>
                      <a:pt x="53" y="36"/>
                    </a:lnTo>
                    <a:lnTo>
                      <a:pt x="25" y="47"/>
                    </a:lnTo>
                    <a:lnTo>
                      <a:pt x="0" y="23"/>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38" name="Freeform 394"/>
              <p:cNvSpPr>
                <a:spLocks noEditPoints="1"/>
              </p:cNvSpPr>
              <p:nvPr/>
            </p:nvSpPr>
            <p:spPr bwMode="auto">
              <a:xfrm>
                <a:off x="2530" y="1954"/>
                <a:ext cx="107" cy="73"/>
              </a:xfrm>
              <a:custGeom>
                <a:avLst/>
                <a:gdLst/>
                <a:ahLst/>
                <a:cxnLst>
                  <a:cxn ang="0">
                    <a:pos x="1" y="109"/>
                  </a:cxn>
                  <a:cxn ang="0">
                    <a:pos x="63" y="59"/>
                  </a:cxn>
                  <a:cxn ang="0">
                    <a:pos x="61" y="8"/>
                  </a:cxn>
                  <a:cxn ang="0">
                    <a:pos x="70" y="1"/>
                  </a:cxn>
                  <a:cxn ang="0">
                    <a:pos x="190" y="16"/>
                  </a:cxn>
                  <a:cxn ang="0">
                    <a:pos x="212" y="42"/>
                  </a:cxn>
                  <a:cxn ang="0">
                    <a:pos x="300" y="9"/>
                  </a:cxn>
                  <a:cxn ang="0">
                    <a:pos x="353" y="150"/>
                  </a:cxn>
                  <a:cxn ang="0">
                    <a:pos x="368" y="254"/>
                  </a:cxn>
                  <a:cxn ang="0">
                    <a:pos x="358" y="263"/>
                  </a:cxn>
                  <a:cxn ang="0">
                    <a:pos x="338" y="248"/>
                  </a:cxn>
                  <a:cxn ang="0">
                    <a:pos x="323" y="311"/>
                  </a:cxn>
                  <a:cxn ang="0">
                    <a:pos x="267" y="319"/>
                  </a:cxn>
                  <a:cxn ang="0">
                    <a:pos x="261" y="256"/>
                  </a:cxn>
                  <a:cxn ang="0">
                    <a:pos x="238" y="262"/>
                  </a:cxn>
                  <a:cxn ang="0">
                    <a:pos x="184" y="171"/>
                  </a:cxn>
                  <a:cxn ang="0">
                    <a:pos x="95" y="222"/>
                  </a:cxn>
                  <a:cxn ang="0">
                    <a:pos x="2" y="115"/>
                  </a:cxn>
                  <a:cxn ang="0">
                    <a:pos x="88" y="207"/>
                  </a:cxn>
                  <a:cxn ang="0">
                    <a:pos x="198" y="163"/>
                  </a:cxn>
                  <a:cxn ang="0">
                    <a:pos x="239" y="246"/>
                  </a:cxn>
                  <a:cxn ang="0">
                    <a:pos x="277" y="255"/>
                  </a:cxn>
                  <a:cxn ang="0">
                    <a:pos x="270" y="305"/>
                  </a:cxn>
                  <a:cxn ang="0">
                    <a:pos x="314" y="301"/>
                  </a:cxn>
                  <a:cxn ang="0">
                    <a:pos x="326" y="240"/>
                  </a:cxn>
                  <a:cxn ang="0">
                    <a:pos x="363" y="248"/>
                  </a:cxn>
                  <a:cxn ang="0">
                    <a:pos x="337" y="153"/>
                  </a:cxn>
                  <a:cxn ang="0">
                    <a:pos x="289" y="19"/>
                  </a:cxn>
                  <a:cxn ang="0">
                    <a:pos x="218" y="57"/>
                  </a:cxn>
                  <a:cxn ang="0">
                    <a:pos x="179" y="27"/>
                  </a:cxn>
                  <a:cxn ang="0">
                    <a:pos x="69" y="16"/>
                  </a:cxn>
                  <a:cxn ang="0">
                    <a:pos x="76" y="66"/>
                  </a:cxn>
                  <a:cxn ang="0">
                    <a:pos x="13" y="116"/>
                  </a:cxn>
                  <a:cxn ang="0">
                    <a:pos x="98" y="209"/>
                  </a:cxn>
                </a:cxnLst>
                <a:rect l="0" t="0" r="r" b="b"/>
                <a:pathLst>
                  <a:path w="369" h="321">
                    <a:moveTo>
                      <a:pt x="2" y="115"/>
                    </a:moveTo>
                    <a:cubicBezTo>
                      <a:pt x="1" y="113"/>
                      <a:pt x="0" y="111"/>
                      <a:pt x="1" y="109"/>
                    </a:cubicBezTo>
                    <a:cubicBezTo>
                      <a:pt x="1" y="107"/>
                      <a:pt x="2" y="105"/>
                      <a:pt x="4" y="103"/>
                    </a:cubicBezTo>
                    <a:lnTo>
                      <a:pt x="63" y="59"/>
                    </a:lnTo>
                    <a:lnTo>
                      <a:pt x="60" y="65"/>
                    </a:lnTo>
                    <a:lnTo>
                      <a:pt x="61" y="8"/>
                    </a:lnTo>
                    <a:cubicBezTo>
                      <a:pt x="61" y="6"/>
                      <a:pt x="62" y="4"/>
                      <a:pt x="64" y="2"/>
                    </a:cubicBezTo>
                    <a:cubicBezTo>
                      <a:pt x="66" y="1"/>
                      <a:pt x="68" y="0"/>
                      <a:pt x="70" y="1"/>
                    </a:cubicBezTo>
                    <a:lnTo>
                      <a:pt x="185" y="14"/>
                    </a:lnTo>
                    <a:cubicBezTo>
                      <a:pt x="187" y="14"/>
                      <a:pt x="189" y="14"/>
                      <a:pt x="190" y="16"/>
                    </a:cubicBezTo>
                    <a:lnTo>
                      <a:pt x="220" y="43"/>
                    </a:lnTo>
                    <a:lnTo>
                      <a:pt x="212" y="42"/>
                    </a:lnTo>
                    <a:lnTo>
                      <a:pt x="294" y="9"/>
                    </a:lnTo>
                    <a:cubicBezTo>
                      <a:pt x="296" y="8"/>
                      <a:pt x="298" y="8"/>
                      <a:pt x="300" y="9"/>
                    </a:cubicBezTo>
                    <a:cubicBezTo>
                      <a:pt x="302" y="10"/>
                      <a:pt x="304" y="12"/>
                      <a:pt x="304" y="14"/>
                    </a:cubicBezTo>
                    <a:lnTo>
                      <a:pt x="353" y="150"/>
                    </a:lnTo>
                    <a:cubicBezTo>
                      <a:pt x="353" y="150"/>
                      <a:pt x="353" y="151"/>
                      <a:pt x="353" y="151"/>
                    </a:cubicBezTo>
                    <a:lnTo>
                      <a:pt x="368" y="254"/>
                    </a:lnTo>
                    <a:cubicBezTo>
                      <a:pt x="369" y="257"/>
                      <a:pt x="368" y="259"/>
                      <a:pt x="366" y="261"/>
                    </a:cubicBezTo>
                    <a:cubicBezTo>
                      <a:pt x="364" y="263"/>
                      <a:pt x="361" y="264"/>
                      <a:pt x="358" y="263"/>
                    </a:cubicBezTo>
                    <a:lnTo>
                      <a:pt x="328" y="255"/>
                    </a:lnTo>
                    <a:lnTo>
                      <a:pt x="338" y="248"/>
                    </a:lnTo>
                    <a:lnTo>
                      <a:pt x="330" y="304"/>
                    </a:lnTo>
                    <a:cubicBezTo>
                      <a:pt x="329" y="307"/>
                      <a:pt x="327" y="310"/>
                      <a:pt x="323" y="311"/>
                    </a:cubicBezTo>
                    <a:lnTo>
                      <a:pt x="273" y="320"/>
                    </a:lnTo>
                    <a:cubicBezTo>
                      <a:pt x="271" y="321"/>
                      <a:pt x="269" y="320"/>
                      <a:pt x="267" y="319"/>
                    </a:cubicBezTo>
                    <a:cubicBezTo>
                      <a:pt x="265" y="317"/>
                      <a:pt x="264" y="315"/>
                      <a:pt x="264" y="313"/>
                    </a:cubicBezTo>
                    <a:lnTo>
                      <a:pt x="261" y="256"/>
                    </a:lnTo>
                    <a:lnTo>
                      <a:pt x="269" y="263"/>
                    </a:lnTo>
                    <a:lnTo>
                      <a:pt x="238" y="262"/>
                    </a:lnTo>
                    <a:cubicBezTo>
                      <a:pt x="235" y="261"/>
                      <a:pt x="233" y="260"/>
                      <a:pt x="231" y="257"/>
                    </a:cubicBezTo>
                    <a:lnTo>
                      <a:pt x="184" y="171"/>
                    </a:lnTo>
                    <a:lnTo>
                      <a:pt x="195" y="174"/>
                    </a:lnTo>
                    <a:lnTo>
                      <a:pt x="95" y="222"/>
                    </a:lnTo>
                    <a:cubicBezTo>
                      <a:pt x="92" y="223"/>
                      <a:pt x="88" y="222"/>
                      <a:pt x="85" y="219"/>
                    </a:cubicBezTo>
                    <a:lnTo>
                      <a:pt x="2" y="115"/>
                    </a:lnTo>
                    <a:close/>
                    <a:moveTo>
                      <a:pt x="98" y="209"/>
                    </a:moveTo>
                    <a:lnTo>
                      <a:pt x="88" y="207"/>
                    </a:lnTo>
                    <a:lnTo>
                      <a:pt x="188" y="160"/>
                    </a:lnTo>
                    <a:cubicBezTo>
                      <a:pt x="192" y="158"/>
                      <a:pt x="196" y="159"/>
                      <a:pt x="198" y="163"/>
                    </a:cubicBezTo>
                    <a:lnTo>
                      <a:pt x="246" y="250"/>
                    </a:lnTo>
                    <a:lnTo>
                      <a:pt x="239" y="246"/>
                    </a:lnTo>
                    <a:lnTo>
                      <a:pt x="269" y="247"/>
                    </a:lnTo>
                    <a:cubicBezTo>
                      <a:pt x="274" y="247"/>
                      <a:pt x="277" y="251"/>
                      <a:pt x="277" y="255"/>
                    </a:cubicBezTo>
                    <a:lnTo>
                      <a:pt x="280" y="312"/>
                    </a:lnTo>
                    <a:lnTo>
                      <a:pt x="270" y="305"/>
                    </a:lnTo>
                    <a:lnTo>
                      <a:pt x="320" y="295"/>
                    </a:lnTo>
                    <a:lnTo>
                      <a:pt x="314" y="301"/>
                    </a:lnTo>
                    <a:lnTo>
                      <a:pt x="322" y="246"/>
                    </a:lnTo>
                    <a:cubicBezTo>
                      <a:pt x="322" y="244"/>
                      <a:pt x="324" y="242"/>
                      <a:pt x="326" y="240"/>
                    </a:cubicBezTo>
                    <a:cubicBezTo>
                      <a:pt x="327" y="239"/>
                      <a:pt x="330" y="239"/>
                      <a:pt x="332" y="239"/>
                    </a:cubicBezTo>
                    <a:lnTo>
                      <a:pt x="363" y="248"/>
                    </a:lnTo>
                    <a:lnTo>
                      <a:pt x="353" y="256"/>
                    </a:lnTo>
                    <a:lnTo>
                      <a:pt x="337" y="153"/>
                    </a:lnTo>
                    <a:lnTo>
                      <a:pt x="338" y="155"/>
                    </a:lnTo>
                    <a:lnTo>
                      <a:pt x="289" y="19"/>
                    </a:lnTo>
                    <a:lnTo>
                      <a:pt x="300" y="24"/>
                    </a:lnTo>
                    <a:lnTo>
                      <a:pt x="218" y="57"/>
                    </a:lnTo>
                    <a:cubicBezTo>
                      <a:pt x="215" y="58"/>
                      <a:pt x="212" y="57"/>
                      <a:pt x="210" y="55"/>
                    </a:cubicBezTo>
                    <a:lnTo>
                      <a:pt x="179" y="27"/>
                    </a:lnTo>
                    <a:lnTo>
                      <a:pt x="184" y="29"/>
                    </a:lnTo>
                    <a:lnTo>
                      <a:pt x="69" y="16"/>
                    </a:lnTo>
                    <a:lnTo>
                      <a:pt x="77" y="9"/>
                    </a:lnTo>
                    <a:lnTo>
                      <a:pt x="76" y="66"/>
                    </a:lnTo>
                    <a:cubicBezTo>
                      <a:pt x="76" y="68"/>
                      <a:pt x="75" y="71"/>
                      <a:pt x="73" y="72"/>
                    </a:cubicBezTo>
                    <a:lnTo>
                      <a:pt x="13" y="116"/>
                    </a:lnTo>
                    <a:lnTo>
                      <a:pt x="15" y="105"/>
                    </a:lnTo>
                    <a:lnTo>
                      <a:pt x="98" y="209"/>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39" name="Freeform 395"/>
              <p:cNvSpPr>
                <a:spLocks/>
              </p:cNvSpPr>
              <p:nvPr/>
            </p:nvSpPr>
            <p:spPr bwMode="auto">
              <a:xfrm>
                <a:off x="3368" y="1725"/>
                <a:ext cx="27" cy="8"/>
              </a:xfrm>
              <a:custGeom>
                <a:avLst/>
                <a:gdLst/>
                <a:ahLst/>
                <a:cxnLst>
                  <a:cxn ang="0">
                    <a:pos x="0" y="0"/>
                  </a:cxn>
                  <a:cxn ang="0">
                    <a:pos x="14" y="8"/>
                  </a:cxn>
                  <a:cxn ang="0">
                    <a:pos x="27" y="2"/>
                  </a:cxn>
                  <a:cxn ang="0">
                    <a:pos x="0" y="0"/>
                  </a:cxn>
                </a:cxnLst>
                <a:rect l="0" t="0" r="r" b="b"/>
                <a:pathLst>
                  <a:path w="27" h="8">
                    <a:moveTo>
                      <a:pt x="0" y="0"/>
                    </a:moveTo>
                    <a:lnTo>
                      <a:pt x="14" y="8"/>
                    </a:lnTo>
                    <a:lnTo>
                      <a:pt x="27" y="2"/>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40" name="Freeform 396"/>
              <p:cNvSpPr>
                <a:spLocks noEditPoints="1"/>
              </p:cNvSpPr>
              <p:nvPr/>
            </p:nvSpPr>
            <p:spPr bwMode="auto">
              <a:xfrm>
                <a:off x="3365" y="1723"/>
                <a:ext cx="33" cy="12"/>
              </a:xfrm>
              <a:custGeom>
                <a:avLst/>
                <a:gdLst/>
                <a:ahLst/>
                <a:cxnLst>
                  <a:cxn ang="0">
                    <a:pos x="8" y="16"/>
                  </a:cxn>
                  <a:cxn ang="0">
                    <a:pos x="13" y="2"/>
                  </a:cxn>
                  <a:cxn ang="0">
                    <a:pos x="62" y="34"/>
                  </a:cxn>
                  <a:cxn ang="0">
                    <a:pos x="54" y="33"/>
                  </a:cxn>
                  <a:cxn ang="0">
                    <a:pos x="101" y="9"/>
                  </a:cxn>
                  <a:cxn ang="0">
                    <a:pos x="104" y="24"/>
                  </a:cxn>
                  <a:cxn ang="0">
                    <a:pos x="8" y="16"/>
                  </a:cxn>
                  <a:cxn ang="0">
                    <a:pos x="105" y="8"/>
                  </a:cxn>
                  <a:cxn ang="0">
                    <a:pos x="112" y="14"/>
                  </a:cxn>
                  <a:cxn ang="0">
                    <a:pos x="108" y="23"/>
                  </a:cxn>
                  <a:cxn ang="0">
                    <a:pos x="62" y="48"/>
                  </a:cxn>
                  <a:cxn ang="0">
                    <a:pos x="54" y="47"/>
                  </a:cxn>
                  <a:cxn ang="0">
                    <a:pos x="4" y="15"/>
                  </a:cxn>
                  <a:cxn ang="0">
                    <a:pos x="1" y="6"/>
                  </a:cxn>
                  <a:cxn ang="0">
                    <a:pos x="9" y="0"/>
                  </a:cxn>
                  <a:cxn ang="0">
                    <a:pos x="105" y="8"/>
                  </a:cxn>
                </a:cxnLst>
                <a:rect l="0" t="0" r="r" b="b"/>
                <a:pathLst>
                  <a:path w="113" h="49">
                    <a:moveTo>
                      <a:pt x="8" y="16"/>
                    </a:moveTo>
                    <a:lnTo>
                      <a:pt x="13" y="2"/>
                    </a:lnTo>
                    <a:lnTo>
                      <a:pt x="62" y="34"/>
                    </a:lnTo>
                    <a:lnTo>
                      <a:pt x="54" y="33"/>
                    </a:lnTo>
                    <a:lnTo>
                      <a:pt x="101" y="9"/>
                    </a:lnTo>
                    <a:lnTo>
                      <a:pt x="104" y="24"/>
                    </a:lnTo>
                    <a:lnTo>
                      <a:pt x="8" y="16"/>
                    </a:lnTo>
                    <a:close/>
                    <a:moveTo>
                      <a:pt x="105" y="8"/>
                    </a:moveTo>
                    <a:cubicBezTo>
                      <a:pt x="109" y="8"/>
                      <a:pt x="112" y="11"/>
                      <a:pt x="112" y="14"/>
                    </a:cubicBezTo>
                    <a:cubicBezTo>
                      <a:pt x="113" y="18"/>
                      <a:pt x="111" y="21"/>
                      <a:pt x="108" y="23"/>
                    </a:cubicBezTo>
                    <a:lnTo>
                      <a:pt x="62" y="48"/>
                    </a:lnTo>
                    <a:cubicBezTo>
                      <a:pt x="59" y="49"/>
                      <a:pt x="56" y="49"/>
                      <a:pt x="54" y="47"/>
                    </a:cubicBezTo>
                    <a:lnTo>
                      <a:pt x="4" y="15"/>
                    </a:lnTo>
                    <a:cubicBezTo>
                      <a:pt x="1" y="13"/>
                      <a:pt x="0" y="9"/>
                      <a:pt x="1" y="6"/>
                    </a:cubicBezTo>
                    <a:cubicBezTo>
                      <a:pt x="2" y="2"/>
                      <a:pt x="5" y="0"/>
                      <a:pt x="9" y="0"/>
                    </a:cubicBezTo>
                    <a:lnTo>
                      <a:pt x="105" y="8"/>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41" name="Freeform 397"/>
              <p:cNvSpPr>
                <a:spLocks/>
              </p:cNvSpPr>
              <p:nvPr/>
            </p:nvSpPr>
            <p:spPr bwMode="auto">
              <a:xfrm>
                <a:off x="3219" y="1670"/>
                <a:ext cx="19" cy="55"/>
              </a:xfrm>
              <a:custGeom>
                <a:avLst/>
                <a:gdLst/>
                <a:ahLst/>
                <a:cxnLst>
                  <a:cxn ang="0">
                    <a:pos x="0" y="28"/>
                  </a:cxn>
                  <a:cxn ang="0">
                    <a:pos x="10" y="55"/>
                  </a:cxn>
                  <a:cxn ang="0">
                    <a:pos x="11" y="55"/>
                  </a:cxn>
                  <a:cxn ang="0">
                    <a:pos x="17" y="25"/>
                  </a:cxn>
                  <a:cxn ang="0">
                    <a:pos x="9" y="27"/>
                  </a:cxn>
                  <a:cxn ang="0">
                    <a:pos x="11" y="14"/>
                  </a:cxn>
                  <a:cxn ang="0">
                    <a:pos x="17" y="8"/>
                  </a:cxn>
                  <a:cxn ang="0">
                    <a:pos x="19" y="0"/>
                  </a:cxn>
                  <a:cxn ang="0">
                    <a:pos x="12" y="2"/>
                  </a:cxn>
                  <a:cxn ang="0">
                    <a:pos x="0" y="28"/>
                  </a:cxn>
                </a:cxnLst>
                <a:rect l="0" t="0" r="r" b="b"/>
                <a:pathLst>
                  <a:path w="19" h="55">
                    <a:moveTo>
                      <a:pt x="0" y="28"/>
                    </a:moveTo>
                    <a:lnTo>
                      <a:pt x="10" y="55"/>
                    </a:lnTo>
                    <a:lnTo>
                      <a:pt x="11" y="55"/>
                    </a:lnTo>
                    <a:lnTo>
                      <a:pt x="17" y="25"/>
                    </a:lnTo>
                    <a:lnTo>
                      <a:pt x="9" y="27"/>
                    </a:lnTo>
                    <a:lnTo>
                      <a:pt x="11" y="14"/>
                    </a:lnTo>
                    <a:lnTo>
                      <a:pt x="17" y="8"/>
                    </a:lnTo>
                    <a:lnTo>
                      <a:pt x="19" y="0"/>
                    </a:lnTo>
                    <a:lnTo>
                      <a:pt x="12" y="2"/>
                    </a:lnTo>
                    <a:lnTo>
                      <a:pt x="0" y="28"/>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42" name="Freeform 398"/>
              <p:cNvSpPr>
                <a:spLocks noEditPoints="1"/>
              </p:cNvSpPr>
              <p:nvPr/>
            </p:nvSpPr>
            <p:spPr bwMode="auto">
              <a:xfrm>
                <a:off x="3217" y="1669"/>
                <a:ext cx="23" cy="58"/>
              </a:xfrm>
              <a:custGeom>
                <a:avLst/>
                <a:gdLst/>
                <a:ahLst/>
                <a:cxnLst>
                  <a:cxn ang="0">
                    <a:pos x="16" y="132"/>
                  </a:cxn>
                  <a:cxn ang="0">
                    <a:pos x="16" y="127"/>
                  </a:cxn>
                  <a:cxn ang="0">
                    <a:pos x="51" y="246"/>
                  </a:cxn>
                  <a:cxn ang="0">
                    <a:pos x="38" y="243"/>
                  </a:cxn>
                  <a:cxn ang="0">
                    <a:pos x="41" y="239"/>
                  </a:cxn>
                  <a:cxn ang="0">
                    <a:pos x="39" y="244"/>
                  </a:cxn>
                  <a:cxn ang="0">
                    <a:pos x="58" y="115"/>
                  </a:cxn>
                  <a:cxn ang="0">
                    <a:pos x="68" y="124"/>
                  </a:cxn>
                  <a:cxn ang="0">
                    <a:pos x="43" y="133"/>
                  </a:cxn>
                  <a:cxn ang="0">
                    <a:pos x="35" y="132"/>
                  </a:cxn>
                  <a:cxn ang="0">
                    <a:pos x="32" y="125"/>
                  </a:cxn>
                  <a:cxn ang="0">
                    <a:pos x="39" y="68"/>
                  </a:cxn>
                  <a:cxn ang="0">
                    <a:pos x="40" y="64"/>
                  </a:cxn>
                  <a:cxn ang="0">
                    <a:pos x="60" y="36"/>
                  </a:cxn>
                  <a:cxn ang="0">
                    <a:pos x="59" y="40"/>
                  </a:cxn>
                  <a:cxn ang="0">
                    <a:pos x="65" y="7"/>
                  </a:cxn>
                  <a:cxn ang="0">
                    <a:pos x="74" y="16"/>
                  </a:cxn>
                  <a:cxn ang="0">
                    <a:pos x="52" y="21"/>
                  </a:cxn>
                  <a:cxn ang="0">
                    <a:pos x="58" y="16"/>
                  </a:cxn>
                  <a:cxn ang="0">
                    <a:pos x="16" y="132"/>
                  </a:cxn>
                  <a:cxn ang="0">
                    <a:pos x="43" y="11"/>
                  </a:cxn>
                  <a:cxn ang="0">
                    <a:pos x="49" y="6"/>
                  </a:cxn>
                  <a:cxn ang="0">
                    <a:pos x="71" y="1"/>
                  </a:cxn>
                  <a:cxn ang="0">
                    <a:pos x="78" y="3"/>
                  </a:cxn>
                  <a:cxn ang="0">
                    <a:pos x="80" y="10"/>
                  </a:cxn>
                  <a:cxn ang="0">
                    <a:pos x="75" y="43"/>
                  </a:cxn>
                  <a:cxn ang="0">
                    <a:pos x="73" y="46"/>
                  </a:cxn>
                  <a:cxn ang="0">
                    <a:pos x="53" y="74"/>
                  </a:cxn>
                  <a:cxn ang="0">
                    <a:pos x="55" y="70"/>
                  </a:cxn>
                  <a:cxn ang="0">
                    <a:pos x="48" y="127"/>
                  </a:cxn>
                  <a:cxn ang="0">
                    <a:pos x="37" y="119"/>
                  </a:cxn>
                  <a:cxn ang="0">
                    <a:pos x="63" y="109"/>
                  </a:cxn>
                  <a:cxn ang="0">
                    <a:pos x="70" y="110"/>
                  </a:cxn>
                  <a:cxn ang="0">
                    <a:pos x="73" y="117"/>
                  </a:cxn>
                  <a:cxn ang="0">
                    <a:pos x="55" y="246"/>
                  </a:cxn>
                  <a:cxn ang="0">
                    <a:pos x="52" y="251"/>
                  </a:cxn>
                  <a:cxn ang="0">
                    <a:pos x="49" y="254"/>
                  </a:cxn>
                  <a:cxn ang="0">
                    <a:pos x="41" y="256"/>
                  </a:cxn>
                  <a:cxn ang="0">
                    <a:pos x="36" y="251"/>
                  </a:cxn>
                  <a:cxn ang="0">
                    <a:pos x="1" y="132"/>
                  </a:cxn>
                  <a:cxn ang="0">
                    <a:pos x="1" y="127"/>
                  </a:cxn>
                  <a:cxn ang="0">
                    <a:pos x="43" y="11"/>
                  </a:cxn>
                </a:cxnLst>
                <a:rect l="0" t="0" r="r" b="b"/>
                <a:pathLst>
                  <a:path w="81" h="257">
                    <a:moveTo>
                      <a:pt x="16" y="132"/>
                    </a:moveTo>
                    <a:lnTo>
                      <a:pt x="16" y="127"/>
                    </a:lnTo>
                    <a:lnTo>
                      <a:pt x="51" y="246"/>
                    </a:lnTo>
                    <a:lnTo>
                      <a:pt x="38" y="243"/>
                    </a:lnTo>
                    <a:lnTo>
                      <a:pt x="41" y="239"/>
                    </a:lnTo>
                    <a:lnTo>
                      <a:pt x="39" y="244"/>
                    </a:lnTo>
                    <a:lnTo>
                      <a:pt x="58" y="115"/>
                    </a:lnTo>
                    <a:lnTo>
                      <a:pt x="68" y="124"/>
                    </a:lnTo>
                    <a:lnTo>
                      <a:pt x="43" y="133"/>
                    </a:lnTo>
                    <a:cubicBezTo>
                      <a:pt x="40" y="135"/>
                      <a:pt x="37" y="134"/>
                      <a:pt x="35" y="132"/>
                    </a:cubicBezTo>
                    <a:cubicBezTo>
                      <a:pt x="33" y="131"/>
                      <a:pt x="32" y="128"/>
                      <a:pt x="32" y="125"/>
                    </a:cubicBezTo>
                    <a:lnTo>
                      <a:pt x="39" y="68"/>
                    </a:lnTo>
                    <a:cubicBezTo>
                      <a:pt x="39" y="67"/>
                      <a:pt x="40" y="65"/>
                      <a:pt x="40" y="64"/>
                    </a:cubicBezTo>
                    <a:lnTo>
                      <a:pt x="60" y="36"/>
                    </a:lnTo>
                    <a:lnTo>
                      <a:pt x="59" y="40"/>
                    </a:lnTo>
                    <a:lnTo>
                      <a:pt x="65" y="7"/>
                    </a:lnTo>
                    <a:lnTo>
                      <a:pt x="74" y="16"/>
                    </a:lnTo>
                    <a:lnTo>
                      <a:pt x="52" y="21"/>
                    </a:lnTo>
                    <a:lnTo>
                      <a:pt x="58" y="16"/>
                    </a:lnTo>
                    <a:lnTo>
                      <a:pt x="16" y="132"/>
                    </a:lnTo>
                    <a:close/>
                    <a:moveTo>
                      <a:pt x="43" y="11"/>
                    </a:moveTo>
                    <a:cubicBezTo>
                      <a:pt x="44" y="8"/>
                      <a:pt x="46" y="6"/>
                      <a:pt x="49" y="6"/>
                    </a:cubicBezTo>
                    <a:lnTo>
                      <a:pt x="71" y="1"/>
                    </a:lnTo>
                    <a:cubicBezTo>
                      <a:pt x="73" y="0"/>
                      <a:pt x="76" y="1"/>
                      <a:pt x="78" y="3"/>
                    </a:cubicBezTo>
                    <a:cubicBezTo>
                      <a:pt x="80" y="5"/>
                      <a:pt x="81" y="7"/>
                      <a:pt x="80" y="10"/>
                    </a:cubicBezTo>
                    <a:lnTo>
                      <a:pt x="75" y="43"/>
                    </a:lnTo>
                    <a:cubicBezTo>
                      <a:pt x="74" y="44"/>
                      <a:pt x="74" y="45"/>
                      <a:pt x="73" y="46"/>
                    </a:cubicBezTo>
                    <a:lnTo>
                      <a:pt x="53" y="74"/>
                    </a:lnTo>
                    <a:lnTo>
                      <a:pt x="55" y="70"/>
                    </a:lnTo>
                    <a:lnTo>
                      <a:pt x="48" y="127"/>
                    </a:lnTo>
                    <a:lnTo>
                      <a:pt x="37" y="119"/>
                    </a:lnTo>
                    <a:lnTo>
                      <a:pt x="63" y="109"/>
                    </a:lnTo>
                    <a:cubicBezTo>
                      <a:pt x="65" y="108"/>
                      <a:pt x="68" y="108"/>
                      <a:pt x="70" y="110"/>
                    </a:cubicBezTo>
                    <a:cubicBezTo>
                      <a:pt x="73" y="112"/>
                      <a:pt x="74" y="115"/>
                      <a:pt x="73" y="117"/>
                    </a:cubicBezTo>
                    <a:lnTo>
                      <a:pt x="55" y="246"/>
                    </a:lnTo>
                    <a:cubicBezTo>
                      <a:pt x="55" y="248"/>
                      <a:pt x="54" y="250"/>
                      <a:pt x="52" y="251"/>
                    </a:cubicBezTo>
                    <a:lnTo>
                      <a:pt x="49" y="254"/>
                    </a:lnTo>
                    <a:cubicBezTo>
                      <a:pt x="47" y="256"/>
                      <a:pt x="44" y="257"/>
                      <a:pt x="41" y="256"/>
                    </a:cubicBezTo>
                    <a:cubicBezTo>
                      <a:pt x="39" y="255"/>
                      <a:pt x="36" y="253"/>
                      <a:pt x="36" y="251"/>
                    </a:cubicBezTo>
                    <a:lnTo>
                      <a:pt x="1" y="132"/>
                    </a:lnTo>
                    <a:cubicBezTo>
                      <a:pt x="0" y="130"/>
                      <a:pt x="0" y="128"/>
                      <a:pt x="1" y="127"/>
                    </a:cubicBezTo>
                    <a:lnTo>
                      <a:pt x="43" y="1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43" name="Freeform 399"/>
              <p:cNvSpPr>
                <a:spLocks/>
              </p:cNvSpPr>
              <p:nvPr/>
            </p:nvSpPr>
            <p:spPr bwMode="auto">
              <a:xfrm>
                <a:off x="2620" y="1981"/>
                <a:ext cx="84" cy="85"/>
              </a:xfrm>
              <a:custGeom>
                <a:avLst/>
                <a:gdLst/>
                <a:ahLst/>
                <a:cxnLst>
                  <a:cxn ang="0">
                    <a:pos x="0" y="56"/>
                  </a:cxn>
                  <a:cxn ang="0">
                    <a:pos x="1" y="43"/>
                  </a:cxn>
                  <a:cxn ang="0">
                    <a:pos x="4" y="30"/>
                  </a:cxn>
                  <a:cxn ang="0">
                    <a:pos x="13" y="32"/>
                  </a:cxn>
                  <a:cxn ang="0">
                    <a:pos x="8" y="8"/>
                  </a:cxn>
                  <a:cxn ang="0">
                    <a:pos x="34" y="0"/>
                  </a:cxn>
                  <a:cxn ang="0">
                    <a:pos x="48" y="5"/>
                  </a:cxn>
                  <a:cxn ang="0">
                    <a:pos x="56" y="14"/>
                  </a:cxn>
                  <a:cxn ang="0">
                    <a:pos x="84" y="16"/>
                  </a:cxn>
                  <a:cxn ang="0">
                    <a:pos x="79" y="76"/>
                  </a:cxn>
                  <a:cxn ang="0">
                    <a:pos x="14" y="85"/>
                  </a:cxn>
                  <a:cxn ang="0">
                    <a:pos x="16" y="65"/>
                  </a:cxn>
                  <a:cxn ang="0">
                    <a:pos x="0" y="56"/>
                  </a:cxn>
                </a:cxnLst>
                <a:rect l="0" t="0" r="r" b="b"/>
                <a:pathLst>
                  <a:path w="84" h="85">
                    <a:moveTo>
                      <a:pt x="0" y="56"/>
                    </a:moveTo>
                    <a:lnTo>
                      <a:pt x="1" y="43"/>
                    </a:lnTo>
                    <a:lnTo>
                      <a:pt x="4" y="30"/>
                    </a:lnTo>
                    <a:lnTo>
                      <a:pt x="13" y="32"/>
                    </a:lnTo>
                    <a:lnTo>
                      <a:pt x="8" y="8"/>
                    </a:lnTo>
                    <a:lnTo>
                      <a:pt x="34" y="0"/>
                    </a:lnTo>
                    <a:lnTo>
                      <a:pt x="48" y="5"/>
                    </a:lnTo>
                    <a:lnTo>
                      <a:pt x="56" y="14"/>
                    </a:lnTo>
                    <a:lnTo>
                      <a:pt x="84" y="16"/>
                    </a:lnTo>
                    <a:lnTo>
                      <a:pt x="79" y="76"/>
                    </a:lnTo>
                    <a:lnTo>
                      <a:pt x="14" y="85"/>
                    </a:lnTo>
                    <a:lnTo>
                      <a:pt x="16" y="65"/>
                    </a:lnTo>
                    <a:lnTo>
                      <a:pt x="0" y="56"/>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44" name="Freeform 400"/>
              <p:cNvSpPr>
                <a:spLocks noEditPoints="1"/>
              </p:cNvSpPr>
              <p:nvPr/>
            </p:nvSpPr>
            <p:spPr bwMode="auto">
              <a:xfrm>
                <a:off x="2618" y="1980"/>
                <a:ext cx="89" cy="88"/>
              </a:xfrm>
              <a:custGeom>
                <a:avLst/>
                <a:gdLst/>
                <a:ahLst/>
                <a:cxnLst>
                  <a:cxn ang="0">
                    <a:pos x="3" y="257"/>
                  </a:cxn>
                  <a:cxn ang="0">
                    <a:pos x="0" y="250"/>
                  </a:cxn>
                  <a:cxn ang="0">
                    <a:pos x="3" y="195"/>
                  </a:cxn>
                  <a:cxn ang="0">
                    <a:pos x="12" y="137"/>
                  </a:cxn>
                  <a:cxn ang="0">
                    <a:pos x="15" y="131"/>
                  </a:cxn>
                  <a:cxn ang="0">
                    <a:pos x="22" y="130"/>
                  </a:cxn>
                  <a:cxn ang="0">
                    <a:pos x="53" y="139"/>
                  </a:cxn>
                  <a:cxn ang="0">
                    <a:pos x="43" y="147"/>
                  </a:cxn>
                  <a:cxn ang="0">
                    <a:pos x="27" y="42"/>
                  </a:cxn>
                  <a:cxn ang="0">
                    <a:pos x="33" y="33"/>
                  </a:cxn>
                  <a:cxn ang="0">
                    <a:pos x="120" y="1"/>
                  </a:cxn>
                  <a:cxn ang="0">
                    <a:pos x="126" y="1"/>
                  </a:cxn>
                  <a:cxn ang="0">
                    <a:pos x="175" y="23"/>
                  </a:cxn>
                  <a:cxn ang="0">
                    <a:pos x="179" y="26"/>
                  </a:cxn>
                  <a:cxn ang="0">
                    <a:pos x="204" y="61"/>
                  </a:cxn>
                  <a:cxn ang="0">
                    <a:pos x="199" y="58"/>
                  </a:cxn>
                  <a:cxn ang="0">
                    <a:pos x="297" y="69"/>
                  </a:cxn>
                  <a:cxn ang="0">
                    <a:pos x="304" y="78"/>
                  </a:cxn>
                  <a:cxn ang="0">
                    <a:pos x="286" y="338"/>
                  </a:cxn>
                  <a:cxn ang="0">
                    <a:pos x="279" y="346"/>
                  </a:cxn>
                  <a:cxn ang="0">
                    <a:pos x="56" y="384"/>
                  </a:cxn>
                  <a:cxn ang="0">
                    <a:pos x="50" y="382"/>
                  </a:cxn>
                  <a:cxn ang="0">
                    <a:pos x="47" y="376"/>
                  </a:cxn>
                  <a:cxn ang="0">
                    <a:pos x="53" y="292"/>
                  </a:cxn>
                  <a:cxn ang="0">
                    <a:pos x="56" y="299"/>
                  </a:cxn>
                  <a:cxn ang="0">
                    <a:pos x="3" y="257"/>
                  </a:cxn>
                  <a:cxn ang="0">
                    <a:pos x="66" y="286"/>
                  </a:cxn>
                  <a:cxn ang="0">
                    <a:pos x="69" y="293"/>
                  </a:cxn>
                  <a:cxn ang="0">
                    <a:pos x="63" y="377"/>
                  </a:cxn>
                  <a:cxn ang="0">
                    <a:pos x="54" y="369"/>
                  </a:cxn>
                  <a:cxn ang="0">
                    <a:pos x="277" y="330"/>
                  </a:cxn>
                  <a:cxn ang="0">
                    <a:pos x="270" y="337"/>
                  </a:cxn>
                  <a:cxn ang="0">
                    <a:pos x="288" y="77"/>
                  </a:cxn>
                  <a:cxn ang="0">
                    <a:pos x="296" y="85"/>
                  </a:cxn>
                  <a:cxn ang="0">
                    <a:pos x="197" y="74"/>
                  </a:cxn>
                  <a:cxn ang="0">
                    <a:pos x="191" y="70"/>
                  </a:cxn>
                  <a:cxn ang="0">
                    <a:pos x="166" y="35"/>
                  </a:cxn>
                  <a:cxn ang="0">
                    <a:pos x="169" y="38"/>
                  </a:cxn>
                  <a:cxn ang="0">
                    <a:pos x="120" y="16"/>
                  </a:cxn>
                  <a:cxn ang="0">
                    <a:pos x="126" y="16"/>
                  </a:cxn>
                  <a:cxn ang="0">
                    <a:pos x="38" y="48"/>
                  </a:cxn>
                  <a:cxn ang="0">
                    <a:pos x="43" y="39"/>
                  </a:cxn>
                  <a:cxn ang="0">
                    <a:pos x="59" y="145"/>
                  </a:cxn>
                  <a:cxn ang="0">
                    <a:pos x="56" y="152"/>
                  </a:cxn>
                  <a:cxn ang="0">
                    <a:pos x="49" y="154"/>
                  </a:cxn>
                  <a:cxn ang="0">
                    <a:pos x="18" y="146"/>
                  </a:cxn>
                  <a:cxn ang="0">
                    <a:pos x="28" y="139"/>
                  </a:cxn>
                  <a:cxn ang="0">
                    <a:pos x="19" y="195"/>
                  </a:cxn>
                  <a:cxn ang="0">
                    <a:pos x="16" y="251"/>
                  </a:cxn>
                  <a:cxn ang="0">
                    <a:pos x="13" y="244"/>
                  </a:cxn>
                  <a:cxn ang="0">
                    <a:pos x="66" y="286"/>
                  </a:cxn>
                </a:cxnLst>
                <a:rect l="0" t="0" r="r" b="b"/>
                <a:pathLst>
                  <a:path w="305" h="385">
                    <a:moveTo>
                      <a:pt x="3" y="257"/>
                    </a:moveTo>
                    <a:cubicBezTo>
                      <a:pt x="1" y="255"/>
                      <a:pt x="0" y="253"/>
                      <a:pt x="0" y="250"/>
                    </a:cubicBezTo>
                    <a:lnTo>
                      <a:pt x="3" y="195"/>
                    </a:lnTo>
                    <a:lnTo>
                      <a:pt x="12" y="137"/>
                    </a:lnTo>
                    <a:cubicBezTo>
                      <a:pt x="12" y="134"/>
                      <a:pt x="13" y="132"/>
                      <a:pt x="15" y="131"/>
                    </a:cubicBezTo>
                    <a:cubicBezTo>
                      <a:pt x="17" y="130"/>
                      <a:pt x="20" y="130"/>
                      <a:pt x="22" y="130"/>
                    </a:cubicBezTo>
                    <a:lnTo>
                      <a:pt x="53" y="139"/>
                    </a:lnTo>
                    <a:lnTo>
                      <a:pt x="43" y="147"/>
                    </a:lnTo>
                    <a:lnTo>
                      <a:pt x="27" y="42"/>
                    </a:lnTo>
                    <a:cubicBezTo>
                      <a:pt x="27" y="38"/>
                      <a:pt x="29" y="34"/>
                      <a:pt x="33" y="33"/>
                    </a:cubicBezTo>
                    <a:lnTo>
                      <a:pt x="120" y="1"/>
                    </a:lnTo>
                    <a:cubicBezTo>
                      <a:pt x="122" y="0"/>
                      <a:pt x="124" y="0"/>
                      <a:pt x="126" y="1"/>
                    </a:cubicBezTo>
                    <a:lnTo>
                      <a:pt x="175" y="23"/>
                    </a:lnTo>
                    <a:cubicBezTo>
                      <a:pt x="177" y="24"/>
                      <a:pt x="178" y="24"/>
                      <a:pt x="179" y="26"/>
                    </a:cubicBezTo>
                    <a:lnTo>
                      <a:pt x="204" y="61"/>
                    </a:lnTo>
                    <a:lnTo>
                      <a:pt x="199" y="58"/>
                    </a:lnTo>
                    <a:lnTo>
                      <a:pt x="297" y="69"/>
                    </a:lnTo>
                    <a:cubicBezTo>
                      <a:pt x="302" y="70"/>
                      <a:pt x="305" y="74"/>
                      <a:pt x="304" y="78"/>
                    </a:cubicBezTo>
                    <a:lnTo>
                      <a:pt x="286" y="338"/>
                    </a:lnTo>
                    <a:cubicBezTo>
                      <a:pt x="286" y="342"/>
                      <a:pt x="283" y="345"/>
                      <a:pt x="279" y="346"/>
                    </a:cubicBezTo>
                    <a:lnTo>
                      <a:pt x="56" y="384"/>
                    </a:lnTo>
                    <a:cubicBezTo>
                      <a:pt x="54" y="385"/>
                      <a:pt x="52" y="384"/>
                      <a:pt x="50" y="382"/>
                    </a:cubicBezTo>
                    <a:cubicBezTo>
                      <a:pt x="48" y="381"/>
                      <a:pt x="47" y="378"/>
                      <a:pt x="47" y="376"/>
                    </a:cubicBezTo>
                    <a:lnTo>
                      <a:pt x="53" y="292"/>
                    </a:lnTo>
                    <a:lnTo>
                      <a:pt x="56" y="299"/>
                    </a:lnTo>
                    <a:lnTo>
                      <a:pt x="3" y="257"/>
                    </a:lnTo>
                    <a:close/>
                    <a:moveTo>
                      <a:pt x="66" y="286"/>
                    </a:moveTo>
                    <a:cubicBezTo>
                      <a:pt x="68" y="288"/>
                      <a:pt x="69" y="290"/>
                      <a:pt x="69" y="293"/>
                    </a:cubicBezTo>
                    <a:lnTo>
                      <a:pt x="63" y="377"/>
                    </a:lnTo>
                    <a:lnTo>
                      <a:pt x="54" y="369"/>
                    </a:lnTo>
                    <a:lnTo>
                      <a:pt x="277" y="330"/>
                    </a:lnTo>
                    <a:lnTo>
                      <a:pt x="270" y="337"/>
                    </a:lnTo>
                    <a:lnTo>
                      <a:pt x="288" y="77"/>
                    </a:lnTo>
                    <a:lnTo>
                      <a:pt x="296" y="85"/>
                    </a:lnTo>
                    <a:lnTo>
                      <a:pt x="197" y="74"/>
                    </a:lnTo>
                    <a:cubicBezTo>
                      <a:pt x="194" y="73"/>
                      <a:pt x="192" y="72"/>
                      <a:pt x="191" y="70"/>
                    </a:cubicBezTo>
                    <a:lnTo>
                      <a:pt x="166" y="35"/>
                    </a:lnTo>
                    <a:lnTo>
                      <a:pt x="169" y="38"/>
                    </a:lnTo>
                    <a:lnTo>
                      <a:pt x="120" y="16"/>
                    </a:lnTo>
                    <a:lnTo>
                      <a:pt x="126" y="16"/>
                    </a:lnTo>
                    <a:lnTo>
                      <a:pt x="38" y="48"/>
                    </a:lnTo>
                    <a:lnTo>
                      <a:pt x="43" y="39"/>
                    </a:lnTo>
                    <a:lnTo>
                      <a:pt x="59" y="145"/>
                    </a:lnTo>
                    <a:cubicBezTo>
                      <a:pt x="59" y="148"/>
                      <a:pt x="58" y="150"/>
                      <a:pt x="56" y="152"/>
                    </a:cubicBezTo>
                    <a:cubicBezTo>
                      <a:pt x="54" y="154"/>
                      <a:pt x="51" y="155"/>
                      <a:pt x="49" y="154"/>
                    </a:cubicBezTo>
                    <a:lnTo>
                      <a:pt x="18" y="146"/>
                    </a:lnTo>
                    <a:lnTo>
                      <a:pt x="28" y="139"/>
                    </a:lnTo>
                    <a:lnTo>
                      <a:pt x="19" y="195"/>
                    </a:lnTo>
                    <a:lnTo>
                      <a:pt x="16" y="251"/>
                    </a:lnTo>
                    <a:lnTo>
                      <a:pt x="13" y="244"/>
                    </a:lnTo>
                    <a:lnTo>
                      <a:pt x="66" y="286"/>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45" name="Freeform 401"/>
              <p:cNvSpPr>
                <a:spLocks/>
              </p:cNvSpPr>
              <p:nvPr/>
            </p:nvSpPr>
            <p:spPr bwMode="auto">
              <a:xfrm>
                <a:off x="3228" y="1667"/>
                <a:ext cx="61" cy="62"/>
              </a:xfrm>
              <a:custGeom>
                <a:avLst/>
                <a:gdLst/>
                <a:ahLst/>
                <a:cxnLst>
                  <a:cxn ang="0">
                    <a:pos x="0" y="30"/>
                  </a:cxn>
                  <a:cxn ang="0">
                    <a:pos x="3" y="16"/>
                  </a:cxn>
                  <a:cxn ang="0">
                    <a:pos x="10" y="10"/>
                  </a:cxn>
                  <a:cxn ang="0">
                    <a:pos x="24" y="15"/>
                  </a:cxn>
                  <a:cxn ang="0">
                    <a:pos x="54" y="0"/>
                  </a:cxn>
                  <a:cxn ang="0">
                    <a:pos x="61" y="17"/>
                  </a:cxn>
                  <a:cxn ang="0">
                    <a:pos x="29" y="27"/>
                  </a:cxn>
                  <a:cxn ang="0">
                    <a:pos x="44" y="40"/>
                  </a:cxn>
                  <a:cxn ang="0">
                    <a:pos x="37" y="50"/>
                  </a:cxn>
                  <a:cxn ang="0">
                    <a:pos x="18" y="62"/>
                  </a:cxn>
                  <a:cxn ang="0">
                    <a:pos x="3" y="58"/>
                  </a:cxn>
                  <a:cxn ang="0">
                    <a:pos x="9" y="27"/>
                  </a:cxn>
                  <a:cxn ang="0">
                    <a:pos x="0" y="30"/>
                  </a:cxn>
                </a:cxnLst>
                <a:rect l="0" t="0" r="r" b="b"/>
                <a:pathLst>
                  <a:path w="61" h="62">
                    <a:moveTo>
                      <a:pt x="0" y="30"/>
                    </a:moveTo>
                    <a:lnTo>
                      <a:pt x="3" y="16"/>
                    </a:lnTo>
                    <a:lnTo>
                      <a:pt x="10" y="10"/>
                    </a:lnTo>
                    <a:lnTo>
                      <a:pt x="24" y="15"/>
                    </a:lnTo>
                    <a:lnTo>
                      <a:pt x="54" y="0"/>
                    </a:lnTo>
                    <a:lnTo>
                      <a:pt x="61" y="17"/>
                    </a:lnTo>
                    <a:lnTo>
                      <a:pt x="29" y="27"/>
                    </a:lnTo>
                    <a:lnTo>
                      <a:pt x="44" y="40"/>
                    </a:lnTo>
                    <a:lnTo>
                      <a:pt x="37" y="50"/>
                    </a:lnTo>
                    <a:lnTo>
                      <a:pt x="18" y="62"/>
                    </a:lnTo>
                    <a:lnTo>
                      <a:pt x="3" y="58"/>
                    </a:lnTo>
                    <a:lnTo>
                      <a:pt x="9" y="27"/>
                    </a:lnTo>
                    <a:lnTo>
                      <a:pt x="0" y="3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46" name="Freeform 402"/>
              <p:cNvSpPr>
                <a:spLocks noEditPoints="1"/>
              </p:cNvSpPr>
              <p:nvPr/>
            </p:nvSpPr>
            <p:spPr bwMode="auto">
              <a:xfrm>
                <a:off x="3226" y="1665"/>
                <a:ext cx="65" cy="66"/>
              </a:xfrm>
              <a:custGeom>
                <a:avLst/>
                <a:gdLst/>
                <a:ahLst/>
                <a:cxnLst>
                  <a:cxn ang="0">
                    <a:pos x="11" y="147"/>
                  </a:cxn>
                  <a:cxn ang="0">
                    <a:pos x="3" y="146"/>
                  </a:cxn>
                  <a:cxn ang="0">
                    <a:pos x="1" y="138"/>
                  </a:cxn>
                  <a:cxn ang="0">
                    <a:pos x="9" y="80"/>
                  </a:cxn>
                  <a:cxn ang="0">
                    <a:pos x="10" y="76"/>
                  </a:cxn>
                  <a:cxn ang="0">
                    <a:pos x="34" y="47"/>
                  </a:cxn>
                  <a:cxn ang="0">
                    <a:pos x="43" y="45"/>
                  </a:cxn>
                  <a:cxn ang="0">
                    <a:pos x="94" y="68"/>
                  </a:cxn>
                  <a:cxn ang="0">
                    <a:pos x="86" y="69"/>
                  </a:cxn>
                  <a:cxn ang="0">
                    <a:pos x="189" y="2"/>
                  </a:cxn>
                  <a:cxn ang="0">
                    <a:pos x="196" y="1"/>
                  </a:cxn>
                  <a:cxn ang="0">
                    <a:pos x="201" y="6"/>
                  </a:cxn>
                  <a:cxn ang="0">
                    <a:pos x="224" y="82"/>
                  </a:cxn>
                  <a:cxn ang="0">
                    <a:pos x="219" y="91"/>
                  </a:cxn>
                  <a:cxn ang="0">
                    <a:pos x="111" y="135"/>
                  </a:cxn>
                  <a:cxn ang="0">
                    <a:pos x="114" y="122"/>
                  </a:cxn>
                  <a:cxn ang="0">
                    <a:pos x="166" y="181"/>
                  </a:cxn>
                  <a:cxn ang="0">
                    <a:pos x="167" y="191"/>
                  </a:cxn>
                  <a:cxn ang="0">
                    <a:pos x="141" y="231"/>
                  </a:cxn>
                  <a:cxn ang="0">
                    <a:pos x="139" y="233"/>
                  </a:cxn>
                  <a:cxn ang="0">
                    <a:pos x="75" y="287"/>
                  </a:cxn>
                  <a:cxn ang="0">
                    <a:pos x="67" y="288"/>
                  </a:cxn>
                  <a:cxn ang="0">
                    <a:pos x="14" y="270"/>
                  </a:cxn>
                  <a:cxn ang="0">
                    <a:pos x="9" y="261"/>
                  </a:cxn>
                  <a:cxn ang="0">
                    <a:pos x="31" y="128"/>
                  </a:cxn>
                  <a:cxn ang="0">
                    <a:pos x="41" y="137"/>
                  </a:cxn>
                  <a:cxn ang="0">
                    <a:pos x="11" y="147"/>
                  </a:cxn>
                  <a:cxn ang="0">
                    <a:pos x="36" y="122"/>
                  </a:cxn>
                  <a:cxn ang="0">
                    <a:pos x="44" y="123"/>
                  </a:cxn>
                  <a:cxn ang="0">
                    <a:pos x="46" y="131"/>
                  </a:cxn>
                  <a:cxn ang="0">
                    <a:pos x="25" y="263"/>
                  </a:cxn>
                  <a:cxn ang="0">
                    <a:pos x="19" y="254"/>
                  </a:cxn>
                  <a:cxn ang="0">
                    <a:pos x="73" y="273"/>
                  </a:cxn>
                  <a:cxn ang="0">
                    <a:pos x="65" y="274"/>
                  </a:cxn>
                  <a:cxn ang="0">
                    <a:pos x="129" y="221"/>
                  </a:cxn>
                  <a:cxn ang="0">
                    <a:pos x="128" y="222"/>
                  </a:cxn>
                  <a:cxn ang="0">
                    <a:pos x="154" y="182"/>
                  </a:cxn>
                  <a:cxn ang="0">
                    <a:pos x="154" y="192"/>
                  </a:cxn>
                  <a:cxn ang="0">
                    <a:pos x="102" y="133"/>
                  </a:cxn>
                  <a:cxn ang="0">
                    <a:pos x="101" y="126"/>
                  </a:cxn>
                  <a:cxn ang="0">
                    <a:pos x="105" y="120"/>
                  </a:cxn>
                  <a:cxn ang="0">
                    <a:pos x="213" y="77"/>
                  </a:cxn>
                  <a:cxn ang="0">
                    <a:pos x="209" y="86"/>
                  </a:cxn>
                  <a:cxn ang="0">
                    <a:pos x="186" y="11"/>
                  </a:cxn>
                  <a:cxn ang="0">
                    <a:pos x="198" y="15"/>
                  </a:cxn>
                  <a:cxn ang="0">
                    <a:pos x="95" y="82"/>
                  </a:cxn>
                  <a:cxn ang="0">
                    <a:pos x="87" y="83"/>
                  </a:cxn>
                  <a:cxn ang="0">
                    <a:pos x="37" y="59"/>
                  </a:cxn>
                  <a:cxn ang="0">
                    <a:pos x="46" y="57"/>
                  </a:cxn>
                  <a:cxn ang="0">
                    <a:pos x="23" y="86"/>
                  </a:cxn>
                  <a:cxn ang="0">
                    <a:pos x="25" y="82"/>
                  </a:cxn>
                  <a:cxn ang="0">
                    <a:pos x="16" y="141"/>
                  </a:cxn>
                  <a:cxn ang="0">
                    <a:pos x="6" y="132"/>
                  </a:cxn>
                  <a:cxn ang="0">
                    <a:pos x="36" y="122"/>
                  </a:cxn>
                </a:cxnLst>
                <a:rect l="0" t="0" r="r" b="b"/>
                <a:pathLst>
                  <a:path w="225" h="289">
                    <a:moveTo>
                      <a:pt x="11" y="147"/>
                    </a:moveTo>
                    <a:cubicBezTo>
                      <a:pt x="8" y="148"/>
                      <a:pt x="5" y="147"/>
                      <a:pt x="3" y="146"/>
                    </a:cubicBezTo>
                    <a:cubicBezTo>
                      <a:pt x="1" y="144"/>
                      <a:pt x="0" y="141"/>
                      <a:pt x="1" y="138"/>
                    </a:cubicBezTo>
                    <a:lnTo>
                      <a:pt x="9" y="80"/>
                    </a:lnTo>
                    <a:cubicBezTo>
                      <a:pt x="9" y="78"/>
                      <a:pt x="10" y="77"/>
                      <a:pt x="10" y="76"/>
                    </a:cubicBezTo>
                    <a:lnTo>
                      <a:pt x="34" y="47"/>
                    </a:lnTo>
                    <a:cubicBezTo>
                      <a:pt x="36" y="44"/>
                      <a:pt x="40" y="43"/>
                      <a:pt x="43" y="45"/>
                    </a:cubicBezTo>
                    <a:lnTo>
                      <a:pt x="94" y="68"/>
                    </a:lnTo>
                    <a:lnTo>
                      <a:pt x="86" y="69"/>
                    </a:lnTo>
                    <a:lnTo>
                      <a:pt x="189" y="2"/>
                    </a:lnTo>
                    <a:cubicBezTo>
                      <a:pt x="191" y="0"/>
                      <a:pt x="194" y="0"/>
                      <a:pt x="196" y="1"/>
                    </a:cubicBezTo>
                    <a:cubicBezTo>
                      <a:pt x="198" y="2"/>
                      <a:pt x="200" y="4"/>
                      <a:pt x="201" y="6"/>
                    </a:cubicBezTo>
                    <a:lnTo>
                      <a:pt x="224" y="82"/>
                    </a:lnTo>
                    <a:cubicBezTo>
                      <a:pt x="225" y="86"/>
                      <a:pt x="223" y="90"/>
                      <a:pt x="219" y="91"/>
                    </a:cubicBezTo>
                    <a:lnTo>
                      <a:pt x="111" y="135"/>
                    </a:lnTo>
                    <a:lnTo>
                      <a:pt x="114" y="122"/>
                    </a:lnTo>
                    <a:lnTo>
                      <a:pt x="166" y="181"/>
                    </a:lnTo>
                    <a:cubicBezTo>
                      <a:pt x="169" y="184"/>
                      <a:pt x="169" y="188"/>
                      <a:pt x="167" y="191"/>
                    </a:cubicBezTo>
                    <a:lnTo>
                      <a:pt x="141" y="231"/>
                    </a:lnTo>
                    <a:cubicBezTo>
                      <a:pt x="141" y="232"/>
                      <a:pt x="140" y="232"/>
                      <a:pt x="139" y="233"/>
                    </a:cubicBezTo>
                    <a:lnTo>
                      <a:pt x="75" y="287"/>
                    </a:lnTo>
                    <a:cubicBezTo>
                      <a:pt x="73" y="288"/>
                      <a:pt x="70" y="289"/>
                      <a:pt x="67" y="288"/>
                    </a:cubicBezTo>
                    <a:lnTo>
                      <a:pt x="14" y="270"/>
                    </a:lnTo>
                    <a:cubicBezTo>
                      <a:pt x="10" y="268"/>
                      <a:pt x="8" y="265"/>
                      <a:pt x="9" y="261"/>
                    </a:cubicBezTo>
                    <a:lnTo>
                      <a:pt x="31" y="128"/>
                    </a:lnTo>
                    <a:lnTo>
                      <a:pt x="41" y="137"/>
                    </a:lnTo>
                    <a:lnTo>
                      <a:pt x="11" y="147"/>
                    </a:lnTo>
                    <a:close/>
                    <a:moveTo>
                      <a:pt x="36" y="122"/>
                    </a:moveTo>
                    <a:cubicBezTo>
                      <a:pt x="39" y="121"/>
                      <a:pt x="42" y="121"/>
                      <a:pt x="44" y="123"/>
                    </a:cubicBezTo>
                    <a:cubicBezTo>
                      <a:pt x="46" y="125"/>
                      <a:pt x="47" y="128"/>
                      <a:pt x="46" y="131"/>
                    </a:cubicBezTo>
                    <a:lnTo>
                      <a:pt x="25" y="263"/>
                    </a:lnTo>
                    <a:lnTo>
                      <a:pt x="19" y="254"/>
                    </a:lnTo>
                    <a:lnTo>
                      <a:pt x="73" y="273"/>
                    </a:lnTo>
                    <a:lnTo>
                      <a:pt x="65" y="274"/>
                    </a:lnTo>
                    <a:lnTo>
                      <a:pt x="129" y="221"/>
                    </a:lnTo>
                    <a:lnTo>
                      <a:pt x="128" y="222"/>
                    </a:lnTo>
                    <a:lnTo>
                      <a:pt x="154" y="182"/>
                    </a:lnTo>
                    <a:lnTo>
                      <a:pt x="154" y="192"/>
                    </a:lnTo>
                    <a:lnTo>
                      <a:pt x="102" y="133"/>
                    </a:lnTo>
                    <a:cubicBezTo>
                      <a:pt x="101" y="131"/>
                      <a:pt x="100" y="128"/>
                      <a:pt x="101" y="126"/>
                    </a:cubicBezTo>
                    <a:cubicBezTo>
                      <a:pt x="101" y="123"/>
                      <a:pt x="103" y="121"/>
                      <a:pt x="105" y="120"/>
                    </a:cubicBezTo>
                    <a:lnTo>
                      <a:pt x="213" y="77"/>
                    </a:lnTo>
                    <a:lnTo>
                      <a:pt x="209" y="86"/>
                    </a:lnTo>
                    <a:lnTo>
                      <a:pt x="186" y="11"/>
                    </a:lnTo>
                    <a:lnTo>
                      <a:pt x="198" y="15"/>
                    </a:lnTo>
                    <a:lnTo>
                      <a:pt x="95" y="82"/>
                    </a:lnTo>
                    <a:cubicBezTo>
                      <a:pt x="93" y="84"/>
                      <a:pt x="90" y="84"/>
                      <a:pt x="87" y="83"/>
                    </a:cubicBezTo>
                    <a:lnTo>
                      <a:pt x="37" y="59"/>
                    </a:lnTo>
                    <a:lnTo>
                      <a:pt x="46" y="57"/>
                    </a:lnTo>
                    <a:lnTo>
                      <a:pt x="23" y="86"/>
                    </a:lnTo>
                    <a:lnTo>
                      <a:pt x="25" y="82"/>
                    </a:lnTo>
                    <a:lnTo>
                      <a:pt x="16" y="141"/>
                    </a:lnTo>
                    <a:lnTo>
                      <a:pt x="6" y="132"/>
                    </a:lnTo>
                    <a:lnTo>
                      <a:pt x="36" y="122"/>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47" name="Freeform 403"/>
              <p:cNvSpPr>
                <a:spLocks/>
              </p:cNvSpPr>
              <p:nvPr/>
            </p:nvSpPr>
            <p:spPr bwMode="auto">
              <a:xfrm>
                <a:off x="3219" y="2062"/>
                <a:ext cx="107" cy="124"/>
              </a:xfrm>
              <a:custGeom>
                <a:avLst/>
                <a:gdLst/>
                <a:ahLst/>
                <a:cxnLst>
                  <a:cxn ang="0">
                    <a:pos x="0" y="8"/>
                  </a:cxn>
                  <a:cxn ang="0">
                    <a:pos x="15" y="34"/>
                  </a:cxn>
                  <a:cxn ang="0">
                    <a:pos x="0" y="58"/>
                  </a:cxn>
                  <a:cxn ang="0">
                    <a:pos x="12" y="65"/>
                  </a:cxn>
                  <a:cxn ang="0">
                    <a:pos x="4" y="74"/>
                  </a:cxn>
                  <a:cxn ang="0">
                    <a:pos x="73" y="124"/>
                  </a:cxn>
                  <a:cxn ang="0">
                    <a:pos x="103" y="84"/>
                  </a:cxn>
                  <a:cxn ang="0">
                    <a:pos x="96" y="73"/>
                  </a:cxn>
                  <a:cxn ang="0">
                    <a:pos x="96" y="24"/>
                  </a:cxn>
                  <a:cxn ang="0">
                    <a:pos x="107" y="9"/>
                  </a:cxn>
                  <a:cxn ang="0">
                    <a:pos x="69" y="15"/>
                  </a:cxn>
                  <a:cxn ang="0">
                    <a:pos x="26" y="0"/>
                  </a:cxn>
                  <a:cxn ang="0">
                    <a:pos x="0" y="8"/>
                  </a:cxn>
                </a:cxnLst>
                <a:rect l="0" t="0" r="r" b="b"/>
                <a:pathLst>
                  <a:path w="107" h="124">
                    <a:moveTo>
                      <a:pt x="0" y="8"/>
                    </a:moveTo>
                    <a:lnTo>
                      <a:pt x="15" y="34"/>
                    </a:lnTo>
                    <a:lnTo>
                      <a:pt x="0" y="58"/>
                    </a:lnTo>
                    <a:lnTo>
                      <a:pt x="12" y="65"/>
                    </a:lnTo>
                    <a:lnTo>
                      <a:pt x="4" y="74"/>
                    </a:lnTo>
                    <a:lnTo>
                      <a:pt x="73" y="124"/>
                    </a:lnTo>
                    <a:lnTo>
                      <a:pt x="103" y="84"/>
                    </a:lnTo>
                    <a:lnTo>
                      <a:pt x="96" y="73"/>
                    </a:lnTo>
                    <a:lnTo>
                      <a:pt x="96" y="24"/>
                    </a:lnTo>
                    <a:lnTo>
                      <a:pt x="107" y="9"/>
                    </a:lnTo>
                    <a:lnTo>
                      <a:pt x="69" y="15"/>
                    </a:lnTo>
                    <a:lnTo>
                      <a:pt x="26" y="0"/>
                    </a:lnTo>
                    <a:lnTo>
                      <a:pt x="0" y="8"/>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48" name="Freeform 404"/>
              <p:cNvSpPr>
                <a:spLocks noEditPoints="1"/>
              </p:cNvSpPr>
              <p:nvPr/>
            </p:nvSpPr>
            <p:spPr bwMode="auto">
              <a:xfrm>
                <a:off x="3217" y="2060"/>
                <a:ext cx="111" cy="128"/>
              </a:xfrm>
              <a:custGeom>
                <a:avLst/>
                <a:gdLst/>
                <a:ahLst/>
                <a:cxnLst>
                  <a:cxn ang="0">
                    <a:pos x="11" y="50"/>
                  </a:cxn>
                  <a:cxn ang="0">
                    <a:pos x="16" y="39"/>
                  </a:cxn>
                  <a:cxn ang="0">
                    <a:pos x="67" y="155"/>
                  </a:cxn>
                  <a:cxn ang="0">
                    <a:pos x="67" y="162"/>
                  </a:cxn>
                  <a:cxn ang="0">
                    <a:pos x="16" y="268"/>
                  </a:cxn>
                  <a:cxn ang="0">
                    <a:pos x="13" y="258"/>
                  </a:cxn>
                  <a:cxn ang="0">
                    <a:pos x="53" y="287"/>
                  </a:cxn>
                  <a:cxn ang="0">
                    <a:pos x="55" y="298"/>
                  </a:cxn>
                  <a:cxn ang="0">
                    <a:pos x="27" y="337"/>
                  </a:cxn>
                  <a:cxn ang="0">
                    <a:pos x="26" y="327"/>
                  </a:cxn>
                  <a:cxn ang="0">
                    <a:pos x="265" y="547"/>
                  </a:cxn>
                  <a:cxn ang="0">
                    <a:pos x="253" y="548"/>
                  </a:cxn>
                  <a:cxn ang="0">
                    <a:pos x="355" y="373"/>
                  </a:cxn>
                  <a:cxn ang="0">
                    <a:pos x="354" y="380"/>
                  </a:cxn>
                  <a:cxn ang="0">
                    <a:pos x="332" y="333"/>
                  </a:cxn>
                  <a:cxn ang="0">
                    <a:pos x="331" y="329"/>
                  </a:cxn>
                  <a:cxn ang="0">
                    <a:pos x="331" y="112"/>
                  </a:cxn>
                  <a:cxn ang="0">
                    <a:pos x="332" y="108"/>
                  </a:cxn>
                  <a:cxn ang="0">
                    <a:pos x="370" y="44"/>
                  </a:cxn>
                  <a:cxn ang="0">
                    <a:pos x="378" y="56"/>
                  </a:cxn>
                  <a:cxn ang="0">
                    <a:pos x="245" y="83"/>
                  </a:cxn>
                  <a:cxn ang="0">
                    <a:pos x="240" y="82"/>
                  </a:cxn>
                  <a:cxn ang="0">
                    <a:pos x="92" y="16"/>
                  </a:cxn>
                  <a:cxn ang="0">
                    <a:pos x="99" y="16"/>
                  </a:cxn>
                  <a:cxn ang="0">
                    <a:pos x="11" y="50"/>
                  </a:cxn>
                  <a:cxn ang="0">
                    <a:pos x="93" y="1"/>
                  </a:cxn>
                  <a:cxn ang="0">
                    <a:pos x="99" y="1"/>
                  </a:cxn>
                  <a:cxn ang="0">
                    <a:pos x="247" y="68"/>
                  </a:cxn>
                  <a:cxn ang="0">
                    <a:pos x="242" y="67"/>
                  </a:cxn>
                  <a:cxn ang="0">
                    <a:pos x="375" y="40"/>
                  </a:cxn>
                  <a:cxn ang="0">
                    <a:pos x="383" y="43"/>
                  </a:cxn>
                  <a:cxn ang="0">
                    <a:pos x="383" y="52"/>
                  </a:cxn>
                  <a:cxn ang="0">
                    <a:pos x="346" y="117"/>
                  </a:cxn>
                  <a:cxn ang="0">
                    <a:pos x="347" y="112"/>
                  </a:cxn>
                  <a:cxn ang="0">
                    <a:pos x="347" y="329"/>
                  </a:cxn>
                  <a:cxn ang="0">
                    <a:pos x="346" y="326"/>
                  </a:cxn>
                  <a:cxn ang="0">
                    <a:pos x="369" y="373"/>
                  </a:cxn>
                  <a:cxn ang="0">
                    <a:pos x="369" y="381"/>
                  </a:cxn>
                  <a:cxn ang="0">
                    <a:pos x="267" y="556"/>
                  </a:cxn>
                  <a:cxn ang="0">
                    <a:pos x="261" y="560"/>
                  </a:cxn>
                  <a:cxn ang="0">
                    <a:pos x="254" y="558"/>
                  </a:cxn>
                  <a:cxn ang="0">
                    <a:pos x="15" y="338"/>
                  </a:cxn>
                  <a:cxn ang="0">
                    <a:pos x="14" y="328"/>
                  </a:cxn>
                  <a:cxn ang="0">
                    <a:pos x="42" y="289"/>
                  </a:cxn>
                  <a:cxn ang="0">
                    <a:pos x="44" y="300"/>
                  </a:cxn>
                  <a:cxn ang="0">
                    <a:pos x="4" y="271"/>
                  </a:cxn>
                  <a:cxn ang="0">
                    <a:pos x="1" y="261"/>
                  </a:cxn>
                  <a:cxn ang="0">
                    <a:pos x="52" y="155"/>
                  </a:cxn>
                  <a:cxn ang="0">
                    <a:pos x="52" y="162"/>
                  </a:cxn>
                  <a:cxn ang="0">
                    <a:pos x="1" y="46"/>
                  </a:cxn>
                  <a:cxn ang="0">
                    <a:pos x="1" y="40"/>
                  </a:cxn>
                  <a:cxn ang="0">
                    <a:pos x="6" y="35"/>
                  </a:cxn>
                  <a:cxn ang="0">
                    <a:pos x="93" y="1"/>
                  </a:cxn>
                </a:cxnLst>
                <a:rect l="0" t="0" r="r" b="b"/>
                <a:pathLst>
                  <a:path w="385" h="561">
                    <a:moveTo>
                      <a:pt x="11" y="50"/>
                    </a:moveTo>
                    <a:lnTo>
                      <a:pt x="16" y="39"/>
                    </a:lnTo>
                    <a:lnTo>
                      <a:pt x="67" y="155"/>
                    </a:lnTo>
                    <a:cubicBezTo>
                      <a:pt x="68" y="157"/>
                      <a:pt x="68" y="160"/>
                      <a:pt x="67" y="162"/>
                    </a:cubicBezTo>
                    <a:lnTo>
                      <a:pt x="16" y="268"/>
                    </a:lnTo>
                    <a:lnTo>
                      <a:pt x="13" y="258"/>
                    </a:lnTo>
                    <a:lnTo>
                      <a:pt x="53" y="287"/>
                    </a:lnTo>
                    <a:cubicBezTo>
                      <a:pt x="57" y="289"/>
                      <a:pt x="58" y="294"/>
                      <a:pt x="55" y="298"/>
                    </a:cubicBezTo>
                    <a:lnTo>
                      <a:pt x="27" y="337"/>
                    </a:lnTo>
                    <a:lnTo>
                      <a:pt x="26" y="327"/>
                    </a:lnTo>
                    <a:lnTo>
                      <a:pt x="265" y="547"/>
                    </a:lnTo>
                    <a:lnTo>
                      <a:pt x="253" y="548"/>
                    </a:lnTo>
                    <a:lnTo>
                      <a:pt x="355" y="373"/>
                    </a:lnTo>
                    <a:lnTo>
                      <a:pt x="354" y="380"/>
                    </a:lnTo>
                    <a:lnTo>
                      <a:pt x="332" y="333"/>
                    </a:lnTo>
                    <a:cubicBezTo>
                      <a:pt x="331" y="331"/>
                      <a:pt x="331" y="330"/>
                      <a:pt x="331" y="329"/>
                    </a:cubicBezTo>
                    <a:lnTo>
                      <a:pt x="331" y="112"/>
                    </a:lnTo>
                    <a:cubicBezTo>
                      <a:pt x="331" y="111"/>
                      <a:pt x="331" y="110"/>
                      <a:pt x="332" y="108"/>
                    </a:cubicBezTo>
                    <a:lnTo>
                      <a:pt x="370" y="44"/>
                    </a:lnTo>
                    <a:lnTo>
                      <a:pt x="378" y="56"/>
                    </a:lnTo>
                    <a:lnTo>
                      <a:pt x="245" y="83"/>
                    </a:lnTo>
                    <a:cubicBezTo>
                      <a:pt x="243" y="83"/>
                      <a:pt x="242" y="83"/>
                      <a:pt x="240" y="82"/>
                    </a:cubicBezTo>
                    <a:lnTo>
                      <a:pt x="92" y="16"/>
                    </a:lnTo>
                    <a:lnTo>
                      <a:pt x="99" y="16"/>
                    </a:lnTo>
                    <a:lnTo>
                      <a:pt x="11" y="50"/>
                    </a:lnTo>
                    <a:close/>
                    <a:moveTo>
                      <a:pt x="93" y="1"/>
                    </a:moveTo>
                    <a:cubicBezTo>
                      <a:pt x="95" y="0"/>
                      <a:pt x="97" y="0"/>
                      <a:pt x="99" y="1"/>
                    </a:cubicBezTo>
                    <a:lnTo>
                      <a:pt x="247" y="68"/>
                    </a:lnTo>
                    <a:lnTo>
                      <a:pt x="242" y="67"/>
                    </a:lnTo>
                    <a:lnTo>
                      <a:pt x="375" y="40"/>
                    </a:lnTo>
                    <a:cubicBezTo>
                      <a:pt x="378" y="39"/>
                      <a:pt x="381" y="40"/>
                      <a:pt x="383" y="43"/>
                    </a:cubicBezTo>
                    <a:cubicBezTo>
                      <a:pt x="385" y="46"/>
                      <a:pt x="385" y="49"/>
                      <a:pt x="383" y="52"/>
                    </a:cubicBezTo>
                    <a:lnTo>
                      <a:pt x="346" y="117"/>
                    </a:lnTo>
                    <a:lnTo>
                      <a:pt x="347" y="112"/>
                    </a:lnTo>
                    <a:lnTo>
                      <a:pt x="347" y="329"/>
                    </a:lnTo>
                    <a:lnTo>
                      <a:pt x="346" y="326"/>
                    </a:lnTo>
                    <a:lnTo>
                      <a:pt x="369" y="373"/>
                    </a:lnTo>
                    <a:cubicBezTo>
                      <a:pt x="370" y="376"/>
                      <a:pt x="370" y="379"/>
                      <a:pt x="369" y="381"/>
                    </a:cubicBezTo>
                    <a:lnTo>
                      <a:pt x="267" y="556"/>
                    </a:lnTo>
                    <a:cubicBezTo>
                      <a:pt x="265" y="559"/>
                      <a:pt x="263" y="560"/>
                      <a:pt x="261" y="560"/>
                    </a:cubicBezTo>
                    <a:cubicBezTo>
                      <a:pt x="258" y="561"/>
                      <a:pt x="256" y="560"/>
                      <a:pt x="254" y="558"/>
                    </a:cubicBezTo>
                    <a:lnTo>
                      <a:pt x="15" y="338"/>
                    </a:lnTo>
                    <a:cubicBezTo>
                      <a:pt x="12" y="336"/>
                      <a:pt x="12" y="331"/>
                      <a:pt x="14" y="328"/>
                    </a:cubicBezTo>
                    <a:lnTo>
                      <a:pt x="42" y="289"/>
                    </a:lnTo>
                    <a:lnTo>
                      <a:pt x="44" y="300"/>
                    </a:lnTo>
                    <a:lnTo>
                      <a:pt x="4" y="271"/>
                    </a:lnTo>
                    <a:cubicBezTo>
                      <a:pt x="1" y="268"/>
                      <a:pt x="0" y="264"/>
                      <a:pt x="1" y="261"/>
                    </a:cubicBezTo>
                    <a:lnTo>
                      <a:pt x="52" y="155"/>
                    </a:lnTo>
                    <a:lnTo>
                      <a:pt x="52" y="162"/>
                    </a:lnTo>
                    <a:lnTo>
                      <a:pt x="1" y="46"/>
                    </a:lnTo>
                    <a:cubicBezTo>
                      <a:pt x="0" y="44"/>
                      <a:pt x="0" y="42"/>
                      <a:pt x="1" y="40"/>
                    </a:cubicBezTo>
                    <a:cubicBezTo>
                      <a:pt x="2" y="37"/>
                      <a:pt x="4" y="36"/>
                      <a:pt x="6" y="35"/>
                    </a:cubicBezTo>
                    <a:lnTo>
                      <a:pt x="93" y="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83350" name="Freeform 406"/>
            <p:cNvSpPr>
              <a:spLocks/>
            </p:cNvSpPr>
            <p:nvPr/>
          </p:nvSpPr>
          <p:spPr bwMode="auto">
            <a:xfrm>
              <a:off x="3395" y="1714"/>
              <a:ext cx="24" cy="22"/>
            </a:xfrm>
            <a:custGeom>
              <a:avLst/>
              <a:gdLst/>
              <a:ahLst/>
              <a:cxnLst>
                <a:cxn ang="0">
                  <a:pos x="0" y="14"/>
                </a:cxn>
                <a:cxn ang="0">
                  <a:pos x="20" y="0"/>
                </a:cxn>
                <a:cxn ang="0">
                  <a:pos x="24" y="22"/>
                </a:cxn>
                <a:cxn ang="0">
                  <a:pos x="0" y="14"/>
                </a:cxn>
              </a:cxnLst>
              <a:rect l="0" t="0" r="r" b="b"/>
              <a:pathLst>
                <a:path w="24" h="22">
                  <a:moveTo>
                    <a:pt x="0" y="14"/>
                  </a:moveTo>
                  <a:lnTo>
                    <a:pt x="20" y="0"/>
                  </a:lnTo>
                  <a:lnTo>
                    <a:pt x="24" y="22"/>
                  </a:lnTo>
                  <a:lnTo>
                    <a:pt x="0" y="14"/>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51" name="Freeform 407"/>
            <p:cNvSpPr>
              <a:spLocks noEditPoints="1"/>
            </p:cNvSpPr>
            <p:nvPr/>
          </p:nvSpPr>
          <p:spPr bwMode="auto">
            <a:xfrm>
              <a:off x="3393" y="1713"/>
              <a:ext cx="28" cy="25"/>
            </a:xfrm>
            <a:custGeom>
              <a:avLst/>
              <a:gdLst/>
              <a:ahLst/>
              <a:cxnLst>
                <a:cxn ang="0">
                  <a:pos x="5" y="75"/>
                </a:cxn>
                <a:cxn ang="0">
                  <a:pos x="1" y="69"/>
                </a:cxn>
                <a:cxn ang="0">
                  <a:pos x="3" y="62"/>
                </a:cxn>
                <a:cxn ang="0">
                  <a:pos x="69" y="3"/>
                </a:cxn>
                <a:cxn ang="0">
                  <a:pos x="77" y="1"/>
                </a:cxn>
                <a:cxn ang="0">
                  <a:pos x="82" y="7"/>
                </a:cxn>
                <a:cxn ang="0">
                  <a:pos x="96" y="103"/>
                </a:cxn>
                <a:cxn ang="0">
                  <a:pos x="93" y="111"/>
                </a:cxn>
                <a:cxn ang="0">
                  <a:pos x="85" y="112"/>
                </a:cxn>
                <a:cxn ang="0">
                  <a:pos x="5" y="75"/>
                </a:cxn>
                <a:cxn ang="0">
                  <a:pos x="92" y="97"/>
                </a:cxn>
                <a:cxn ang="0">
                  <a:pos x="81" y="106"/>
                </a:cxn>
                <a:cxn ang="0">
                  <a:pos x="66" y="10"/>
                </a:cxn>
                <a:cxn ang="0">
                  <a:pos x="80" y="14"/>
                </a:cxn>
                <a:cxn ang="0">
                  <a:pos x="14" y="74"/>
                </a:cxn>
                <a:cxn ang="0">
                  <a:pos x="12" y="60"/>
                </a:cxn>
                <a:cxn ang="0">
                  <a:pos x="92" y="97"/>
                </a:cxn>
              </a:cxnLst>
              <a:rect l="0" t="0" r="r" b="b"/>
              <a:pathLst>
                <a:path w="97" h="113">
                  <a:moveTo>
                    <a:pt x="5" y="75"/>
                  </a:moveTo>
                  <a:cubicBezTo>
                    <a:pt x="3" y="74"/>
                    <a:pt x="1" y="71"/>
                    <a:pt x="1" y="69"/>
                  </a:cubicBezTo>
                  <a:cubicBezTo>
                    <a:pt x="0" y="66"/>
                    <a:pt x="1" y="63"/>
                    <a:pt x="3" y="62"/>
                  </a:cubicBezTo>
                  <a:lnTo>
                    <a:pt x="69" y="3"/>
                  </a:lnTo>
                  <a:cubicBezTo>
                    <a:pt x="71" y="1"/>
                    <a:pt x="74" y="0"/>
                    <a:pt x="77" y="1"/>
                  </a:cubicBezTo>
                  <a:cubicBezTo>
                    <a:pt x="80" y="2"/>
                    <a:pt x="82" y="4"/>
                    <a:pt x="82" y="7"/>
                  </a:cubicBezTo>
                  <a:lnTo>
                    <a:pt x="96" y="103"/>
                  </a:lnTo>
                  <a:cubicBezTo>
                    <a:pt x="97" y="106"/>
                    <a:pt x="96" y="109"/>
                    <a:pt x="93" y="111"/>
                  </a:cubicBezTo>
                  <a:cubicBezTo>
                    <a:pt x="91" y="113"/>
                    <a:pt x="88" y="113"/>
                    <a:pt x="85" y="112"/>
                  </a:cubicBezTo>
                  <a:lnTo>
                    <a:pt x="5" y="75"/>
                  </a:lnTo>
                  <a:close/>
                  <a:moveTo>
                    <a:pt x="92" y="97"/>
                  </a:moveTo>
                  <a:lnTo>
                    <a:pt x="81" y="106"/>
                  </a:lnTo>
                  <a:lnTo>
                    <a:pt x="66" y="10"/>
                  </a:lnTo>
                  <a:lnTo>
                    <a:pt x="80" y="14"/>
                  </a:lnTo>
                  <a:lnTo>
                    <a:pt x="14" y="74"/>
                  </a:lnTo>
                  <a:lnTo>
                    <a:pt x="12" y="60"/>
                  </a:lnTo>
                  <a:lnTo>
                    <a:pt x="92" y="97"/>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52" name="Freeform 408"/>
            <p:cNvSpPr>
              <a:spLocks/>
            </p:cNvSpPr>
            <p:nvPr/>
          </p:nvSpPr>
          <p:spPr bwMode="auto">
            <a:xfrm>
              <a:off x="3233" y="1649"/>
              <a:ext cx="19" cy="21"/>
            </a:xfrm>
            <a:custGeom>
              <a:avLst/>
              <a:gdLst/>
              <a:ahLst/>
              <a:cxnLst>
                <a:cxn ang="0">
                  <a:pos x="0" y="21"/>
                </a:cxn>
                <a:cxn ang="0">
                  <a:pos x="7" y="21"/>
                </a:cxn>
                <a:cxn ang="0">
                  <a:pos x="19" y="6"/>
                </a:cxn>
                <a:cxn ang="0">
                  <a:pos x="12" y="0"/>
                </a:cxn>
                <a:cxn ang="0">
                  <a:pos x="0" y="21"/>
                </a:cxn>
              </a:cxnLst>
              <a:rect l="0" t="0" r="r" b="b"/>
              <a:pathLst>
                <a:path w="19" h="21">
                  <a:moveTo>
                    <a:pt x="0" y="21"/>
                  </a:moveTo>
                  <a:lnTo>
                    <a:pt x="7" y="21"/>
                  </a:lnTo>
                  <a:lnTo>
                    <a:pt x="19" y="6"/>
                  </a:lnTo>
                  <a:lnTo>
                    <a:pt x="12" y="0"/>
                  </a:lnTo>
                  <a:lnTo>
                    <a:pt x="0" y="2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53" name="Freeform 409"/>
            <p:cNvSpPr>
              <a:spLocks noEditPoints="1"/>
            </p:cNvSpPr>
            <p:nvPr/>
          </p:nvSpPr>
          <p:spPr bwMode="auto">
            <a:xfrm>
              <a:off x="3231" y="1647"/>
              <a:ext cx="23" cy="26"/>
            </a:xfrm>
            <a:custGeom>
              <a:avLst/>
              <a:gdLst/>
              <a:ahLst/>
              <a:cxnLst>
                <a:cxn ang="0">
                  <a:pos x="16" y="108"/>
                </a:cxn>
                <a:cxn ang="0">
                  <a:pos x="7" y="97"/>
                </a:cxn>
                <a:cxn ang="0">
                  <a:pos x="29" y="92"/>
                </a:cxn>
                <a:cxn ang="0">
                  <a:pos x="24" y="95"/>
                </a:cxn>
                <a:cxn ang="0">
                  <a:pos x="66" y="32"/>
                </a:cxn>
                <a:cxn ang="0">
                  <a:pos x="66" y="42"/>
                </a:cxn>
                <a:cxn ang="0">
                  <a:pos x="42" y="14"/>
                </a:cxn>
                <a:cxn ang="0">
                  <a:pos x="55" y="12"/>
                </a:cxn>
                <a:cxn ang="0">
                  <a:pos x="16" y="108"/>
                </a:cxn>
                <a:cxn ang="0">
                  <a:pos x="41" y="5"/>
                </a:cxn>
                <a:cxn ang="0">
                  <a:pos x="47" y="1"/>
                </a:cxn>
                <a:cxn ang="0">
                  <a:pos x="54" y="3"/>
                </a:cxn>
                <a:cxn ang="0">
                  <a:pos x="79" y="32"/>
                </a:cxn>
                <a:cxn ang="0">
                  <a:pos x="79" y="41"/>
                </a:cxn>
                <a:cxn ang="0">
                  <a:pos x="37" y="104"/>
                </a:cxn>
                <a:cxn ang="0">
                  <a:pos x="32" y="108"/>
                </a:cxn>
                <a:cxn ang="0">
                  <a:pos x="10" y="112"/>
                </a:cxn>
                <a:cxn ang="0">
                  <a:pos x="2" y="110"/>
                </a:cxn>
                <a:cxn ang="0">
                  <a:pos x="1" y="101"/>
                </a:cxn>
                <a:cxn ang="0">
                  <a:pos x="41" y="5"/>
                </a:cxn>
              </a:cxnLst>
              <a:rect l="0" t="0" r="r" b="b"/>
              <a:pathLst>
                <a:path w="81" h="113">
                  <a:moveTo>
                    <a:pt x="16" y="108"/>
                  </a:moveTo>
                  <a:lnTo>
                    <a:pt x="7" y="97"/>
                  </a:lnTo>
                  <a:lnTo>
                    <a:pt x="29" y="92"/>
                  </a:lnTo>
                  <a:lnTo>
                    <a:pt x="24" y="95"/>
                  </a:lnTo>
                  <a:lnTo>
                    <a:pt x="66" y="32"/>
                  </a:lnTo>
                  <a:lnTo>
                    <a:pt x="66" y="42"/>
                  </a:lnTo>
                  <a:lnTo>
                    <a:pt x="42" y="14"/>
                  </a:lnTo>
                  <a:lnTo>
                    <a:pt x="55" y="12"/>
                  </a:lnTo>
                  <a:lnTo>
                    <a:pt x="16" y="108"/>
                  </a:lnTo>
                  <a:close/>
                  <a:moveTo>
                    <a:pt x="41" y="5"/>
                  </a:moveTo>
                  <a:cubicBezTo>
                    <a:pt x="42" y="3"/>
                    <a:pt x="44" y="1"/>
                    <a:pt x="47" y="1"/>
                  </a:cubicBezTo>
                  <a:cubicBezTo>
                    <a:pt x="49" y="0"/>
                    <a:pt x="52" y="1"/>
                    <a:pt x="54" y="3"/>
                  </a:cubicBezTo>
                  <a:lnTo>
                    <a:pt x="79" y="32"/>
                  </a:lnTo>
                  <a:cubicBezTo>
                    <a:pt x="81" y="34"/>
                    <a:pt x="81" y="38"/>
                    <a:pt x="79" y="41"/>
                  </a:cubicBezTo>
                  <a:lnTo>
                    <a:pt x="37" y="104"/>
                  </a:lnTo>
                  <a:cubicBezTo>
                    <a:pt x="36" y="106"/>
                    <a:pt x="34" y="107"/>
                    <a:pt x="32" y="108"/>
                  </a:cubicBezTo>
                  <a:lnTo>
                    <a:pt x="10" y="112"/>
                  </a:lnTo>
                  <a:cubicBezTo>
                    <a:pt x="7" y="113"/>
                    <a:pt x="4" y="112"/>
                    <a:pt x="2" y="110"/>
                  </a:cubicBezTo>
                  <a:cubicBezTo>
                    <a:pt x="0" y="107"/>
                    <a:pt x="0" y="104"/>
                    <a:pt x="1" y="101"/>
                  </a:cubicBezTo>
                  <a:lnTo>
                    <a:pt x="41" y="5"/>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54" name="Freeform 410"/>
            <p:cNvSpPr>
              <a:spLocks/>
            </p:cNvSpPr>
            <p:nvPr/>
          </p:nvSpPr>
          <p:spPr bwMode="auto">
            <a:xfrm>
              <a:off x="2583" y="2014"/>
              <a:ext cx="56" cy="52"/>
            </a:xfrm>
            <a:custGeom>
              <a:avLst/>
              <a:gdLst/>
              <a:ahLst/>
              <a:cxnLst>
                <a:cxn ang="0">
                  <a:pos x="0" y="19"/>
                </a:cxn>
                <a:cxn ang="0">
                  <a:pos x="17" y="0"/>
                </a:cxn>
                <a:cxn ang="0">
                  <a:pos x="26" y="1"/>
                </a:cxn>
                <a:cxn ang="0">
                  <a:pos x="27" y="14"/>
                </a:cxn>
                <a:cxn ang="0">
                  <a:pos x="42" y="12"/>
                </a:cxn>
                <a:cxn ang="0">
                  <a:pos x="41" y="24"/>
                </a:cxn>
                <a:cxn ang="0">
                  <a:pos x="56" y="33"/>
                </a:cxn>
                <a:cxn ang="0">
                  <a:pos x="55" y="52"/>
                </a:cxn>
                <a:cxn ang="0">
                  <a:pos x="0" y="19"/>
                </a:cxn>
              </a:cxnLst>
              <a:rect l="0" t="0" r="r" b="b"/>
              <a:pathLst>
                <a:path w="56" h="52">
                  <a:moveTo>
                    <a:pt x="0" y="19"/>
                  </a:moveTo>
                  <a:lnTo>
                    <a:pt x="17" y="0"/>
                  </a:lnTo>
                  <a:lnTo>
                    <a:pt x="26" y="1"/>
                  </a:lnTo>
                  <a:lnTo>
                    <a:pt x="27" y="14"/>
                  </a:lnTo>
                  <a:lnTo>
                    <a:pt x="42" y="12"/>
                  </a:lnTo>
                  <a:lnTo>
                    <a:pt x="41" y="24"/>
                  </a:lnTo>
                  <a:lnTo>
                    <a:pt x="56" y="33"/>
                  </a:lnTo>
                  <a:lnTo>
                    <a:pt x="55" y="52"/>
                  </a:lnTo>
                  <a:lnTo>
                    <a:pt x="0" y="19"/>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55" name="Freeform 411"/>
            <p:cNvSpPr>
              <a:spLocks noEditPoints="1"/>
            </p:cNvSpPr>
            <p:nvPr/>
          </p:nvSpPr>
          <p:spPr bwMode="auto">
            <a:xfrm>
              <a:off x="2581" y="2012"/>
              <a:ext cx="61" cy="56"/>
            </a:xfrm>
            <a:custGeom>
              <a:avLst/>
              <a:gdLst/>
              <a:ahLst/>
              <a:cxnLst>
                <a:cxn ang="0">
                  <a:pos x="5" y="98"/>
                </a:cxn>
                <a:cxn ang="0">
                  <a:pos x="3" y="87"/>
                </a:cxn>
                <a:cxn ang="0">
                  <a:pos x="62" y="4"/>
                </a:cxn>
                <a:cxn ang="0">
                  <a:pos x="69" y="0"/>
                </a:cxn>
                <a:cxn ang="0">
                  <a:pos x="100" y="2"/>
                </a:cxn>
                <a:cxn ang="0">
                  <a:pos x="107" y="10"/>
                </a:cxn>
                <a:cxn ang="0">
                  <a:pos x="110" y="67"/>
                </a:cxn>
                <a:cxn ang="0">
                  <a:pos x="100" y="59"/>
                </a:cxn>
                <a:cxn ang="0">
                  <a:pos x="151" y="49"/>
                </a:cxn>
                <a:cxn ang="0">
                  <a:pos x="158" y="51"/>
                </a:cxn>
                <a:cxn ang="0">
                  <a:pos x="160" y="58"/>
                </a:cxn>
                <a:cxn ang="0">
                  <a:pos x="158" y="111"/>
                </a:cxn>
                <a:cxn ang="0">
                  <a:pos x="155" y="104"/>
                </a:cxn>
                <a:cxn ang="0">
                  <a:pos x="206" y="145"/>
                </a:cxn>
                <a:cxn ang="0">
                  <a:pos x="209" y="152"/>
                </a:cxn>
                <a:cxn ang="0">
                  <a:pos x="204" y="233"/>
                </a:cxn>
                <a:cxn ang="0">
                  <a:pos x="199" y="240"/>
                </a:cxn>
                <a:cxn ang="0">
                  <a:pos x="191" y="239"/>
                </a:cxn>
                <a:cxn ang="0">
                  <a:pos x="5" y="98"/>
                </a:cxn>
                <a:cxn ang="0">
                  <a:pos x="201" y="226"/>
                </a:cxn>
                <a:cxn ang="0">
                  <a:pos x="188" y="232"/>
                </a:cxn>
                <a:cxn ang="0">
                  <a:pos x="193" y="151"/>
                </a:cxn>
                <a:cxn ang="0">
                  <a:pos x="197" y="158"/>
                </a:cxn>
                <a:cxn ang="0">
                  <a:pos x="145" y="117"/>
                </a:cxn>
                <a:cxn ang="0">
                  <a:pos x="142" y="110"/>
                </a:cxn>
                <a:cxn ang="0">
                  <a:pos x="144" y="57"/>
                </a:cxn>
                <a:cxn ang="0">
                  <a:pos x="154" y="65"/>
                </a:cxn>
                <a:cxn ang="0">
                  <a:pos x="103" y="75"/>
                </a:cxn>
                <a:cxn ang="0">
                  <a:pos x="97" y="73"/>
                </a:cxn>
                <a:cxn ang="0">
                  <a:pos x="94" y="67"/>
                </a:cxn>
                <a:cxn ang="0">
                  <a:pos x="91" y="10"/>
                </a:cxn>
                <a:cxn ang="0">
                  <a:pos x="99" y="18"/>
                </a:cxn>
                <a:cxn ang="0">
                  <a:pos x="68" y="16"/>
                </a:cxn>
                <a:cxn ang="0">
                  <a:pos x="75" y="13"/>
                </a:cxn>
                <a:cxn ang="0">
                  <a:pos x="16" y="96"/>
                </a:cxn>
                <a:cxn ang="0">
                  <a:pos x="14" y="85"/>
                </a:cxn>
                <a:cxn ang="0">
                  <a:pos x="201" y="226"/>
                </a:cxn>
              </a:cxnLst>
              <a:rect l="0" t="0" r="r" b="b"/>
              <a:pathLst>
                <a:path w="210" h="241">
                  <a:moveTo>
                    <a:pt x="5" y="98"/>
                  </a:moveTo>
                  <a:cubicBezTo>
                    <a:pt x="1" y="95"/>
                    <a:pt x="0" y="90"/>
                    <a:pt x="3" y="87"/>
                  </a:cubicBezTo>
                  <a:lnTo>
                    <a:pt x="62" y="4"/>
                  </a:lnTo>
                  <a:cubicBezTo>
                    <a:pt x="63" y="2"/>
                    <a:pt x="66" y="0"/>
                    <a:pt x="69" y="0"/>
                  </a:cubicBezTo>
                  <a:lnTo>
                    <a:pt x="100" y="2"/>
                  </a:lnTo>
                  <a:cubicBezTo>
                    <a:pt x="104" y="2"/>
                    <a:pt x="107" y="6"/>
                    <a:pt x="107" y="10"/>
                  </a:cubicBezTo>
                  <a:lnTo>
                    <a:pt x="110" y="67"/>
                  </a:lnTo>
                  <a:lnTo>
                    <a:pt x="100" y="59"/>
                  </a:lnTo>
                  <a:lnTo>
                    <a:pt x="151" y="49"/>
                  </a:lnTo>
                  <a:cubicBezTo>
                    <a:pt x="153" y="49"/>
                    <a:pt x="156" y="50"/>
                    <a:pt x="158" y="51"/>
                  </a:cubicBezTo>
                  <a:cubicBezTo>
                    <a:pt x="160" y="53"/>
                    <a:pt x="161" y="55"/>
                    <a:pt x="160" y="58"/>
                  </a:cubicBezTo>
                  <a:lnTo>
                    <a:pt x="158" y="111"/>
                  </a:lnTo>
                  <a:lnTo>
                    <a:pt x="155" y="104"/>
                  </a:lnTo>
                  <a:lnTo>
                    <a:pt x="206" y="145"/>
                  </a:lnTo>
                  <a:cubicBezTo>
                    <a:pt x="208" y="147"/>
                    <a:pt x="210" y="149"/>
                    <a:pt x="209" y="152"/>
                  </a:cubicBezTo>
                  <a:lnTo>
                    <a:pt x="204" y="233"/>
                  </a:lnTo>
                  <a:cubicBezTo>
                    <a:pt x="204" y="236"/>
                    <a:pt x="202" y="239"/>
                    <a:pt x="199" y="240"/>
                  </a:cubicBezTo>
                  <a:cubicBezTo>
                    <a:pt x="196" y="241"/>
                    <a:pt x="193" y="241"/>
                    <a:pt x="191" y="239"/>
                  </a:cubicBezTo>
                  <a:lnTo>
                    <a:pt x="5" y="98"/>
                  </a:lnTo>
                  <a:close/>
                  <a:moveTo>
                    <a:pt x="201" y="226"/>
                  </a:moveTo>
                  <a:lnTo>
                    <a:pt x="188" y="232"/>
                  </a:lnTo>
                  <a:lnTo>
                    <a:pt x="193" y="151"/>
                  </a:lnTo>
                  <a:lnTo>
                    <a:pt x="197" y="158"/>
                  </a:lnTo>
                  <a:lnTo>
                    <a:pt x="145" y="117"/>
                  </a:lnTo>
                  <a:cubicBezTo>
                    <a:pt x="143" y="115"/>
                    <a:pt x="141" y="113"/>
                    <a:pt x="142" y="110"/>
                  </a:cubicBezTo>
                  <a:lnTo>
                    <a:pt x="144" y="57"/>
                  </a:lnTo>
                  <a:lnTo>
                    <a:pt x="154" y="65"/>
                  </a:lnTo>
                  <a:lnTo>
                    <a:pt x="103" y="75"/>
                  </a:lnTo>
                  <a:cubicBezTo>
                    <a:pt x="101" y="75"/>
                    <a:pt x="99" y="75"/>
                    <a:pt x="97" y="73"/>
                  </a:cubicBezTo>
                  <a:cubicBezTo>
                    <a:pt x="95" y="72"/>
                    <a:pt x="94" y="70"/>
                    <a:pt x="94" y="67"/>
                  </a:cubicBezTo>
                  <a:lnTo>
                    <a:pt x="91" y="10"/>
                  </a:lnTo>
                  <a:lnTo>
                    <a:pt x="99" y="18"/>
                  </a:lnTo>
                  <a:lnTo>
                    <a:pt x="68" y="16"/>
                  </a:lnTo>
                  <a:lnTo>
                    <a:pt x="75" y="13"/>
                  </a:lnTo>
                  <a:lnTo>
                    <a:pt x="16" y="96"/>
                  </a:lnTo>
                  <a:lnTo>
                    <a:pt x="14" y="85"/>
                  </a:lnTo>
                  <a:lnTo>
                    <a:pt x="201" y="226"/>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56" name="Freeform 412"/>
            <p:cNvSpPr>
              <a:spLocks/>
            </p:cNvSpPr>
            <p:nvPr/>
          </p:nvSpPr>
          <p:spPr bwMode="auto">
            <a:xfrm>
              <a:off x="2871" y="1670"/>
              <a:ext cx="218" cy="194"/>
            </a:xfrm>
            <a:custGeom>
              <a:avLst/>
              <a:gdLst/>
              <a:ahLst/>
              <a:cxnLst>
                <a:cxn ang="0">
                  <a:pos x="0" y="102"/>
                </a:cxn>
                <a:cxn ang="0">
                  <a:pos x="1" y="42"/>
                </a:cxn>
                <a:cxn ang="0">
                  <a:pos x="28" y="0"/>
                </a:cxn>
                <a:cxn ang="0">
                  <a:pos x="80" y="13"/>
                </a:cxn>
                <a:cxn ang="0">
                  <a:pos x="90" y="27"/>
                </a:cxn>
                <a:cxn ang="0">
                  <a:pos x="132" y="42"/>
                </a:cxn>
                <a:cxn ang="0">
                  <a:pos x="146" y="37"/>
                </a:cxn>
                <a:cxn ang="0">
                  <a:pos x="147" y="16"/>
                </a:cxn>
                <a:cxn ang="0">
                  <a:pos x="161" y="6"/>
                </a:cxn>
                <a:cxn ang="0">
                  <a:pos x="218" y="22"/>
                </a:cxn>
                <a:cxn ang="0">
                  <a:pos x="212" y="45"/>
                </a:cxn>
                <a:cxn ang="0">
                  <a:pos x="218" y="159"/>
                </a:cxn>
                <a:cxn ang="0">
                  <a:pos x="218" y="186"/>
                </a:cxn>
                <a:cxn ang="0">
                  <a:pos x="206" y="187"/>
                </a:cxn>
                <a:cxn ang="0">
                  <a:pos x="206" y="194"/>
                </a:cxn>
                <a:cxn ang="0">
                  <a:pos x="94" y="139"/>
                </a:cxn>
                <a:cxn ang="0">
                  <a:pos x="79" y="145"/>
                </a:cxn>
                <a:cxn ang="0">
                  <a:pos x="33" y="138"/>
                </a:cxn>
                <a:cxn ang="0">
                  <a:pos x="0" y="102"/>
                </a:cxn>
              </a:cxnLst>
              <a:rect l="0" t="0" r="r" b="b"/>
              <a:pathLst>
                <a:path w="218" h="194">
                  <a:moveTo>
                    <a:pt x="0" y="102"/>
                  </a:moveTo>
                  <a:lnTo>
                    <a:pt x="1" y="42"/>
                  </a:lnTo>
                  <a:lnTo>
                    <a:pt x="28" y="0"/>
                  </a:lnTo>
                  <a:lnTo>
                    <a:pt x="80" y="13"/>
                  </a:lnTo>
                  <a:lnTo>
                    <a:pt x="90" y="27"/>
                  </a:lnTo>
                  <a:lnTo>
                    <a:pt x="132" y="42"/>
                  </a:lnTo>
                  <a:lnTo>
                    <a:pt x="146" y="37"/>
                  </a:lnTo>
                  <a:lnTo>
                    <a:pt x="147" y="16"/>
                  </a:lnTo>
                  <a:lnTo>
                    <a:pt x="161" y="6"/>
                  </a:lnTo>
                  <a:lnTo>
                    <a:pt x="218" y="22"/>
                  </a:lnTo>
                  <a:lnTo>
                    <a:pt x="212" y="45"/>
                  </a:lnTo>
                  <a:lnTo>
                    <a:pt x="218" y="159"/>
                  </a:lnTo>
                  <a:lnTo>
                    <a:pt x="218" y="186"/>
                  </a:lnTo>
                  <a:lnTo>
                    <a:pt x="206" y="187"/>
                  </a:lnTo>
                  <a:lnTo>
                    <a:pt x="206" y="194"/>
                  </a:lnTo>
                  <a:lnTo>
                    <a:pt x="94" y="139"/>
                  </a:lnTo>
                  <a:lnTo>
                    <a:pt x="79" y="145"/>
                  </a:lnTo>
                  <a:lnTo>
                    <a:pt x="33" y="138"/>
                  </a:lnTo>
                  <a:lnTo>
                    <a:pt x="0" y="102"/>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57" name="Freeform 413"/>
            <p:cNvSpPr>
              <a:spLocks noEditPoints="1"/>
            </p:cNvSpPr>
            <p:nvPr/>
          </p:nvSpPr>
          <p:spPr bwMode="auto">
            <a:xfrm>
              <a:off x="2869" y="1669"/>
              <a:ext cx="223" cy="197"/>
            </a:xfrm>
            <a:custGeom>
              <a:avLst/>
              <a:gdLst/>
              <a:ahLst/>
              <a:cxnLst>
                <a:cxn ang="0">
                  <a:pos x="0" y="450"/>
                </a:cxn>
                <a:cxn ang="0">
                  <a:pos x="3" y="186"/>
                </a:cxn>
                <a:cxn ang="0">
                  <a:pos x="108" y="1"/>
                </a:cxn>
                <a:cxn ang="0">
                  <a:pos x="291" y="57"/>
                </a:cxn>
                <a:cxn ang="0">
                  <a:pos x="322" y="117"/>
                </a:cxn>
                <a:cxn ang="0">
                  <a:pos x="461" y="183"/>
                </a:cxn>
                <a:cxn ang="0">
                  <a:pos x="503" y="168"/>
                </a:cxn>
                <a:cxn ang="0">
                  <a:pos x="510" y="70"/>
                </a:cxn>
                <a:cxn ang="0">
                  <a:pos x="565" y="24"/>
                </a:cxn>
                <a:cxn ang="0">
                  <a:pos x="768" y="106"/>
                </a:cxn>
                <a:cxn ang="0">
                  <a:pos x="746" y="205"/>
                </a:cxn>
                <a:cxn ang="0">
                  <a:pos x="768" y="820"/>
                </a:cxn>
                <a:cxn ang="0">
                  <a:pos x="718" y="831"/>
                </a:cxn>
                <a:cxn ang="0">
                  <a:pos x="726" y="856"/>
                </a:cxn>
                <a:cxn ang="0">
                  <a:pos x="713" y="863"/>
                </a:cxn>
                <a:cxn ang="0">
                  <a:pos x="336" y="624"/>
                </a:cxn>
                <a:cxn ang="0">
                  <a:pos x="280" y="648"/>
                </a:cxn>
                <a:cxn ang="0">
                  <a:pos x="115" y="616"/>
                </a:cxn>
                <a:cxn ang="0">
                  <a:pos x="129" y="607"/>
                </a:cxn>
                <a:cxn ang="0">
                  <a:pos x="283" y="632"/>
                </a:cxn>
                <a:cxn ang="0">
                  <a:pos x="329" y="609"/>
                </a:cxn>
                <a:cxn ang="0">
                  <a:pos x="722" y="850"/>
                </a:cxn>
                <a:cxn ang="0">
                  <a:pos x="710" y="823"/>
                </a:cxn>
                <a:cxn ang="0">
                  <a:pos x="760" y="812"/>
                </a:cxn>
                <a:cxn ang="0">
                  <a:pos x="752" y="702"/>
                </a:cxn>
                <a:cxn ang="0">
                  <a:pos x="730" y="203"/>
                </a:cxn>
                <a:cxn ang="0">
                  <a:pos x="758" y="112"/>
                </a:cxn>
                <a:cxn ang="0">
                  <a:pos x="568" y="38"/>
                </a:cxn>
                <a:cxn ang="0">
                  <a:pos x="523" y="76"/>
                </a:cxn>
                <a:cxn ang="0">
                  <a:pos x="515" y="175"/>
                </a:cxn>
                <a:cxn ang="0">
                  <a:pos x="461" y="197"/>
                </a:cxn>
                <a:cxn ang="0">
                  <a:pos x="312" y="128"/>
                </a:cxn>
                <a:cxn ang="0">
                  <a:pos x="282" y="68"/>
                </a:cxn>
                <a:cxn ang="0">
                  <a:pos x="112" y="12"/>
                </a:cxn>
                <a:cxn ang="0">
                  <a:pos x="18" y="190"/>
                </a:cxn>
                <a:cxn ang="0">
                  <a:pos x="15" y="445"/>
                </a:cxn>
              </a:cxnLst>
              <a:rect l="0" t="0" r="r" b="b"/>
              <a:pathLst>
                <a:path w="769" h="865">
                  <a:moveTo>
                    <a:pt x="2" y="455"/>
                  </a:moveTo>
                  <a:cubicBezTo>
                    <a:pt x="1" y="453"/>
                    <a:pt x="0" y="452"/>
                    <a:pt x="0" y="450"/>
                  </a:cubicBezTo>
                  <a:lnTo>
                    <a:pt x="2" y="190"/>
                  </a:lnTo>
                  <a:cubicBezTo>
                    <a:pt x="2" y="188"/>
                    <a:pt x="2" y="187"/>
                    <a:pt x="3" y="186"/>
                  </a:cubicBezTo>
                  <a:lnTo>
                    <a:pt x="98" y="5"/>
                  </a:lnTo>
                  <a:cubicBezTo>
                    <a:pt x="100" y="1"/>
                    <a:pt x="104" y="0"/>
                    <a:pt x="108" y="1"/>
                  </a:cubicBezTo>
                  <a:lnTo>
                    <a:pt x="286" y="53"/>
                  </a:lnTo>
                  <a:cubicBezTo>
                    <a:pt x="288" y="53"/>
                    <a:pt x="290" y="55"/>
                    <a:pt x="291" y="57"/>
                  </a:cubicBezTo>
                  <a:lnTo>
                    <a:pt x="326" y="121"/>
                  </a:lnTo>
                  <a:lnTo>
                    <a:pt x="322" y="117"/>
                  </a:lnTo>
                  <a:lnTo>
                    <a:pt x="467" y="183"/>
                  </a:lnTo>
                  <a:lnTo>
                    <a:pt x="461" y="183"/>
                  </a:lnTo>
                  <a:lnTo>
                    <a:pt x="508" y="161"/>
                  </a:lnTo>
                  <a:lnTo>
                    <a:pt x="503" y="168"/>
                  </a:lnTo>
                  <a:lnTo>
                    <a:pt x="507" y="75"/>
                  </a:lnTo>
                  <a:cubicBezTo>
                    <a:pt x="507" y="73"/>
                    <a:pt x="508" y="71"/>
                    <a:pt x="510" y="70"/>
                  </a:cubicBezTo>
                  <a:lnTo>
                    <a:pt x="557" y="26"/>
                  </a:lnTo>
                  <a:cubicBezTo>
                    <a:pt x="559" y="24"/>
                    <a:pt x="562" y="23"/>
                    <a:pt x="565" y="24"/>
                  </a:cubicBezTo>
                  <a:lnTo>
                    <a:pt x="763" y="97"/>
                  </a:lnTo>
                  <a:cubicBezTo>
                    <a:pt x="767" y="98"/>
                    <a:pt x="769" y="102"/>
                    <a:pt x="768" y="106"/>
                  </a:cubicBezTo>
                  <a:lnTo>
                    <a:pt x="746" y="207"/>
                  </a:lnTo>
                  <a:lnTo>
                    <a:pt x="746" y="205"/>
                  </a:lnTo>
                  <a:lnTo>
                    <a:pt x="768" y="702"/>
                  </a:lnTo>
                  <a:lnTo>
                    <a:pt x="768" y="820"/>
                  </a:lnTo>
                  <a:cubicBezTo>
                    <a:pt x="768" y="824"/>
                    <a:pt x="765" y="827"/>
                    <a:pt x="761" y="828"/>
                  </a:cubicBezTo>
                  <a:lnTo>
                    <a:pt x="718" y="831"/>
                  </a:lnTo>
                  <a:lnTo>
                    <a:pt x="726" y="823"/>
                  </a:lnTo>
                  <a:lnTo>
                    <a:pt x="726" y="856"/>
                  </a:lnTo>
                  <a:cubicBezTo>
                    <a:pt x="726" y="859"/>
                    <a:pt x="724" y="862"/>
                    <a:pt x="721" y="863"/>
                  </a:cubicBezTo>
                  <a:cubicBezTo>
                    <a:pt x="719" y="865"/>
                    <a:pt x="716" y="865"/>
                    <a:pt x="713" y="863"/>
                  </a:cubicBezTo>
                  <a:lnTo>
                    <a:pt x="328" y="623"/>
                  </a:lnTo>
                  <a:lnTo>
                    <a:pt x="336" y="624"/>
                  </a:lnTo>
                  <a:lnTo>
                    <a:pt x="285" y="647"/>
                  </a:lnTo>
                  <a:cubicBezTo>
                    <a:pt x="283" y="648"/>
                    <a:pt x="281" y="648"/>
                    <a:pt x="280" y="648"/>
                  </a:cubicBezTo>
                  <a:lnTo>
                    <a:pt x="121" y="619"/>
                  </a:lnTo>
                  <a:cubicBezTo>
                    <a:pt x="119" y="619"/>
                    <a:pt x="117" y="618"/>
                    <a:pt x="115" y="616"/>
                  </a:cubicBezTo>
                  <a:lnTo>
                    <a:pt x="2" y="455"/>
                  </a:lnTo>
                  <a:close/>
                  <a:moveTo>
                    <a:pt x="129" y="607"/>
                  </a:moveTo>
                  <a:lnTo>
                    <a:pt x="123" y="603"/>
                  </a:lnTo>
                  <a:lnTo>
                    <a:pt x="283" y="632"/>
                  </a:lnTo>
                  <a:lnTo>
                    <a:pt x="278" y="633"/>
                  </a:lnTo>
                  <a:lnTo>
                    <a:pt x="329" y="609"/>
                  </a:lnTo>
                  <a:cubicBezTo>
                    <a:pt x="332" y="608"/>
                    <a:pt x="334" y="608"/>
                    <a:pt x="337" y="610"/>
                  </a:cubicBezTo>
                  <a:lnTo>
                    <a:pt x="722" y="850"/>
                  </a:lnTo>
                  <a:lnTo>
                    <a:pt x="710" y="856"/>
                  </a:lnTo>
                  <a:lnTo>
                    <a:pt x="710" y="823"/>
                  </a:lnTo>
                  <a:cubicBezTo>
                    <a:pt x="710" y="819"/>
                    <a:pt x="713" y="815"/>
                    <a:pt x="717" y="815"/>
                  </a:cubicBezTo>
                  <a:lnTo>
                    <a:pt x="760" y="812"/>
                  </a:lnTo>
                  <a:lnTo>
                    <a:pt x="752" y="820"/>
                  </a:lnTo>
                  <a:lnTo>
                    <a:pt x="752" y="702"/>
                  </a:lnTo>
                  <a:lnTo>
                    <a:pt x="730" y="205"/>
                  </a:lnTo>
                  <a:cubicBezTo>
                    <a:pt x="730" y="205"/>
                    <a:pt x="730" y="204"/>
                    <a:pt x="730" y="203"/>
                  </a:cubicBezTo>
                  <a:lnTo>
                    <a:pt x="753" y="102"/>
                  </a:lnTo>
                  <a:lnTo>
                    <a:pt x="758" y="112"/>
                  </a:lnTo>
                  <a:lnTo>
                    <a:pt x="560" y="39"/>
                  </a:lnTo>
                  <a:lnTo>
                    <a:pt x="568" y="38"/>
                  </a:lnTo>
                  <a:lnTo>
                    <a:pt x="521" y="82"/>
                  </a:lnTo>
                  <a:lnTo>
                    <a:pt x="523" y="76"/>
                  </a:lnTo>
                  <a:lnTo>
                    <a:pt x="519" y="168"/>
                  </a:lnTo>
                  <a:cubicBezTo>
                    <a:pt x="519" y="171"/>
                    <a:pt x="517" y="174"/>
                    <a:pt x="515" y="175"/>
                  </a:cubicBezTo>
                  <a:lnTo>
                    <a:pt x="467" y="197"/>
                  </a:lnTo>
                  <a:cubicBezTo>
                    <a:pt x="465" y="198"/>
                    <a:pt x="463" y="198"/>
                    <a:pt x="461" y="197"/>
                  </a:cubicBezTo>
                  <a:lnTo>
                    <a:pt x="315" y="132"/>
                  </a:lnTo>
                  <a:cubicBezTo>
                    <a:pt x="314" y="131"/>
                    <a:pt x="312" y="130"/>
                    <a:pt x="312" y="128"/>
                  </a:cubicBezTo>
                  <a:lnTo>
                    <a:pt x="277" y="64"/>
                  </a:lnTo>
                  <a:lnTo>
                    <a:pt x="282" y="68"/>
                  </a:lnTo>
                  <a:lnTo>
                    <a:pt x="103" y="16"/>
                  </a:lnTo>
                  <a:lnTo>
                    <a:pt x="112" y="12"/>
                  </a:lnTo>
                  <a:lnTo>
                    <a:pt x="17" y="194"/>
                  </a:lnTo>
                  <a:lnTo>
                    <a:pt x="18" y="190"/>
                  </a:lnTo>
                  <a:lnTo>
                    <a:pt x="16" y="450"/>
                  </a:lnTo>
                  <a:lnTo>
                    <a:pt x="15" y="445"/>
                  </a:lnTo>
                  <a:lnTo>
                    <a:pt x="129" y="607"/>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58" name="Freeform 414"/>
            <p:cNvSpPr>
              <a:spLocks/>
            </p:cNvSpPr>
            <p:nvPr/>
          </p:nvSpPr>
          <p:spPr bwMode="auto">
            <a:xfrm>
              <a:off x="3344" y="2285"/>
              <a:ext cx="98" cy="183"/>
            </a:xfrm>
            <a:custGeom>
              <a:avLst/>
              <a:gdLst/>
              <a:ahLst/>
              <a:cxnLst>
                <a:cxn ang="0">
                  <a:pos x="0" y="131"/>
                </a:cxn>
                <a:cxn ang="0">
                  <a:pos x="9" y="168"/>
                </a:cxn>
                <a:cxn ang="0">
                  <a:pos x="27" y="183"/>
                </a:cxn>
                <a:cxn ang="0">
                  <a:pos x="58" y="168"/>
                </a:cxn>
                <a:cxn ang="0">
                  <a:pos x="91" y="43"/>
                </a:cxn>
                <a:cxn ang="0">
                  <a:pos x="98" y="47"/>
                </a:cxn>
                <a:cxn ang="0">
                  <a:pos x="84" y="0"/>
                </a:cxn>
                <a:cxn ang="0">
                  <a:pos x="66" y="20"/>
                </a:cxn>
                <a:cxn ang="0">
                  <a:pos x="67" y="34"/>
                </a:cxn>
                <a:cxn ang="0">
                  <a:pos x="45" y="49"/>
                </a:cxn>
                <a:cxn ang="0">
                  <a:pos x="18" y="55"/>
                </a:cxn>
                <a:cxn ang="0">
                  <a:pos x="10" y="71"/>
                </a:cxn>
                <a:cxn ang="0">
                  <a:pos x="18" y="103"/>
                </a:cxn>
                <a:cxn ang="0">
                  <a:pos x="0" y="131"/>
                </a:cxn>
              </a:cxnLst>
              <a:rect l="0" t="0" r="r" b="b"/>
              <a:pathLst>
                <a:path w="98" h="183">
                  <a:moveTo>
                    <a:pt x="0" y="131"/>
                  </a:moveTo>
                  <a:lnTo>
                    <a:pt x="9" y="168"/>
                  </a:lnTo>
                  <a:lnTo>
                    <a:pt x="27" y="183"/>
                  </a:lnTo>
                  <a:lnTo>
                    <a:pt x="58" y="168"/>
                  </a:lnTo>
                  <a:lnTo>
                    <a:pt x="91" y="43"/>
                  </a:lnTo>
                  <a:lnTo>
                    <a:pt x="98" y="47"/>
                  </a:lnTo>
                  <a:lnTo>
                    <a:pt x="84" y="0"/>
                  </a:lnTo>
                  <a:lnTo>
                    <a:pt x="66" y="20"/>
                  </a:lnTo>
                  <a:lnTo>
                    <a:pt x="67" y="34"/>
                  </a:lnTo>
                  <a:lnTo>
                    <a:pt x="45" y="49"/>
                  </a:lnTo>
                  <a:lnTo>
                    <a:pt x="18" y="55"/>
                  </a:lnTo>
                  <a:lnTo>
                    <a:pt x="10" y="71"/>
                  </a:lnTo>
                  <a:lnTo>
                    <a:pt x="18" y="103"/>
                  </a:lnTo>
                  <a:lnTo>
                    <a:pt x="0" y="131"/>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59" name="Freeform 415"/>
            <p:cNvSpPr>
              <a:spLocks noEditPoints="1"/>
            </p:cNvSpPr>
            <p:nvPr/>
          </p:nvSpPr>
          <p:spPr bwMode="auto">
            <a:xfrm>
              <a:off x="3342" y="2283"/>
              <a:ext cx="102" cy="187"/>
            </a:xfrm>
            <a:custGeom>
              <a:avLst/>
              <a:gdLst/>
              <a:ahLst/>
              <a:cxnLst>
                <a:cxn ang="0">
                  <a:pos x="16" y="583"/>
                </a:cxn>
                <a:cxn ang="0">
                  <a:pos x="16" y="578"/>
                </a:cxn>
                <a:cxn ang="0">
                  <a:pos x="47" y="742"/>
                </a:cxn>
                <a:cxn ang="0">
                  <a:pos x="45" y="738"/>
                </a:cxn>
                <a:cxn ang="0">
                  <a:pos x="107" y="803"/>
                </a:cxn>
                <a:cxn ang="0">
                  <a:pos x="97" y="802"/>
                </a:cxn>
                <a:cxn ang="0">
                  <a:pos x="201" y="737"/>
                </a:cxn>
                <a:cxn ang="0">
                  <a:pos x="198" y="742"/>
                </a:cxn>
                <a:cxn ang="0">
                  <a:pos x="315" y="193"/>
                </a:cxn>
                <a:cxn ang="0">
                  <a:pos x="320" y="187"/>
                </a:cxn>
                <a:cxn ang="0">
                  <a:pos x="328" y="188"/>
                </a:cxn>
                <a:cxn ang="0">
                  <a:pos x="350" y="208"/>
                </a:cxn>
                <a:cxn ang="0">
                  <a:pos x="337" y="216"/>
                </a:cxn>
                <a:cxn ang="0">
                  <a:pos x="287" y="10"/>
                </a:cxn>
                <a:cxn ang="0">
                  <a:pos x="301" y="13"/>
                </a:cxn>
                <a:cxn ang="0">
                  <a:pos x="241" y="99"/>
                </a:cxn>
                <a:cxn ang="0">
                  <a:pos x="242" y="95"/>
                </a:cxn>
                <a:cxn ang="0">
                  <a:pos x="244" y="154"/>
                </a:cxn>
                <a:cxn ang="0">
                  <a:pos x="241" y="161"/>
                </a:cxn>
                <a:cxn ang="0">
                  <a:pos x="165" y="227"/>
                </a:cxn>
                <a:cxn ang="0">
                  <a:pos x="162" y="229"/>
                </a:cxn>
                <a:cxn ang="0">
                  <a:pos x="70" y="257"/>
                </a:cxn>
                <a:cxn ang="0">
                  <a:pos x="75" y="252"/>
                </a:cxn>
                <a:cxn ang="0">
                  <a:pos x="49" y="322"/>
                </a:cxn>
                <a:cxn ang="0">
                  <a:pos x="49" y="317"/>
                </a:cxn>
                <a:cxn ang="0">
                  <a:pos x="76" y="458"/>
                </a:cxn>
                <a:cxn ang="0">
                  <a:pos x="75" y="463"/>
                </a:cxn>
                <a:cxn ang="0">
                  <a:pos x="16" y="583"/>
                </a:cxn>
                <a:cxn ang="0">
                  <a:pos x="61" y="456"/>
                </a:cxn>
                <a:cxn ang="0">
                  <a:pos x="60" y="461"/>
                </a:cxn>
                <a:cxn ang="0">
                  <a:pos x="34" y="320"/>
                </a:cxn>
                <a:cxn ang="0">
                  <a:pos x="34" y="316"/>
                </a:cxn>
                <a:cxn ang="0">
                  <a:pos x="60" y="246"/>
                </a:cxn>
                <a:cxn ang="0">
                  <a:pos x="65" y="241"/>
                </a:cxn>
                <a:cxn ang="0">
                  <a:pos x="158" y="213"/>
                </a:cxn>
                <a:cxn ang="0">
                  <a:pos x="155" y="215"/>
                </a:cxn>
                <a:cxn ang="0">
                  <a:pos x="230" y="149"/>
                </a:cxn>
                <a:cxn ang="0">
                  <a:pos x="228" y="155"/>
                </a:cxn>
                <a:cxn ang="0">
                  <a:pos x="226" y="95"/>
                </a:cxn>
                <a:cxn ang="0">
                  <a:pos x="228" y="90"/>
                </a:cxn>
                <a:cxn ang="0">
                  <a:pos x="288" y="4"/>
                </a:cxn>
                <a:cxn ang="0">
                  <a:pos x="296" y="1"/>
                </a:cxn>
                <a:cxn ang="0">
                  <a:pos x="303" y="7"/>
                </a:cxn>
                <a:cxn ang="0">
                  <a:pos x="352" y="212"/>
                </a:cxn>
                <a:cxn ang="0">
                  <a:pos x="349" y="221"/>
                </a:cxn>
                <a:cxn ang="0">
                  <a:pos x="339" y="220"/>
                </a:cxn>
                <a:cxn ang="0">
                  <a:pos x="317" y="200"/>
                </a:cxn>
                <a:cxn ang="0">
                  <a:pos x="330" y="196"/>
                </a:cxn>
                <a:cxn ang="0">
                  <a:pos x="213" y="745"/>
                </a:cxn>
                <a:cxn ang="0">
                  <a:pos x="210" y="751"/>
                </a:cxn>
                <a:cxn ang="0">
                  <a:pos x="105" y="815"/>
                </a:cxn>
                <a:cxn ang="0">
                  <a:pos x="95" y="814"/>
                </a:cxn>
                <a:cxn ang="0">
                  <a:pos x="33" y="749"/>
                </a:cxn>
                <a:cxn ang="0">
                  <a:pos x="31" y="745"/>
                </a:cxn>
                <a:cxn ang="0">
                  <a:pos x="1" y="581"/>
                </a:cxn>
                <a:cxn ang="0">
                  <a:pos x="1" y="576"/>
                </a:cxn>
                <a:cxn ang="0">
                  <a:pos x="61" y="456"/>
                </a:cxn>
              </a:cxnLst>
              <a:rect l="0" t="0" r="r" b="b"/>
              <a:pathLst>
                <a:path w="353" h="817">
                  <a:moveTo>
                    <a:pt x="16" y="583"/>
                  </a:moveTo>
                  <a:lnTo>
                    <a:pt x="16" y="578"/>
                  </a:lnTo>
                  <a:lnTo>
                    <a:pt x="47" y="742"/>
                  </a:lnTo>
                  <a:lnTo>
                    <a:pt x="45" y="738"/>
                  </a:lnTo>
                  <a:lnTo>
                    <a:pt x="107" y="803"/>
                  </a:lnTo>
                  <a:lnTo>
                    <a:pt x="97" y="802"/>
                  </a:lnTo>
                  <a:lnTo>
                    <a:pt x="201" y="737"/>
                  </a:lnTo>
                  <a:lnTo>
                    <a:pt x="198" y="742"/>
                  </a:lnTo>
                  <a:lnTo>
                    <a:pt x="315" y="193"/>
                  </a:lnTo>
                  <a:cubicBezTo>
                    <a:pt x="315" y="190"/>
                    <a:pt x="317" y="188"/>
                    <a:pt x="320" y="187"/>
                  </a:cubicBezTo>
                  <a:cubicBezTo>
                    <a:pt x="323" y="186"/>
                    <a:pt x="326" y="186"/>
                    <a:pt x="328" y="188"/>
                  </a:cubicBezTo>
                  <a:lnTo>
                    <a:pt x="350" y="208"/>
                  </a:lnTo>
                  <a:lnTo>
                    <a:pt x="337" y="216"/>
                  </a:lnTo>
                  <a:lnTo>
                    <a:pt x="287" y="10"/>
                  </a:lnTo>
                  <a:lnTo>
                    <a:pt x="301" y="13"/>
                  </a:lnTo>
                  <a:lnTo>
                    <a:pt x="241" y="99"/>
                  </a:lnTo>
                  <a:lnTo>
                    <a:pt x="242" y="95"/>
                  </a:lnTo>
                  <a:lnTo>
                    <a:pt x="244" y="154"/>
                  </a:lnTo>
                  <a:cubicBezTo>
                    <a:pt x="244" y="157"/>
                    <a:pt x="243" y="159"/>
                    <a:pt x="241" y="161"/>
                  </a:cubicBezTo>
                  <a:lnTo>
                    <a:pt x="165" y="227"/>
                  </a:lnTo>
                  <a:cubicBezTo>
                    <a:pt x="164" y="228"/>
                    <a:pt x="163" y="228"/>
                    <a:pt x="162" y="229"/>
                  </a:cubicBezTo>
                  <a:lnTo>
                    <a:pt x="70" y="257"/>
                  </a:lnTo>
                  <a:lnTo>
                    <a:pt x="75" y="252"/>
                  </a:lnTo>
                  <a:lnTo>
                    <a:pt x="49" y="322"/>
                  </a:lnTo>
                  <a:lnTo>
                    <a:pt x="49" y="317"/>
                  </a:lnTo>
                  <a:lnTo>
                    <a:pt x="76" y="458"/>
                  </a:lnTo>
                  <a:cubicBezTo>
                    <a:pt x="76" y="460"/>
                    <a:pt x="76" y="462"/>
                    <a:pt x="75" y="463"/>
                  </a:cubicBezTo>
                  <a:lnTo>
                    <a:pt x="16" y="583"/>
                  </a:lnTo>
                  <a:close/>
                  <a:moveTo>
                    <a:pt x="61" y="456"/>
                  </a:moveTo>
                  <a:lnTo>
                    <a:pt x="60" y="461"/>
                  </a:lnTo>
                  <a:lnTo>
                    <a:pt x="34" y="320"/>
                  </a:lnTo>
                  <a:cubicBezTo>
                    <a:pt x="33" y="319"/>
                    <a:pt x="34" y="317"/>
                    <a:pt x="34" y="316"/>
                  </a:cubicBezTo>
                  <a:lnTo>
                    <a:pt x="60" y="246"/>
                  </a:lnTo>
                  <a:cubicBezTo>
                    <a:pt x="61" y="244"/>
                    <a:pt x="63" y="242"/>
                    <a:pt x="65" y="241"/>
                  </a:cubicBezTo>
                  <a:lnTo>
                    <a:pt x="158" y="213"/>
                  </a:lnTo>
                  <a:lnTo>
                    <a:pt x="155" y="215"/>
                  </a:lnTo>
                  <a:lnTo>
                    <a:pt x="230" y="149"/>
                  </a:lnTo>
                  <a:lnTo>
                    <a:pt x="228" y="155"/>
                  </a:lnTo>
                  <a:lnTo>
                    <a:pt x="226" y="95"/>
                  </a:lnTo>
                  <a:cubicBezTo>
                    <a:pt x="226" y="93"/>
                    <a:pt x="227" y="92"/>
                    <a:pt x="228" y="90"/>
                  </a:cubicBezTo>
                  <a:lnTo>
                    <a:pt x="288" y="4"/>
                  </a:lnTo>
                  <a:cubicBezTo>
                    <a:pt x="290" y="1"/>
                    <a:pt x="293" y="0"/>
                    <a:pt x="296" y="1"/>
                  </a:cubicBezTo>
                  <a:cubicBezTo>
                    <a:pt x="299" y="1"/>
                    <a:pt x="302" y="4"/>
                    <a:pt x="303" y="7"/>
                  </a:cubicBezTo>
                  <a:lnTo>
                    <a:pt x="352" y="212"/>
                  </a:lnTo>
                  <a:cubicBezTo>
                    <a:pt x="353" y="216"/>
                    <a:pt x="352" y="219"/>
                    <a:pt x="349" y="221"/>
                  </a:cubicBezTo>
                  <a:cubicBezTo>
                    <a:pt x="346" y="223"/>
                    <a:pt x="342" y="223"/>
                    <a:pt x="339" y="220"/>
                  </a:cubicBezTo>
                  <a:lnTo>
                    <a:pt x="317" y="200"/>
                  </a:lnTo>
                  <a:lnTo>
                    <a:pt x="330" y="196"/>
                  </a:lnTo>
                  <a:lnTo>
                    <a:pt x="213" y="745"/>
                  </a:lnTo>
                  <a:cubicBezTo>
                    <a:pt x="213" y="748"/>
                    <a:pt x="211" y="749"/>
                    <a:pt x="210" y="751"/>
                  </a:cubicBezTo>
                  <a:lnTo>
                    <a:pt x="105" y="815"/>
                  </a:lnTo>
                  <a:cubicBezTo>
                    <a:pt x="102" y="817"/>
                    <a:pt x="98" y="817"/>
                    <a:pt x="95" y="814"/>
                  </a:cubicBezTo>
                  <a:lnTo>
                    <a:pt x="33" y="749"/>
                  </a:lnTo>
                  <a:cubicBezTo>
                    <a:pt x="32" y="748"/>
                    <a:pt x="31" y="747"/>
                    <a:pt x="31" y="745"/>
                  </a:cubicBezTo>
                  <a:lnTo>
                    <a:pt x="1" y="581"/>
                  </a:lnTo>
                  <a:cubicBezTo>
                    <a:pt x="0" y="579"/>
                    <a:pt x="1" y="577"/>
                    <a:pt x="1" y="576"/>
                  </a:cubicBezTo>
                  <a:lnTo>
                    <a:pt x="61" y="456"/>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60" name="Freeform 416"/>
            <p:cNvSpPr>
              <a:spLocks/>
            </p:cNvSpPr>
            <p:nvPr/>
          </p:nvSpPr>
          <p:spPr bwMode="auto">
            <a:xfrm>
              <a:off x="3201" y="2248"/>
              <a:ext cx="41" cy="103"/>
            </a:xfrm>
            <a:custGeom>
              <a:avLst/>
              <a:gdLst/>
              <a:ahLst/>
              <a:cxnLst>
                <a:cxn ang="0">
                  <a:pos x="0" y="56"/>
                </a:cxn>
                <a:cxn ang="0">
                  <a:pos x="5" y="63"/>
                </a:cxn>
                <a:cxn ang="0">
                  <a:pos x="22" y="68"/>
                </a:cxn>
                <a:cxn ang="0">
                  <a:pos x="20" y="88"/>
                </a:cxn>
                <a:cxn ang="0">
                  <a:pos x="33" y="103"/>
                </a:cxn>
                <a:cxn ang="0">
                  <a:pos x="41" y="74"/>
                </a:cxn>
                <a:cxn ang="0">
                  <a:pos x="28" y="55"/>
                </a:cxn>
                <a:cxn ang="0">
                  <a:pos x="32" y="66"/>
                </a:cxn>
                <a:cxn ang="0">
                  <a:pos x="24" y="65"/>
                </a:cxn>
                <a:cxn ang="0">
                  <a:pos x="16" y="38"/>
                </a:cxn>
                <a:cxn ang="0">
                  <a:pos x="15" y="3"/>
                </a:cxn>
                <a:cxn ang="0">
                  <a:pos x="3" y="0"/>
                </a:cxn>
                <a:cxn ang="0">
                  <a:pos x="13" y="18"/>
                </a:cxn>
                <a:cxn ang="0">
                  <a:pos x="0" y="56"/>
                </a:cxn>
              </a:cxnLst>
              <a:rect l="0" t="0" r="r" b="b"/>
              <a:pathLst>
                <a:path w="41" h="103">
                  <a:moveTo>
                    <a:pt x="0" y="56"/>
                  </a:moveTo>
                  <a:lnTo>
                    <a:pt x="5" y="63"/>
                  </a:lnTo>
                  <a:lnTo>
                    <a:pt x="22" y="68"/>
                  </a:lnTo>
                  <a:lnTo>
                    <a:pt x="20" y="88"/>
                  </a:lnTo>
                  <a:lnTo>
                    <a:pt x="33" y="103"/>
                  </a:lnTo>
                  <a:lnTo>
                    <a:pt x="41" y="74"/>
                  </a:lnTo>
                  <a:lnTo>
                    <a:pt x="28" y="55"/>
                  </a:lnTo>
                  <a:lnTo>
                    <a:pt x="32" y="66"/>
                  </a:lnTo>
                  <a:lnTo>
                    <a:pt x="24" y="65"/>
                  </a:lnTo>
                  <a:lnTo>
                    <a:pt x="16" y="38"/>
                  </a:lnTo>
                  <a:lnTo>
                    <a:pt x="15" y="3"/>
                  </a:lnTo>
                  <a:lnTo>
                    <a:pt x="3" y="0"/>
                  </a:lnTo>
                  <a:lnTo>
                    <a:pt x="13" y="18"/>
                  </a:lnTo>
                  <a:lnTo>
                    <a:pt x="0" y="56"/>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61" name="Freeform 417"/>
            <p:cNvSpPr>
              <a:spLocks noEditPoints="1"/>
            </p:cNvSpPr>
            <p:nvPr/>
          </p:nvSpPr>
          <p:spPr bwMode="auto">
            <a:xfrm>
              <a:off x="3198" y="2247"/>
              <a:ext cx="47" cy="106"/>
            </a:xfrm>
            <a:custGeom>
              <a:avLst/>
              <a:gdLst/>
              <a:ahLst/>
              <a:cxnLst>
                <a:cxn ang="0">
                  <a:pos x="16" y="255"/>
                </a:cxn>
                <a:cxn ang="0">
                  <a:pos x="15" y="249"/>
                </a:cxn>
                <a:cxn ang="0">
                  <a:pos x="34" y="277"/>
                </a:cxn>
                <a:cxn ang="0">
                  <a:pos x="31" y="274"/>
                </a:cxn>
                <a:cxn ang="0">
                  <a:pos x="87" y="295"/>
                </a:cxn>
                <a:cxn ang="0">
                  <a:pos x="92" y="303"/>
                </a:cxn>
                <a:cxn ang="0">
                  <a:pos x="85" y="391"/>
                </a:cxn>
                <a:cxn ang="0">
                  <a:pos x="83" y="386"/>
                </a:cxn>
                <a:cxn ang="0">
                  <a:pos x="132" y="452"/>
                </a:cxn>
                <a:cxn ang="0">
                  <a:pos x="118" y="455"/>
                </a:cxn>
                <a:cxn ang="0">
                  <a:pos x="145" y="328"/>
                </a:cxn>
                <a:cxn ang="0">
                  <a:pos x="145" y="333"/>
                </a:cxn>
                <a:cxn ang="0">
                  <a:pos x="99" y="249"/>
                </a:cxn>
                <a:cxn ang="0">
                  <a:pos x="114" y="243"/>
                </a:cxn>
                <a:cxn ang="0">
                  <a:pos x="128" y="291"/>
                </a:cxn>
                <a:cxn ang="0">
                  <a:pos x="126" y="298"/>
                </a:cxn>
                <a:cxn ang="0">
                  <a:pos x="119" y="301"/>
                </a:cxn>
                <a:cxn ang="0">
                  <a:pos x="92" y="297"/>
                </a:cxn>
                <a:cxn ang="0">
                  <a:pos x="86" y="291"/>
                </a:cxn>
                <a:cxn ang="0">
                  <a:pos x="56" y="176"/>
                </a:cxn>
                <a:cxn ang="0">
                  <a:pos x="56" y="174"/>
                </a:cxn>
                <a:cxn ang="0">
                  <a:pos x="54" y="20"/>
                </a:cxn>
                <a:cxn ang="0">
                  <a:pos x="60" y="28"/>
                </a:cxn>
                <a:cxn ang="0">
                  <a:pos x="17" y="16"/>
                </a:cxn>
                <a:cxn ang="0">
                  <a:pos x="26" y="5"/>
                </a:cxn>
                <a:cxn ang="0">
                  <a:pos x="61" y="79"/>
                </a:cxn>
                <a:cxn ang="0">
                  <a:pos x="61" y="85"/>
                </a:cxn>
                <a:cxn ang="0">
                  <a:pos x="16" y="255"/>
                </a:cxn>
                <a:cxn ang="0">
                  <a:pos x="46" y="81"/>
                </a:cxn>
                <a:cxn ang="0">
                  <a:pos x="46" y="86"/>
                </a:cxn>
                <a:cxn ang="0">
                  <a:pos x="11" y="12"/>
                </a:cxn>
                <a:cxn ang="0">
                  <a:pos x="13" y="3"/>
                </a:cxn>
                <a:cxn ang="0">
                  <a:pos x="21" y="1"/>
                </a:cxn>
                <a:cxn ang="0">
                  <a:pos x="65" y="12"/>
                </a:cxn>
                <a:cxn ang="0">
                  <a:pos x="70" y="20"/>
                </a:cxn>
                <a:cxn ang="0">
                  <a:pos x="72" y="174"/>
                </a:cxn>
                <a:cxn ang="0">
                  <a:pos x="72" y="172"/>
                </a:cxn>
                <a:cxn ang="0">
                  <a:pos x="101" y="288"/>
                </a:cxn>
                <a:cxn ang="0">
                  <a:pos x="94" y="282"/>
                </a:cxn>
                <a:cxn ang="0">
                  <a:pos x="121" y="285"/>
                </a:cxn>
                <a:cxn ang="0">
                  <a:pos x="113" y="295"/>
                </a:cxn>
                <a:cxn ang="0">
                  <a:pos x="98" y="247"/>
                </a:cxn>
                <a:cxn ang="0">
                  <a:pos x="103" y="237"/>
                </a:cxn>
                <a:cxn ang="0">
                  <a:pos x="113" y="241"/>
                </a:cxn>
                <a:cxn ang="0">
                  <a:pos x="159" y="325"/>
                </a:cxn>
                <a:cxn ang="0">
                  <a:pos x="160" y="331"/>
                </a:cxn>
                <a:cxn ang="0">
                  <a:pos x="133" y="458"/>
                </a:cxn>
                <a:cxn ang="0">
                  <a:pos x="127" y="464"/>
                </a:cxn>
                <a:cxn ang="0">
                  <a:pos x="119" y="461"/>
                </a:cxn>
                <a:cxn ang="0">
                  <a:pos x="70" y="395"/>
                </a:cxn>
                <a:cxn ang="0">
                  <a:pos x="69" y="390"/>
                </a:cxn>
                <a:cxn ang="0">
                  <a:pos x="76" y="302"/>
                </a:cxn>
                <a:cxn ang="0">
                  <a:pos x="81" y="310"/>
                </a:cxn>
                <a:cxn ang="0">
                  <a:pos x="25" y="289"/>
                </a:cxn>
                <a:cxn ang="0">
                  <a:pos x="21" y="286"/>
                </a:cxn>
                <a:cxn ang="0">
                  <a:pos x="2" y="258"/>
                </a:cxn>
                <a:cxn ang="0">
                  <a:pos x="1" y="251"/>
                </a:cxn>
                <a:cxn ang="0">
                  <a:pos x="46" y="81"/>
                </a:cxn>
              </a:cxnLst>
              <a:rect l="0" t="0" r="r" b="b"/>
              <a:pathLst>
                <a:path w="161" h="465">
                  <a:moveTo>
                    <a:pt x="16" y="255"/>
                  </a:moveTo>
                  <a:lnTo>
                    <a:pt x="15" y="249"/>
                  </a:lnTo>
                  <a:lnTo>
                    <a:pt x="34" y="277"/>
                  </a:lnTo>
                  <a:lnTo>
                    <a:pt x="31" y="274"/>
                  </a:lnTo>
                  <a:lnTo>
                    <a:pt x="87" y="295"/>
                  </a:lnTo>
                  <a:cubicBezTo>
                    <a:pt x="91" y="297"/>
                    <a:pt x="93" y="300"/>
                    <a:pt x="92" y="303"/>
                  </a:cubicBezTo>
                  <a:lnTo>
                    <a:pt x="85" y="391"/>
                  </a:lnTo>
                  <a:lnTo>
                    <a:pt x="83" y="386"/>
                  </a:lnTo>
                  <a:lnTo>
                    <a:pt x="132" y="452"/>
                  </a:lnTo>
                  <a:lnTo>
                    <a:pt x="118" y="455"/>
                  </a:lnTo>
                  <a:lnTo>
                    <a:pt x="145" y="328"/>
                  </a:lnTo>
                  <a:lnTo>
                    <a:pt x="145" y="333"/>
                  </a:lnTo>
                  <a:lnTo>
                    <a:pt x="99" y="249"/>
                  </a:lnTo>
                  <a:lnTo>
                    <a:pt x="114" y="243"/>
                  </a:lnTo>
                  <a:lnTo>
                    <a:pt x="128" y="291"/>
                  </a:lnTo>
                  <a:cubicBezTo>
                    <a:pt x="129" y="293"/>
                    <a:pt x="128" y="296"/>
                    <a:pt x="126" y="298"/>
                  </a:cubicBezTo>
                  <a:cubicBezTo>
                    <a:pt x="125" y="300"/>
                    <a:pt x="122" y="301"/>
                    <a:pt x="119" y="301"/>
                  </a:cubicBezTo>
                  <a:lnTo>
                    <a:pt x="92" y="297"/>
                  </a:lnTo>
                  <a:cubicBezTo>
                    <a:pt x="89" y="297"/>
                    <a:pt x="86" y="295"/>
                    <a:pt x="86" y="291"/>
                  </a:cubicBezTo>
                  <a:lnTo>
                    <a:pt x="56" y="176"/>
                  </a:lnTo>
                  <a:cubicBezTo>
                    <a:pt x="56" y="175"/>
                    <a:pt x="56" y="174"/>
                    <a:pt x="56" y="174"/>
                  </a:cubicBezTo>
                  <a:lnTo>
                    <a:pt x="54" y="20"/>
                  </a:lnTo>
                  <a:lnTo>
                    <a:pt x="60" y="28"/>
                  </a:lnTo>
                  <a:lnTo>
                    <a:pt x="17" y="16"/>
                  </a:lnTo>
                  <a:lnTo>
                    <a:pt x="26" y="5"/>
                  </a:lnTo>
                  <a:lnTo>
                    <a:pt x="61" y="79"/>
                  </a:lnTo>
                  <a:cubicBezTo>
                    <a:pt x="62" y="81"/>
                    <a:pt x="62" y="83"/>
                    <a:pt x="61" y="85"/>
                  </a:cubicBezTo>
                  <a:lnTo>
                    <a:pt x="16" y="255"/>
                  </a:lnTo>
                  <a:close/>
                  <a:moveTo>
                    <a:pt x="46" y="81"/>
                  </a:moveTo>
                  <a:lnTo>
                    <a:pt x="46" y="86"/>
                  </a:lnTo>
                  <a:lnTo>
                    <a:pt x="11" y="12"/>
                  </a:lnTo>
                  <a:cubicBezTo>
                    <a:pt x="10" y="9"/>
                    <a:pt x="11" y="6"/>
                    <a:pt x="13" y="3"/>
                  </a:cubicBezTo>
                  <a:cubicBezTo>
                    <a:pt x="15" y="1"/>
                    <a:pt x="18" y="0"/>
                    <a:pt x="21" y="1"/>
                  </a:cubicBezTo>
                  <a:lnTo>
                    <a:pt x="65" y="12"/>
                  </a:lnTo>
                  <a:cubicBezTo>
                    <a:pt x="68" y="13"/>
                    <a:pt x="70" y="16"/>
                    <a:pt x="70" y="20"/>
                  </a:cubicBezTo>
                  <a:lnTo>
                    <a:pt x="72" y="174"/>
                  </a:lnTo>
                  <a:lnTo>
                    <a:pt x="72" y="172"/>
                  </a:lnTo>
                  <a:lnTo>
                    <a:pt x="101" y="288"/>
                  </a:lnTo>
                  <a:lnTo>
                    <a:pt x="94" y="282"/>
                  </a:lnTo>
                  <a:lnTo>
                    <a:pt x="121" y="285"/>
                  </a:lnTo>
                  <a:lnTo>
                    <a:pt x="113" y="295"/>
                  </a:lnTo>
                  <a:lnTo>
                    <a:pt x="98" y="247"/>
                  </a:lnTo>
                  <a:cubicBezTo>
                    <a:pt x="97" y="243"/>
                    <a:pt x="99" y="239"/>
                    <a:pt x="103" y="237"/>
                  </a:cubicBezTo>
                  <a:cubicBezTo>
                    <a:pt x="107" y="236"/>
                    <a:pt x="111" y="237"/>
                    <a:pt x="113" y="241"/>
                  </a:cubicBezTo>
                  <a:lnTo>
                    <a:pt x="159" y="325"/>
                  </a:lnTo>
                  <a:cubicBezTo>
                    <a:pt x="160" y="327"/>
                    <a:pt x="161" y="329"/>
                    <a:pt x="160" y="331"/>
                  </a:cubicBezTo>
                  <a:lnTo>
                    <a:pt x="133" y="458"/>
                  </a:lnTo>
                  <a:cubicBezTo>
                    <a:pt x="133" y="461"/>
                    <a:pt x="130" y="464"/>
                    <a:pt x="127" y="464"/>
                  </a:cubicBezTo>
                  <a:cubicBezTo>
                    <a:pt x="124" y="465"/>
                    <a:pt x="121" y="464"/>
                    <a:pt x="119" y="461"/>
                  </a:cubicBezTo>
                  <a:lnTo>
                    <a:pt x="70" y="395"/>
                  </a:lnTo>
                  <a:cubicBezTo>
                    <a:pt x="69" y="394"/>
                    <a:pt x="68" y="392"/>
                    <a:pt x="69" y="390"/>
                  </a:cubicBezTo>
                  <a:lnTo>
                    <a:pt x="76" y="302"/>
                  </a:lnTo>
                  <a:lnTo>
                    <a:pt x="81" y="310"/>
                  </a:lnTo>
                  <a:lnTo>
                    <a:pt x="25" y="289"/>
                  </a:lnTo>
                  <a:cubicBezTo>
                    <a:pt x="23" y="288"/>
                    <a:pt x="22" y="287"/>
                    <a:pt x="21" y="286"/>
                  </a:cubicBezTo>
                  <a:lnTo>
                    <a:pt x="2" y="258"/>
                  </a:lnTo>
                  <a:cubicBezTo>
                    <a:pt x="1" y="256"/>
                    <a:pt x="0" y="253"/>
                    <a:pt x="1" y="251"/>
                  </a:cubicBezTo>
                  <a:lnTo>
                    <a:pt x="46" y="8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62" name="Freeform 418"/>
            <p:cNvSpPr>
              <a:spLocks/>
            </p:cNvSpPr>
            <p:nvPr/>
          </p:nvSpPr>
          <p:spPr bwMode="auto">
            <a:xfrm>
              <a:off x="2574" y="1788"/>
              <a:ext cx="227" cy="201"/>
            </a:xfrm>
            <a:custGeom>
              <a:avLst/>
              <a:gdLst/>
              <a:ahLst/>
              <a:cxnLst>
                <a:cxn ang="0">
                  <a:pos x="0" y="139"/>
                </a:cxn>
                <a:cxn ang="0">
                  <a:pos x="10" y="125"/>
                </a:cxn>
                <a:cxn ang="0">
                  <a:pos x="21" y="134"/>
                </a:cxn>
                <a:cxn ang="0">
                  <a:pos x="92" y="130"/>
                </a:cxn>
                <a:cxn ang="0">
                  <a:pos x="77" y="0"/>
                </a:cxn>
                <a:cxn ang="0">
                  <a:pos x="102" y="0"/>
                </a:cxn>
                <a:cxn ang="0">
                  <a:pos x="215" y="70"/>
                </a:cxn>
                <a:cxn ang="0">
                  <a:pos x="216" y="83"/>
                </a:cxn>
                <a:cxn ang="0">
                  <a:pos x="227" y="80"/>
                </a:cxn>
                <a:cxn ang="0">
                  <a:pos x="227" y="122"/>
                </a:cxn>
                <a:cxn ang="0">
                  <a:pos x="218" y="131"/>
                </a:cxn>
                <a:cxn ang="0">
                  <a:pos x="172" y="137"/>
                </a:cxn>
                <a:cxn ang="0">
                  <a:pos x="115" y="160"/>
                </a:cxn>
                <a:cxn ang="0">
                  <a:pos x="97" y="198"/>
                </a:cxn>
                <a:cxn ang="0">
                  <a:pos x="82" y="194"/>
                </a:cxn>
                <a:cxn ang="0">
                  <a:pos x="57" y="201"/>
                </a:cxn>
                <a:cxn ang="0">
                  <a:pos x="43" y="169"/>
                </a:cxn>
                <a:cxn ang="0">
                  <a:pos x="19" y="177"/>
                </a:cxn>
                <a:cxn ang="0">
                  <a:pos x="10" y="170"/>
                </a:cxn>
                <a:cxn ang="0">
                  <a:pos x="0" y="139"/>
                </a:cxn>
              </a:cxnLst>
              <a:rect l="0" t="0" r="r" b="b"/>
              <a:pathLst>
                <a:path w="227" h="201">
                  <a:moveTo>
                    <a:pt x="0" y="139"/>
                  </a:moveTo>
                  <a:lnTo>
                    <a:pt x="10" y="125"/>
                  </a:lnTo>
                  <a:lnTo>
                    <a:pt x="21" y="134"/>
                  </a:lnTo>
                  <a:lnTo>
                    <a:pt x="92" y="130"/>
                  </a:lnTo>
                  <a:lnTo>
                    <a:pt x="77" y="0"/>
                  </a:lnTo>
                  <a:lnTo>
                    <a:pt x="102" y="0"/>
                  </a:lnTo>
                  <a:lnTo>
                    <a:pt x="215" y="70"/>
                  </a:lnTo>
                  <a:lnTo>
                    <a:pt x="216" y="83"/>
                  </a:lnTo>
                  <a:lnTo>
                    <a:pt x="227" y="80"/>
                  </a:lnTo>
                  <a:lnTo>
                    <a:pt x="227" y="122"/>
                  </a:lnTo>
                  <a:lnTo>
                    <a:pt x="218" y="131"/>
                  </a:lnTo>
                  <a:lnTo>
                    <a:pt x="172" y="137"/>
                  </a:lnTo>
                  <a:lnTo>
                    <a:pt x="115" y="160"/>
                  </a:lnTo>
                  <a:lnTo>
                    <a:pt x="97" y="198"/>
                  </a:lnTo>
                  <a:lnTo>
                    <a:pt x="82" y="194"/>
                  </a:lnTo>
                  <a:lnTo>
                    <a:pt x="57" y="201"/>
                  </a:lnTo>
                  <a:lnTo>
                    <a:pt x="43" y="169"/>
                  </a:lnTo>
                  <a:lnTo>
                    <a:pt x="19" y="177"/>
                  </a:lnTo>
                  <a:lnTo>
                    <a:pt x="10" y="170"/>
                  </a:lnTo>
                  <a:lnTo>
                    <a:pt x="0" y="139"/>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63" name="Freeform 419"/>
            <p:cNvSpPr>
              <a:spLocks noEditPoints="1"/>
            </p:cNvSpPr>
            <p:nvPr/>
          </p:nvSpPr>
          <p:spPr bwMode="auto">
            <a:xfrm>
              <a:off x="2572" y="1786"/>
              <a:ext cx="232" cy="205"/>
            </a:xfrm>
            <a:custGeom>
              <a:avLst/>
              <a:gdLst/>
              <a:ahLst/>
              <a:cxnLst>
                <a:cxn ang="0">
                  <a:pos x="1" y="614"/>
                </a:cxn>
                <a:cxn ang="0">
                  <a:pos x="40" y="548"/>
                </a:cxn>
                <a:cxn ang="0">
                  <a:pos x="86" y="592"/>
                </a:cxn>
                <a:cxn ang="0">
                  <a:pos x="324" y="572"/>
                </a:cxn>
                <a:cxn ang="0">
                  <a:pos x="265" y="9"/>
                </a:cxn>
                <a:cxn ang="0">
                  <a:pos x="273" y="0"/>
                </a:cxn>
                <a:cxn ang="0">
                  <a:pos x="363" y="2"/>
                </a:cxn>
                <a:cxn ang="0">
                  <a:pos x="756" y="317"/>
                </a:cxn>
                <a:cxn ang="0">
                  <a:pos x="750" y="363"/>
                </a:cxn>
                <a:cxn ang="0">
                  <a:pos x="796" y="356"/>
                </a:cxn>
                <a:cxn ang="0">
                  <a:pos x="800" y="544"/>
                </a:cxn>
                <a:cxn ang="0">
                  <a:pos x="766" y="588"/>
                </a:cxn>
                <a:cxn ang="0">
                  <a:pos x="604" y="616"/>
                </a:cxn>
                <a:cxn ang="0">
                  <a:pos x="406" y="719"/>
                </a:cxn>
                <a:cxn ang="0">
                  <a:pos x="349" y="881"/>
                </a:cxn>
                <a:cxn ang="0">
                  <a:pos x="338" y="886"/>
                </a:cxn>
                <a:cxn ang="0">
                  <a:pos x="295" y="864"/>
                </a:cxn>
                <a:cxn ang="0">
                  <a:pos x="202" y="896"/>
                </a:cxn>
                <a:cxn ang="0">
                  <a:pos x="149" y="753"/>
                </a:cxn>
                <a:cxn ang="0">
                  <a:pos x="77" y="791"/>
                </a:cxn>
                <a:cxn ang="0">
                  <a:pos x="38" y="761"/>
                </a:cxn>
                <a:cxn ang="0">
                  <a:pos x="1" y="620"/>
                </a:cxn>
                <a:cxn ang="0">
                  <a:pos x="49" y="749"/>
                </a:cxn>
                <a:cxn ang="0">
                  <a:pos x="71" y="776"/>
                </a:cxn>
                <a:cxn ang="0">
                  <a:pos x="160" y="743"/>
                </a:cxn>
                <a:cxn ang="0">
                  <a:pos x="213" y="886"/>
                </a:cxn>
                <a:cxn ang="0">
                  <a:pos x="289" y="849"/>
                </a:cxn>
                <a:cxn ang="0">
                  <a:pos x="344" y="871"/>
                </a:cxn>
                <a:cxn ang="0">
                  <a:pos x="395" y="709"/>
                </a:cxn>
                <a:cxn ang="0">
                  <a:pos x="599" y="601"/>
                </a:cxn>
                <a:cxn ang="0">
                  <a:pos x="759" y="575"/>
                </a:cxn>
                <a:cxn ang="0">
                  <a:pos x="786" y="539"/>
                </a:cxn>
                <a:cxn ang="0">
                  <a:pos x="783" y="363"/>
                </a:cxn>
                <a:cxn ang="0">
                  <a:pos x="754" y="379"/>
                </a:cxn>
                <a:cxn ang="0">
                  <a:pos x="744" y="371"/>
                </a:cxn>
                <a:cxn ang="0">
                  <a:pos x="743" y="324"/>
                </a:cxn>
                <a:cxn ang="0">
                  <a:pos x="358" y="16"/>
                </a:cxn>
                <a:cxn ang="0">
                  <a:pos x="281" y="8"/>
                </a:cxn>
                <a:cxn ang="0">
                  <a:pos x="330" y="585"/>
                </a:cxn>
                <a:cxn ang="0">
                  <a:pos x="80" y="606"/>
                </a:cxn>
                <a:cxn ang="0">
                  <a:pos x="35" y="562"/>
                </a:cxn>
                <a:cxn ang="0">
                  <a:pos x="16" y="622"/>
                </a:cxn>
                <a:cxn ang="0">
                  <a:pos x="51" y="753"/>
                </a:cxn>
              </a:cxnLst>
              <a:rect l="0" t="0" r="r" b="b"/>
              <a:pathLst>
                <a:path w="800" h="897">
                  <a:moveTo>
                    <a:pt x="1" y="620"/>
                  </a:moveTo>
                  <a:cubicBezTo>
                    <a:pt x="0" y="618"/>
                    <a:pt x="0" y="616"/>
                    <a:pt x="1" y="614"/>
                  </a:cubicBezTo>
                  <a:lnTo>
                    <a:pt x="34" y="552"/>
                  </a:lnTo>
                  <a:cubicBezTo>
                    <a:pt x="35" y="550"/>
                    <a:pt x="37" y="549"/>
                    <a:pt x="40" y="548"/>
                  </a:cubicBezTo>
                  <a:cubicBezTo>
                    <a:pt x="42" y="548"/>
                    <a:pt x="45" y="549"/>
                    <a:pt x="46" y="551"/>
                  </a:cubicBezTo>
                  <a:lnTo>
                    <a:pt x="86" y="592"/>
                  </a:lnTo>
                  <a:lnTo>
                    <a:pt x="79" y="590"/>
                  </a:lnTo>
                  <a:lnTo>
                    <a:pt x="324" y="572"/>
                  </a:lnTo>
                  <a:lnTo>
                    <a:pt x="316" y="580"/>
                  </a:lnTo>
                  <a:lnTo>
                    <a:pt x="265" y="9"/>
                  </a:lnTo>
                  <a:cubicBezTo>
                    <a:pt x="264" y="7"/>
                    <a:pt x="265" y="5"/>
                    <a:pt x="267" y="3"/>
                  </a:cubicBezTo>
                  <a:cubicBezTo>
                    <a:pt x="268" y="1"/>
                    <a:pt x="270" y="0"/>
                    <a:pt x="273" y="0"/>
                  </a:cubicBezTo>
                  <a:lnTo>
                    <a:pt x="358" y="0"/>
                  </a:lnTo>
                  <a:cubicBezTo>
                    <a:pt x="360" y="0"/>
                    <a:pt x="361" y="1"/>
                    <a:pt x="363" y="2"/>
                  </a:cubicBezTo>
                  <a:lnTo>
                    <a:pt x="753" y="311"/>
                  </a:lnTo>
                  <a:cubicBezTo>
                    <a:pt x="754" y="312"/>
                    <a:pt x="756" y="315"/>
                    <a:pt x="756" y="317"/>
                  </a:cubicBezTo>
                  <a:lnTo>
                    <a:pt x="760" y="370"/>
                  </a:lnTo>
                  <a:lnTo>
                    <a:pt x="750" y="363"/>
                  </a:lnTo>
                  <a:lnTo>
                    <a:pt x="789" y="355"/>
                  </a:lnTo>
                  <a:cubicBezTo>
                    <a:pt x="792" y="354"/>
                    <a:pt x="794" y="355"/>
                    <a:pt x="796" y="356"/>
                  </a:cubicBezTo>
                  <a:cubicBezTo>
                    <a:pt x="798" y="358"/>
                    <a:pt x="799" y="360"/>
                    <a:pt x="799" y="362"/>
                  </a:cubicBezTo>
                  <a:lnTo>
                    <a:pt x="800" y="544"/>
                  </a:lnTo>
                  <a:cubicBezTo>
                    <a:pt x="800" y="546"/>
                    <a:pt x="800" y="548"/>
                    <a:pt x="799" y="550"/>
                  </a:cubicBezTo>
                  <a:lnTo>
                    <a:pt x="766" y="588"/>
                  </a:lnTo>
                  <a:cubicBezTo>
                    <a:pt x="765" y="590"/>
                    <a:pt x="763" y="590"/>
                    <a:pt x="762" y="591"/>
                  </a:cubicBezTo>
                  <a:lnTo>
                    <a:pt x="604" y="616"/>
                  </a:lnTo>
                  <a:lnTo>
                    <a:pt x="606" y="615"/>
                  </a:lnTo>
                  <a:lnTo>
                    <a:pt x="406" y="719"/>
                  </a:lnTo>
                  <a:lnTo>
                    <a:pt x="410" y="714"/>
                  </a:lnTo>
                  <a:lnTo>
                    <a:pt x="349" y="881"/>
                  </a:lnTo>
                  <a:cubicBezTo>
                    <a:pt x="348" y="883"/>
                    <a:pt x="346" y="885"/>
                    <a:pt x="344" y="886"/>
                  </a:cubicBezTo>
                  <a:cubicBezTo>
                    <a:pt x="342" y="887"/>
                    <a:pt x="340" y="887"/>
                    <a:pt x="338" y="886"/>
                  </a:cubicBezTo>
                  <a:lnTo>
                    <a:pt x="289" y="864"/>
                  </a:lnTo>
                  <a:lnTo>
                    <a:pt x="295" y="864"/>
                  </a:lnTo>
                  <a:lnTo>
                    <a:pt x="208" y="896"/>
                  </a:lnTo>
                  <a:cubicBezTo>
                    <a:pt x="206" y="897"/>
                    <a:pt x="204" y="897"/>
                    <a:pt x="202" y="896"/>
                  </a:cubicBezTo>
                  <a:cubicBezTo>
                    <a:pt x="200" y="895"/>
                    <a:pt x="199" y="893"/>
                    <a:pt x="198" y="891"/>
                  </a:cubicBezTo>
                  <a:lnTo>
                    <a:pt x="149" y="753"/>
                  </a:lnTo>
                  <a:lnTo>
                    <a:pt x="160" y="757"/>
                  </a:lnTo>
                  <a:lnTo>
                    <a:pt x="77" y="791"/>
                  </a:lnTo>
                  <a:cubicBezTo>
                    <a:pt x="74" y="792"/>
                    <a:pt x="71" y="791"/>
                    <a:pt x="69" y="789"/>
                  </a:cubicBezTo>
                  <a:lnTo>
                    <a:pt x="38" y="761"/>
                  </a:lnTo>
                  <a:cubicBezTo>
                    <a:pt x="37" y="760"/>
                    <a:pt x="36" y="758"/>
                    <a:pt x="36" y="757"/>
                  </a:cubicBezTo>
                  <a:lnTo>
                    <a:pt x="1" y="620"/>
                  </a:lnTo>
                  <a:close/>
                  <a:moveTo>
                    <a:pt x="51" y="753"/>
                  </a:moveTo>
                  <a:lnTo>
                    <a:pt x="49" y="749"/>
                  </a:lnTo>
                  <a:lnTo>
                    <a:pt x="80" y="777"/>
                  </a:lnTo>
                  <a:lnTo>
                    <a:pt x="71" y="776"/>
                  </a:lnTo>
                  <a:lnTo>
                    <a:pt x="154" y="742"/>
                  </a:lnTo>
                  <a:cubicBezTo>
                    <a:pt x="156" y="742"/>
                    <a:pt x="158" y="742"/>
                    <a:pt x="160" y="743"/>
                  </a:cubicBezTo>
                  <a:cubicBezTo>
                    <a:pt x="162" y="743"/>
                    <a:pt x="163" y="745"/>
                    <a:pt x="164" y="747"/>
                  </a:cubicBezTo>
                  <a:lnTo>
                    <a:pt x="213" y="886"/>
                  </a:lnTo>
                  <a:lnTo>
                    <a:pt x="203" y="881"/>
                  </a:lnTo>
                  <a:lnTo>
                    <a:pt x="289" y="849"/>
                  </a:lnTo>
                  <a:cubicBezTo>
                    <a:pt x="291" y="849"/>
                    <a:pt x="294" y="849"/>
                    <a:pt x="295" y="849"/>
                  </a:cubicBezTo>
                  <a:lnTo>
                    <a:pt x="344" y="871"/>
                  </a:lnTo>
                  <a:lnTo>
                    <a:pt x="334" y="876"/>
                  </a:lnTo>
                  <a:lnTo>
                    <a:pt x="395" y="709"/>
                  </a:lnTo>
                  <a:cubicBezTo>
                    <a:pt x="396" y="707"/>
                    <a:pt x="397" y="705"/>
                    <a:pt x="399" y="704"/>
                  </a:cubicBezTo>
                  <a:lnTo>
                    <a:pt x="599" y="601"/>
                  </a:lnTo>
                  <a:cubicBezTo>
                    <a:pt x="599" y="600"/>
                    <a:pt x="600" y="600"/>
                    <a:pt x="601" y="600"/>
                  </a:cubicBezTo>
                  <a:lnTo>
                    <a:pt x="759" y="575"/>
                  </a:lnTo>
                  <a:lnTo>
                    <a:pt x="754" y="578"/>
                  </a:lnTo>
                  <a:lnTo>
                    <a:pt x="786" y="539"/>
                  </a:lnTo>
                  <a:lnTo>
                    <a:pt x="784" y="545"/>
                  </a:lnTo>
                  <a:lnTo>
                    <a:pt x="783" y="363"/>
                  </a:lnTo>
                  <a:lnTo>
                    <a:pt x="793" y="370"/>
                  </a:lnTo>
                  <a:lnTo>
                    <a:pt x="754" y="379"/>
                  </a:lnTo>
                  <a:cubicBezTo>
                    <a:pt x="751" y="379"/>
                    <a:pt x="749" y="379"/>
                    <a:pt x="747" y="377"/>
                  </a:cubicBezTo>
                  <a:cubicBezTo>
                    <a:pt x="745" y="376"/>
                    <a:pt x="744" y="374"/>
                    <a:pt x="744" y="371"/>
                  </a:cubicBezTo>
                  <a:lnTo>
                    <a:pt x="740" y="318"/>
                  </a:lnTo>
                  <a:lnTo>
                    <a:pt x="743" y="324"/>
                  </a:lnTo>
                  <a:lnTo>
                    <a:pt x="353" y="15"/>
                  </a:lnTo>
                  <a:lnTo>
                    <a:pt x="358" y="16"/>
                  </a:lnTo>
                  <a:lnTo>
                    <a:pt x="273" y="16"/>
                  </a:lnTo>
                  <a:lnTo>
                    <a:pt x="281" y="8"/>
                  </a:lnTo>
                  <a:lnTo>
                    <a:pt x="332" y="579"/>
                  </a:lnTo>
                  <a:cubicBezTo>
                    <a:pt x="332" y="581"/>
                    <a:pt x="332" y="583"/>
                    <a:pt x="330" y="585"/>
                  </a:cubicBezTo>
                  <a:cubicBezTo>
                    <a:pt x="329" y="586"/>
                    <a:pt x="327" y="587"/>
                    <a:pt x="325" y="588"/>
                  </a:cubicBezTo>
                  <a:lnTo>
                    <a:pt x="80" y="606"/>
                  </a:lnTo>
                  <a:cubicBezTo>
                    <a:pt x="78" y="606"/>
                    <a:pt x="76" y="605"/>
                    <a:pt x="74" y="603"/>
                  </a:cubicBezTo>
                  <a:lnTo>
                    <a:pt x="35" y="562"/>
                  </a:lnTo>
                  <a:lnTo>
                    <a:pt x="48" y="560"/>
                  </a:lnTo>
                  <a:lnTo>
                    <a:pt x="16" y="622"/>
                  </a:lnTo>
                  <a:lnTo>
                    <a:pt x="16" y="616"/>
                  </a:lnTo>
                  <a:lnTo>
                    <a:pt x="51" y="753"/>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64" name="Freeform 420"/>
            <p:cNvSpPr>
              <a:spLocks/>
            </p:cNvSpPr>
            <p:nvPr/>
          </p:nvSpPr>
          <p:spPr bwMode="auto">
            <a:xfrm>
              <a:off x="2504" y="1755"/>
              <a:ext cx="172" cy="172"/>
            </a:xfrm>
            <a:custGeom>
              <a:avLst/>
              <a:gdLst/>
              <a:ahLst/>
              <a:cxnLst>
                <a:cxn ang="0">
                  <a:pos x="0" y="86"/>
                </a:cxn>
                <a:cxn ang="0">
                  <a:pos x="11" y="96"/>
                </a:cxn>
                <a:cxn ang="0">
                  <a:pos x="13" y="122"/>
                </a:cxn>
                <a:cxn ang="0">
                  <a:pos x="5" y="154"/>
                </a:cxn>
                <a:cxn ang="0">
                  <a:pos x="37" y="147"/>
                </a:cxn>
                <a:cxn ang="0">
                  <a:pos x="70" y="172"/>
                </a:cxn>
                <a:cxn ang="0">
                  <a:pos x="79" y="157"/>
                </a:cxn>
                <a:cxn ang="0">
                  <a:pos x="91" y="167"/>
                </a:cxn>
                <a:cxn ang="0">
                  <a:pos x="163" y="163"/>
                </a:cxn>
                <a:cxn ang="0">
                  <a:pos x="147" y="32"/>
                </a:cxn>
                <a:cxn ang="0">
                  <a:pos x="172" y="32"/>
                </a:cxn>
                <a:cxn ang="0">
                  <a:pos x="120" y="0"/>
                </a:cxn>
                <a:cxn ang="0">
                  <a:pos x="119" y="17"/>
                </a:cxn>
                <a:cxn ang="0">
                  <a:pos x="73" y="16"/>
                </a:cxn>
                <a:cxn ang="0">
                  <a:pos x="72" y="52"/>
                </a:cxn>
                <a:cxn ang="0">
                  <a:pos x="56" y="59"/>
                </a:cxn>
                <a:cxn ang="0">
                  <a:pos x="57" y="81"/>
                </a:cxn>
                <a:cxn ang="0">
                  <a:pos x="0" y="86"/>
                </a:cxn>
              </a:cxnLst>
              <a:rect l="0" t="0" r="r" b="b"/>
              <a:pathLst>
                <a:path w="172" h="172">
                  <a:moveTo>
                    <a:pt x="0" y="86"/>
                  </a:moveTo>
                  <a:lnTo>
                    <a:pt x="11" y="96"/>
                  </a:lnTo>
                  <a:lnTo>
                    <a:pt x="13" y="122"/>
                  </a:lnTo>
                  <a:lnTo>
                    <a:pt x="5" y="154"/>
                  </a:lnTo>
                  <a:lnTo>
                    <a:pt x="37" y="147"/>
                  </a:lnTo>
                  <a:lnTo>
                    <a:pt x="70" y="172"/>
                  </a:lnTo>
                  <a:lnTo>
                    <a:pt x="79" y="157"/>
                  </a:lnTo>
                  <a:lnTo>
                    <a:pt x="91" y="167"/>
                  </a:lnTo>
                  <a:lnTo>
                    <a:pt x="163" y="163"/>
                  </a:lnTo>
                  <a:lnTo>
                    <a:pt x="147" y="32"/>
                  </a:lnTo>
                  <a:lnTo>
                    <a:pt x="172" y="32"/>
                  </a:lnTo>
                  <a:lnTo>
                    <a:pt x="120" y="0"/>
                  </a:lnTo>
                  <a:lnTo>
                    <a:pt x="119" y="17"/>
                  </a:lnTo>
                  <a:lnTo>
                    <a:pt x="73" y="16"/>
                  </a:lnTo>
                  <a:lnTo>
                    <a:pt x="72" y="52"/>
                  </a:lnTo>
                  <a:lnTo>
                    <a:pt x="56" y="59"/>
                  </a:lnTo>
                  <a:lnTo>
                    <a:pt x="57" y="81"/>
                  </a:lnTo>
                  <a:lnTo>
                    <a:pt x="0" y="86"/>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65" name="Freeform 421"/>
            <p:cNvSpPr>
              <a:spLocks noEditPoints="1"/>
            </p:cNvSpPr>
            <p:nvPr/>
          </p:nvSpPr>
          <p:spPr bwMode="auto">
            <a:xfrm>
              <a:off x="2502" y="1753"/>
              <a:ext cx="177" cy="176"/>
            </a:xfrm>
            <a:custGeom>
              <a:avLst/>
              <a:gdLst/>
              <a:ahLst/>
              <a:cxnLst>
                <a:cxn ang="0">
                  <a:pos x="15" y="381"/>
                </a:cxn>
                <a:cxn ang="0">
                  <a:pos x="52" y="429"/>
                </a:cxn>
                <a:cxn ang="0">
                  <a:pos x="59" y="544"/>
                </a:cxn>
                <a:cxn ang="0">
                  <a:pos x="22" y="677"/>
                </a:cxn>
                <a:cxn ang="0">
                  <a:pos x="140" y="647"/>
                </a:cxn>
                <a:cxn ang="0">
                  <a:pos x="240" y="757"/>
                </a:cxn>
                <a:cxn ang="0">
                  <a:pos x="279" y="690"/>
                </a:cxn>
                <a:cxn ang="0">
                  <a:pos x="325" y="735"/>
                </a:cxn>
                <a:cxn ang="0">
                  <a:pos x="566" y="714"/>
                </a:cxn>
                <a:cxn ang="0">
                  <a:pos x="506" y="149"/>
                </a:cxn>
                <a:cxn ang="0">
                  <a:pos x="514" y="140"/>
                </a:cxn>
                <a:cxn ang="0">
                  <a:pos x="596" y="154"/>
                </a:cxn>
                <a:cxn ang="0">
                  <a:pos x="428" y="9"/>
                </a:cxn>
                <a:cxn ang="0">
                  <a:pos x="415" y="92"/>
                </a:cxn>
                <a:cxn ang="0">
                  <a:pos x="267" y="81"/>
                </a:cxn>
                <a:cxn ang="0">
                  <a:pos x="259" y="246"/>
                </a:cxn>
                <a:cxn ang="0">
                  <a:pos x="209" y="267"/>
                </a:cxn>
                <a:cxn ang="0">
                  <a:pos x="204" y="371"/>
                </a:cxn>
                <a:cxn ang="0">
                  <a:pos x="202" y="355"/>
                </a:cxn>
                <a:cxn ang="0">
                  <a:pos x="193" y="267"/>
                </a:cxn>
                <a:cxn ang="0">
                  <a:pos x="252" y="231"/>
                </a:cxn>
                <a:cxn ang="0">
                  <a:pos x="251" y="81"/>
                </a:cxn>
                <a:cxn ang="0">
                  <a:pos x="259" y="73"/>
                </a:cxn>
                <a:cxn ang="0">
                  <a:pos x="407" y="84"/>
                </a:cxn>
                <a:cxn ang="0">
                  <a:pos x="416" y="1"/>
                </a:cxn>
                <a:cxn ang="0">
                  <a:pos x="605" y="141"/>
                </a:cxn>
                <a:cxn ang="0">
                  <a:pos x="600" y="156"/>
                </a:cxn>
                <a:cxn ang="0">
                  <a:pos x="522" y="147"/>
                </a:cxn>
                <a:cxn ang="0">
                  <a:pos x="573" y="727"/>
                </a:cxn>
                <a:cxn ang="0">
                  <a:pos x="320" y="748"/>
                </a:cxn>
                <a:cxn ang="0">
                  <a:pos x="274" y="704"/>
                </a:cxn>
                <a:cxn ang="0">
                  <a:pos x="254" y="764"/>
                </a:cxn>
                <a:cxn ang="0">
                  <a:pos x="242" y="766"/>
                </a:cxn>
                <a:cxn ang="0">
                  <a:pos x="136" y="661"/>
                </a:cxn>
                <a:cxn ang="0">
                  <a:pos x="19" y="691"/>
                </a:cxn>
                <a:cxn ang="0">
                  <a:pos x="43" y="541"/>
                </a:cxn>
                <a:cxn ang="0">
                  <a:pos x="36" y="430"/>
                </a:cxn>
                <a:cxn ang="0">
                  <a:pos x="2" y="391"/>
                </a:cxn>
                <a:cxn ang="0">
                  <a:pos x="8" y="378"/>
                </a:cxn>
              </a:cxnLst>
              <a:rect l="0" t="0" r="r" b="b"/>
              <a:pathLst>
                <a:path w="609" h="769">
                  <a:moveTo>
                    <a:pt x="9" y="394"/>
                  </a:moveTo>
                  <a:lnTo>
                    <a:pt x="15" y="381"/>
                  </a:lnTo>
                  <a:lnTo>
                    <a:pt x="50" y="425"/>
                  </a:lnTo>
                  <a:cubicBezTo>
                    <a:pt x="51" y="426"/>
                    <a:pt x="52" y="428"/>
                    <a:pt x="52" y="429"/>
                  </a:cubicBezTo>
                  <a:lnTo>
                    <a:pt x="59" y="542"/>
                  </a:lnTo>
                  <a:cubicBezTo>
                    <a:pt x="59" y="542"/>
                    <a:pt x="59" y="543"/>
                    <a:pt x="59" y="544"/>
                  </a:cubicBezTo>
                  <a:lnTo>
                    <a:pt x="32" y="686"/>
                  </a:lnTo>
                  <a:lnTo>
                    <a:pt x="22" y="677"/>
                  </a:lnTo>
                  <a:lnTo>
                    <a:pt x="132" y="645"/>
                  </a:lnTo>
                  <a:cubicBezTo>
                    <a:pt x="135" y="645"/>
                    <a:pt x="138" y="645"/>
                    <a:pt x="140" y="647"/>
                  </a:cubicBezTo>
                  <a:lnTo>
                    <a:pt x="253" y="755"/>
                  </a:lnTo>
                  <a:lnTo>
                    <a:pt x="240" y="757"/>
                  </a:lnTo>
                  <a:lnTo>
                    <a:pt x="273" y="695"/>
                  </a:lnTo>
                  <a:cubicBezTo>
                    <a:pt x="274" y="692"/>
                    <a:pt x="276" y="691"/>
                    <a:pt x="279" y="690"/>
                  </a:cubicBezTo>
                  <a:cubicBezTo>
                    <a:pt x="281" y="690"/>
                    <a:pt x="284" y="691"/>
                    <a:pt x="286" y="693"/>
                  </a:cubicBezTo>
                  <a:lnTo>
                    <a:pt x="325" y="735"/>
                  </a:lnTo>
                  <a:lnTo>
                    <a:pt x="319" y="732"/>
                  </a:lnTo>
                  <a:lnTo>
                    <a:pt x="566" y="714"/>
                  </a:lnTo>
                  <a:lnTo>
                    <a:pt x="559" y="723"/>
                  </a:lnTo>
                  <a:lnTo>
                    <a:pt x="506" y="149"/>
                  </a:lnTo>
                  <a:cubicBezTo>
                    <a:pt x="506" y="146"/>
                    <a:pt x="507" y="144"/>
                    <a:pt x="508" y="142"/>
                  </a:cubicBezTo>
                  <a:cubicBezTo>
                    <a:pt x="510" y="141"/>
                    <a:pt x="512" y="140"/>
                    <a:pt x="514" y="140"/>
                  </a:cubicBezTo>
                  <a:lnTo>
                    <a:pt x="600" y="140"/>
                  </a:lnTo>
                  <a:lnTo>
                    <a:pt x="596" y="154"/>
                  </a:lnTo>
                  <a:lnTo>
                    <a:pt x="415" y="15"/>
                  </a:lnTo>
                  <a:lnTo>
                    <a:pt x="428" y="9"/>
                  </a:lnTo>
                  <a:lnTo>
                    <a:pt x="423" y="84"/>
                  </a:lnTo>
                  <a:cubicBezTo>
                    <a:pt x="423" y="89"/>
                    <a:pt x="420" y="92"/>
                    <a:pt x="415" y="92"/>
                  </a:cubicBezTo>
                  <a:lnTo>
                    <a:pt x="258" y="89"/>
                  </a:lnTo>
                  <a:lnTo>
                    <a:pt x="267" y="81"/>
                  </a:lnTo>
                  <a:lnTo>
                    <a:pt x="264" y="239"/>
                  </a:lnTo>
                  <a:cubicBezTo>
                    <a:pt x="264" y="242"/>
                    <a:pt x="262" y="244"/>
                    <a:pt x="259" y="246"/>
                  </a:cubicBezTo>
                  <a:lnTo>
                    <a:pt x="204" y="274"/>
                  </a:lnTo>
                  <a:lnTo>
                    <a:pt x="209" y="267"/>
                  </a:lnTo>
                  <a:lnTo>
                    <a:pt x="211" y="362"/>
                  </a:lnTo>
                  <a:cubicBezTo>
                    <a:pt x="212" y="367"/>
                    <a:pt x="209" y="370"/>
                    <a:pt x="204" y="371"/>
                  </a:cubicBezTo>
                  <a:lnTo>
                    <a:pt x="9" y="394"/>
                  </a:lnTo>
                  <a:close/>
                  <a:moveTo>
                    <a:pt x="202" y="355"/>
                  </a:moveTo>
                  <a:lnTo>
                    <a:pt x="195" y="363"/>
                  </a:lnTo>
                  <a:lnTo>
                    <a:pt x="193" y="267"/>
                  </a:lnTo>
                  <a:cubicBezTo>
                    <a:pt x="193" y="264"/>
                    <a:pt x="194" y="261"/>
                    <a:pt x="197" y="260"/>
                  </a:cubicBezTo>
                  <a:lnTo>
                    <a:pt x="252" y="231"/>
                  </a:lnTo>
                  <a:lnTo>
                    <a:pt x="248" y="238"/>
                  </a:lnTo>
                  <a:lnTo>
                    <a:pt x="251" y="81"/>
                  </a:lnTo>
                  <a:cubicBezTo>
                    <a:pt x="251" y="78"/>
                    <a:pt x="251" y="76"/>
                    <a:pt x="253" y="75"/>
                  </a:cubicBezTo>
                  <a:cubicBezTo>
                    <a:pt x="255" y="73"/>
                    <a:pt x="257" y="73"/>
                    <a:pt x="259" y="73"/>
                  </a:cubicBezTo>
                  <a:lnTo>
                    <a:pt x="416" y="76"/>
                  </a:lnTo>
                  <a:lnTo>
                    <a:pt x="407" y="84"/>
                  </a:lnTo>
                  <a:lnTo>
                    <a:pt x="412" y="8"/>
                  </a:lnTo>
                  <a:cubicBezTo>
                    <a:pt x="412" y="5"/>
                    <a:pt x="414" y="2"/>
                    <a:pt x="416" y="1"/>
                  </a:cubicBezTo>
                  <a:cubicBezTo>
                    <a:pt x="419" y="0"/>
                    <a:pt x="422" y="0"/>
                    <a:pt x="425" y="2"/>
                  </a:cubicBezTo>
                  <a:lnTo>
                    <a:pt x="605" y="141"/>
                  </a:lnTo>
                  <a:cubicBezTo>
                    <a:pt x="608" y="144"/>
                    <a:pt x="609" y="147"/>
                    <a:pt x="608" y="150"/>
                  </a:cubicBezTo>
                  <a:cubicBezTo>
                    <a:pt x="607" y="154"/>
                    <a:pt x="604" y="156"/>
                    <a:pt x="600" y="156"/>
                  </a:cubicBezTo>
                  <a:lnTo>
                    <a:pt x="514" y="156"/>
                  </a:lnTo>
                  <a:lnTo>
                    <a:pt x="522" y="147"/>
                  </a:lnTo>
                  <a:lnTo>
                    <a:pt x="575" y="721"/>
                  </a:lnTo>
                  <a:cubicBezTo>
                    <a:pt x="575" y="723"/>
                    <a:pt x="574" y="725"/>
                    <a:pt x="573" y="727"/>
                  </a:cubicBezTo>
                  <a:cubicBezTo>
                    <a:pt x="571" y="729"/>
                    <a:pt x="569" y="730"/>
                    <a:pt x="567" y="730"/>
                  </a:cubicBezTo>
                  <a:lnTo>
                    <a:pt x="320" y="748"/>
                  </a:lnTo>
                  <a:cubicBezTo>
                    <a:pt x="317" y="748"/>
                    <a:pt x="315" y="748"/>
                    <a:pt x="313" y="746"/>
                  </a:cubicBezTo>
                  <a:lnTo>
                    <a:pt x="274" y="704"/>
                  </a:lnTo>
                  <a:lnTo>
                    <a:pt x="287" y="702"/>
                  </a:lnTo>
                  <a:lnTo>
                    <a:pt x="254" y="764"/>
                  </a:lnTo>
                  <a:cubicBezTo>
                    <a:pt x="253" y="766"/>
                    <a:pt x="251" y="768"/>
                    <a:pt x="249" y="768"/>
                  </a:cubicBezTo>
                  <a:cubicBezTo>
                    <a:pt x="246" y="769"/>
                    <a:pt x="244" y="768"/>
                    <a:pt x="242" y="766"/>
                  </a:cubicBezTo>
                  <a:lnTo>
                    <a:pt x="129" y="659"/>
                  </a:lnTo>
                  <a:lnTo>
                    <a:pt x="136" y="661"/>
                  </a:lnTo>
                  <a:lnTo>
                    <a:pt x="26" y="693"/>
                  </a:lnTo>
                  <a:cubicBezTo>
                    <a:pt x="24" y="693"/>
                    <a:pt x="21" y="693"/>
                    <a:pt x="19" y="691"/>
                  </a:cubicBezTo>
                  <a:cubicBezTo>
                    <a:pt x="17" y="689"/>
                    <a:pt x="16" y="686"/>
                    <a:pt x="16" y="683"/>
                  </a:cubicBezTo>
                  <a:lnTo>
                    <a:pt x="43" y="541"/>
                  </a:lnTo>
                  <a:lnTo>
                    <a:pt x="43" y="543"/>
                  </a:lnTo>
                  <a:lnTo>
                    <a:pt x="36" y="430"/>
                  </a:lnTo>
                  <a:lnTo>
                    <a:pt x="38" y="435"/>
                  </a:lnTo>
                  <a:lnTo>
                    <a:pt x="2" y="391"/>
                  </a:lnTo>
                  <a:cubicBezTo>
                    <a:pt x="0" y="389"/>
                    <a:pt x="0" y="386"/>
                    <a:pt x="1" y="383"/>
                  </a:cubicBezTo>
                  <a:cubicBezTo>
                    <a:pt x="2" y="380"/>
                    <a:pt x="5" y="379"/>
                    <a:pt x="8" y="378"/>
                  </a:cubicBezTo>
                  <a:lnTo>
                    <a:pt x="202" y="355"/>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66" name="Freeform 422"/>
            <p:cNvSpPr>
              <a:spLocks/>
            </p:cNvSpPr>
            <p:nvPr/>
          </p:nvSpPr>
          <p:spPr bwMode="auto">
            <a:xfrm>
              <a:off x="2560" y="1634"/>
              <a:ext cx="163" cy="117"/>
            </a:xfrm>
            <a:custGeom>
              <a:avLst/>
              <a:gdLst/>
              <a:ahLst/>
              <a:cxnLst>
                <a:cxn ang="0">
                  <a:pos x="0" y="116"/>
                </a:cxn>
                <a:cxn ang="0">
                  <a:pos x="40" y="93"/>
                </a:cxn>
                <a:cxn ang="0">
                  <a:pos x="55" y="47"/>
                </a:cxn>
                <a:cxn ang="0">
                  <a:pos x="89" y="23"/>
                </a:cxn>
                <a:cxn ang="0">
                  <a:pos x="100" y="0"/>
                </a:cxn>
                <a:cxn ang="0">
                  <a:pos x="150" y="7"/>
                </a:cxn>
                <a:cxn ang="0">
                  <a:pos x="163" y="51"/>
                </a:cxn>
                <a:cxn ang="0">
                  <a:pos x="140" y="52"/>
                </a:cxn>
                <a:cxn ang="0">
                  <a:pos x="128" y="57"/>
                </a:cxn>
                <a:cxn ang="0">
                  <a:pos x="130" y="69"/>
                </a:cxn>
                <a:cxn ang="0">
                  <a:pos x="68" y="95"/>
                </a:cxn>
                <a:cxn ang="0">
                  <a:pos x="60" y="117"/>
                </a:cxn>
                <a:cxn ang="0">
                  <a:pos x="0" y="116"/>
                </a:cxn>
              </a:cxnLst>
              <a:rect l="0" t="0" r="r" b="b"/>
              <a:pathLst>
                <a:path w="163" h="117">
                  <a:moveTo>
                    <a:pt x="0" y="116"/>
                  </a:moveTo>
                  <a:lnTo>
                    <a:pt x="40" y="93"/>
                  </a:lnTo>
                  <a:lnTo>
                    <a:pt x="55" y="47"/>
                  </a:lnTo>
                  <a:lnTo>
                    <a:pt x="89" y="23"/>
                  </a:lnTo>
                  <a:lnTo>
                    <a:pt x="100" y="0"/>
                  </a:lnTo>
                  <a:lnTo>
                    <a:pt x="150" y="7"/>
                  </a:lnTo>
                  <a:lnTo>
                    <a:pt x="163" y="51"/>
                  </a:lnTo>
                  <a:lnTo>
                    <a:pt x="140" y="52"/>
                  </a:lnTo>
                  <a:lnTo>
                    <a:pt x="128" y="57"/>
                  </a:lnTo>
                  <a:lnTo>
                    <a:pt x="130" y="69"/>
                  </a:lnTo>
                  <a:lnTo>
                    <a:pt x="68" y="95"/>
                  </a:lnTo>
                  <a:lnTo>
                    <a:pt x="60" y="117"/>
                  </a:lnTo>
                  <a:lnTo>
                    <a:pt x="0" y="116"/>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67" name="Freeform 423"/>
            <p:cNvSpPr>
              <a:spLocks noEditPoints="1"/>
            </p:cNvSpPr>
            <p:nvPr/>
          </p:nvSpPr>
          <p:spPr bwMode="auto">
            <a:xfrm>
              <a:off x="2558" y="1632"/>
              <a:ext cx="167" cy="121"/>
            </a:xfrm>
            <a:custGeom>
              <a:avLst/>
              <a:gdLst/>
              <a:ahLst/>
              <a:cxnLst>
                <a:cxn ang="0">
                  <a:pos x="8" y="522"/>
                </a:cxn>
                <a:cxn ang="0">
                  <a:pos x="1" y="516"/>
                </a:cxn>
                <a:cxn ang="0">
                  <a:pos x="4" y="507"/>
                </a:cxn>
                <a:cxn ang="0">
                  <a:pos x="141" y="409"/>
                </a:cxn>
                <a:cxn ang="0">
                  <a:pos x="138" y="414"/>
                </a:cxn>
                <a:cxn ang="0">
                  <a:pos x="188" y="210"/>
                </a:cxn>
                <a:cxn ang="0">
                  <a:pos x="190" y="206"/>
                </a:cxn>
                <a:cxn ang="0">
                  <a:pos x="307" y="104"/>
                </a:cxn>
                <a:cxn ang="0">
                  <a:pos x="305" y="107"/>
                </a:cxn>
                <a:cxn ang="0">
                  <a:pos x="344" y="6"/>
                </a:cxn>
                <a:cxn ang="0">
                  <a:pos x="353" y="1"/>
                </a:cxn>
                <a:cxn ang="0">
                  <a:pos x="525" y="32"/>
                </a:cxn>
                <a:cxn ang="0">
                  <a:pos x="531" y="38"/>
                </a:cxn>
                <a:cxn ang="0">
                  <a:pos x="576" y="230"/>
                </a:cxn>
                <a:cxn ang="0">
                  <a:pos x="575" y="237"/>
                </a:cxn>
                <a:cxn ang="0">
                  <a:pos x="569" y="240"/>
                </a:cxn>
                <a:cxn ang="0">
                  <a:pos x="492" y="245"/>
                </a:cxn>
                <a:cxn ang="0">
                  <a:pos x="495" y="244"/>
                </a:cxn>
                <a:cxn ang="0">
                  <a:pos x="454" y="264"/>
                </a:cxn>
                <a:cxn ang="0">
                  <a:pos x="458" y="256"/>
                </a:cxn>
                <a:cxn ang="0">
                  <a:pos x="465" y="308"/>
                </a:cxn>
                <a:cxn ang="0">
                  <a:pos x="461" y="316"/>
                </a:cxn>
                <a:cxn ang="0">
                  <a:pos x="246" y="429"/>
                </a:cxn>
                <a:cxn ang="0">
                  <a:pos x="250" y="424"/>
                </a:cxn>
                <a:cxn ang="0">
                  <a:pos x="224" y="523"/>
                </a:cxn>
                <a:cxn ang="0">
                  <a:pos x="216" y="528"/>
                </a:cxn>
                <a:cxn ang="0">
                  <a:pos x="8" y="522"/>
                </a:cxn>
                <a:cxn ang="0">
                  <a:pos x="216" y="512"/>
                </a:cxn>
                <a:cxn ang="0">
                  <a:pos x="208" y="518"/>
                </a:cxn>
                <a:cxn ang="0">
                  <a:pos x="235" y="420"/>
                </a:cxn>
                <a:cxn ang="0">
                  <a:pos x="239" y="415"/>
                </a:cxn>
                <a:cxn ang="0">
                  <a:pos x="453" y="302"/>
                </a:cxn>
                <a:cxn ang="0">
                  <a:pos x="449" y="310"/>
                </a:cxn>
                <a:cxn ang="0">
                  <a:pos x="442" y="258"/>
                </a:cxn>
                <a:cxn ang="0">
                  <a:pos x="447" y="250"/>
                </a:cxn>
                <a:cxn ang="0">
                  <a:pos x="488" y="230"/>
                </a:cxn>
                <a:cxn ang="0">
                  <a:pos x="491" y="229"/>
                </a:cxn>
                <a:cxn ang="0">
                  <a:pos x="568" y="224"/>
                </a:cxn>
                <a:cxn ang="0">
                  <a:pos x="561" y="234"/>
                </a:cxn>
                <a:cxn ang="0">
                  <a:pos x="515" y="42"/>
                </a:cxn>
                <a:cxn ang="0">
                  <a:pos x="522" y="48"/>
                </a:cxn>
                <a:cxn ang="0">
                  <a:pos x="350" y="16"/>
                </a:cxn>
                <a:cxn ang="0">
                  <a:pos x="359" y="11"/>
                </a:cxn>
                <a:cxn ang="0">
                  <a:pos x="320" y="113"/>
                </a:cxn>
                <a:cxn ang="0">
                  <a:pos x="318" y="116"/>
                </a:cxn>
                <a:cxn ang="0">
                  <a:pos x="201" y="218"/>
                </a:cxn>
                <a:cxn ang="0">
                  <a:pos x="203" y="214"/>
                </a:cxn>
                <a:cxn ang="0">
                  <a:pos x="154" y="417"/>
                </a:cxn>
                <a:cxn ang="0">
                  <a:pos x="151" y="422"/>
                </a:cxn>
                <a:cxn ang="0">
                  <a:pos x="13" y="520"/>
                </a:cxn>
                <a:cxn ang="0">
                  <a:pos x="9" y="506"/>
                </a:cxn>
                <a:cxn ang="0">
                  <a:pos x="216" y="512"/>
                </a:cxn>
              </a:cxnLst>
              <a:rect l="0" t="0" r="r" b="b"/>
              <a:pathLst>
                <a:path w="577" h="529">
                  <a:moveTo>
                    <a:pt x="8" y="522"/>
                  </a:moveTo>
                  <a:cubicBezTo>
                    <a:pt x="5" y="522"/>
                    <a:pt x="2" y="519"/>
                    <a:pt x="1" y="516"/>
                  </a:cubicBezTo>
                  <a:cubicBezTo>
                    <a:pt x="0" y="513"/>
                    <a:pt x="1" y="509"/>
                    <a:pt x="4" y="507"/>
                  </a:cubicBezTo>
                  <a:lnTo>
                    <a:pt x="141" y="409"/>
                  </a:lnTo>
                  <a:lnTo>
                    <a:pt x="138" y="414"/>
                  </a:lnTo>
                  <a:lnTo>
                    <a:pt x="188" y="210"/>
                  </a:lnTo>
                  <a:cubicBezTo>
                    <a:pt x="188" y="208"/>
                    <a:pt x="189" y="207"/>
                    <a:pt x="190" y="206"/>
                  </a:cubicBezTo>
                  <a:lnTo>
                    <a:pt x="307" y="104"/>
                  </a:lnTo>
                  <a:lnTo>
                    <a:pt x="305" y="107"/>
                  </a:lnTo>
                  <a:lnTo>
                    <a:pt x="344" y="6"/>
                  </a:lnTo>
                  <a:cubicBezTo>
                    <a:pt x="345" y="2"/>
                    <a:pt x="349" y="0"/>
                    <a:pt x="353" y="1"/>
                  </a:cubicBezTo>
                  <a:lnTo>
                    <a:pt x="525" y="32"/>
                  </a:lnTo>
                  <a:cubicBezTo>
                    <a:pt x="528" y="33"/>
                    <a:pt x="530" y="35"/>
                    <a:pt x="531" y="38"/>
                  </a:cubicBezTo>
                  <a:lnTo>
                    <a:pt x="576" y="230"/>
                  </a:lnTo>
                  <a:cubicBezTo>
                    <a:pt x="577" y="232"/>
                    <a:pt x="576" y="235"/>
                    <a:pt x="575" y="237"/>
                  </a:cubicBezTo>
                  <a:cubicBezTo>
                    <a:pt x="573" y="239"/>
                    <a:pt x="571" y="240"/>
                    <a:pt x="569" y="240"/>
                  </a:cubicBezTo>
                  <a:lnTo>
                    <a:pt x="492" y="245"/>
                  </a:lnTo>
                  <a:lnTo>
                    <a:pt x="495" y="244"/>
                  </a:lnTo>
                  <a:lnTo>
                    <a:pt x="454" y="264"/>
                  </a:lnTo>
                  <a:lnTo>
                    <a:pt x="458" y="256"/>
                  </a:lnTo>
                  <a:lnTo>
                    <a:pt x="465" y="308"/>
                  </a:lnTo>
                  <a:cubicBezTo>
                    <a:pt x="465" y="311"/>
                    <a:pt x="464" y="314"/>
                    <a:pt x="461" y="316"/>
                  </a:cubicBezTo>
                  <a:lnTo>
                    <a:pt x="246" y="429"/>
                  </a:lnTo>
                  <a:lnTo>
                    <a:pt x="250" y="424"/>
                  </a:lnTo>
                  <a:lnTo>
                    <a:pt x="224" y="523"/>
                  </a:lnTo>
                  <a:cubicBezTo>
                    <a:pt x="223" y="526"/>
                    <a:pt x="220" y="529"/>
                    <a:pt x="216" y="528"/>
                  </a:cubicBezTo>
                  <a:lnTo>
                    <a:pt x="8" y="522"/>
                  </a:lnTo>
                  <a:close/>
                  <a:moveTo>
                    <a:pt x="216" y="512"/>
                  </a:moveTo>
                  <a:lnTo>
                    <a:pt x="208" y="518"/>
                  </a:lnTo>
                  <a:lnTo>
                    <a:pt x="235" y="420"/>
                  </a:lnTo>
                  <a:cubicBezTo>
                    <a:pt x="235" y="418"/>
                    <a:pt x="237" y="416"/>
                    <a:pt x="239" y="415"/>
                  </a:cubicBezTo>
                  <a:lnTo>
                    <a:pt x="453" y="302"/>
                  </a:lnTo>
                  <a:lnTo>
                    <a:pt x="449" y="310"/>
                  </a:lnTo>
                  <a:lnTo>
                    <a:pt x="442" y="258"/>
                  </a:lnTo>
                  <a:cubicBezTo>
                    <a:pt x="442" y="255"/>
                    <a:pt x="444" y="251"/>
                    <a:pt x="447" y="250"/>
                  </a:cubicBezTo>
                  <a:lnTo>
                    <a:pt x="488" y="230"/>
                  </a:lnTo>
                  <a:cubicBezTo>
                    <a:pt x="489" y="229"/>
                    <a:pt x="490" y="229"/>
                    <a:pt x="491" y="229"/>
                  </a:cubicBezTo>
                  <a:lnTo>
                    <a:pt x="568" y="224"/>
                  </a:lnTo>
                  <a:lnTo>
                    <a:pt x="561" y="234"/>
                  </a:lnTo>
                  <a:lnTo>
                    <a:pt x="515" y="42"/>
                  </a:lnTo>
                  <a:lnTo>
                    <a:pt x="522" y="48"/>
                  </a:lnTo>
                  <a:lnTo>
                    <a:pt x="350" y="16"/>
                  </a:lnTo>
                  <a:lnTo>
                    <a:pt x="359" y="11"/>
                  </a:lnTo>
                  <a:lnTo>
                    <a:pt x="320" y="113"/>
                  </a:lnTo>
                  <a:cubicBezTo>
                    <a:pt x="320" y="114"/>
                    <a:pt x="319" y="115"/>
                    <a:pt x="318" y="116"/>
                  </a:cubicBezTo>
                  <a:lnTo>
                    <a:pt x="201" y="218"/>
                  </a:lnTo>
                  <a:lnTo>
                    <a:pt x="203" y="214"/>
                  </a:lnTo>
                  <a:lnTo>
                    <a:pt x="154" y="417"/>
                  </a:lnTo>
                  <a:cubicBezTo>
                    <a:pt x="153" y="419"/>
                    <a:pt x="152" y="421"/>
                    <a:pt x="151" y="422"/>
                  </a:cubicBezTo>
                  <a:lnTo>
                    <a:pt x="13" y="520"/>
                  </a:lnTo>
                  <a:lnTo>
                    <a:pt x="9" y="506"/>
                  </a:lnTo>
                  <a:lnTo>
                    <a:pt x="216" y="512"/>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68" name="Freeform 424"/>
            <p:cNvSpPr>
              <a:spLocks/>
            </p:cNvSpPr>
            <p:nvPr/>
          </p:nvSpPr>
          <p:spPr bwMode="auto">
            <a:xfrm>
              <a:off x="3159" y="2259"/>
              <a:ext cx="148" cy="224"/>
            </a:xfrm>
            <a:custGeom>
              <a:avLst/>
              <a:gdLst/>
              <a:ahLst/>
              <a:cxnLst>
                <a:cxn ang="0">
                  <a:pos x="0" y="63"/>
                </a:cxn>
                <a:cxn ang="0">
                  <a:pos x="4" y="70"/>
                </a:cxn>
                <a:cxn ang="0">
                  <a:pos x="39" y="80"/>
                </a:cxn>
                <a:cxn ang="0">
                  <a:pos x="42" y="94"/>
                </a:cxn>
                <a:cxn ang="0">
                  <a:pos x="40" y="129"/>
                </a:cxn>
                <a:cxn ang="0">
                  <a:pos x="22" y="167"/>
                </a:cxn>
                <a:cxn ang="0">
                  <a:pos x="27" y="210"/>
                </a:cxn>
                <a:cxn ang="0">
                  <a:pos x="29" y="224"/>
                </a:cxn>
                <a:cxn ang="0">
                  <a:pos x="40" y="224"/>
                </a:cxn>
                <a:cxn ang="0">
                  <a:pos x="40" y="209"/>
                </a:cxn>
                <a:cxn ang="0">
                  <a:pos x="76" y="189"/>
                </a:cxn>
                <a:cxn ang="0">
                  <a:pos x="66" y="129"/>
                </a:cxn>
                <a:cxn ang="0">
                  <a:pos x="147" y="69"/>
                </a:cxn>
                <a:cxn ang="0">
                  <a:pos x="148" y="0"/>
                </a:cxn>
                <a:cxn ang="0">
                  <a:pos x="128" y="13"/>
                </a:cxn>
                <a:cxn ang="0">
                  <a:pos x="71" y="16"/>
                </a:cxn>
                <a:cxn ang="0">
                  <a:pos x="70" y="41"/>
                </a:cxn>
                <a:cxn ang="0">
                  <a:pos x="84" y="61"/>
                </a:cxn>
                <a:cxn ang="0">
                  <a:pos x="76" y="91"/>
                </a:cxn>
                <a:cxn ang="0">
                  <a:pos x="60" y="75"/>
                </a:cxn>
                <a:cxn ang="0">
                  <a:pos x="63" y="55"/>
                </a:cxn>
                <a:cxn ang="0">
                  <a:pos x="45" y="50"/>
                </a:cxn>
                <a:cxn ang="0">
                  <a:pos x="0" y="63"/>
                </a:cxn>
              </a:cxnLst>
              <a:rect l="0" t="0" r="r" b="b"/>
              <a:pathLst>
                <a:path w="148" h="224">
                  <a:moveTo>
                    <a:pt x="0" y="63"/>
                  </a:moveTo>
                  <a:lnTo>
                    <a:pt x="4" y="70"/>
                  </a:lnTo>
                  <a:lnTo>
                    <a:pt x="39" y="80"/>
                  </a:lnTo>
                  <a:lnTo>
                    <a:pt x="42" y="94"/>
                  </a:lnTo>
                  <a:lnTo>
                    <a:pt x="40" y="129"/>
                  </a:lnTo>
                  <a:lnTo>
                    <a:pt x="22" y="167"/>
                  </a:lnTo>
                  <a:lnTo>
                    <a:pt x="27" y="210"/>
                  </a:lnTo>
                  <a:lnTo>
                    <a:pt x="29" y="224"/>
                  </a:lnTo>
                  <a:lnTo>
                    <a:pt x="40" y="224"/>
                  </a:lnTo>
                  <a:lnTo>
                    <a:pt x="40" y="209"/>
                  </a:lnTo>
                  <a:lnTo>
                    <a:pt x="76" y="189"/>
                  </a:lnTo>
                  <a:lnTo>
                    <a:pt x="66" y="129"/>
                  </a:lnTo>
                  <a:lnTo>
                    <a:pt x="147" y="69"/>
                  </a:lnTo>
                  <a:lnTo>
                    <a:pt x="148" y="0"/>
                  </a:lnTo>
                  <a:lnTo>
                    <a:pt x="128" y="13"/>
                  </a:lnTo>
                  <a:lnTo>
                    <a:pt x="71" y="16"/>
                  </a:lnTo>
                  <a:lnTo>
                    <a:pt x="70" y="41"/>
                  </a:lnTo>
                  <a:lnTo>
                    <a:pt x="84" y="61"/>
                  </a:lnTo>
                  <a:lnTo>
                    <a:pt x="76" y="91"/>
                  </a:lnTo>
                  <a:lnTo>
                    <a:pt x="60" y="75"/>
                  </a:lnTo>
                  <a:lnTo>
                    <a:pt x="63" y="55"/>
                  </a:lnTo>
                  <a:lnTo>
                    <a:pt x="45" y="50"/>
                  </a:lnTo>
                  <a:lnTo>
                    <a:pt x="0" y="63"/>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69" name="Freeform 425"/>
            <p:cNvSpPr>
              <a:spLocks noEditPoints="1"/>
            </p:cNvSpPr>
            <p:nvPr/>
          </p:nvSpPr>
          <p:spPr bwMode="auto">
            <a:xfrm>
              <a:off x="3156" y="2258"/>
              <a:ext cx="154" cy="226"/>
            </a:xfrm>
            <a:custGeom>
              <a:avLst/>
              <a:gdLst/>
              <a:ahLst/>
              <a:cxnLst>
                <a:cxn ang="0">
                  <a:pos x="16" y="277"/>
                </a:cxn>
                <a:cxn ang="0">
                  <a:pos x="25" y="303"/>
                </a:cxn>
                <a:cxn ang="0">
                  <a:pos x="150" y="355"/>
                </a:cxn>
                <a:cxn ang="0">
                  <a:pos x="162" y="417"/>
                </a:cxn>
                <a:cxn ang="0">
                  <a:pos x="155" y="575"/>
                </a:cxn>
                <a:cxn ang="0">
                  <a:pos x="92" y="734"/>
                </a:cxn>
                <a:cxn ang="0">
                  <a:pos x="116" y="984"/>
                </a:cxn>
                <a:cxn ang="0">
                  <a:pos x="146" y="976"/>
                </a:cxn>
                <a:cxn ang="0">
                  <a:pos x="138" y="920"/>
                </a:cxn>
                <a:cxn ang="0">
                  <a:pos x="268" y="826"/>
                </a:cxn>
                <a:cxn ang="0">
                  <a:pos x="228" y="574"/>
                </a:cxn>
                <a:cxn ang="0">
                  <a:pos x="511" y="303"/>
                </a:cxn>
                <a:cxn ang="0">
                  <a:pos x="512" y="8"/>
                </a:cxn>
                <a:cxn ang="0">
                  <a:pos x="454" y="67"/>
                </a:cxn>
                <a:cxn ang="0">
                  <a:pos x="255" y="84"/>
                </a:cxn>
                <a:cxn ang="0">
                  <a:pos x="258" y="186"/>
                </a:cxn>
                <a:cxn ang="0">
                  <a:pos x="307" y="268"/>
                </a:cxn>
                <a:cxn ang="0">
                  <a:pos x="279" y="404"/>
                </a:cxn>
                <a:cxn ang="0">
                  <a:pos x="264" y="407"/>
                </a:cxn>
                <a:cxn ang="0">
                  <a:pos x="209" y="334"/>
                </a:cxn>
                <a:cxn ang="0">
                  <a:pos x="223" y="252"/>
                </a:cxn>
                <a:cxn ang="0">
                  <a:pos x="167" y="230"/>
                </a:cxn>
                <a:cxn ang="0">
                  <a:pos x="161" y="215"/>
                </a:cxn>
                <a:cxn ang="0">
                  <a:pos x="229" y="237"/>
                </a:cxn>
                <a:cxn ang="0">
                  <a:pos x="225" y="335"/>
                </a:cxn>
                <a:cxn ang="0">
                  <a:pos x="277" y="397"/>
                </a:cxn>
                <a:cxn ang="0">
                  <a:pos x="292" y="270"/>
                </a:cxn>
                <a:cxn ang="0">
                  <a:pos x="243" y="190"/>
                </a:cxn>
                <a:cxn ang="0">
                  <a:pos x="246" y="76"/>
                </a:cxn>
                <a:cxn ang="0">
                  <a:pos x="448" y="53"/>
                </a:cxn>
                <a:cxn ang="0">
                  <a:pos x="516" y="2"/>
                </a:cxn>
                <a:cxn ang="0">
                  <a:pos x="528" y="9"/>
                </a:cxn>
                <a:cxn ang="0">
                  <a:pos x="522" y="315"/>
                </a:cxn>
                <a:cxn ang="0">
                  <a:pos x="244" y="571"/>
                </a:cxn>
                <a:cxn ang="0">
                  <a:pos x="277" y="839"/>
                </a:cxn>
                <a:cxn ang="0">
                  <a:pos x="154" y="920"/>
                </a:cxn>
                <a:cxn ang="0">
                  <a:pos x="146" y="992"/>
                </a:cxn>
                <a:cxn ang="0">
                  <a:pos x="100" y="985"/>
                </a:cxn>
                <a:cxn ang="0">
                  <a:pos x="76" y="735"/>
                </a:cxn>
                <a:cxn ang="0">
                  <a:pos x="140" y="570"/>
                </a:cxn>
                <a:cxn ang="0">
                  <a:pos x="146" y="417"/>
                </a:cxn>
                <a:cxn ang="0">
                  <a:pos x="134" y="358"/>
                </a:cxn>
                <a:cxn ang="0">
                  <a:pos x="20" y="318"/>
                </a:cxn>
                <a:cxn ang="0">
                  <a:pos x="1" y="284"/>
                </a:cxn>
                <a:cxn ang="0">
                  <a:pos x="6" y="273"/>
                </a:cxn>
              </a:cxnLst>
              <a:rect l="0" t="0" r="r" b="b"/>
              <a:pathLst>
                <a:path w="529" h="992">
                  <a:moveTo>
                    <a:pt x="11" y="288"/>
                  </a:moveTo>
                  <a:lnTo>
                    <a:pt x="16" y="277"/>
                  </a:lnTo>
                  <a:lnTo>
                    <a:pt x="30" y="307"/>
                  </a:lnTo>
                  <a:lnTo>
                    <a:pt x="25" y="303"/>
                  </a:lnTo>
                  <a:lnTo>
                    <a:pt x="145" y="349"/>
                  </a:lnTo>
                  <a:cubicBezTo>
                    <a:pt x="147" y="350"/>
                    <a:pt x="149" y="352"/>
                    <a:pt x="150" y="355"/>
                  </a:cubicBezTo>
                  <a:lnTo>
                    <a:pt x="162" y="415"/>
                  </a:lnTo>
                  <a:cubicBezTo>
                    <a:pt x="162" y="416"/>
                    <a:pt x="162" y="417"/>
                    <a:pt x="162" y="417"/>
                  </a:cubicBezTo>
                  <a:lnTo>
                    <a:pt x="155" y="573"/>
                  </a:lnTo>
                  <a:cubicBezTo>
                    <a:pt x="155" y="574"/>
                    <a:pt x="155" y="575"/>
                    <a:pt x="155" y="575"/>
                  </a:cubicBezTo>
                  <a:lnTo>
                    <a:pt x="92" y="737"/>
                  </a:lnTo>
                  <a:lnTo>
                    <a:pt x="92" y="734"/>
                  </a:lnTo>
                  <a:lnTo>
                    <a:pt x="110" y="925"/>
                  </a:lnTo>
                  <a:lnTo>
                    <a:pt x="116" y="984"/>
                  </a:lnTo>
                  <a:lnTo>
                    <a:pt x="108" y="976"/>
                  </a:lnTo>
                  <a:lnTo>
                    <a:pt x="146" y="976"/>
                  </a:lnTo>
                  <a:lnTo>
                    <a:pt x="138" y="984"/>
                  </a:lnTo>
                  <a:lnTo>
                    <a:pt x="138" y="920"/>
                  </a:lnTo>
                  <a:cubicBezTo>
                    <a:pt x="138" y="918"/>
                    <a:pt x="139" y="915"/>
                    <a:pt x="141" y="914"/>
                  </a:cubicBezTo>
                  <a:lnTo>
                    <a:pt x="268" y="826"/>
                  </a:lnTo>
                  <a:lnTo>
                    <a:pt x="264" y="834"/>
                  </a:lnTo>
                  <a:lnTo>
                    <a:pt x="228" y="574"/>
                  </a:lnTo>
                  <a:cubicBezTo>
                    <a:pt x="227" y="571"/>
                    <a:pt x="228" y="568"/>
                    <a:pt x="230" y="567"/>
                  </a:cubicBezTo>
                  <a:lnTo>
                    <a:pt x="511" y="303"/>
                  </a:lnTo>
                  <a:lnTo>
                    <a:pt x="508" y="309"/>
                  </a:lnTo>
                  <a:lnTo>
                    <a:pt x="512" y="8"/>
                  </a:lnTo>
                  <a:lnTo>
                    <a:pt x="525" y="15"/>
                  </a:lnTo>
                  <a:lnTo>
                    <a:pt x="454" y="67"/>
                  </a:lnTo>
                  <a:cubicBezTo>
                    <a:pt x="452" y="68"/>
                    <a:pt x="451" y="69"/>
                    <a:pt x="450" y="69"/>
                  </a:cubicBezTo>
                  <a:lnTo>
                    <a:pt x="255" y="84"/>
                  </a:lnTo>
                  <a:lnTo>
                    <a:pt x="262" y="76"/>
                  </a:lnTo>
                  <a:lnTo>
                    <a:pt x="258" y="186"/>
                  </a:lnTo>
                  <a:lnTo>
                    <a:pt x="257" y="182"/>
                  </a:lnTo>
                  <a:lnTo>
                    <a:pt x="307" y="268"/>
                  </a:lnTo>
                  <a:cubicBezTo>
                    <a:pt x="308" y="270"/>
                    <a:pt x="308" y="272"/>
                    <a:pt x="308" y="274"/>
                  </a:cubicBezTo>
                  <a:lnTo>
                    <a:pt x="279" y="404"/>
                  </a:lnTo>
                  <a:cubicBezTo>
                    <a:pt x="278" y="407"/>
                    <a:pt x="276" y="409"/>
                    <a:pt x="273" y="410"/>
                  </a:cubicBezTo>
                  <a:cubicBezTo>
                    <a:pt x="270" y="410"/>
                    <a:pt x="266" y="409"/>
                    <a:pt x="264" y="407"/>
                  </a:cubicBezTo>
                  <a:lnTo>
                    <a:pt x="211" y="339"/>
                  </a:lnTo>
                  <a:cubicBezTo>
                    <a:pt x="210" y="338"/>
                    <a:pt x="209" y="336"/>
                    <a:pt x="209" y="334"/>
                  </a:cubicBezTo>
                  <a:lnTo>
                    <a:pt x="218" y="244"/>
                  </a:lnTo>
                  <a:lnTo>
                    <a:pt x="223" y="252"/>
                  </a:lnTo>
                  <a:lnTo>
                    <a:pt x="161" y="230"/>
                  </a:lnTo>
                  <a:lnTo>
                    <a:pt x="167" y="230"/>
                  </a:lnTo>
                  <a:lnTo>
                    <a:pt x="11" y="288"/>
                  </a:lnTo>
                  <a:close/>
                  <a:moveTo>
                    <a:pt x="161" y="215"/>
                  </a:moveTo>
                  <a:cubicBezTo>
                    <a:pt x="163" y="215"/>
                    <a:pt x="165" y="215"/>
                    <a:pt x="167" y="215"/>
                  </a:cubicBezTo>
                  <a:lnTo>
                    <a:pt x="229" y="237"/>
                  </a:lnTo>
                  <a:cubicBezTo>
                    <a:pt x="232" y="239"/>
                    <a:pt x="234" y="242"/>
                    <a:pt x="234" y="246"/>
                  </a:cubicBezTo>
                  <a:lnTo>
                    <a:pt x="225" y="335"/>
                  </a:lnTo>
                  <a:lnTo>
                    <a:pt x="224" y="329"/>
                  </a:lnTo>
                  <a:lnTo>
                    <a:pt x="277" y="397"/>
                  </a:lnTo>
                  <a:lnTo>
                    <a:pt x="263" y="400"/>
                  </a:lnTo>
                  <a:lnTo>
                    <a:pt x="292" y="270"/>
                  </a:lnTo>
                  <a:lnTo>
                    <a:pt x="293" y="276"/>
                  </a:lnTo>
                  <a:lnTo>
                    <a:pt x="243" y="190"/>
                  </a:lnTo>
                  <a:cubicBezTo>
                    <a:pt x="242" y="188"/>
                    <a:pt x="242" y="187"/>
                    <a:pt x="242" y="185"/>
                  </a:cubicBezTo>
                  <a:lnTo>
                    <a:pt x="246" y="76"/>
                  </a:lnTo>
                  <a:cubicBezTo>
                    <a:pt x="246" y="72"/>
                    <a:pt x="249" y="68"/>
                    <a:pt x="253" y="68"/>
                  </a:cubicBezTo>
                  <a:lnTo>
                    <a:pt x="448" y="53"/>
                  </a:lnTo>
                  <a:lnTo>
                    <a:pt x="444" y="54"/>
                  </a:lnTo>
                  <a:lnTo>
                    <a:pt x="516" y="2"/>
                  </a:lnTo>
                  <a:cubicBezTo>
                    <a:pt x="518" y="0"/>
                    <a:pt x="521" y="0"/>
                    <a:pt x="524" y="1"/>
                  </a:cubicBezTo>
                  <a:cubicBezTo>
                    <a:pt x="527" y="3"/>
                    <a:pt x="529" y="6"/>
                    <a:pt x="528" y="9"/>
                  </a:cubicBezTo>
                  <a:lnTo>
                    <a:pt x="524" y="309"/>
                  </a:lnTo>
                  <a:cubicBezTo>
                    <a:pt x="524" y="311"/>
                    <a:pt x="523" y="313"/>
                    <a:pt x="522" y="315"/>
                  </a:cubicBezTo>
                  <a:lnTo>
                    <a:pt x="241" y="578"/>
                  </a:lnTo>
                  <a:lnTo>
                    <a:pt x="244" y="571"/>
                  </a:lnTo>
                  <a:lnTo>
                    <a:pt x="280" y="831"/>
                  </a:lnTo>
                  <a:cubicBezTo>
                    <a:pt x="281" y="834"/>
                    <a:pt x="279" y="837"/>
                    <a:pt x="277" y="839"/>
                  </a:cubicBezTo>
                  <a:lnTo>
                    <a:pt x="151" y="927"/>
                  </a:lnTo>
                  <a:lnTo>
                    <a:pt x="154" y="920"/>
                  </a:lnTo>
                  <a:lnTo>
                    <a:pt x="154" y="984"/>
                  </a:lnTo>
                  <a:cubicBezTo>
                    <a:pt x="154" y="989"/>
                    <a:pt x="150" y="992"/>
                    <a:pt x="146" y="992"/>
                  </a:cubicBezTo>
                  <a:lnTo>
                    <a:pt x="108" y="992"/>
                  </a:lnTo>
                  <a:cubicBezTo>
                    <a:pt x="104" y="992"/>
                    <a:pt x="100" y="989"/>
                    <a:pt x="100" y="985"/>
                  </a:cubicBezTo>
                  <a:lnTo>
                    <a:pt x="94" y="926"/>
                  </a:lnTo>
                  <a:lnTo>
                    <a:pt x="76" y="735"/>
                  </a:lnTo>
                  <a:cubicBezTo>
                    <a:pt x="76" y="734"/>
                    <a:pt x="76" y="733"/>
                    <a:pt x="77" y="732"/>
                  </a:cubicBezTo>
                  <a:lnTo>
                    <a:pt x="140" y="570"/>
                  </a:lnTo>
                  <a:lnTo>
                    <a:pt x="139" y="572"/>
                  </a:lnTo>
                  <a:lnTo>
                    <a:pt x="146" y="417"/>
                  </a:lnTo>
                  <a:lnTo>
                    <a:pt x="147" y="419"/>
                  </a:lnTo>
                  <a:lnTo>
                    <a:pt x="134" y="358"/>
                  </a:lnTo>
                  <a:lnTo>
                    <a:pt x="139" y="364"/>
                  </a:lnTo>
                  <a:lnTo>
                    <a:pt x="20" y="318"/>
                  </a:lnTo>
                  <a:cubicBezTo>
                    <a:pt x="18" y="317"/>
                    <a:pt x="16" y="316"/>
                    <a:pt x="15" y="314"/>
                  </a:cubicBezTo>
                  <a:lnTo>
                    <a:pt x="1" y="284"/>
                  </a:lnTo>
                  <a:cubicBezTo>
                    <a:pt x="0" y="282"/>
                    <a:pt x="0" y="279"/>
                    <a:pt x="1" y="277"/>
                  </a:cubicBezTo>
                  <a:cubicBezTo>
                    <a:pt x="2" y="275"/>
                    <a:pt x="4" y="274"/>
                    <a:pt x="6" y="273"/>
                  </a:cubicBezTo>
                  <a:lnTo>
                    <a:pt x="161" y="215"/>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70" name="Freeform 426"/>
            <p:cNvSpPr>
              <a:spLocks/>
            </p:cNvSpPr>
            <p:nvPr/>
          </p:nvSpPr>
          <p:spPr bwMode="auto">
            <a:xfrm>
              <a:off x="2746" y="1809"/>
              <a:ext cx="223" cy="158"/>
            </a:xfrm>
            <a:custGeom>
              <a:avLst/>
              <a:gdLst/>
              <a:ahLst/>
              <a:cxnLst>
                <a:cxn ang="0">
                  <a:pos x="0" y="115"/>
                </a:cxn>
                <a:cxn ang="0">
                  <a:pos x="3" y="128"/>
                </a:cxn>
                <a:cxn ang="0">
                  <a:pos x="30" y="155"/>
                </a:cxn>
                <a:cxn ang="0">
                  <a:pos x="37" y="149"/>
                </a:cxn>
                <a:cxn ang="0">
                  <a:pos x="48" y="158"/>
                </a:cxn>
                <a:cxn ang="0">
                  <a:pos x="64" y="131"/>
                </a:cxn>
                <a:cxn ang="0">
                  <a:pos x="128" y="144"/>
                </a:cxn>
                <a:cxn ang="0">
                  <a:pos x="183" y="130"/>
                </a:cxn>
                <a:cxn ang="0">
                  <a:pos x="185" y="123"/>
                </a:cxn>
                <a:cxn ang="0">
                  <a:pos x="214" y="89"/>
                </a:cxn>
                <a:cxn ang="0">
                  <a:pos x="223" y="42"/>
                </a:cxn>
                <a:cxn ang="0">
                  <a:pos x="208" y="27"/>
                </a:cxn>
                <a:cxn ang="0">
                  <a:pos x="208" y="7"/>
                </a:cxn>
                <a:cxn ang="0">
                  <a:pos x="161" y="0"/>
                </a:cxn>
                <a:cxn ang="0">
                  <a:pos x="76" y="55"/>
                </a:cxn>
                <a:cxn ang="0">
                  <a:pos x="55" y="60"/>
                </a:cxn>
                <a:cxn ang="0">
                  <a:pos x="55" y="101"/>
                </a:cxn>
                <a:cxn ang="0">
                  <a:pos x="46" y="109"/>
                </a:cxn>
                <a:cxn ang="0">
                  <a:pos x="0" y="115"/>
                </a:cxn>
              </a:cxnLst>
              <a:rect l="0" t="0" r="r" b="b"/>
              <a:pathLst>
                <a:path w="223" h="158">
                  <a:moveTo>
                    <a:pt x="0" y="115"/>
                  </a:moveTo>
                  <a:lnTo>
                    <a:pt x="3" y="128"/>
                  </a:lnTo>
                  <a:lnTo>
                    <a:pt x="30" y="155"/>
                  </a:lnTo>
                  <a:lnTo>
                    <a:pt x="37" y="149"/>
                  </a:lnTo>
                  <a:lnTo>
                    <a:pt x="48" y="158"/>
                  </a:lnTo>
                  <a:lnTo>
                    <a:pt x="64" y="131"/>
                  </a:lnTo>
                  <a:lnTo>
                    <a:pt x="128" y="144"/>
                  </a:lnTo>
                  <a:lnTo>
                    <a:pt x="183" y="130"/>
                  </a:lnTo>
                  <a:lnTo>
                    <a:pt x="185" y="123"/>
                  </a:lnTo>
                  <a:lnTo>
                    <a:pt x="214" y="89"/>
                  </a:lnTo>
                  <a:lnTo>
                    <a:pt x="223" y="42"/>
                  </a:lnTo>
                  <a:lnTo>
                    <a:pt x="208" y="27"/>
                  </a:lnTo>
                  <a:lnTo>
                    <a:pt x="208" y="7"/>
                  </a:lnTo>
                  <a:lnTo>
                    <a:pt x="161" y="0"/>
                  </a:lnTo>
                  <a:lnTo>
                    <a:pt x="76" y="55"/>
                  </a:lnTo>
                  <a:lnTo>
                    <a:pt x="55" y="60"/>
                  </a:lnTo>
                  <a:lnTo>
                    <a:pt x="55" y="101"/>
                  </a:lnTo>
                  <a:lnTo>
                    <a:pt x="46" y="109"/>
                  </a:lnTo>
                  <a:lnTo>
                    <a:pt x="0" y="115"/>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71" name="Freeform 427"/>
            <p:cNvSpPr>
              <a:spLocks noEditPoints="1"/>
            </p:cNvSpPr>
            <p:nvPr/>
          </p:nvSpPr>
          <p:spPr bwMode="auto">
            <a:xfrm>
              <a:off x="2743" y="1808"/>
              <a:ext cx="228" cy="161"/>
            </a:xfrm>
            <a:custGeom>
              <a:avLst/>
              <a:gdLst/>
              <a:ahLst/>
              <a:cxnLst>
                <a:cxn ang="0">
                  <a:pos x="16" y="507"/>
                </a:cxn>
                <a:cxn ang="0">
                  <a:pos x="26" y="559"/>
                </a:cxn>
                <a:cxn ang="0">
                  <a:pos x="107" y="676"/>
                </a:cxn>
                <a:cxn ang="0">
                  <a:pos x="137" y="648"/>
                </a:cxn>
                <a:cxn ang="0">
                  <a:pos x="180" y="691"/>
                </a:cxn>
                <a:cxn ang="0">
                  <a:pos x="224" y="575"/>
                </a:cxn>
                <a:cxn ang="0">
                  <a:pos x="452" y="630"/>
                </a:cxn>
                <a:cxn ang="0">
                  <a:pos x="637" y="568"/>
                </a:cxn>
                <a:cxn ang="0">
                  <a:pos x="639" y="542"/>
                </a:cxn>
                <a:cxn ang="0">
                  <a:pos x="739" y="391"/>
                </a:cxn>
                <a:cxn ang="0">
                  <a:pos x="769" y="189"/>
                </a:cxn>
                <a:cxn ang="0">
                  <a:pos x="719" y="131"/>
                </a:cxn>
                <a:cxn ang="0">
                  <a:pos x="717" y="36"/>
                </a:cxn>
                <a:cxn ang="0">
                  <a:pos x="563" y="16"/>
                </a:cxn>
                <a:cxn ang="0">
                  <a:pos x="277" y="252"/>
                </a:cxn>
                <a:cxn ang="0">
                  <a:pos x="199" y="275"/>
                </a:cxn>
                <a:cxn ang="0">
                  <a:pos x="206" y="446"/>
                </a:cxn>
                <a:cxn ang="0">
                  <a:pos x="172" y="489"/>
                </a:cxn>
                <a:cxn ang="0">
                  <a:pos x="10" y="516"/>
                </a:cxn>
                <a:cxn ang="0">
                  <a:pos x="160" y="478"/>
                </a:cxn>
                <a:cxn ang="0">
                  <a:pos x="190" y="446"/>
                </a:cxn>
                <a:cxn ang="0">
                  <a:pos x="194" y="260"/>
                </a:cxn>
                <a:cxn ang="0">
                  <a:pos x="267" y="240"/>
                </a:cxn>
                <a:cxn ang="0">
                  <a:pos x="566" y="1"/>
                </a:cxn>
                <a:cxn ang="0">
                  <a:pos x="733" y="36"/>
                </a:cxn>
                <a:cxn ang="0">
                  <a:pos x="731" y="121"/>
                </a:cxn>
                <a:cxn ang="0">
                  <a:pos x="784" y="191"/>
                </a:cxn>
                <a:cxn ang="0">
                  <a:pos x="752" y="399"/>
                </a:cxn>
                <a:cxn ang="0">
                  <a:pos x="655" y="546"/>
                </a:cxn>
                <a:cxn ang="0">
                  <a:pos x="642" y="583"/>
                </a:cxn>
                <a:cxn ang="0">
                  <a:pos x="448" y="645"/>
                </a:cxn>
                <a:cxn ang="0">
                  <a:pos x="239" y="582"/>
                </a:cxn>
                <a:cxn ang="0">
                  <a:pos x="175" y="704"/>
                </a:cxn>
                <a:cxn ang="0">
                  <a:pos x="131" y="661"/>
                </a:cxn>
                <a:cxn ang="0">
                  <a:pos x="119" y="687"/>
                </a:cxn>
                <a:cxn ang="0">
                  <a:pos x="107" y="687"/>
                </a:cxn>
                <a:cxn ang="0">
                  <a:pos x="12" y="565"/>
                </a:cxn>
                <a:cxn ang="0">
                  <a:pos x="2" y="504"/>
                </a:cxn>
                <a:cxn ang="0">
                  <a:pos x="165" y="476"/>
                </a:cxn>
              </a:cxnLst>
              <a:rect l="0" t="0" r="r" b="b"/>
              <a:pathLst>
                <a:path w="785" h="705">
                  <a:moveTo>
                    <a:pt x="10" y="516"/>
                  </a:moveTo>
                  <a:lnTo>
                    <a:pt x="16" y="507"/>
                  </a:lnTo>
                  <a:lnTo>
                    <a:pt x="27" y="562"/>
                  </a:lnTo>
                  <a:lnTo>
                    <a:pt x="26" y="559"/>
                  </a:lnTo>
                  <a:lnTo>
                    <a:pt x="119" y="677"/>
                  </a:lnTo>
                  <a:lnTo>
                    <a:pt x="107" y="676"/>
                  </a:lnTo>
                  <a:lnTo>
                    <a:pt x="131" y="650"/>
                  </a:lnTo>
                  <a:cubicBezTo>
                    <a:pt x="132" y="648"/>
                    <a:pt x="134" y="648"/>
                    <a:pt x="137" y="648"/>
                  </a:cubicBezTo>
                  <a:cubicBezTo>
                    <a:pt x="139" y="647"/>
                    <a:pt x="141" y="648"/>
                    <a:pt x="143" y="650"/>
                  </a:cubicBezTo>
                  <a:lnTo>
                    <a:pt x="180" y="691"/>
                  </a:lnTo>
                  <a:lnTo>
                    <a:pt x="167" y="693"/>
                  </a:lnTo>
                  <a:lnTo>
                    <a:pt x="224" y="575"/>
                  </a:lnTo>
                  <a:cubicBezTo>
                    <a:pt x="226" y="572"/>
                    <a:pt x="230" y="570"/>
                    <a:pt x="234" y="571"/>
                  </a:cubicBezTo>
                  <a:lnTo>
                    <a:pt x="452" y="630"/>
                  </a:lnTo>
                  <a:lnTo>
                    <a:pt x="448" y="630"/>
                  </a:lnTo>
                  <a:lnTo>
                    <a:pt x="637" y="568"/>
                  </a:lnTo>
                  <a:lnTo>
                    <a:pt x="632" y="573"/>
                  </a:lnTo>
                  <a:lnTo>
                    <a:pt x="639" y="542"/>
                  </a:lnTo>
                  <a:cubicBezTo>
                    <a:pt x="639" y="541"/>
                    <a:pt x="640" y="541"/>
                    <a:pt x="640" y="540"/>
                  </a:cubicBezTo>
                  <a:lnTo>
                    <a:pt x="739" y="391"/>
                  </a:lnTo>
                  <a:lnTo>
                    <a:pt x="738" y="394"/>
                  </a:lnTo>
                  <a:lnTo>
                    <a:pt x="769" y="189"/>
                  </a:lnTo>
                  <a:lnTo>
                    <a:pt x="770" y="195"/>
                  </a:lnTo>
                  <a:lnTo>
                    <a:pt x="719" y="131"/>
                  </a:lnTo>
                  <a:cubicBezTo>
                    <a:pt x="718" y="130"/>
                    <a:pt x="717" y="128"/>
                    <a:pt x="717" y="126"/>
                  </a:cubicBezTo>
                  <a:lnTo>
                    <a:pt x="717" y="36"/>
                  </a:lnTo>
                  <a:lnTo>
                    <a:pt x="724" y="44"/>
                  </a:lnTo>
                  <a:lnTo>
                    <a:pt x="563" y="16"/>
                  </a:lnTo>
                  <a:lnTo>
                    <a:pt x="570" y="15"/>
                  </a:lnTo>
                  <a:lnTo>
                    <a:pt x="277" y="252"/>
                  </a:lnTo>
                  <a:cubicBezTo>
                    <a:pt x="276" y="253"/>
                    <a:pt x="275" y="253"/>
                    <a:pt x="274" y="254"/>
                  </a:cubicBezTo>
                  <a:lnTo>
                    <a:pt x="199" y="275"/>
                  </a:lnTo>
                  <a:lnTo>
                    <a:pt x="205" y="267"/>
                  </a:lnTo>
                  <a:lnTo>
                    <a:pt x="206" y="446"/>
                  </a:lnTo>
                  <a:cubicBezTo>
                    <a:pt x="206" y="448"/>
                    <a:pt x="205" y="450"/>
                    <a:pt x="204" y="451"/>
                  </a:cubicBezTo>
                  <a:lnTo>
                    <a:pt x="172" y="489"/>
                  </a:lnTo>
                  <a:cubicBezTo>
                    <a:pt x="171" y="490"/>
                    <a:pt x="169" y="491"/>
                    <a:pt x="167" y="491"/>
                  </a:cubicBezTo>
                  <a:lnTo>
                    <a:pt x="10" y="516"/>
                  </a:lnTo>
                  <a:close/>
                  <a:moveTo>
                    <a:pt x="165" y="476"/>
                  </a:moveTo>
                  <a:lnTo>
                    <a:pt x="160" y="478"/>
                  </a:lnTo>
                  <a:lnTo>
                    <a:pt x="192" y="441"/>
                  </a:lnTo>
                  <a:lnTo>
                    <a:pt x="190" y="446"/>
                  </a:lnTo>
                  <a:lnTo>
                    <a:pt x="189" y="267"/>
                  </a:lnTo>
                  <a:cubicBezTo>
                    <a:pt x="189" y="264"/>
                    <a:pt x="191" y="261"/>
                    <a:pt x="194" y="260"/>
                  </a:cubicBezTo>
                  <a:lnTo>
                    <a:pt x="270" y="238"/>
                  </a:lnTo>
                  <a:lnTo>
                    <a:pt x="267" y="240"/>
                  </a:lnTo>
                  <a:lnTo>
                    <a:pt x="560" y="2"/>
                  </a:lnTo>
                  <a:cubicBezTo>
                    <a:pt x="561" y="1"/>
                    <a:pt x="564" y="0"/>
                    <a:pt x="566" y="1"/>
                  </a:cubicBezTo>
                  <a:lnTo>
                    <a:pt x="726" y="28"/>
                  </a:lnTo>
                  <a:cubicBezTo>
                    <a:pt x="730" y="29"/>
                    <a:pt x="733" y="32"/>
                    <a:pt x="733" y="36"/>
                  </a:cubicBezTo>
                  <a:lnTo>
                    <a:pt x="733" y="126"/>
                  </a:lnTo>
                  <a:lnTo>
                    <a:pt x="731" y="121"/>
                  </a:lnTo>
                  <a:lnTo>
                    <a:pt x="783" y="185"/>
                  </a:lnTo>
                  <a:cubicBezTo>
                    <a:pt x="784" y="187"/>
                    <a:pt x="785" y="189"/>
                    <a:pt x="784" y="191"/>
                  </a:cubicBezTo>
                  <a:lnTo>
                    <a:pt x="754" y="396"/>
                  </a:lnTo>
                  <a:cubicBezTo>
                    <a:pt x="754" y="397"/>
                    <a:pt x="753" y="399"/>
                    <a:pt x="752" y="399"/>
                  </a:cubicBezTo>
                  <a:lnTo>
                    <a:pt x="654" y="549"/>
                  </a:lnTo>
                  <a:lnTo>
                    <a:pt x="655" y="546"/>
                  </a:lnTo>
                  <a:lnTo>
                    <a:pt x="648" y="577"/>
                  </a:lnTo>
                  <a:cubicBezTo>
                    <a:pt x="647" y="580"/>
                    <a:pt x="645" y="582"/>
                    <a:pt x="642" y="583"/>
                  </a:cubicBezTo>
                  <a:lnTo>
                    <a:pt x="453" y="645"/>
                  </a:lnTo>
                  <a:cubicBezTo>
                    <a:pt x="451" y="646"/>
                    <a:pt x="450" y="646"/>
                    <a:pt x="448" y="645"/>
                  </a:cubicBezTo>
                  <a:lnTo>
                    <a:pt x="229" y="586"/>
                  </a:lnTo>
                  <a:lnTo>
                    <a:pt x="239" y="582"/>
                  </a:lnTo>
                  <a:lnTo>
                    <a:pt x="182" y="700"/>
                  </a:lnTo>
                  <a:cubicBezTo>
                    <a:pt x="180" y="702"/>
                    <a:pt x="178" y="704"/>
                    <a:pt x="175" y="704"/>
                  </a:cubicBezTo>
                  <a:cubicBezTo>
                    <a:pt x="173" y="705"/>
                    <a:pt x="170" y="704"/>
                    <a:pt x="168" y="702"/>
                  </a:cubicBezTo>
                  <a:lnTo>
                    <a:pt x="131" y="661"/>
                  </a:lnTo>
                  <a:lnTo>
                    <a:pt x="143" y="661"/>
                  </a:lnTo>
                  <a:lnTo>
                    <a:pt x="119" y="687"/>
                  </a:lnTo>
                  <a:cubicBezTo>
                    <a:pt x="117" y="689"/>
                    <a:pt x="115" y="690"/>
                    <a:pt x="113" y="690"/>
                  </a:cubicBezTo>
                  <a:cubicBezTo>
                    <a:pt x="110" y="690"/>
                    <a:pt x="108" y="689"/>
                    <a:pt x="107" y="687"/>
                  </a:cubicBezTo>
                  <a:lnTo>
                    <a:pt x="13" y="569"/>
                  </a:lnTo>
                  <a:cubicBezTo>
                    <a:pt x="13" y="568"/>
                    <a:pt x="12" y="567"/>
                    <a:pt x="12" y="565"/>
                  </a:cubicBezTo>
                  <a:lnTo>
                    <a:pt x="1" y="510"/>
                  </a:lnTo>
                  <a:cubicBezTo>
                    <a:pt x="0" y="508"/>
                    <a:pt x="1" y="505"/>
                    <a:pt x="2" y="504"/>
                  </a:cubicBezTo>
                  <a:cubicBezTo>
                    <a:pt x="3" y="502"/>
                    <a:pt x="5" y="501"/>
                    <a:pt x="7" y="500"/>
                  </a:cubicBezTo>
                  <a:lnTo>
                    <a:pt x="165" y="476"/>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72" name="Freeform 428"/>
            <p:cNvSpPr>
              <a:spLocks/>
            </p:cNvSpPr>
            <p:nvPr/>
          </p:nvSpPr>
          <p:spPr bwMode="auto">
            <a:xfrm>
              <a:off x="2783" y="1941"/>
              <a:ext cx="162" cy="128"/>
            </a:xfrm>
            <a:custGeom>
              <a:avLst/>
              <a:gdLst/>
              <a:ahLst/>
              <a:cxnLst>
                <a:cxn ang="0">
                  <a:pos x="0" y="100"/>
                </a:cxn>
                <a:cxn ang="0">
                  <a:pos x="11" y="29"/>
                </a:cxn>
                <a:cxn ang="0">
                  <a:pos x="27" y="1"/>
                </a:cxn>
                <a:cxn ang="0">
                  <a:pos x="91" y="15"/>
                </a:cxn>
                <a:cxn ang="0">
                  <a:pos x="146" y="0"/>
                </a:cxn>
                <a:cxn ang="0">
                  <a:pos x="157" y="17"/>
                </a:cxn>
                <a:cxn ang="0">
                  <a:pos x="162" y="29"/>
                </a:cxn>
                <a:cxn ang="0">
                  <a:pos x="148" y="39"/>
                </a:cxn>
                <a:cxn ang="0">
                  <a:pos x="119" y="97"/>
                </a:cxn>
                <a:cxn ang="0">
                  <a:pos x="93" y="93"/>
                </a:cxn>
                <a:cxn ang="0">
                  <a:pos x="78" y="121"/>
                </a:cxn>
                <a:cxn ang="0">
                  <a:pos x="47" y="128"/>
                </a:cxn>
                <a:cxn ang="0">
                  <a:pos x="27" y="103"/>
                </a:cxn>
                <a:cxn ang="0">
                  <a:pos x="0" y="100"/>
                </a:cxn>
              </a:cxnLst>
              <a:rect l="0" t="0" r="r" b="b"/>
              <a:pathLst>
                <a:path w="162" h="128">
                  <a:moveTo>
                    <a:pt x="0" y="100"/>
                  </a:moveTo>
                  <a:lnTo>
                    <a:pt x="11" y="29"/>
                  </a:lnTo>
                  <a:lnTo>
                    <a:pt x="27" y="1"/>
                  </a:lnTo>
                  <a:lnTo>
                    <a:pt x="91" y="15"/>
                  </a:lnTo>
                  <a:lnTo>
                    <a:pt x="146" y="0"/>
                  </a:lnTo>
                  <a:lnTo>
                    <a:pt x="157" y="17"/>
                  </a:lnTo>
                  <a:lnTo>
                    <a:pt x="162" y="29"/>
                  </a:lnTo>
                  <a:lnTo>
                    <a:pt x="148" y="39"/>
                  </a:lnTo>
                  <a:lnTo>
                    <a:pt x="119" y="97"/>
                  </a:lnTo>
                  <a:lnTo>
                    <a:pt x="93" y="93"/>
                  </a:lnTo>
                  <a:lnTo>
                    <a:pt x="78" y="121"/>
                  </a:lnTo>
                  <a:lnTo>
                    <a:pt x="47" y="128"/>
                  </a:lnTo>
                  <a:lnTo>
                    <a:pt x="27" y="103"/>
                  </a:lnTo>
                  <a:lnTo>
                    <a:pt x="0" y="10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73" name="Freeform 429"/>
            <p:cNvSpPr>
              <a:spLocks noEditPoints="1"/>
            </p:cNvSpPr>
            <p:nvPr/>
          </p:nvSpPr>
          <p:spPr bwMode="auto">
            <a:xfrm>
              <a:off x="2781" y="1939"/>
              <a:ext cx="167" cy="132"/>
            </a:xfrm>
            <a:custGeom>
              <a:avLst/>
              <a:gdLst/>
              <a:ahLst/>
              <a:cxnLst>
                <a:cxn ang="0">
                  <a:pos x="7" y="453"/>
                </a:cxn>
                <a:cxn ang="0">
                  <a:pos x="1" y="444"/>
                </a:cxn>
                <a:cxn ang="0">
                  <a:pos x="38" y="131"/>
                </a:cxn>
                <a:cxn ang="0">
                  <a:pos x="39" y="129"/>
                </a:cxn>
                <a:cxn ang="0">
                  <a:pos x="96" y="8"/>
                </a:cxn>
                <a:cxn ang="0">
                  <a:pos x="105" y="4"/>
                </a:cxn>
                <a:cxn ang="0">
                  <a:pos x="324" y="64"/>
                </a:cxn>
                <a:cxn ang="0">
                  <a:pos x="319" y="64"/>
                </a:cxn>
                <a:cxn ang="0">
                  <a:pos x="509" y="1"/>
                </a:cxn>
                <a:cxn ang="0">
                  <a:pos x="518" y="5"/>
                </a:cxn>
                <a:cxn ang="0">
                  <a:pos x="556" y="78"/>
                </a:cxn>
                <a:cxn ang="0">
                  <a:pos x="576" y="129"/>
                </a:cxn>
                <a:cxn ang="0">
                  <a:pos x="574" y="138"/>
                </a:cxn>
                <a:cxn ang="0">
                  <a:pos x="525" y="183"/>
                </a:cxn>
                <a:cxn ang="0">
                  <a:pos x="527" y="180"/>
                </a:cxn>
                <a:cxn ang="0">
                  <a:pos x="427" y="433"/>
                </a:cxn>
                <a:cxn ang="0">
                  <a:pos x="418" y="438"/>
                </a:cxn>
                <a:cxn ang="0">
                  <a:pos x="327" y="421"/>
                </a:cxn>
                <a:cxn ang="0">
                  <a:pos x="336" y="416"/>
                </a:cxn>
                <a:cxn ang="0">
                  <a:pos x="283" y="540"/>
                </a:cxn>
                <a:cxn ang="0">
                  <a:pos x="278" y="544"/>
                </a:cxn>
                <a:cxn ang="0">
                  <a:pos x="171" y="576"/>
                </a:cxn>
                <a:cxn ang="0">
                  <a:pos x="162" y="573"/>
                </a:cxn>
                <a:cxn ang="0">
                  <a:pos x="96" y="462"/>
                </a:cxn>
                <a:cxn ang="0">
                  <a:pos x="102" y="466"/>
                </a:cxn>
                <a:cxn ang="0">
                  <a:pos x="7" y="453"/>
                </a:cxn>
                <a:cxn ang="0">
                  <a:pos x="104" y="450"/>
                </a:cxn>
                <a:cxn ang="0">
                  <a:pos x="110" y="454"/>
                </a:cxn>
                <a:cxn ang="0">
                  <a:pos x="176" y="564"/>
                </a:cxn>
                <a:cxn ang="0">
                  <a:pos x="166" y="561"/>
                </a:cxn>
                <a:cxn ang="0">
                  <a:pos x="274" y="529"/>
                </a:cxn>
                <a:cxn ang="0">
                  <a:pos x="269" y="534"/>
                </a:cxn>
                <a:cxn ang="0">
                  <a:pos x="322" y="410"/>
                </a:cxn>
                <a:cxn ang="0">
                  <a:pos x="330" y="405"/>
                </a:cxn>
                <a:cxn ang="0">
                  <a:pos x="421" y="422"/>
                </a:cxn>
                <a:cxn ang="0">
                  <a:pos x="412" y="427"/>
                </a:cxn>
                <a:cxn ang="0">
                  <a:pos x="512" y="174"/>
                </a:cxn>
                <a:cxn ang="0">
                  <a:pos x="514" y="171"/>
                </a:cxn>
                <a:cxn ang="0">
                  <a:pos x="563" y="126"/>
                </a:cxn>
                <a:cxn ang="0">
                  <a:pos x="561" y="135"/>
                </a:cxn>
                <a:cxn ang="0">
                  <a:pos x="542" y="86"/>
                </a:cxn>
                <a:cxn ang="0">
                  <a:pos x="504" y="12"/>
                </a:cxn>
                <a:cxn ang="0">
                  <a:pos x="514" y="16"/>
                </a:cxn>
                <a:cxn ang="0">
                  <a:pos x="324" y="80"/>
                </a:cxn>
                <a:cxn ang="0">
                  <a:pos x="320" y="80"/>
                </a:cxn>
                <a:cxn ang="0">
                  <a:pos x="101" y="20"/>
                </a:cxn>
                <a:cxn ang="0">
                  <a:pos x="110" y="15"/>
                </a:cxn>
                <a:cxn ang="0">
                  <a:pos x="53" y="136"/>
                </a:cxn>
                <a:cxn ang="0">
                  <a:pos x="54" y="133"/>
                </a:cxn>
                <a:cxn ang="0">
                  <a:pos x="16" y="446"/>
                </a:cxn>
                <a:cxn ang="0">
                  <a:pos x="10" y="437"/>
                </a:cxn>
                <a:cxn ang="0">
                  <a:pos x="104" y="450"/>
                </a:cxn>
              </a:cxnLst>
              <a:rect l="0" t="0" r="r" b="b"/>
              <a:pathLst>
                <a:path w="577" h="577">
                  <a:moveTo>
                    <a:pt x="7" y="453"/>
                  </a:moveTo>
                  <a:cubicBezTo>
                    <a:pt x="3" y="452"/>
                    <a:pt x="0" y="448"/>
                    <a:pt x="1" y="444"/>
                  </a:cubicBezTo>
                  <a:lnTo>
                    <a:pt x="38" y="131"/>
                  </a:lnTo>
                  <a:cubicBezTo>
                    <a:pt x="38" y="130"/>
                    <a:pt x="38" y="130"/>
                    <a:pt x="39" y="129"/>
                  </a:cubicBezTo>
                  <a:lnTo>
                    <a:pt x="96" y="8"/>
                  </a:lnTo>
                  <a:cubicBezTo>
                    <a:pt x="98" y="5"/>
                    <a:pt x="102" y="3"/>
                    <a:pt x="105" y="4"/>
                  </a:cubicBezTo>
                  <a:lnTo>
                    <a:pt x="324" y="64"/>
                  </a:lnTo>
                  <a:lnTo>
                    <a:pt x="319" y="64"/>
                  </a:lnTo>
                  <a:lnTo>
                    <a:pt x="509" y="1"/>
                  </a:lnTo>
                  <a:cubicBezTo>
                    <a:pt x="513" y="0"/>
                    <a:pt x="517" y="1"/>
                    <a:pt x="518" y="5"/>
                  </a:cubicBezTo>
                  <a:lnTo>
                    <a:pt x="556" y="78"/>
                  </a:lnTo>
                  <a:lnTo>
                    <a:pt x="576" y="129"/>
                  </a:lnTo>
                  <a:cubicBezTo>
                    <a:pt x="577" y="132"/>
                    <a:pt x="576" y="136"/>
                    <a:pt x="574" y="138"/>
                  </a:cubicBezTo>
                  <a:lnTo>
                    <a:pt x="525" y="183"/>
                  </a:lnTo>
                  <a:lnTo>
                    <a:pt x="527" y="180"/>
                  </a:lnTo>
                  <a:lnTo>
                    <a:pt x="427" y="433"/>
                  </a:lnTo>
                  <a:cubicBezTo>
                    <a:pt x="425" y="436"/>
                    <a:pt x="422" y="438"/>
                    <a:pt x="418" y="438"/>
                  </a:cubicBezTo>
                  <a:lnTo>
                    <a:pt x="327" y="421"/>
                  </a:lnTo>
                  <a:lnTo>
                    <a:pt x="336" y="416"/>
                  </a:lnTo>
                  <a:lnTo>
                    <a:pt x="283" y="540"/>
                  </a:lnTo>
                  <a:cubicBezTo>
                    <a:pt x="282" y="542"/>
                    <a:pt x="280" y="544"/>
                    <a:pt x="278" y="544"/>
                  </a:cubicBezTo>
                  <a:lnTo>
                    <a:pt x="171" y="576"/>
                  </a:lnTo>
                  <a:cubicBezTo>
                    <a:pt x="167" y="577"/>
                    <a:pt x="164" y="576"/>
                    <a:pt x="162" y="573"/>
                  </a:cubicBezTo>
                  <a:lnTo>
                    <a:pt x="96" y="462"/>
                  </a:lnTo>
                  <a:lnTo>
                    <a:pt x="102" y="466"/>
                  </a:lnTo>
                  <a:lnTo>
                    <a:pt x="7" y="453"/>
                  </a:lnTo>
                  <a:close/>
                  <a:moveTo>
                    <a:pt x="104" y="450"/>
                  </a:moveTo>
                  <a:cubicBezTo>
                    <a:pt x="107" y="451"/>
                    <a:pt x="109" y="452"/>
                    <a:pt x="110" y="454"/>
                  </a:cubicBezTo>
                  <a:lnTo>
                    <a:pt x="176" y="564"/>
                  </a:lnTo>
                  <a:lnTo>
                    <a:pt x="166" y="561"/>
                  </a:lnTo>
                  <a:lnTo>
                    <a:pt x="274" y="529"/>
                  </a:lnTo>
                  <a:lnTo>
                    <a:pt x="269" y="534"/>
                  </a:lnTo>
                  <a:lnTo>
                    <a:pt x="322" y="410"/>
                  </a:lnTo>
                  <a:cubicBezTo>
                    <a:pt x="323" y="406"/>
                    <a:pt x="327" y="404"/>
                    <a:pt x="330" y="405"/>
                  </a:cubicBezTo>
                  <a:lnTo>
                    <a:pt x="421" y="422"/>
                  </a:lnTo>
                  <a:lnTo>
                    <a:pt x="412" y="427"/>
                  </a:lnTo>
                  <a:lnTo>
                    <a:pt x="512" y="174"/>
                  </a:lnTo>
                  <a:cubicBezTo>
                    <a:pt x="513" y="173"/>
                    <a:pt x="513" y="172"/>
                    <a:pt x="514" y="171"/>
                  </a:cubicBezTo>
                  <a:lnTo>
                    <a:pt x="563" y="126"/>
                  </a:lnTo>
                  <a:lnTo>
                    <a:pt x="561" y="135"/>
                  </a:lnTo>
                  <a:lnTo>
                    <a:pt x="542" y="86"/>
                  </a:lnTo>
                  <a:lnTo>
                    <a:pt x="504" y="12"/>
                  </a:lnTo>
                  <a:lnTo>
                    <a:pt x="514" y="16"/>
                  </a:lnTo>
                  <a:lnTo>
                    <a:pt x="324" y="80"/>
                  </a:lnTo>
                  <a:cubicBezTo>
                    <a:pt x="323" y="80"/>
                    <a:pt x="321" y="80"/>
                    <a:pt x="320" y="80"/>
                  </a:cubicBezTo>
                  <a:lnTo>
                    <a:pt x="101" y="20"/>
                  </a:lnTo>
                  <a:lnTo>
                    <a:pt x="110" y="15"/>
                  </a:lnTo>
                  <a:lnTo>
                    <a:pt x="53" y="136"/>
                  </a:lnTo>
                  <a:lnTo>
                    <a:pt x="54" y="133"/>
                  </a:lnTo>
                  <a:lnTo>
                    <a:pt x="16" y="446"/>
                  </a:lnTo>
                  <a:lnTo>
                    <a:pt x="10" y="437"/>
                  </a:lnTo>
                  <a:lnTo>
                    <a:pt x="104" y="450"/>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74" name="Freeform 430"/>
            <p:cNvSpPr>
              <a:spLocks/>
            </p:cNvSpPr>
            <p:nvPr/>
          </p:nvSpPr>
          <p:spPr bwMode="auto">
            <a:xfrm>
              <a:off x="2509" y="1956"/>
              <a:ext cx="42" cy="22"/>
            </a:xfrm>
            <a:custGeom>
              <a:avLst/>
              <a:gdLst/>
              <a:ahLst/>
              <a:cxnLst>
                <a:cxn ang="0">
                  <a:pos x="0" y="3"/>
                </a:cxn>
                <a:cxn ang="0">
                  <a:pos x="12" y="12"/>
                </a:cxn>
                <a:cxn ang="0">
                  <a:pos x="26" y="9"/>
                </a:cxn>
                <a:cxn ang="0">
                  <a:pos x="18" y="12"/>
                </a:cxn>
                <a:cxn ang="0">
                  <a:pos x="24" y="22"/>
                </a:cxn>
                <a:cxn ang="0">
                  <a:pos x="42" y="12"/>
                </a:cxn>
                <a:cxn ang="0">
                  <a:pos x="42" y="0"/>
                </a:cxn>
                <a:cxn ang="0">
                  <a:pos x="0" y="3"/>
                </a:cxn>
              </a:cxnLst>
              <a:rect l="0" t="0" r="r" b="b"/>
              <a:pathLst>
                <a:path w="42" h="22">
                  <a:moveTo>
                    <a:pt x="0" y="3"/>
                  </a:moveTo>
                  <a:lnTo>
                    <a:pt x="12" y="12"/>
                  </a:lnTo>
                  <a:lnTo>
                    <a:pt x="26" y="9"/>
                  </a:lnTo>
                  <a:lnTo>
                    <a:pt x="18" y="12"/>
                  </a:lnTo>
                  <a:lnTo>
                    <a:pt x="24" y="22"/>
                  </a:lnTo>
                  <a:lnTo>
                    <a:pt x="42" y="12"/>
                  </a:lnTo>
                  <a:lnTo>
                    <a:pt x="42" y="0"/>
                  </a:lnTo>
                  <a:lnTo>
                    <a:pt x="0" y="3"/>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75" name="Freeform 431"/>
            <p:cNvSpPr>
              <a:spLocks noEditPoints="1"/>
            </p:cNvSpPr>
            <p:nvPr/>
          </p:nvSpPr>
          <p:spPr bwMode="auto">
            <a:xfrm>
              <a:off x="2507" y="1954"/>
              <a:ext cx="46" cy="26"/>
            </a:xfrm>
            <a:custGeom>
              <a:avLst/>
              <a:gdLst/>
              <a:ahLst/>
              <a:cxnLst>
                <a:cxn ang="0">
                  <a:pos x="9" y="29"/>
                </a:cxn>
                <a:cxn ang="0">
                  <a:pos x="14" y="15"/>
                </a:cxn>
                <a:cxn ang="0">
                  <a:pos x="54" y="57"/>
                </a:cxn>
                <a:cxn ang="0">
                  <a:pos x="46" y="55"/>
                </a:cxn>
                <a:cxn ang="0">
                  <a:pos x="95" y="41"/>
                </a:cxn>
                <a:cxn ang="0">
                  <a:pos x="105" y="46"/>
                </a:cxn>
                <a:cxn ang="0">
                  <a:pos x="101" y="56"/>
                </a:cxn>
                <a:cxn ang="0">
                  <a:pos x="73" y="70"/>
                </a:cxn>
                <a:cxn ang="0">
                  <a:pos x="76" y="59"/>
                </a:cxn>
                <a:cxn ang="0">
                  <a:pos x="99" y="101"/>
                </a:cxn>
                <a:cxn ang="0">
                  <a:pos x="87" y="98"/>
                </a:cxn>
                <a:cxn ang="0">
                  <a:pos x="146" y="56"/>
                </a:cxn>
                <a:cxn ang="0">
                  <a:pos x="143" y="62"/>
                </a:cxn>
                <a:cxn ang="0">
                  <a:pos x="144" y="8"/>
                </a:cxn>
                <a:cxn ang="0">
                  <a:pos x="153" y="16"/>
                </a:cxn>
                <a:cxn ang="0">
                  <a:pos x="9" y="29"/>
                </a:cxn>
                <a:cxn ang="0">
                  <a:pos x="152" y="0"/>
                </a:cxn>
                <a:cxn ang="0">
                  <a:pos x="158" y="3"/>
                </a:cxn>
                <a:cxn ang="0">
                  <a:pos x="160" y="9"/>
                </a:cxn>
                <a:cxn ang="0">
                  <a:pos x="159" y="63"/>
                </a:cxn>
                <a:cxn ang="0">
                  <a:pos x="156" y="69"/>
                </a:cxn>
                <a:cxn ang="0">
                  <a:pos x="96" y="111"/>
                </a:cxn>
                <a:cxn ang="0">
                  <a:pos x="90" y="112"/>
                </a:cxn>
                <a:cxn ang="0">
                  <a:pos x="84" y="108"/>
                </a:cxn>
                <a:cxn ang="0">
                  <a:pos x="62" y="66"/>
                </a:cxn>
                <a:cxn ang="0">
                  <a:pos x="62" y="60"/>
                </a:cxn>
                <a:cxn ang="0">
                  <a:pos x="66" y="56"/>
                </a:cxn>
                <a:cxn ang="0">
                  <a:pos x="93" y="42"/>
                </a:cxn>
                <a:cxn ang="0">
                  <a:pos x="99" y="56"/>
                </a:cxn>
                <a:cxn ang="0">
                  <a:pos x="51" y="70"/>
                </a:cxn>
                <a:cxn ang="0">
                  <a:pos x="43" y="68"/>
                </a:cxn>
                <a:cxn ang="0">
                  <a:pos x="3" y="26"/>
                </a:cxn>
                <a:cxn ang="0">
                  <a:pos x="1" y="18"/>
                </a:cxn>
                <a:cxn ang="0">
                  <a:pos x="8" y="13"/>
                </a:cxn>
                <a:cxn ang="0">
                  <a:pos x="152" y="0"/>
                </a:cxn>
              </a:cxnLst>
              <a:rect l="0" t="0" r="r" b="b"/>
              <a:pathLst>
                <a:path w="161" h="113">
                  <a:moveTo>
                    <a:pt x="9" y="29"/>
                  </a:moveTo>
                  <a:lnTo>
                    <a:pt x="14" y="15"/>
                  </a:lnTo>
                  <a:lnTo>
                    <a:pt x="54" y="57"/>
                  </a:lnTo>
                  <a:lnTo>
                    <a:pt x="46" y="55"/>
                  </a:lnTo>
                  <a:lnTo>
                    <a:pt x="95" y="41"/>
                  </a:lnTo>
                  <a:cubicBezTo>
                    <a:pt x="99" y="40"/>
                    <a:pt x="103" y="42"/>
                    <a:pt x="105" y="46"/>
                  </a:cubicBezTo>
                  <a:cubicBezTo>
                    <a:pt x="106" y="50"/>
                    <a:pt x="104" y="54"/>
                    <a:pt x="101" y="56"/>
                  </a:cubicBezTo>
                  <a:lnTo>
                    <a:pt x="73" y="70"/>
                  </a:lnTo>
                  <a:lnTo>
                    <a:pt x="76" y="59"/>
                  </a:lnTo>
                  <a:lnTo>
                    <a:pt x="99" y="101"/>
                  </a:lnTo>
                  <a:lnTo>
                    <a:pt x="87" y="98"/>
                  </a:lnTo>
                  <a:lnTo>
                    <a:pt x="146" y="56"/>
                  </a:lnTo>
                  <a:lnTo>
                    <a:pt x="143" y="62"/>
                  </a:lnTo>
                  <a:lnTo>
                    <a:pt x="144" y="8"/>
                  </a:lnTo>
                  <a:lnTo>
                    <a:pt x="153" y="16"/>
                  </a:lnTo>
                  <a:lnTo>
                    <a:pt x="9" y="29"/>
                  </a:lnTo>
                  <a:close/>
                  <a:moveTo>
                    <a:pt x="152" y="0"/>
                  </a:moveTo>
                  <a:cubicBezTo>
                    <a:pt x="154" y="0"/>
                    <a:pt x="156" y="1"/>
                    <a:pt x="158" y="3"/>
                  </a:cubicBezTo>
                  <a:cubicBezTo>
                    <a:pt x="160" y="4"/>
                    <a:pt x="161" y="6"/>
                    <a:pt x="160" y="9"/>
                  </a:cubicBezTo>
                  <a:lnTo>
                    <a:pt x="159" y="63"/>
                  </a:lnTo>
                  <a:cubicBezTo>
                    <a:pt x="159" y="65"/>
                    <a:pt x="158" y="68"/>
                    <a:pt x="156" y="69"/>
                  </a:cubicBezTo>
                  <a:lnTo>
                    <a:pt x="96" y="111"/>
                  </a:lnTo>
                  <a:cubicBezTo>
                    <a:pt x="94" y="112"/>
                    <a:pt x="92" y="113"/>
                    <a:pt x="90" y="112"/>
                  </a:cubicBezTo>
                  <a:cubicBezTo>
                    <a:pt x="87" y="112"/>
                    <a:pt x="86" y="110"/>
                    <a:pt x="84" y="108"/>
                  </a:cubicBezTo>
                  <a:lnTo>
                    <a:pt x="62" y="66"/>
                  </a:lnTo>
                  <a:cubicBezTo>
                    <a:pt x="61" y="65"/>
                    <a:pt x="61" y="62"/>
                    <a:pt x="62" y="60"/>
                  </a:cubicBezTo>
                  <a:cubicBezTo>
                    <a:pt x="62" y="58"/>
                    <a:pt x="64" y="56"/>
                    <a:pt x="66" y="56"/>
                  </a:cubicBezTo>
                  <a:lnTo>
                    <a:pt x="93" y="42"/>
                  </a:lnTo>
                  <a:lnTo>
                    <a:pt x="99" y="56"/>
                  </a:lnTo>
                  <a:lnTo>
                    <a:pt x="51" y="70"/>
                  </a:lnTo>
                  <a:cubicBezTo>
                    <a:pt x="48" y="71"/>
                    <a:pt x="45" y="70"/>
                    <a:pt x="43" y="68"/>
                  </a:cubicBezTo>
                  <a:lnTo>
                    <a:pt x="3" y="26"/>
                  </a:lnTo>
                  <a:cubicBezTo>
                    <a:pt x="1" y="24"/>
                    <a:pt x="0" y="21"/>
                    <a:pt x="1" y="18"/>
                  </a:cubicBezTo>
                  <a:cubicBezTo>
                    <a:pt x="2" y="15"/>
                    <a:pt x="5" y="13"/>
                    <a:pt x="8" y="13"/>
                  </a:cubicBezTo>
                  <a:lnTo>
                    <a:pt x="152" y="0"/>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76" name="Freeform 432"/>
            <p:cNvSpPr>
              <a:spLocks/>
            </p:cNvSpPr>
            <p:nvPr/>
          </p:nvSpPr>
          <p:spPr bwMode="auto">
            <a:xfrm>
              <a:off x="3451" y="1773"/>
              <a:ext cx="9" cy="22"/>
            </a:xfrm>
            <a:custGeom>
              <a:avLst/>
              <a:gdLst/>
              <a:ahLst/>
              <a:cxnLst>
                <a:cxn ang="0">
                  <a:pos x="0" y="18"/>
                </a:cxn>
                <a:cxn ang="0">
                  <a:pos x="5" y="22"/>
                </a:cxn>
                <a:cxn ang="0">
                  <a:pos x="9" y="21"/>
                </a:cxn>
                <a:cxn ang="0">
                  <a:pos x="6" y="0"/>
                </a:cxn>
                <a:cxn ang="0">
                  <a:pos x="0" y="18"/>
                </a:cxn>
              </a:cxnLst>
              <a:rect l="0" t="0" r="r" b="b"/>
              <a:pathLst>
                <a:path w="9" h="22">
                  <a:moveTo>
                    <a:pt x="0" y="18"/>
                  </a:moveTo>
                  <a:lnTo>
                    <a:pt x="5" y="22"/>
                  </a:lnTo>
                  <a:lnTo>
                    <a:pt x="9" y="21"/>
                  </a:lnTo>
                  <a:lnTo>
                    <a:pt x="6" y="0"/>
                  </a:lnTo>
                  <a:lnTo>
                    <a:pt x="0" y="18"/>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77" name="Freeform 433"/>
            <p:cNvSpPr>
              <a:spLocks noEditPoints="1"/>
            </p:cNvSpPr>
            <p:nvPr/>
          </p:nvSpPr>
          <p:spPr bwMode="auto">
            <a:xfrm>
              <a:off x="3449" y="1771"/>
              <a:ext cx="14" cy="26"/>
            </a:xfrm>
            <a:custGeom>
              <a:avLst/>
              <a:gdLst/>
              <a:ahLst/>
              <a:cxnLst>
                <a:cxn ang="0">
                  <a:pos x="16" y="91"/>
                </a:cxn>
                <a:cxn ang="0">
                  <a:pos x="14" y="83"/>
                </a:cxn>
                <a:cxn ang="0">
                  <a:pos x="29" y="99"/>
                </a:cxn>
                <a:cxn ang="0">
                  <a:pos x="22" y="97"/>
                </a:cxn>
                <a:cxn ang="0">
                  <a:pos x="39" y="93"/>
                </a:cxn>
                <a:cxn ang="0">
                  <a:pos x="33" y="102"/>
                </a:cxn>
                <a:cxn ang="0">
                  <a:pos x="19" y="10"/>
                </a:cxn>
                <a:cxn ang="0">
                  <a:pos x="35" y="10"/>
                </a:cxn>
                <a:cxn ang="0">
                  <a:pos x="16" y="91"/>
                </a:cxn>
                <a:cxn ang="0">
                  <a:pos x="19" y="7"/>
                </a:cxn>
                <a:cxn ang="0">
                  <a:pos x="27" y="0"/>
                </a:cxn>
                <a:cxn ang="0">
                  <a:pos x="35" y="7"/>
                </a:cxn>
                <a:cxn ang="0">
                  <a:pos x="48" y="100"/>
                </a:cxn>
                <a:cxn ang="0">
                  <a:pos x="42" y="109"/>
                </a:cxn>
                <a:cxn ang="0">
                  <a:pos x="25" y="112"/>
                </a:cxn>
                <a:cxn ang="0">
                  <a:pos x="18" y="110"/>
                </a:cxn>
                <a:cxn ang="0">
                  <a:pos x="3" y="95"/>
                </a:cxn>
                <a:cxn ang="0">
                  <a:pos x="1" y="87"/>
                </a:cxn>
                <a:cxn ang="0">
                  <a:pos x="19" y="7"/>
                </a:cxn>
              </a:cxnLst>
              <a:rect l="0" t="0" r="r" b="b"/>
              <a:pathLst>
                <a:path w="49" h="113">
                  <a:moveTo>
                    <a:pt x="16" y="91"/>
                  </a:moveTo>
                  <a:lnTo>
                    <a:pt x="14" y="83"/>
                  </a:lnTo>
                  <a:lnTo>
                    <a:pt x="29" y="99"/>
                  </a:lnTo>
                  <a:lnTo>
                    <a:pt x="22" y="97"/>
                  </a:lnTo>
                  <a:lnTo>
                    <a:pt x="39" y="93"/>
                  </a:lnTo>
                  <a:lnTo>
                    <a:pt x="33" y="102"/>
                  </a:lnTo>
                  <a:lnTo>
                    <a:pt x="19" y="10"/>
                  </a:lnTo>
                  <a:lnTo>
                    <a:pt x="35" y="10"/>
                  </a:lnTo>
                  <a:lnTo>
                    <a:pt x="16" y="91"/>
                  </a:lnTo>
                  <a:close/>
                  <a:moveTo>
                    <a:pt x="19" y="7"/>
                  </a:moveTo>
                  <a:cubicBezTo>
                    <a:pt x="20" y="3"/>
                    <a:pt x="23" y="0"/>
                    <a:pt x="27" y="0"/>
                  </a:cubicBezTo>
                  <a:cubicBezTo>
                    <a:pt x="31" y="1"/>
                    <a:pt x="34" y="3"/>
                    <a:pt x="35" y="7"/>
                  </a:cubicBezTo>
                  <a:lnTo>
                    <a:pt x="48" y="100"/>
                  </a:lnTo>
                  <a:cubicBezTo>
                    <a:pt x="49" y="104"/>
                    <a:pt x="46" y="108"/>
                    <a:pt x="42" y="109"/>
                  </a:cubicBezTo>
                  <a:lnTo>
                    <a:pt x="25" y="112"/>
                  </a:lnTo>
                  <a:cubicBezTo>
                    <a:pt x="23" y="113"/>
                    <a:pt x="20" y="112"/>
                    <a:pt x="18" y="110"/>
                  </a:cubicBezTo>
                  <a:lnTo>
                    <a:pt x="3" y="95"/>
                  </a:lnTo>
                  <a:cubicBezTo>
                    <a:pt x="1" y="93"/>
                    <a:pt x="0" y="90"/>
                    <a:pt x="1" y="87"/>
                  </a:cubicBezTo>
                  <a:lnTo>
                    <a:pt x="19" y="7"/>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78" name="Freeform 434"/>
            <p:cNvSpPr>
              <a:spLocks/>
            </p:cNvSpPr>
            <p:nvPr/>
          </p:nvSpPr>
          <p:spPr bwMode="auto">
            <a:xfrm>
              <a:off x="3150" y="2135"/>
              <a:ext cx="23" cy="22"/>
            </a:xfrm>
            <a:custGeom>
              <a:avLst/>
              <a:gdLst/>
              <a:ahLst/>
              <a:cxnLst>
                <a:cxn ang="0">
                  <a:pos x="0" y="22"/>
                </a:cxn>
                <a:cxn ang="0">
                  <a:pos x="9" y="4"/>
                </a:cxn>
                <a:cxn ang="0">
                  <a:pos x="20" y="0"/>
                </a:cxn>
                <a:cxn ang="0">
                  <a:pos x="23" y="18"/>
                </a:cxn>
                <a:cxn ang="0">
                  <a:pos x="0" y="22"/>
                </a:cxn>
              </a:cxnLst>
              <a:rect l="0" t="0" r="r" b="b"/>
              <a:pathLst>
                <a:path w="23" h="22">
                  <a:moveTo>
                    <a:pt x="0" y="22"/>
                  </a:moveTo>
                  <a:lnTo>
                    <a:pt x="9" y="4"/>
                  </a:lnTo>
                  <a:lnTo>
                    <a:pt x="20" y="0"/>
                  </a:lnTo>
                  <a:lnTo>
                    <a:pt x="23" y="18"/>
                  </a:lnTo>
                  <a:lnTo>
                    <a:pt x="0" y="22"/>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79" name="Freeform 435"/>
            <p:cNvSpPr>
              <a:spLocks noEditPoints="1"/>
            </p:cNvSpPr>
            <p:nvPr/>
          </p:nvSpPr>
          <p:spPr bwMode="auto">
            <a:xfrm>
              <a:off x="3147" y="2133"/>
              <a:ext cx="28" cy="26"/>
            </a:xfrm>
            <a:custGeom>
              <a:avLst/>
              <a:gdLst/>
              <a:ahLst/>
              <a:cxnLst>
                <a:cxn ang="0">
                  <a:pos x="10" y="112"/>
                </a:cxn>
                <a:cxn ang="0">
                  <a:pos x="2" y="110"/>
                </a:cxn>
                <a:cxn ang="0">
                  <a:pos x="1" y="101"/>
                </a:cxn>
                <a:cxn ang="0">
                  <a:pos x="33" y="23"/>
                </a:cxn>
                <a:cxn ang="0">
                  <a:pos x="37" y="18"/>
                </a:cxn>
                <a:cxn ang="0">
                  <a:pos x="74" y="1"/>
                </a:cxn>
                <a:cxn ang="0">
                  <a:pos x="81" y="1"/>
                </a:cxn>
                <a:cxn ang="0">
                  <a:pos x="85" y="7"/>
                </a:cxn>
                <a:cxn ang="0">
                  <a:pos x="96" y="86"/>
                </a:cxn>
                <a:cxn ang="0">
                  <a:pos x="90" y="95"/>
                </a:cxn>
                <a:cxn ang="0">
                  <a:pos x="10" y="112"/>
                </a:cxn>
                <a:cxn ang="0">
                  <a:pos x="87" y="79"/>
                </a:cxn>
                <a:cxn ang="0">
                  <a:pos x="81" y="88"/>
                </a:cxn>
                <a:cxn ang="0">
                  <a:pos x="69" y="10"/>
                </a:cxn>
                <a:cxn ang="0">
                  <a:pos x="81" y="16"/>
                </a:cxn>
                <a:cxn ang="0">
                  <a:pos x="44" y="33"/>
                </a:cxn>
                <a:cxn ang="0">
                  <a:pos x="48" y="29"/>
                </a:cxn>
                <a:cxn ang="0">
                  <a:pos x="16" y="107"/>
                </a:cxn>
                <a:cxn ang="0">
                  <a:pos x="7" y="97"/>
                </a:cxn>
                <a:cxn ang="0">
                  <a:pos x="87" y="79"/>
                </a:cxn>
              </a:cxnLst>
              <a:rect l="0" t="0" r="r" b="b"/>
              <a:pathLst>
                <a:path w="97" h="113">
                  <a:moveTo>
                    <a:pt x="10" y="112"/>
                  </a:moveTo>
                  <a:cubicBezTo>
                    <a:pt x="7" y="113"/>
                    <a:pt x="4" y="112"/>
                    <a:pt x="2" y="110"/>
                  </a:cubicBezTo>
                  <a:cubicBezTo>
                    <a:pt x="0" y="107"/>
                    <a:pt x="0" y="104"/>
                    <a:pt x="1" y="101"/>
                  </a:cubicBezTo>
                  <a:lnTo>
                    <a:pt x="33" y="23"/>
                  </a:lnTo>
                  <a:cubicBezTo>
                    <a:pt x="34" y="21"/>
                    <a:pt x="35" y="19"/>
                    <a:pt x="37" y="18"/>
                  </a:cubicBezTo>
                  <a:lnTo>
                    <a:pt x="74" y="1"/>
                  </a:lnTo>
                  <a:cubicBezTo>
                    <a:pt x="76" y="0"/>
                    <a:pt x="79" y="0"/>
                    <a:pt x="81" y="1"/>
                  </a:cubicBezTo>
                  <a:cubicBezTo>
                    <a:pt x="83" y="3"/>
                    <a:pt x="85" y="5"/>
                    <a:pt x="85" y="7"/>
                  </a:cubicBezTo>
                  <a:lnTo>
                    <a:pt x="96" y="86"/>
                  </a:lnTo>
                  <a:cubicBezTo>
                    <a:pt x="97" y="90"/>
                    <a:pt x="94" y="94"/>
                    <a:pt x="90" y="95"/>
                  </a:cubicBezTo>
                  <a:lnTo>
                    <a:pt x="10" y="112"/>
                  </a:lnTo>
                  <a:close/>
                  <a:moveTo>
                    <a:pt x="87" y="79"/>
                  </a:moveTo>
                  <a:lnTo>
                    <a:pt x="81" y="88"/>
                  </a:lnTo>
                  <a:lnTo>
                    <a:pt x="69" y="10"/>
                  </a:lnTo>
                  <a:lnTo>
                    <a:pt x="81" y="16"/>
                  </a:lnTo>
                  <a:lnTo>
                    <a:pt x="44" y="33"/>
                  </a:lnTo>
                  <a:lnTo>
                    <a:pt x="48" y="29"/>
                  </a:lnTo>
                  <a:lnTo>
                    <a:pt x="16" y="107"/>
                  </a:lnTo>
                  <a:lnTo>
                    <a:pt x="7" y="97"/>
                  </a:lnTo>
                  <a:lnTo>
                    <a:pt x="87" y="79"/>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80" name="Freeform 436"/>
            <p:cNvSpPr>
              <a:spLocks/>
            </p:cNvSpPr>
            <p:nvPr/>
          </p:nvSpPr>
          <p:spPr bwMode="auto">
            <a:xfrm>
              <a:off x="2495" y="1901"/>
              <a:ext cx="88" cy="58"/>
            </a:xfrm>
            <a:custGeom>
              <a:avLst/>
              <a:gdLst/>
              <a:ahLst/>
              <a:cxnLst>
                <a:cxn ang="0">
                  <a:pos x="0" y="26"/>
                </a:cxn>
                <a:cxn ang="0">
                  <a:pos x="14" y="42"/>
                </a:cxn>
                <a:cxn ang="0">
                  <a:pos x="54" y="45"/>
                </a:cxn>
                <a:cxn ang="0">
                  <a:pos x="12" y="50"/>
                </a:cxn>
                <a:cxn ang="0">
                  <a:pos x="12" y="58"/>
                </a:cxn>
                <a:cxn ang="0">
                  <a:pos x="54" y="55"/>
                </a:cxn>
                <a:cxn ang="0">
                  <a:pos x="88" y="58"/>
                </a:cxn>
                <a:cxn ang="0">
                  <a:pos x="78" y="26"/>
                </a:cxn>
                <a:cxn ang="0">
                  <a:pos x="45" y="0"/>
                </a:cxn>
                <a:cxn ang="0">
                  <a:pos x="14" y="8"/>
                </a:cxn>
                <a:cxn ang="0">
                  <a:pos x="0" y="26"/>
                </a:cxn>
              </a:cxnLst>
              <a:rect l="0" t="0" r="r" b="b"/>
              <a:pathLst>
                <a:path w="88" h="58">
                  <a:moveTo>
                    <a:pt x="0" y="26"/>
                  </a:moveTo>
                  <a:lnTo>
                    <a:pt x="14" y="42"/>
                  </a:lnTo>
                  <a:lnTo>
                    <a:pt x="54" y="45"/>
                  </a:lnTo>
                  <a:lnTo>
                    <a:pt x="12" y="50"/>
                  </a:lnTo>
                  <a:lnTo>
                    <a:pt x="12" y="58"/>
                  </a:lnTo>
                  <a:lnTo>
                    <a:pt x="54" y="55"/>
                  </a:lnTo>
                  <a:lnTo>
                    <a:pt x="88" y="58"/>
                  </a:lnTo>
                  <a:lnTo>
                    <a:pt x="78" y="26"/>
                  </a:lnTo>
                  <a:lnTo>
                    <a:pt x="45" y="0"/>
                  </a:lnTo>
                  <a:lnTo>
                    <a:pt x="14" y="8"/>
                  </a:lnTo>
                  <a:lnTo>
                    <a:pt x="0" y="26"/>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81" name="Freeform 437"/>
            <p:cNvSpPr>
              <a:spLocks noEditPoints="1"/>
            </p:cNvSpPr>
            <p:nvPr/>
          </p:nvSpPr>
          <p:spPr bwMode="auto">
            <a:xfrm>
              <a:off x="2493" y="1899"/>
              <a:ext cx="93" cy="63"/>
            </a:xfrm>
            <a:custGeom>
              <a:avLst/>
              <a:gdLst/>
              <a:ahLst/>
              <a:cxnLst>
                <a:cxn ang="0">
                  <a:pos x="15" y="125"/>
                </a:cxn>
                <a:cxn ang="0">
                  <a:pos x="15" y="116"/>
                </a:cxn>
                <a:cxn ang="0">
                  <a:pos x="60" y="188"/>
                </a:cxn>
                <a:cxn ang="0">
                  <a:pos x="55" y="185"/>
                </a:cxn>
                <a:cxn ang="0">
                  <a:pos x="194" y="199"/>
                </a:cxn>
                <a:cxn ang="0">
                  <a:pos x="202" y="206"/>
                </a:cxn>
                <a:cxn ang="0">
                  <a:pos x="195" y="215"/>
                </a:cxn>
                <a:cxn ang="0">
                  <a:pos x="49" y="237"/>
                </a:cxn>
                <a:cxn ang="0">
                  <a:pos x="56" y="229"/>
                </a:cxn>
                <a:cxn ang="0">
                  <a:pos x="56" y="264"/>
                </a:cxn>
                <a:cxn ang="0">
                  <a:pos x="47" y="256"/>
                </a:cxn>
                <a:cxn ang="0">
                  <a:pos x="194" y="242"/>
                </a:cxn>
                <a:cxn ang="0">
                  <a:pos x="196" y="242"/>
                </a:cxn>
                <a:cxn ang="0">
                  <a:pos x="313" y="257"/>
                </a:cxn>
                <a:cxn ang="0">
                  <a:pos x="305" y="266"/>
                </a:cxn>
                <a:cxn ang="0">
                  <a:pos x="269" y="123"/>
                </a:cxn>
                <a:cxn ang="0">
                  <a:pos x="271" y="126"/>
                </a:cxn>
                <a:cxn ang="0">
                  <a:pos x="158" y="14"/>
                </a:cxn>
                <a:cxn ang="0">
                  <a:pos x="166" y="16"/>
                </a:cxn>
                <a:cxn ang="0">
                  <a:pos x="56" y="49"/>
                </a:cxn>
                <a:cxn ang="0">
                  <a:pos x="61" y="46"/>
                </a:cxn>
                <a:cxn ang="0">
                  <a:pos x="15" y="125"/>
                </a:cxn>
                <a:cxn ang="0">
                  <a:pos x="47" y="38"/>
                </a:cxn>
                <a:cxn ang="0">
                  <a:pos x="51" y="34"/>
                </a:cxn>
                <a:cxn ang="0">
                  <a:pos x="162" y="1"/>
                </a:cxn>
                <a:cxn ang="0">
                  <a:pos x="170" y="3"/>
                </a:cxn>
                <a:cxn ang="0">
                  <a:pos x="283" y="115"/>
                </a:cxn>
                <a:cxn ang="0">
                  <a:pos x="285" y="119"/>
                </a:cxn>
                <a:cxn ang="0">
                  <a:pos x="320" y="263"/>
                </a:cxn>
                <a:cxn ang="0">
                  <a:pos x="318" y="270"/>
                </a:cxn>
                <a:cxn ang="0">
                  <a:pos x="312" y="272"/>
                </a:cxn>
                <a:cxn ang="0">
                  <a:pos x="194" y="258"/>
                </a:cxn>
                <a:cxn ang="0">
                  <a:pos x="196" y="258"/>
                </a:cxn>
                <a:cxn ang="0">
                  <a:pos x="49" y="272"/>
                </a:cxn>
                <a:cxn ang="0">
                  <a:pos x="43" y="270"/>
                </a:cxn>
                <a:cxn ang="0">
                  <a:pos x="40" y="264"/>
                </a:cxn>
                <a:cxn ang="0">
                  <a:pos x="40" y="229"/>
                </a:cxn>
                <a:cxn ang="0">
                  <a:pos x="47" y="221"/>
                </a:cxn>
                <a:cxn ang="0">
                  <a:pos x="192" y="199"/>
                </a:cxn>
                <a:cxn ang="0">
                  <a:pos x="193" y="215"/>
                </a:cxn>
                <a:cxn ang="0">
                  <a:pos x="53" y="201"/>
                </a:cxn>
                <a:cxn ang="0">
                  <a:pos x="47" y="197"/>
                </a:cxn>
                <a:cxn ang="0">
                  <a:pos x="2" y="125"/>
                </a:cxn>
                <a:cxn ang="0">
                  <a:pos x="2" y="117"/>
                </a:cxn>
                <a:cxn ang="0">
                  <a:pos x="47" y="38"/>
                </a:cxn>
              </a:cxnLst>
              <a:rect l="0" t="0" r="r" b="b"/>
              <a:pathLst>
                <a:path w="321" h="273">
                  <a:moveTo>
                    <a:pt x="15" y="125"/>
                  </a:moveTo>
                  <a:lnTo>
                    <a:pt x="15" y="116"/>
                  </a:lnTo>
                  <a:lnTo>
                    <a:pt x="60" y="188"/>
                  </a:lnTo>
                  <a:lnTo>
                    <a:pt x="55" y="185"/>
                  </a:lnTo>
                  <a:lnTo>
                    <a:pt x="194" y="199"/>
                  </a:lnTo>
                  <a:cubicBezTo>
                    <a:pt x="199" y="199"/>
                    <a:pt x="202" y="202"/>
                    <a:pt x="202" y="206"/>
                  </a:cubicBezTo>
                  <a:cubicBezTo>
                    <a:pt x="202" y="210"/>
                    <a:pt x="199" y="214"/>
                    <a:pt x="195" y="215"/>
                  </a:cubicBezTo>
                  <a:lnTo>
                    <a:pt x="49" y="237"/>
                  </a:lnTo>
                  <a:lnTo>
                    <a:pt x="56" y="229"/>
                  </a:lnTo>
                  <a:lnTo>
                    <a:pt x="56" y="264"/>
                  </a:lnTo>
                  <a:lnTo>
                    <a:pt x="47" y="256"/>
                  </a:lnTo>
                  <a:lnTo>
                    <a:pt x="194" y="242"/>
                  </a:lnTo>
                  <a:cubicBezTo>
                    <a:pt x="195" y="242"/>
                    <a:pt x="195" y="242"/>
                    <a:pt x="196" y="242"/>
                  </a:cubicBezTo>
                  <a:lnTo>
                    <a:pt x="313" y="257"/>
                  </a:lnTo>
                  <a:lnTo>
                    <a:pt x="305" y="266"/>
                  </a:lnTo>
                  <a:lnTo>
                    <a:pt x="269" y="123"/>
                  </a:lnTo>
                  <a:lnTo>
                    <a:pt x="271" y="126"/>
                  </a:lnTo>
                  <a:lnTo>
                    <a:pt x="158" y="14"/>
                  </a:lnTo>
                  <a:lnTo>
                    <a:pt x="166" y="16"/>
                  </a:lnTo>
                  <a:lnTo>
                    <a:pt x="56" y="49"/>
                  </a:lnTo>
                  <a:lnTo>
                    <a:pt x="61" y="46"/>
                  </a:lnTo>
                  <a:lnTo>
                    <a:pt x="15" y="125"/>
                  </a:lnTo>
                  <a:close/>
                  <a:moveTo>
                    <a:pt x="47" y="38"/>
                  </a:moveTo>
                  <a:cubicBezTo>
                    <a:pt x="48" y="36"/>
                    <a:pt x="49" y="35"/>
                    <a:pt x="51" y="34"/>
                  </a:cubicBezTo>
                  <a:lnTo>
                    <a:pt x="162" y="1"/>
                  </a:lnTo>
                  <a:cubicBezTo>
                    <a:pt x="164" y="0"/>
                    <a:pt x="168" y="1"/>
                    <a:pt x="170" y="3"/>
                  </a:cubicBezTo>
                  <a:lnTo>
                    <a:pt x="283" y="115"/>
                  </a:lnTo>
                  <a:cubicBezTo>
                    <a:pt x="284" y="116"/>
                    <a:pt x="285" y="117"/>
                    <a:pt x="285" y="119"/>
                  </a:cubicBezTo>
                  <a:lnTo>
                    <a:pt x="320" y="263"/>
                  </a:lnTo>
                  <a:cubicBezTo>
                    <a:pt x="321" y="265"/>
                    <a:pt x="320" y="268"/>
                    <a:pt x="318" y="270"/>
                  </a:cubicBezTo>
                  <a:cubicBezTo>
                    <a:pt x="317" y="272"/>
                    <a:pt x="314" y="273"/>
                    <a:pt x="312" y="272"/>
                  </a:cubicBezTo>
                  <a:lnTo>
                    <a:pt x="194" y="258"/>
                  </a:lnTo>
                  <a:lnTo>
                    <a:pt x="196" y="258"/>
                  </a:lnTo>
                  <a:lnTo>
                    <a:pt x="49" y="272"/>
                  </a:lnTo>
                  <a:cubicBezTo>
                    <a:pt x="47" y="273"/>
                    <a:pt x="44" y="272"/>
                    <a:pt x="43" y="270"/>
                  </a:cubicBezTo>
                  <a:cubicBezTo>
                    <a:pt x="41" y="269"/>
                    <a:pt x="40" y="267"/>
                    <a:pt x="40" y="264"/>
                  </a:cubicBezTo>
                  <a:lnTo>
                    <a:pt x="40" y="229"/>
                  </a:lnTo>
                  <a:cubicBezTo>
                    <a:pt x="40" y="225"/>
                    <a:pt x="43" y="222"/>
                    <a:pt x="47" y="221"/>
                  </a:cubicBezTo>
                  <a:lnTo>
                    <a:pt x="192" y="199"/>
                  </a:lnTo>
                  <a:lnTo>
                    <a:pt x="193" y="215"/>
                  </a:lnTo>
                  <a:lnTo>
                    <a:pt x="53" y="201"/>
                  </a:lnTo>
                  <a:cubicBezTo>
                    <a:pt x="50" y="200"/>
                    <a:pt x="48" y="199"/>
                    <a:pt x="47" y="197"/>
                  </a:cubicBezTo>
                  <a:lnTo>
                    <a:pt x="2" y="125"/>
                  </a:lnTo>
                  <a:cubicBezTo>
                    <a:pt x="0" y="122"/>
                    <a:pt x="0" y="119"/>
                    <a:pt x="2" y="117"/>
                  </a:cubicBezTo>
                  <a:lnTo>
                    <a:pt x="47" y="38"/>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82" name="Freeform 438"/>
            <p:cNvSpPr>
              <a:spLocks/>
            </p:cNvSpPr>
            <p:nvPr/>
          </p:nvSpPr>
          <p:spPr bwMode="auto">
            <a:xfrm>
              <a:off x="2556" y="1992"/>
              <a:ext cx="46" cy="41"/>
            </a:xfrm>
            <a:custGeom>
              <a:avLst/>
              <a:gdLst/>
              <a:ahLst/>
              <a:cxnLst>
                <a:cxn ang="0">
                  <a:pos x="0" y="12"/>
                </a:cxn>
                <a:cxn ang="0">
                  <a:pos x="4" y="28"/>
                </a:cxn>
                <a:cxn ang="0">
                  <a:pos x="28" y="41"/>
                </a:cxn>
                <a:cxn ang="0">
                  <a:pos x="46" y="21"/>
                </a:cxn>
                <a:cxn ang="0">
                  <a:pos x="31" y="0"/>
                </a:cxn>
                <a:cxn ang="0">
                  <a:pos x="0" y="12"/>
                </a:cxn>
              </a:cxnLst>
              <a:rect l="0" t="0" r="r" b="b"/>
              <a:pathLst>
                <a:path w="46" h="41">
                  <a:moveTo>
                    <a:pt x="0" y="12"/>
                  </a:moveTo>
                  <a:lnTo>
                    <a:pt x="4" y="28"/>
                  </a:lnTo>
                  <a:lnTo>
                    <a:pt x="28" y="41"/>
                  </a:lnTo>
                  <a:lnTo>
                    <a:pt x="46" y="21"/>
                  </a:lnTo>
                  <a:lnTo>
                    <a:pt x="31" y="0"/>
                  </a:lnTo>
                  <a:lnTo>
                    <a:pt x="0" y="12"/>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83" name="Freeform 439"/>
            <p:cNvSpPr>
              <a:spLocks noEditPoints="1"/>
            </p:cNvSpPr>
            <p:nvPr/>
          </p:nvSpPr>
          <p:spPr bwMode="auto">
            <a:xfrm>
              <a:off x="2553" y="1990"/>
              <a:ext cx="52" cy="45"/>
            </a:xfrm>
            <a:custGeom>
              <a:avLst/>
              <a:gdLst/>
              <a:ahLst/>
              <a:cxnLst>
                <a:cxn ang="0">
                  <a:pos x="12" y="66"/>
                </a:cxn>
                <a:cxn ang="0">
                  <a:pos x="16" y="57"/>
                </a:cxn>
                <a:cxn ang="0">
                  <a:pos x="33" y="128"/>
                </a:cxn>
                <a:cxn ang="0">
                  <a:pos x="30" y="123"/>
                </a:cxn>
                <a:cxn ang="0">
                  <a:pos x="110" y="179"/>
                </a:cxn>
                <a:cxn ang="0">
                  <a:pos x="99" y="181"/>
                </a:cxn>
                <a:cxn ang="0">
                  <a:pos x="162" y="94"/>
                </a:cxn>
                <a:cxn ang="0">
                  <a:pos x="162" y="103"/>
                </a:cxn>
                <a:cxn ang="0">
                  <a:pos x="110" y="13"/>
                </a:cxn>
                <a:cxn ang="0">
                  <a:pos x="120" y="17"/>
                </a:cxn>
                <a:cxn ang="0">
                  <a:pos x="12" y="66"/>
                </a:cxn>
                <a:cxn ang="0">
                  <a:pos x="114" y="2"/>
                </a:cxn>
                <a:cxn ang="0">
                  <a:pos x="124" y="5"/>
                </a:cxn>
                <a:cxn ang="0">
                  <a:pos x="175" y="95"/>
                </a:cxn>
                <a:cxn ang="0">
                  <a:pos x="175" y="104"/>
                </a:cxn>
                <a:cxn ang="0">
                  <a:pos x="112" y="190"/>
                </a:cxn>
                <a:cxn ang="0">
                  <a:pos x="100" y="192"/>
                </a:cxn>
                <a:cxn ang="0">
                  <a:pos x="20" y="136"/>
                </a:cxn>
                <a:cxn ang="0">
                  <a:pos x="17" y="131"/>
                </a:cxn>
                <a:cxn ang="0">
                  <a:pos x="1" y="60"/>
                </a:cxn>
                <a:cxn ang="0">
                  <a:pos x="5" y="51"/>
                </a:cxn>
                <a:cxn ang="0">
                  <a:pos x="114" y="2"/>
                </a:cxn>
              </a:cxnLst>
              <a:rect l="0" t="0" r="r" b="b"/>
              <a:pathLst>
                <a:path w="177" h="195">
                  <a:moveTo>
                    <a:pt x="12" y="66"/>
                  </a:moveTo>
                  <a:lnTo>
                    <a:pt x="16" y="57"/>
                  </a:lnTo>
                  <a:lnTo>
                    <a:pt x="33" y="128"/>
                  </a:lnTo>
                  <a:lnTo>
                    <a:pt x="30" y="123"/>
                  </a:lnTo>
                  <a:lnTo>
                    <a:pt x="110" y="179"/>
                  </a:lnTo>
                  <a:lnTo>
                    <a:pt x="99" y="181"/>
                  </a:lnTo>
                  <a:lnTo>
                    <a:pt x="162" y="94"/>
                  </a:lnTo>
                  <a:lnTo>
                    <a:pt x="162" y="103"/>
                  </a:lnTo>
                  <a:lnTo>
                    <a:pt x="110" y="13"/>
                  </a:lnTo>
                  <a:lnTo>
                    <a:pt x="120" y="17"/>
                  </a:lnTo>
                  <a:lnTo>
                    <a:pt x="12" y="66"/>
                  </a:lnTo>
                  <a:close/>
                  <a:moveTo>
                    <a:pt x="114" y="2"/>
                  </a:moveTo>
                  <a:cubicBezTo>
                    <a:pt x="118" y="0"/>
                    <a:pt x="122" y="2"/>
                    <a:pt x="124" y="5"/>
                  </a:cubicBezTo>
                  <a:lnTo>
                    <a:pt x="175" y="95"/>
                  </a:lnTo>
                  <a:cubicBezTo>
                    <a:pt x="177" y="98"/>
                    <a:pt x="177" y="101"/>
                    <a:pt x="175" y="104"/>
                  </a:cubicBezTo>
                  <a:lnTo>
                    <a:pt x="112" y="190"/>
                  </a:lnTo>
                  <a:cubicBezTo>
                    <a:pt x="109" y="194"/>
                    <a:pt x="104" y="195"/>
                    <a:pt x="100" y="192"/>
                  </a:cubicBezTo>
                  <a:lnTo>
                    <a:pt x="20" y="136"/>
                  </a:lnTo>
                  <a:cubicBezTo>
                    <a:pt x="19" y="135"/>
                    <a:pt x="18" y="133"/>
                    <a:pt x="17" y="131"/>
                  </a:cubicBezTo>
                  <a:lnTo>
                    <a:pt x="1" y="60"/>
                  </a:lnTo>
                  <a:cubicBezTo>
                    <a:pt x="0" y="57"/>
                    <a:pt x="2" y="53"/>
                    <a:pt x="5" y="51"/>
                  </a:cubicBezTo>
                  <a:lnTo>
                    <a:pt x="114" y="2"/>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84" name="Freeform 440"/>
            <p:cNvSpPr>
              <a:spLocks/>
            </p:cNvSpPr>
            <p:nvPr/>
          </p:nvSpPr>
          <p:spPr bwMode="auto">
            <a:xfrm>
              <a:off x="3317" y="1967"/>
              <a:ext cx="143" cy="179"/>
            </a:xfrm>
            <a:custGeom>
              <a:avLst/>
              <a:gdLst/>
              <a:ahLst/>
              <a:cxnLst>
                <a:cxn ang="0">
                  <a:pos x="0" y="169"/>
                </a:cxn>
                <a:cxn ang="0">
                  <a:pos x="0" y="120"/>
                </a:cxn>
                <a:cxn ang="0">
                  <a:pos x="11" y="106"/>
                </a:cxn>
                <a:cxn ang="0">
                  <a:pos x="55" y="91"/>
                </a:cxn>
                <a:cxn ang="0">
                  <a:pos x="98" y="51"/>
                </a:cxn>
                <a:cxn ang="0">
                  <a:pos x="43" y="38"/>
                </a:cxn>
                <a:cxn ang="0">
                  <a:pos x="26" y="14"/>
                </a:cxn>
                <a:cxn ang="0">
                  <a:pos x="31" y="6"/>
                </a:cxn>
                <a:cxn ang="0">
                  <a:pos x="54" y="21"/>
                </a:cxn>
                <a:cxn ang="0">
                  <a:pos x="137" y="0"/>
                </a:cxn>
                <a:cxn ang="0">
                  <a:pos x="143" y="21"/>
                </a:cxn>
                <a:cxn ang="0">
                  <a:pos x="93" y="104"/>
                </a:cxn>
                <a:cxn ang="0">
                  <a:pos x="7" y="179"/>
                </a:cxn>
                <a:cxn ang="0">
                  <a:pos x="0" y="169"/>
                </a:cxn>
              </a:cxnLst>
              <a:rect l="0" t="0" r="r" b="b"/>
              <a:pathLst>
                <a:path w="143" h="179">
                  <a:moveTo>
                    <a:pt x="0" y="169"/>
                  </a:moveTo>
                  <a:lnTo>
                    <a:pt x="0" y="120"/>
                  </a:lnTo>
                  <a:lnTo>
                    <a:pt x="11" y="106"/>
                  </a:lnTo>
                  <a:lnTo>
                    <a:pt x="55" y="91"/>
                  </a:lnTo>
                  <a:lnTo>
                    <a:pt x="98" y="51"/>
                  </a:lnTo>
                  <a:lnTo>
                    <a:pt x="43" y="38"/>
                  </a:lnTo>
                  <a:lnTo>
                    <a:pt x="26" y="14"/>
                  </a:lnTo>
                  <a:lnTo>
                    <a:pt x="31" y="6"/>
                  </a:lnTo>
                  <a:lnTo>
                    <a:pt x="54" y="21"/>
                  </a:lnTo>
                  <a:lnTo>
                    <a:pt x="137" y="0"/>
                  </a:lnTo>
                  <a:lnTo>
                    <a:pt x="143" y="21"/>
                  </a:lnTo>
                  <a:lnTo>
                    <a:pt x="93" y="104"/>
                  </a:lnTo>
                  <a:lnTo>
                    <a:pt x="7" y="179"/>
                  </a:lnTo>
                  <a:lnTo>
                    <a:pt x="0" y="169"/>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85" name="Freeform 441"/>
            <p:cNvSpPr>
              <a:spLocks noEditPoints="1"/>
            </p:cNvSpPr>
            <p:nvPr/>
          </p:nvSpPr>
          <p:spPr bwMode="auto">
            <a:xfrm>
              <a:off x="3314" y="1965"/>
              <a:ext cx="149" cy="183"/>
            </a:xfrm>
            <a:custGeom>
              <a:avLst/>
              <a:gdLst/>
              <a:ahLst/>
              <a:cxnLst>
                <a:cxn ang="0">
                  <a:pos x="1" y="749"/>
                </a:cxn>
                <a:cxn ang="0">
                  <a:pos x="0" y="746"/>
                </a:cxn>
                <a:cxn ang="0">
                  <a:pos x="0" y="534"/>
                </a:cxn>
                <a:cxn ang="0">
                  <a:pos x="2" y="530"/>
                </a:cxn>
                <a:cxn ang="0">
                  <a:pos x="41" y="467"/>
                </a:cxn>
                <a:cxn ang="0">
                  <a:pos x="45" y="464"/>
                </a:cxn>
                <a:cxn ang="0">
                  <a:pos x="197" y="401"/>
                </a:cxn>
                <a:cxn ang="0">
                  <a:pos x="194" y="403"/>
                </a:cxn>
                <a:cxn ang="0">
                  <a:pos x="342" y="228"/>
                </a:cxn>
                <a:cxn ang="0">
                  <a:pos x="346" y="241"/>
                </a:cxn>
                <a:cxn ang="0">
                  <a:pos x="154" y="184"/>
                </a:cxn>
                <a:cxn ang="0">
                  <a:pos x="150" y="180"/>
                </a:cxn>
                <a:cxn ang="0">
                  <a:pos x="91" y="76"/>
                </a:cxn>
                <a:cxn ang="0">
                  <a:pos x="91" y="68"/>
                </a:cxn>
                <a:cxn ang="0">
                  <a:pos x="110" y="33"/>
                </a:cxn>
                <a:cxn ang="0">
                  <a:pos x="116" y="29"/>
                </a:cxn>
                <a:cxn ang="0">
                  <a:pos x="123" y="31"/>
                </a:cxn>
                <a:cxn ang="0">
                  <a:pos x="199" y="94"/>
                </a:cxn>
                <a:cxn ang="0">
                  <a:pos x="192" y="92"/>
                </a:cxn>
                <a:cxn ang="0">
                  <a:pos x="480" y="1"/>
                </a:cxn>
                <a:cxn ang="0">
                  <a:pos x="486" y="1"/>
                </a:cxn>
                <a:cxn ang="0">
                  <a:pos x="490" y="7"/>
                </a:cxn>
                <a:cxn ang="0">
                  <a:pos x="512" y="98"/>
                </a:cxn>
                <a:cxn ang="0">
                  <a:pos x="512" y="103"/>
                </a:cxn>
                <a:cxn ang="0">
                  <a:pos x="337" y="470"/>
                </a:cxn>
                <a:cxn ang="0">
                  <a:pos x="336" y="472"/>
                </a:cxn>
                <a:cxn ang="0">
                  <a:pos x="38" y="798"/>
                </a:cxn>
                <a:cxn ang="0">
                  <a:pos x="31" y="800"/>
                </a:cxn>
                <a:cxn ang="0">
                  <a:pos x="25" y="796"/>
                </a:cxn>
                <a:cxn ang="0">
                  <a:pos x="1" y="749"/>
                </a:cxn>
                <a:cxn ang="0">
                  <a:pos x="39" y="789"/>
                </a:cxn>
                <a:cxn ang="0">
                  <a:pos x="26" y="787"/>
                </a:cxn>
                <a:cxn ang="0">
                  <a:pos x="324" y="461"/>
                </a:cxn>
                <a:cxn ang="0">
                  <a:pos x="323" y="463"/>
                </a:cxn>
                <a:cxn ang="0">
                  <a:pos x="497" y="97"/>
                </a:cxn>
                <a:cxn ang="0">
                  <a:pos x="497" y="102"/>
                </a:cxn>
                <a:cxn ang="0">
                  <a:pos x="474" y="10"/>
                </a:cxn>
                <a:cxn ang="0">
                  <a:pos x="485" y="16"/>
                </a:cxn>
                <a:cxn ang="0">
                  <a:pos x="197" y="108"/>
                </a:cxn>
                <a:cxn ang="0">
                  <a:pos x="189" y="106"/>
                </a:cxn>
                <a:cxn ang="0">
                  <a:pos x="112" y="43"/>
                </a:cxn>
                <a:cxn ang="0">
                  <a:pos x="124" y="41"/>
                </a:cxn>
                <a:cxn ang="0">
                  <a:pos x="105" y="76"/>
                </a:cxn>
                <a:cxn ang="0">
                  <a:pos x="105" y="68"/>
                </a:cxn>
                <a:cxn ang="0">
                  <a:pos x="164" y="173"/>
                </a:cxn>
                <a:cxn ang="0">
                  <a:pos x="159" y="169"/>
                </a:cxn>
                <a:cxn ang="0">
                  <a:pos x="350" y="225"/>
                </a:cxn>
                <a:cxn ang="0">
                  <a:pos x="356" y="231"/>
                </a:cxn>
                <a:cxn ang="0">
                  <a:pos x="354" y="238"/>
                </a:cxn>
                <a:cxn ang="0">
                  <a:pos x="206" y="413"/>
                </a:cxn>
                <a:cxn ang="0">
                  <a:pos x="203" y="415"/>
                </a:cxn>
                <a:cxn ang="0">
                  <a:pos x="51" y="479"/>
                </a:cxn>
                <a:cxn ang="0">
                  <a:pos x="54" y="475"/>
                </a:cxn>
                <a:cxn ang="0">
                  <a:pos x="15" y="539"/>
                </a:cxn>
                <a:cxn ang="0">
                  <a:pos x="16" y="534"/>
                </a:cxn>
                <a:cxn ang="0">
                  <a:pos x="16" y="746"/>
                </a:cxn>
                <a:cxn ang="0">
                  <a:pos x="16" y="742"/>
                </a:cxn>
                <a:cxn ang="0">
                  <a:pos x="39" y="789"/>
                </a:cxn>
              </a:cxnLst>
              <a:rect l="0" t="0" r="r" b="b"/>
              <a:pathLst>
                <a:path w="513" h="801">
                  <a:moveTo>
                    <a:pt x="1" y="749"/>
                  </a:moveTo>
                  <a:cubicBezTo>
                    <a:pt x="1" y="748"/>
                    <a:pt x="0" y="747"/>
                    <a:pt x="0" y="746"/>
                  </a:cubicBezTo>
                  <a:lnTo>
                    <a:pt x="0" y="534"/>
                  </a:lnTo>
                  <a:cubicBezTo>
                    <a:pt x="0" y="533"/>
                    <a:pt x="1" y="532"/>
                    <a:pt x="2" y="530"/>
                  </a:cubicBezTo>
                  <a:lnTo>
                    <a:pt x="41" y="467"/>
                  </a:lnTo>
                  <a:cubicBezTo>
                    <a:pt x="42" y="466"/>
                    <a:pt x="43" y="464"/>
                    <a:pt x="45" y="464"/>
                  </a:cubicBezTo>
                  <a:lnTo>
                    <a:pt x="197" y="401"/>
                  </a:lnTo>
                  <a:lnTo>
                    <a:pt x="194" y="403"/>
                  </a:lnTo>
                  <a:lnTo>
                    <a:pt x="342" y="228"/>
                  </a:lnTo>
                  <a:lnTo>
                    <a:pt x="346" y="241"/>
                  </a:lnTo>
                  <a:lnTo>
                    <a:pt x="154" y="184"/>
                  </a:lnTo>
                  <a:cubicBezTo>
                    <a:pt x="152" y="184"/>
                    <a:pt x="151" y="182"/>
                    <a:pt x="150" y="180"/>
                  </a:cubicBezTo>
                  <a:lnTo>
                    <a:pt x="91" y="76"/>
                  </a:lnTo>
                  <a:cubicBezTo>
                    <a:pt x="90" y="73"/>
                    <a:pt x="90" y="70"/>
                    <a:pt x="91" y="68"/>
                  </a:cubicBezTo>
                  <a:lnTo>
                    <a:pt x="110" y="33"/>
                  </a:lnTo>
                  <a:cubicBezTo>
                    <a:pt x="112" y="31"/>
                    <a:pt x="114" y="29"/>
                    <a:pt x="116" y="29"/>
                  </a:cubicBezTo>
                  <a:cubicBezTo>
                    <a:pt x="118" y="28"/>
                    <a:pt x="121" y="29"/>
                    <a:pt x="123" y="31"/>
                  </a:cubicBezTo>
                  <a:lnTo>
                    <a:pt x="199" y="94"/>
                  </a:lnTo>
                  <a:lnTo>
                    <a:pt x="192" y="92"/>
                  </a:lnTo>
                  <a:lnTo>
                    <a:pt x="480" y="1"/>
                  </a:lnTo>
                  <a:cubicBezTo>
                    <a:pt x="482" y="0"/>
                    <a:pt x="484" y="0"/>
                    <a:pt x="486" y="1"/>
                  </a:cubicBezTo>
                  <a:cubicBezTo>
                    <a:pt x="488" y="3"/>
                    <a:pt x="489" y="4"/>
                    <a:pt x="490" y="7"/>
                  </a:cubicBezTo>
                  <a:lnTo>
                    <a:pt x="512" y="98"/>
                  </a:lnTo>
                  <a:cubicBezTo>
                    <a:pt x="513" y="100"/>
                    <a:pt x="512" y="102"/>
                    <a:pt x="512" y="103"/>
                  </a:cubicBezTo>
                  <a:lnTo>
                    <a:pt x="337" y="470"/>
                  </a:lnTo>
                  <a:cubicBezTo>
                    <a:pt x="337" y="470"/>
                    <a:pt x="336" y="471"/>
                    <a:pt x="336" y="472"/>
                  </a:cubicBezTo>
                  <a:lnTo>
                    <a:pt x="38" y="798"/>
                  </a:lnTo>
                  <a:cubicBezTo>
                    <a:pt x="36" y="800"/>
                    <a:pt x="34" y="801"/>
                    <a:pt x="31" y="800"/>
                  </a:cubicBezTo>
                  <a:cubicBezTo>
                    <a:pt x="29" y="800"/>
                    <a:pt x="26" y="798"/>
                    <a:pt x="25" y="796"/>
                  </a:cubicBezTo>
                  <a:lnTo>
                    <a:pt x="1" y="749"/>
                  </a:lnTo>
                  <a:close/>
                  <a:moveTo>
                    <a:pt x="39" y="789"/>
                  </a:moveTo>
                  <a:lnTo>
                    <a:pt x="26" y="787"/>
                  </a:lnTo>
                  <a:lnTo>
                    <a:pt x="324" y="461"/>
                  </a:lnTo>
                  <a:lnTo>
                    <a:pt x="323" y="463"/>
                  </a:lnTo>
                  <a:lnTo>
                    <a:pt x="497" y="97"/>
                  </a:lnTo>
                  <a:lnTo>
                    <a:pt x="497" y="102"/>
                  </a:lnTo>
                  <a:lnTo>
                    <a:pt x="474" y="10"/>
                  </a:lnTo>
                  <a:lnTo>
                    <a:pt x="485" y="16"/>
                  </a:lnTo>
                  <a:lnTo>
                    <a:pt x="197" y="108"/>
                  </a:lnTo>
                  <a:cubicBezTo>
                    <a:pt x="194" y="108"/>
                    <a:pt x="191" y="108"/>
                    <a:pt x="189" y="106"/>
                  </a:cubicBezTo>
                  <a:lnTo>
                    <a:pt x="112" y="43"/>
                  </a:lnTo>
                  <a:lnTo>
                    <a:pt x="124" y="41"/>
                  </a:lnTo>
                  <a:lnTo>
                    <a:pt x="105" y="76"/>
                  </a:lnTo>
                  <a:lnTo>
                    <a:pt x="105" y="68"/>
                  </a:lnTo>
                  <a:lnTo>
                    <a:pt x="164" y="173"/>
                  </a:lnTo>
                  <a:lnTo>
                    <a:pt x="159" y="169"/>
                  </a:lnTo>
                  <a:lnTo>
                    <a:pt x="350" y="225"/>
                  </a:lnTo>
                  <a:cubicBezTo>
                    <a:pt x="353" y="226"/>
                    <a:pt x="355" y="228"/>
                    <a:pt x="356" y="231"/>
                  </a:cubicBezTo>
                  <a:cubicBezTo>
                    <a:pt x="356" y="233"/>
                    <a:pt x="356" y="236"/>
                    <a:pt x="354" y="238"/>
                  </a:cubicBezTo>
                  <a:lnTo>
                    <a:pt x="206" y="413"/>
                  </a:lnTo>
                  <a:cubicBezTo>
                    <a:pt x="205" y="414"/>
                    <a:pt x="204" y="415"/>
                    <a:pt x="203" y="415"/>
                  </a:cubicBezTo>
                  <a:lnTo>
                    <a:pt x="51" y="479"/>
                  </a:lnTo>
                  <a:lnTo>
                    <a:pt x="54" y="475"/>
                  </a:lnTo>
                  <a:lnTo>
                    <a:pt x="15" y="539"/>
                  </a:lnTo>
                  <a:lnTo>
                    <a:pt x="16" y="534"/>
                  </a:lnTo>
                  <a:lnTo>
                    <a:pt x="16" y="746"/>
                  </a:lnTo>
                  <a:lnTo>
                    <a:pt x="16" y="742"/>
                  </a:lnTo>
                  <a:lnTo>
                    <a:pt x="39" y="789"/>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86" name="Freeform 442"/>
            <p:cNvSpPr>
              <a:spLocks/>
            </p:cNvSpPr>
            <p:nvPr/>
          </p:nvSpPr>
          <p:spPr bwMode="auto">
            <a:xfrm>
              <a:off x="3094" y="2329"/>
              <a:ext cx="111" cy="99"/>
            </a:xfrm>
            <a:custGeom>
              <a:avLst/>
              <a:gdLst/>
              <a:ahLst/>
              <a:cxnLst>
                <a:cxn ang="0">
                  <a:pos x="0" y="30"/>
                </a:cxn>
                <a:cxn ang="0">
                  <a:pos x="25" y="31"/>
                </a:cxn>
                <a:cxn ang="0">
                  <a:pos x="50" y="13"/>
                </a:cxn>
                <a:cxn ang="0">
                  <a:pos x="51" y="6"/>
                </a:cxn>
                <a:cxn ang="0">
                  <a:pos x="73" y="0"/>
                </a:cxn>
                <a:cxn ang="0">
                  <a:pos x="108" y="11"/>
                </a:cxn>
                <a:cxn ang="0">
                  <a:pos x="111" y="25"/>
                </a:cxn>
                <a:cxn ang="0">
                  <a:pos x="109" y="61"/>
                </a:cxn>
                <a:cxn ang="0">
                  <a:pos x="91" y="99"/>
                </a:cxn>
                <a:cxn ang="0">
                  <a:pos x="59" y="92"/>
                </a:cxn>
                <a:cxn ang="0">
                  <a:pos x="40" y="83"/>
                </a:cxn>
                <a:cxn ang="0">
                  <a:pos x="0" y="30"/>
                </a:cxn>
              </a:cxnLst>
              <a:rect l="0" t="0" r="r" b="b"/>
              <a:pathLst>
                <a:path w="111" h="99">
                  <a:moveTo>
                    <a:pt x="0" y="30"/>
                  </a:moveTo>
                  <a:lnTo>
                    <a:pt x="25" y="31"/>
                  </a:lnTo>
                  <a:lnTo>
                    <a:pt x="50" y="13"/>
                  </a:lnTo>
                  <a:lnTo>
                    <a:pt x="51" y="6"/>
                  </a:lnTo>
                  <a:lnTo>
                    <a:pt x="73" y="0"/>
                  </a:lnTo>
                  <a:lnTo>
                    <a:pt x="108" y="11"/>
                  </a:lnTo>
                  <a:lnTo>
                    <a:pt x="111" y="25"/>
                  </a:lnTo>
                  <a:lnTo>
                    <a:pt x="109" y="61"/>
                  </a:lnTo>
                  <a:lnTo>
                    <a:pt x="91" y="99"/>
                  </a:lnTo>
                  <a:lnTo>
                    <a:pt x="59" y="92"/>
                  </a:lnTo>
                  <a:lnTo>
                    <a:pt x="40" y="83"/>
                  </a:lnTo>
                  <a:lnTo>
                    <a:pt x="0" y="3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87" name="Freeform 443"/>
            <p:cNvSpPr>
              <a:spLocks noEditPoints="1"/>
            </p:cNvSpPr>
            <p:nvPr/>
          </p:nvSpPr>
          <p:spPr bwMode="auto">
            <a:xfrm>
              <a:off x="3092" y="2327"/>
              <a:ext cx="116" cy="103"/>
            </a:xfrm>
            <a:custGeom>
              <a:avLst/>
              <a:gdLst/>
              <a:ahLst/>
              <a:cxnLst>
                <a:cxn ang="0">
                  <a:pos x="2" y="145"/>
                </a:cxn>
                <a:cxn ang="0">
                  <a:pos x="2" y="137"/>
                </a:cxn>
                <a:cxn ang="0">
                  <a:pos x="9" y="133"/>
                </a:cxn>
                <a:cxn ang="0">
                  <a:pos x="95" y="136"/>
                </a:cxn>
                <a:cxn ang="0">
                  <a:pos x="89" y="139"/>
                </a:cxn>
                <a:cxn ang="0">
                  <a:pos x="175" y="59"/>
                </a:cxn>
                <a:cxn ang="0">
                  <a:pos x="172" y="64"/>
                </a:cxn>
                <a:cxn ang="0">
                  <a:pos x="178" y="31"/>
                </a:cxn>
                <a:cxn ang="0">
                  <a:pos x="183" y="25"/>
                </a:cxn>
                <a:cxn ang="0">
                  <a:pos x="258" y="1"/>
                </a:cxn>
                <a:cxn ang="0">
                  <a:pos x="263" y="1"/>
                </a:cxn>
                <a:cxn ang="0">
                  <a:pos x="383" y="47"/>
                </a:cxn>
                <a:cxn ang="0">
                  <a:pos x="388" y="53"/>
                </a:cxn>
                <a:cxn ang="0">
                  <a:pos x="400" y="115"/>
                </a:cxn>
                <a:cxn ang="0">
                  <a:pos x="400" y="117"/>
                </a:cxn>
                <a:cxn ang="0">
                  <a:pos x="393" y="276"/>
                </a:cxn>
                <a:cxn ang="0">
                  <a:pos x="393" y="278"/>
                </a:cxn>
                <a:cxn ang="0">
                  <a:pos x="330" y="443"/>
                </a:cxn>
                <a:cxn ang="0">
                  <a:pos x="320" y="448"/>
                </a:cxn>
                <a:cxn ang="0">
                  <a:pos x="209" y="419"/>
                </a:cxn>
                <a:cxn ang="0">
                  <a:pos x="207" y="418"/>
                </a:cxn>
                <a:cxn ang="0">
                  <a:pos x="141" y="378"/>
                </a:cxn>
                <a:cxn ang="0">
                  <a:pos x="138" y="376"/>
                </a:cxn>
                <a:cxn ang="0">
                  <a:pos x="2" y="145"/>
                </a:cxn>
                <a:cxn ang="0">
                  <a:pos x="152" y="368"/>
                </a:cxn>
                <a:cxn ang="0">
                  <a:pos x="149" y="365"/>
                </a:cxn>
                <a:cxn ang="0">
                  <a:pos x="215" y="404"/>
                </a:cxn>
                <a:cxn ang="0">
                  <a:pos x="213" y="403"/>
                </a:cxn>
                <a:cxn ang="0">
                  <a:pos x="324" y="433"/>
                </a:cxn>
                <a:cxn ang="0">
                  <a:pos x="315" y="438"/>
                </a:cxn>
                <a:cxn ang="0">
                  <a:pos x="378" y="272"/>
                </a:cxn>
                <a:cxn ang="0">
                  <a:pos x="377" y="275"/>
                </a:cxn>
                <a:cxn ang="0">
                  <a:pos x="384" y="117"/>
                </a:cxn>
                <a:cxn ang="0">
                  <a:pos x="385" y="118"/>
                </a:cxn>
                <a:cxn ang="0">
                  <a:pos x="372" y="57"/>
                </a:cxn>
                <a:cxn ang="0">
                  <a:pos x="377" y="62"/>
                </a:cxn>
                <a:cxn ang="0">
                  <a:pos x="257" y="16"/>
                </a:cxn>
                <a:cxn ang="0">
                  <a:pos x="263" y="16"/>
                </a:cxn>
                <a:cxn ang="0">
                  <a:pos x="188" y="40"/>
                </a:cxn>
                <a:cxn ang="0">
                  <a:pos x="194" y="34"/>
                </a:cxn>
                <a:cxn ang="0">
                  <a:pos x="188" y="67"/>
                </a:cxn>
                <a:cxn ang="0">
                  <a:pos x="185" y="71"/>
                </a:cxn>
                <a:cxn ang="0">
                  <a:pos x="100" y="150"/>
                </a:cxn>
                <a:cxn ang="0">
                  <a:pos x="94" y="152"/>
                </a:cxn>
                <a:cxn ang="0">
                  <a:pos x="8" y="149"/>
                </a:cxn>
                <a:cxn ang="0">
                  <a:pos x="15" y="137"/>
                </a:cxn>
                <a:cxn ang="0">
                  <a:pos x="152" y="368"/>
                </a:cxn>
              </a:cxnLst>
              <a:rect l="0" t="0" r="r" b="b"/>
              <a:pathLst>
                <a:path w="400" h="449">
                  <a:moveTo>
                    <a:pt x="2" y="145"/>
                  </a:moveTo>
                  <a:cubicBezTo>
                    <a:pt x="0" y="143"/>
                    <a:pt x="0" y="139"/>
                    <a:pt x="2" y="137"/>
                  </a:cubicBezTo>
                  <a:cubicBezTo>
                    <a:pt x="3" y="134"/>
                    <a:pt x="6" y="133"/>
                    <a:pt x="9" y="133"/>
                  </a:cubicBezTo>
                  <a:lnTo>
                    <a:pt x="95" y="136"/>
                  </a:lnTo>
                  <a:lnTo>
                    <a:pt x="89" y="139"/>
                  </a:lnTo>
                  <a:lnTo>
                    <a:pt x="175" y="59"/>
                  </a:lnTo>
                  <a:lnTo>
                    <a:pt x="172" y="64"/>
                  </a:lnTo>
                  <a:lnTo>
                    <a:pt x="178" y="31"/>
                  </a:lnTo>
                  <a:cubicBezTo>
                    <a:pt x="178" y="28"/>
                    <a:pt x="180" y="26"/>
                    <a:pt x="183" y="25"/>
                  </a:cubicBezTo>
                  <a:lnTo>
                    <a:pt x="258" y="1"/>
                  </a:lnTo>
                  <a:cubicBezTo>
                    <a:pt x="260" y="0"/>
                    <a:pt x="261" y="0"/>
                    <a:pt x="263" y="1"/>
                  </a:cubicBezTo>
                  <a:lnTo>
                    <a:pt x="383" y="47"/>
                  </a:lnTo>
                  <a:cubicBezTo>
                    <a:pt x="385" y="48"/>
                    <a:pt x="387" y="51"/>
                    <a:pt x="388" y="53"/>
                  </a:cubicBezTo>
                  <a:lnTo>
                    <a:pt x="400" y="115"/>
                  </a:lnTo>
                  <a:cubicBezTo>
                    <a:pt x="400" y="116"/>
                    <a:pt x="400" y="117"/>
                    <a:pt x="400" y="117"/>
                  </a:cubicBezTo>
                  <a:lnTo>
                    <a:pt x="393" y="276"/>
                  </a:lnTo>
                  <a:cubicBezTo>
                    <a:pt x="393" y="276"/>
                    <a:pt x="393" y="277"/>
                    <a:pt x="393" y="278"/>
                  </a:cubicBezTo>
                  <a:lnTo>
                    <a:pt x="330" y="443"/>
                  </a:lnTo>
                  <a:cubicBezTo>
                    <a:pt x="328" y="447"/>
                    <a:pt x="324" y="449"/>
                    <a:pt x="320" y="448"/>
                  </a:cubicBezTo>
                  <a:lnTo>
                    <a:pt x="209" y="419"/>
                  </a:lnTo>
                  <a:cubicBezTo>
                    <a:pt x="208" y="419"/>
                    <a:pt x="208" y="418"/>
                    <a:pt x="207" y="418"/>
                  </a:cubicBezTo>
                  <a:lnTo>
                    <a:pt x="141" y="378"/>
                  </a:lnTo>
                  <a:cubicBezTo>
                    <a:pt x="140" y="378"/>
                    <a:pt x="139" y="377"/>
                    <a:pt x="138" y="376"/>
                  </a:cubicBezTo>
                  <a:lnTo>
                    <a:pt x="2" y="145"/>
                  </a:lnTo>
                  <a:close/>
                  <a:moveTo>
                    <a:pt x="152" y="368"/>
                  </a:moveTo>
                  <a:lnTo>
                    <a:pt x="149" y="365"/>
                  </a:lnTo>
                  <a:lnTo>
                    <a:pt x="215" y="404"/>
                  </a:lnTo>
                  <a:lnTo>
                    <a:pt x="213" y="403"/>
                  </a:lnTo>
                  <a:lnTo>
                    <a:pt x="324" y="433"/>
                  </a:lnTo>
                  <a:lnTo>
                    <a:pt x="315" y="438"/>
                  </a:lnTo>
                  <a:lnTo>
                    <a:pt x="378" y="272"/>
                  </a:lnTo>
                  <a:lnTo>
                    <a:pt x="377" y="275"/>
                  </a:lnTo>
                  <a:lnTo>
                    <a:pt x="384" y="117"/>
                  </a:lnTo>
                  <a:lnTo>
                    <a:pt x="385" y="118"/>
                  </a:lnTo>
                  <a:lnTo>
                    <a:pt x="372" y="57"/>
                  </a:lnTo>
                  <a:lnTo>
                    <a:pt x="377" y="62"/>
                  </a:lnTo>
                  <a:lnTo>
                    <a:pt x="257" y="16"/>
                  </a:lnTo>
                  <a:lnTo>
                    <a:pt x="263" y="16"/>
                  </a:lnTo>
                  <a:lnTo>
                    <a:pt x="188" y="40"/>
                  </a:lnTo>
                  <a:lnTo>
                    <a:pt x="194" y="34"/>
                  </a:lnTo>
                  <a:lnTo>
                    <a:pt x="188" y="67"/>
                  </a:lnTo>
                  <a:cubicBezTo>
                    <a:pt x="188" y="68"/>
                    <a:pt x="187" y="70"/>
                    <a:pt x="185" y="71"/>
                  </a:cubicBezTo>
                  <a:lnTo>
                    <a:pt x="100" y="150"/>
                  </a:lnTo>
                  <a:cubicBezTo>
                    <a:pt x="98" y="152"/>
                    <a:pt x="96" y="153"/>
                    <a:pt x="94" y="152"/>
                  </a:cubicBezTo>
                  <a:lnTo>
                    <a:pt x="8" y="149"/>
                  </a:lnTo>
                  <a:lnTo>
                    <a:pt x="15" y="137"/>
                  </a:lnTo>
                  <a:lnTo>
                    <a:pt x="152" y="368"/>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88" name="Freeform 444"/>
            <p:cNvSpPr>
              <a:spLocks/>
            </p:cNvSpPr>
            <p:nvPr/>
          </p:nvSpPr>
          <p:spPr bwMode="auto">
            <a:xfrm>
              <a:off x="2904" y="2347"/>
              <a:ext cx="190" cy="168"/>
            </a:xfrm>
            <a:custGeom>
              <a:avLst/>
              <a:gdLst/>
              <a:ahLst/>
              <a:cxnLst>
                <a:cxn ang="0">
                  <a:pos x="0" y="6"/>
                </a:cxn>
                <a:cxn ang="0">
                  <a:pos x="23" y="0"/>
                </a:cxn>
                <a:cxn ang="0">
                  <a:pos x="137" y="16"/>
                </a:cxn>
                <a:cxn ang="0">
                  <a:pos x="163" y="9"/>
                </a:cxn>
                <a:cxn ang="0">
                  <a:pos x="190" y="12"/>
                </a:cxn>
                <a:cxn ang="0">
                  <a:pos x="167" y="24"/>
                </a:cxn>
                <a:cxn ang="0">
                  <a:pos x="158" y="16"/>
                </a:cxn>
                <a:cxn ang="0">
                  <a:pos x="131" y="22"/>
                </a:cxn>
                <a:cxn ang="0">
                  <a:pos x="131" y="69"/>
                </a:cxn>
                <a:cxn ang="0">
                  <a:pos x="116" y="70"/>
                </a:cxn>
                <a:cxn ang="0">
                  <a:pos x="116" y="107"/>
                </a:cxn>
                <a:cxn ang="0">
                  <a:pos x="116" y="160"/>
                </a:cxn>
                <a:cxn ang="0">
                  <a:pos x="104" y="168"/>
                </a:cxn>
                <a:cxn ang="0">
                  <a:pos x="87" y="168"/>
                </a:cxn>
                <a:cxn ang="0">
                  <a:pos x="77" y="157"/>
                </a:cxn>
                <a:cxn ang="0">
                  <a:pos x="68" y="163"/>
                </a:cxn>
                <a:cxn ang="0">
                  <a:pos x="50" y="145"/>
                </a:cxn>
                <a:cxn ang="0">
                  <a:pos x="40" y="86"/>
                </a:cxn>
                <a:cxn ang="0">
                  <a:pos x="40" y="79"/>
                </a:cxn>
                <a:cxn ang="0">
                  <a:pos x="0" y="6"/>
                </a:cxn>
              </a:cxnLst>
              <a:rect l="0" t="0" r="r" b="b"/>
              <a:pathLst>
                <a:path w="190" h="168">
                  <a:moveTo>
                    <a:pt x="0" y="6"/>
                  </a:moveTo>
                  <a:lnTo>
                    <a:pt x="23" y="0"/>
                  </a:lnTo>
                  <a:lnTo>
                    <a:pt x="137" y="16"/>
                  </a:lnTo>
                  <a:lnTo>
                    <a:pt x="163" y="9"/>
                  </a:lnTo>
                  <a:lnTo>
                    <a:pt x="190" y="12"/>
                  </a:lnTo>
                  <a:lnTo>
                    <a:pt x="167" y="24"/>
                  </a:lnTo>
                  <a:lnTo>
                    <a:pt x="158" y="16"/>
                  </a:lnTo>
                  <a:lnTo>
                    <a:pt x="131" y="22"/>
                  </a:lnTo>
                  <a:lnTo>
                    <a:pt x="131" y="69"/>
                  </a:lnTo>
                  <a:lnTo>
                    <a:pt x="116" y="70"/>
                  </a:lnTo>
                  <a:lnTo>
                    <a:pt x="116" y="107"/>
                  </a:lnTo>
                  <a:lnTo>
                    <a:pt x="116" y="160"/>
                  </a:lnTo>
                  <a:lnTo>
                    <a:pt x="104" y="168"/>
                  </a:lnTo>
                  <a:lnTo>
                    <a:pt x="87" y="168"/>
                  </a:lnTo>
                  <a:lnTo>
                    <a:pt x="77" y="157"/>
                  </a:lnTo>
                  <a:lnTo>
                    <a:pt x="68" y="163"/>
                  </a:lnTo>
                  <a:lnTo>
                    <a:pt x="50" y="145"/>
                  </a:lnTo>
                  <a:lnTo>
                    <a:pt x="40" y="86"/>
                  </a:lnTo>
                  <a:lnTo>
                    <a:pt x="40" y="79"/>
                  </a:lnTo>
                  <a:lnTo>
                    <a:pt x="0" y="6"/>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89" name="Freeform 445"/>
            <p:cNvSpPr>
              <a:spLocks noEditPoints="1"/>
            </p:cNvSpPr>
            <p:nvPr/>
          </p:nvSpPr>
          <p:spPr bwMode="auto">
            <a:xfrm>
              <a:off x="2901" y="2345"/>
              <a:ext cx="195" cy="172"/>
            </a:xfrm>
            <a:custGeom>
              <a:avLst/>
              <a:gdLst/>
              <a:ahLst/>
              <a:cxnLst>
                <a:cxn ang="0">
                  <a:pos x="1" y="28"/>
                </a:cxn>
                <a:cxn ang="0">
                  <a:pos x="87" y="1"/>
                </a:cxn>
                <a:cxn ang="0">
                  <a:pos x="483" y="69"/>
                </a:cxn>
                <a:cxn ang="0">
                  <a:pos x="570" y="39"/>
                </a:cxn>
                <a:cxn ang="0">
                  <a:pos x="666" y="52"/>
                </a:cxn>
                <a:cxn ang="0">
                  <a:pos x="669" y="67"/>
                </a:cxn>
                <a:cxn ang="0">
                  <a:pos x="578" y="119"/>
                </a:cxn>
                <a:cxn ang="0">
                  <a:pos x="555" y="84"/>
                </a:cxn>
                <a:cxn ang="0">
                  <a:pos x="469" y="102"/>
                </a:cxn>
                <a:cxn ang="0">
                  <a:pos x="461" y="318"/>
                </a:cxn>
                <a:cxn ang="0">
                  <a:pos x="419" y="312"/>
                </a:cxn>
                <a:cxn ang="0">
                  <a:pos x="419" y="708"/>
                </a:cxn>
                <a:cxn ang="0">
                  <a:pos x="374" y="750"/>
                </a:cxn>
                <a:cxn ang="0">
                  <a:pos x="308" y="752"/>
                </a:cxn>
                <a:cxn ang="0">
                  <a:pos x="268" y="699"/>
                </a:cxn>
                <a:cxn ang="0">
                  <a:pos x="251" y="727"/>
                </a:cxn>
                <a:cxn ang="0">
                  <a:pos x="239" y="726"/>
                </a:cxn>
                <a:cxn ang="0">
                  <a:pos x="175" y="641"/>
                </a:cxn>
                <a:cxn ang="0">
                  <a:pos x="140" y="351"/>
                </a:cxn>
                <a:cxn ang="0">
                  <a:pos x="1" y="35"/>
                </a:cxn>
                <a:cxn ang="0">
                  <a:pos x="156" y="351"/>
                </a:cxn>
                <a:cxn ang="0">
                  <a:pos x="190" y="638"/>
                </a:cxn>
                <a:cxn ang="0">
                  <a:pos x="252" y="716"/>
                </a:cxn>
                <a:cxn ang="0">
                  <a:pos x="269" y="689"/>
                </a:cxn>
                <a:cxn ang="0">
                  <a:pos x="281" y="690"/>
                </a:cxn>
                <a:cxn ang="0">
                  <a:pos x="308" y="736"/>
                </a:cxn>
                <a:cxn ang="0">
                  <a:pos x="364" y="738"/>
                </a:cxn>
                <a:cxn ang="0">
                  <a:pos x="403" y="708"/>
                </a:cxn>
                <a:cxn ang="0">
                  <a:pos x="403" y="312"/>
                </a:cxn>
                <a:cxn ang="0">
                  <a:pos x="461" y="302"/>
                </a:cxn>
                <a:cxn ang="0">
                  <a:pos x="453" y="102"/>
                </a:cxn>
                <a:cxn ang="0">
                  <a:pos x="551" y="69"/>
                </a:cxn>
                <a:cxn ang="0">
                  <a:pos x="590" y="108"/>
                </a:cxn>
                <a:cxn ang="0">
                  <a:pos x="660" y="53"/>
                </a:cxn>
                <a:cxn ang="0">
                  <a:pos x="571" y="55"/>
                </a:cxn>
                <a:cxn ang="0">
                  <a:pos x="485" y="84"/>
                </a:cxn>
                <a:cxn ang="0">
                  <a:pos x="88" y="16"/>
                </a:cxn>
                <a:cxn ang="0">
                  <a:pos x="11" y="39"/>
                </a:cxn>
                <a:cxn ang="0">
                  <a:pos x="155" y="348"/>
                </a:cxn>
              </a:cxnLst>
              <a:rect l="0" t="0" r="r" b="b"/>
              <a:pathLst>
                <a:path w="673" h="752">
                  <a:moveTo>
                    <a:pt x="1" y="35"/>
                  </a:moveTo>
                  <a:cubicBezTo>
                    <a:pt x="0" y="33"/>
                    <a:pt x="0" y="30"/>
                    <a:pt x="1" y="28"/>
                  </a:cubicBezTo>
                  <a:cubicBezTo>
                    <a:pt x="2" y="26"/>
                    <a:pt x="4" y="25"/>
                    <a:pt x="6" y="24"/>
                  </a:cubicBezTo>
                  <a:lnTo>
                    <a:pt x="87" y="1"/>
                  </a:lnTo>
                  <a:cubicBezTo>
                    <a:pt x="88" y="0"/>
                    <a:pt x="89" y="0"/>
                    <a:pt x="91" y="1"/>
                  </a:cubicBezTo>
                  <a:lnTo>
                    <a:pt x="483" y="69"/>
                  </a:lnTo>
                  <a:lnTo>
                    <a:pt x="479" y="69"/>
                  </a:lnTo>
                  <a:lnTo>
                    <a:pt x="570" y="39"/>
                  </a:lnTo>
                  <a:cubicBezTo>
                    <a:pt x="571" y="39"/>
                    <a:pt x="572" y="39"/>
                    <a:pt x="574" y="39"/>
                  </a:cubicBezTo>
                  <a:lnTo>
                    <a:pt x="666" y="52"/>
                  </a:lnTo>
                  <a:cubicBezTo>
                    <a:pt x="669" y="53"/>
                    <a:pt x="672" y="55"/>
                    <a:pt x="672" y="58"/>
                  </a:cubicBezTo>
                  <a:cubicBezTo>
                    <a:pt x="673" y="62"/>
                    <a:pt x="672" y="65"/>
                    <a:pt x="669" y="67"/>
                  </a:cubicBezTo>
                  <a:lnTo>
                    <a:pt x="588" y="120"/>
                  </a:lnTo>
                  <a:cubicBezTo>
                    <a:pt x="585" y="122"/>
                    <a:pt x="580" y="122"/>
                    <a:pt x="578" y="119"/>
                  </a:cubicBezTo>
                  <a:lnTo>
                    <a:pt x="547" y="82"/>
                  </a:lnTo>
                  <a:lnTo>
                    <a:pt x="555" y="84"/>
                  </a:lnTo>
                  <a:lnTo>
                    <a:pt x="463" y="109"/>
                  </a:lnTo>
                  <a:lnTo>
                    <a:pt x="469" y="102"/>
                  </a:lnTo>
                  <a:lnTo>
                    <a:pt x="469" y="310"/>
                  </a:lnTo>
                  <a:cubicBezTo>
                    <a:pt x="469" y="314"/>
                    <a:pt x="466" y="318"/>
                    <a:pt x="461" y="318"/>
                  </a:cubicBezTo>
                  <a:lnTo>
                    <a:pt x="411" y="320"/>
                  </a:lnTo>
                  <a:lnTo>
                    <a:pt x="419" y="312"/>
                  </a:lnTo>
                  <a:lnTo>
                    <a:pt x="419" y="473"/>
                  </a:lnTo>
                  <a:lnTo>
                    <a:pt x="419" y="708"/>
                  </a:lnTo>
                  <a:cubicBezTo>
                    <a:pt x="419" y="710"/>
                    <a:pt x="418" y="712"/>
                    <a:pt x="416" y="714"/>
                  </a:cubicBezTo>
                  <a:lnTo>
                    <a:pt x="374" y="750"/>
                  </a:lnTo>
                  <a:cubicBezTo>
                    <a:pt x="373" y="752"/>
                    <a:pt x="371" y="752"/>
                    <a:pt x="369" y="752"/>
                  </a:cubicBezTo>
                  <a:lnTo>
                    <a:pt x="308" y="752"/>
                  </a:lnTo>
                  <a:cubicBezTo>
                    <a:pt x="305" y="752"/>
                    <a:pt x="303" y="751"/>
                    <a:pt x="301" y="749"/>
                  </a:cubicBezTo>
                  <a:lnTo>
                    <a:pt x="268" y="699"/>
                  </a:lnTo>
                  <a:lnTo>
                    <a:pt x="280" y="700"/>
                  </a:lnTo>
                  <a:lnTo>
                    <a:pt x="251" y="727"/>
                  </a:lnTo>
                  <a:cubicBezTo>
                    <a:pt x="249" y="729"/>
                    <a:pt x="247" y="729"/>
                    <a:pt x="245" y="729"/>
                  </a:cubicBezTo>
                  <a:cubicBezTo>
                    <a:pt x="242" y="729"/>
                    <a:pt x="240" y="728"/>
                    <a:pt x="239" y="726"/>
                  </a:cubicBezTo>
                  <a:lnTo>
                    <a:pt x="176" y="644"/>
                  </a:lnTo>
                  <a:cubicBezTo>
                    <a:pt x="175" y="643"/>
                    <a:pt x="175" y="642"/>
                    <a:pt x="175" y="641"/>
                  </a:cubicBezTo>
                  <a:lnTo>
                    <a:pt x="140" y="384"/>
                  </a:lnTo>
                  <a:lnTo>
                    <a:pt x="140" y="351"/>
                  </a:lnTo>
                  <a:lnTo>
                    <a:pt x="140" y="355"/>
                  </a:lnTo>
                  <a:lnTo>
                    <a:pt x="1" y="35"/>
                  </a:lnTo>
                  <a:close/>
                  <a:moveTo>
                    <a:pt x="155" y="348"/>
                  </a:moveTo>
                  <a:cubicBezTo>
                    <a:pt x="156" y="349"/>
                    <a:pt x="156" y="350"/>
                    <a:pt x="156" y="351"/>
                  </a:cubicBezTo>
                  <a:lnTo>
                    <a:pt x="156" y="382"/>
                  </a:lnTo>
                  <a:lnTo>
                    <a:pt x="190" y="638"/>
                  </a:lnTo>
                  <a:lnTo>
                    <a:pt x="189" y="635"/>
                  </a:lnTo>
                  <a:lnTo>
                    <a:pt x="252" y="716"/>
                  </a:lnTo>
                  <a:lnTo>
                    <a:pt x="240" y="715"/>
                  </a:lnTo>
                  <a:lnTo>
                    <a:pt x="269" y="689"/>
                  </a:lnTo>
                  <a:cubicBezTo>
                    <a:pt x="271" y="687"/>
                    <a:pt x="273" y="686"/>
                    <a:pt x="275" y="687"/>
                  </a:cubicBezTo>
                  <a:cubicBezTo>
                    <a:pt x="278" y="687"/>
                    <a:pt x="280" y="688"/>
                    <a:pt x="281" y="690"/>
                  </a:cubicBezTo>
                  <a:lnTo>
                    <a:pt x="315" y="740"/>
                  </a:lnTo>
                  <a:lnTo>
                    <a:pt x="308" y="736"/>
                  </a:lnTo>
                  <a:lnTo>
                    <a:pt x="369" y="736"/>
                  </a:lnTo>
                  <a:lnTo>
                    <a:pt x="364" y="738"/>
                  </a:lnTo>
                  <a:lnTo>
                    <a:pt x="406" y="702"/>
                  </a:lnTo>
                  <a:lnTo>
                    <a:pt x="403" y="708"/>
                  </a:lnTo>
                  <a:lnTo>
                    <a:pt x="403" y="473"/>
                  </a:lnTo>
                  <a:lnTo>
                    <a:pt x="403" y="312"/>
                  </a:lnTo>
                  <a:cubicBezTo>
                    <a:pt x="403" y="307"/>
                    <a:pt x="406" y="304"/>
                    <a:pt x="411" y="304"/>
                  </a:cubicBezTo>
                  <a:lnTo>
                    <a:pt x="461" y="302"/>
                  </a:lnTo>
                  <a:lnTo>
                    <a:pt x="453" y="310"/>
                  </a:lnTo>
                  <a:lnTo>
                    <a:pt x="453" y="102"/>
                  </a:lnTo>
                  <a:cubicBezTo>
                    <a:pt x="453" y="98"/>
                    <a:pt x="456" y="95"/>
                    <a:pt x="459" y="94"/>
                  </a:cubicBezTo>
                  <a:lnTo>
                    <a:pt x="551" y="69"/>
                  </a:lnTo>
                  <a:cubicBezTo>
                    <a:pt x="554" y="68"/>
                    <a:pt x="557" y="69"/>
                    <a:pt x="559" y="72"/>
                  </a:cubicBezTo>
                  <a:lnTo>
                    <a:pt x="590" y="108"/>
                  </a:lnTo>
                  <a:lnTo>
                    <a:pt x="579" y="107"/>
                  </a:lnTo>
                  <a:lnTo>
                    <a:pt x="660" y="53"/>
                  </a:lnTo>
                  <a:lnTo>
                    <a:pt x="663" y="68"/>
                  </a:lnTo>
                  <a:lnTo>
                    <a:pt x="571" y="55"/>
                  </a:lnTo>
                  <a:lnTo>
                    <a:pt x="575" y="54"/>
                  </a:lnTo>
                  <a:lnTo>
                    <a:pt x="485" y="84"/>
                  </a:lnTo>
                  <a:cubicBezTo>
                    <a:pt x="483" y="85"/>
                    <a:pt x="482" y="85"/>
                    <a:pt x="481" y="85"/>
                  </a:cubicBezTo>
                  <a:lnTo>
                    <a:pt x="88" y="16"/>
                  </a:lnTo>
                  <a:lnTo>
                    <a:pt x="91" y="16"/>
                  </a:lnTo>
                  <a:lnTo>
                    <a:pt x="11" y="39"/>
                  </a:lnTo>
                  <a:lnTo>
                    <a:pt x="16" y="29"/>
                  </a:lnTo>
                  <a:lnTo>
                    <a:pt x="155" y="348"/>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90" name="Freeform 446"/>
            <p:cNvSpPr>
              <a:spLocks/>
            </p:cNvSpPr>
            <p:nvPr/>
          </p:nvSpPr>
          <p:spPr bwMode="auto">
            <a:xfrm>
              <a:off x="2504" y="1747"/>
              <a:ext cx="116" cy="95"/>
            </a:xfrm>
            <a:custGeom>
              <a:avLst/>
              <a:gdLst/>
              <a:ahLst/>
              <a:cxnLst>
                <a:cxn ang="0">
                  <a:pos x="0" y="95"/>
                </a:cxn>
                <a:cxn ang="0">
                  <a:pos x="55" y="0"/>
                </a:cxn>
                <a:cxn ang="0">
                  <a:pos x="115" y="2"/>
                </a:cxn>
                <a:cxn ang="0">
                  <a:pos x="116" y="7"/>
                </a:cxn>
                <a:cxn ang="0">
                  <a:pos x="115" y="25"/>
                </a:cxn>
                <a:cxn ang="0">
                  <a:pos x="71" y="24"/>
                </a:cxn>
                <a:cxn ang="0">
                  <a:pos x="70" y="61"/>
                </a:cxn>
                <a:cxn ang="0">
                  <a:pos x="55" y="67"/>
                </a:cxn>
                <a:cxn ang="0">
                  <a:pos x="56" y="90"/>
                </a:cxn>
                <a:cxn ang="0">
                  <a:pos x="0" y="95"/>
                </a:cxn>
              </a:cxnLst>
              <a:rect l="0" t="0" r="r" b="b"/>
              <a:pathLst>
                <a:path w="116" h="95">
                  <a:moveTo>
                    <a:pt x="0" y="95"/>
                  </a:moveTo>
                  <a:lnTo>
                    <a:pt x="55" y="0"/>
                  </a:lnTo>
                  <a:lnTo>
                    <a:pt x="115" y="2"/>
                  </a:lnTo>
                  <a:lnTo>
                    <a:pt x="116" y="7"/>
                  </a:lnTo>
                  <a:lnTo>
                    <a:pt x="115" y="25"/>
                  </a:lnTo>
                  <a:lnTo>
                    <a:pt x="71" y="24"/>
                  </a:lnTo>
                  <a:lnTo>
                    <a:pt x="70" y="61"/>
                  </a:lnTo>
                  <a:lnTo>
                    <a:pt x="55" y="67"/>
                  </a:lnTo>
                  <a:lnTo>
                    <a:pt x="56" y="90"/>
                  </a:lnTo>
                  <a:lnTo>
                    <a:pt x="0" y="95"/>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91" name="Freeform 447"/>
            <p:cNvSpPr>
              <a:spLocks noEditPoints="1"/>
            </p:cNvSpPr>
            <p:nvPr/>
          </p:nvSpPr>
          <p:spPr bwMode="auto">
            <a:xfrm>
              <a:off x="2502" y="1745"/>
              <a:ext cx="121" cy="99"/>
            </a:xfrm>
            <a:custGeom>
              <a:avLst/>
              <a:gdLst/>
              <a:ahLst/>
              <a:cxnLst>
                <a:cxn ang="0">
                  <a:pos x="9" y="432"/>
                </a:cxn>
                <a:cxn ang="0">
                  <a:pos x="2" y="429"/>
                </a:cxn>
                <a:cxn ang="0">
                  <a:pos x="1" y="421"/>
                </a:cxn>
                <a:cxn ang="0">
                  <a:pos x="189" y="5"/>
                </a:cxn>
                <a:cxn ang="0">
                  <a:pos x="197" y="0"/>
                </a:cxn>
                <a:cxn ang="0">
                  <a:pos x="405" y="7"/>
                </a:cxn>
                <a:cxn ang="0">
                  <a:pos x="412" y="14"/>
                </a:cxn>
                <a:cxn ang="0">
                  <a:pos x="416" y="36"/>
                </a:cxn>
                <a:cxn ang="0">
                  <a:pos x="416" y="38"/>
                </a:cxn>
                <a:cxn ang="0">
                  <a:pos x="412" y="115"/>
                </a:cxn>
                <a:cxn ang="0">
                  <a:pos x="404" y="123"/>
                </a:cxn>
                <a:cxn ang="0">
                  <a:pos x="252" y="120"/>
                </a:cxn>
                <a:cxn ang="0">
                  <a:pos x="260" y="112"/>
                </a:cxn>
                <a:cxn ang="0">
                  <a:pos x="257" y="273"/>
                </a:cxn>
                <a:cxn ang="0">
                  <a:pos x="253" y="280"/>
                </a:cxn>
                <a:cxn ang="0">
                  <a:pos x="199" y="309"/>
                </a:cxn>
                <a:cxn ang="0">
                  <a:pos x="203" y="302"/>
                </a:cxn>
                <a:cxn ang="0">
                  <a:pos x="206" y="400"/>
                </a:cxn>
                <a:cxn ang="0">
                  <a:pos x="199" y="408"/>
                </a:cxn>
                <a:cxn ang="0">
                  <a:pos x="9" y="432"/>
                </a:cxn>
                <a:cxn ang="0">
                  <a:pos x="197" y="392"/>
                </a:cxn>
                <a:cxn ang="0">
                  <a:pos x="190" y="401"/>
                </a:cxn>
                <a:cxn ang="0">
                  <a:pos x="187" y="303"/>
                </a:cxn>
                <a:cxn ang="0">
                  <a:pos x="192" y="295"/>
                </a:cxn>
                <a:cxn ang="0">
                  <a:pos x="245" y="266"/>
                </a:cxn>
                <a:cxn ang="0">
                  <a:pos x="241" y="273"/>
                </a:cxn>
                <a:cxn ang="0">
                  <a:pos x="244" y="111"/>
                </a:cxn>
                <a:cxn ang="0">
                  <a:pos x="246" y="106"/>
                </a:cxn>
                <a:cxn ang="0">
                  <a:pos x="252" y="104"/>
                </a:cxn>
                <a:cxn ang="0">
                  <a:pos x="405" y="107"/>
                </a:cxn>
                <a:cxn ang="0">
                  <a:pos x="396" y="115"/>
                </a:cxn>
                <a:cxn ang="0">
                  <a:pos x="400" y="37"/>
                </a:cxn>
                <a:cxn ang="0">
                  <a:pos x="401" y="39"/>
                </a:cxn>
                <a:cxn ang="0">
                  <a:pos x="396" y="17"/>
                </a:cxn>
                <a:cxn ang="0">
                  <a:pos x="404" y="23"/>
                </a:cxn>
                <a:cxn ang="0">
                  <a:pos x="197" y="16"/>
                </a:cxn>
                <a:cxn ang="0">
                  <a:pos x="204" y="12"/>
                </a:cxn>
                <a:cxn ang="0">
                  <a:pos x="16" y="428"/>
                </a:cxn>
                <a:cxn ang="0">
                  <a:pos x="7" y="417"/>
                </a:cxn>
                <a:cxn ang="0">
                  <a:pos x="197" y="392"/>
                </a:cxn>
              </a:cxnLst>
              <a:rect l="0" t="0" r="r" b="b"/>
              <a:pathLst>
                <a:path w="416" h="433">
                  <a:moveTo>
                    <a:pt x="9" y="432"/>
                  </a:moveTo>
                  <a:cubicBezTo>
                    <a:pt x="7" y="433"/>
                    <a:pt x="4" y="432"/>
                    <a:pt x="2" y="429"/>
                  </a:cubicBezTo>
                  <a:cubicBezTo>
                    <a:pt x="0" y="427"/>
                    <a:pt x="0" y="424"/>
                    <a:pt x="1" y="421"/>
                  </a:cubicBezTo>
                  <a:lnTo>
                    <a:pt x="189" y="5"/>
                  </a:lnTo>
                  <a:cubicBezTo>
                    <a:pt x="191" y="2"/>
                    <a:pt x="194" y="0"/>
                    <a:pt x="197" y="0"/>
                  </a:cubicBezTo>
                  <a:lnTo>
                    <a:pt x="405" y="7"/>
                  </a:lnTo>
                  <a:cubicBezTo>
                    <a:pt x="408" y="7"/>
                    <a:pt x="412" y="10"/>
                    <a:pt x="412" y="14"/>
                  </a:cubicBezTo>
                  <a:lnTo>
                    <a:pt x="416" y="36"/>
                  </a:lnTo>
                  <a:cubicBezTo>
                    <a:pt x="416" y="37"/>
                    <a:pt x="416" y="37"/>
                    <a:pt x="416" y="38"/>
                  </a:cubicBezTo>
                  <a:lnTo>
                    <a:pt x="412" y="115"/>
                  </a:lnTo>
                  <a:cubicBezTo>
                    <a:pt x="412" y="120"/>
                    <a:pt x="408" y="123"/>
                    <a:pt x="404" y="123"/>
                  </a:cubicBezTo>
                  <a:lnTo>
                    <a:pt x="252" y="120"/>
                  </a:lnTo>
                  <a:lnTo>
                    <a:pt x="260" y="112"/>
                  </a:lnTo>
                  <a:lnTo>
                    <a:pt x="257" y="273"/>
                  </a:lnTo>
                  <a:cubicBezTo>
                    <a:pt x="257" y="276"/>
                    <a:pt x="255" y="279"/>
                    <a:pt x="253" y="280"/>
                  </a:cubicBezTo>
                  <a:lnTo>
                    <a:pt x="199" y="309"/>
                  </a:lnTo>
                  <a:lnTo>
                    <a:pt x="203" y="302"/>
                  </a:lnTo>
                  <a:lnTo>
                    <a:pt x="206" y="400"/>
                  </a:lnTo>
                  <a:cubicBezTo>
                    <a:pt x="206" y="404"/>
                    <a:pt x="203" y="408"/>
                    <a:pt x="199" y="408"/>
                  </a:cubicBezTo>
                  <a:lnTo>
                    <a:pt x="9" y="432"/>
                  </a:lnTo>
                  <a:close/>
                  <a:moveTo>
                    <a:pt x="197" y="392"/>
                  </a:moveTo>
                  <a:lnTo>
                    <a:pt x="190" y="401"/>
                  </a:lnTo>
                  <a:lnTo>
                    <a:pt x="187" y="303"/>
                  </a:lnTo>
                  <a:cubicBezTo>
                    <a:pt x="187" y="300"/>
                    <a:pt x="189" y="297"/>
                    <a:pt x="192" y="295"/>
                  </a:cubicBezTo>
                  <a:lnTo>
                    <a:pt x="245" y="266"/>
                  </a:lnTo>
                  <a:lnTo>
                    <a:pt x="241" y="273"/>
                  </a:lnTo>
                  <a:lnTo>
                    <a:pt x="244" y="111"/>
                  </a:lnTo>
                  <a:cubicBezTo>
                    <a:pt x="244" y="109"/>
                    <a:pt x="245" y="107"/>
                    <a:pt x="246" y="106"/>
                  </a:cubicBezTo>
                  <a:cubicBezTo>
                    <a:pt x="248" y="104"/>
                    <a:pt x="250" y="104"/>
                    <a:pt x="252" y="104"/>
                  </a:cubicBezTo>
                  <a:lnTo>
                    <a:pt x="405" y="107"/>
                  </a:lnTo>
                  <a:lnTo>
                    <a:pt x="396" y="115"/>
                  </a:lnTo>
                  <a:lnTo>
                    <a:pt x="400" y="37"/>
                  </a:lnTo>
                  <a:lnTo>
                    <a:pt x="401" y="39"/>
                  </a:lnTo>
                  <a:lnTo>
                    <a:pt x="396" y="17"/>
                  </a:lnTo>
                  <a:lnTo>
                    <a:pt x="404" y="23"/>
                  </a:lnTo>
                  <a:lnTo>
                    <a:pt x="197" y="16"/>
                  </a:lnTo>
                  <a:lnTo>
                    <a:pt x="204" y="12"/>
                  </a:lnTo>
                  <a:lnTo>
                    <a:pt x="16" y="428"/>
                  </a:lnTo>
                  <a:lnTo>
                    <a:pt x="7" y="417"/>
                  </a:lnTo>
                  <a:lnTo>
                    <a:pt x="197" y="392"/>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92" name="Freeform 448"/>
            <p:cNvSpPr>
              <a:spLocks/>
            </p:cNvSpPr>
            <p:nvPr/>
          </p:nvSpPr>
          <p:spPr bwMode="auto">
            <a:xfrm>
              <a:off x="3047" y="1817"/>
              <a:ext cx="232" cy="260"/>
            </a:xfrm>
            <a:custGeom>
              <a:avLst/>
              <a:gdLst/>
              <a:ahLst/>
              <a:cxnLst>
                <a:cxn ang="0">
                  <a:pos x="0" y="137"/>
                </a:cxn>
                <a:cxn ang="0">
                  <a:pos x="11" y="163"/>
                </a:cxn>
                <a:cxn ang="0">
                  <a:pos x="22" y="191"/>
                </a:cxn>
                <a:cxn ang="0">
                  <a:pos x="45" y="201"/>
                </a:cxn>
                <a:cxn ang="0">
                  <a:pos x="80" y="240"/>
                </a:cxn>
                <a:cxn ang="0">
                  <a:pos x="126" y="260"/>
                </a:cxn>
                <a:cxn ang="0">
                  <a:pos x="169" y="255"/>
                </a:cxn>
                <a:cxn ang="0">
                  <a:pos x="195" y="247"/>
                </a:cxn>
                <a:cxn ang="0">
                  <a:pos x="179" y="220"/>
                </a:cxn>
                <a:cxn ang="0">
                  <a:pos x="155" y="204"/>
                </a:cxn>
                <a:cxn ang="0">
                  <a:pos x="171" y="193"/>
                </a:cxn>
                <a:cxn ang="0">
                  <a:pos x="173" y="169"/>
                </a:cxn>
                <a:cxn ang="0">
                  <a:pos x="200" y="137"/>
                </a:cxn>
                <a:cxn ang="0">
                  <a:pos x="211" y="81"/>
                </a:cxn>
                <a:cxn ang="0">
                  <a:pos x="232" y="69"/>
                </a:cxn>
                <a:cxn ang="0">
                  <a:pos x="216" y="56"/>
                </a:cxn>
                <a:cxn ang="0">
                  <a:pos x="209" y="15"/>
                </a:cxn>
                <a:cxn ang="0">
                  <a:pos x="191" y="0"/>
                </a:cxn>
                <a:cxn ang="0">
                  <a:pos x="169" y="18"/>
                </a:cxn>
                <a:cxn ang="0">
                  <a:pos x="43" y="14"/>
                </a:cxn>
                <a:cxn ang="0">
                  <a:pos x="43" y="41"/>
                </a:cxn>
                <a:cxn ang="0">
                  <a:pos x="30" y="42"/>
                </a:cxn>
                <a:cxn ang="0">
                  <a:pos x="30" y="49"/>
                </a:cxn>
                <a:cxn ang="0">
                  <a:pos x="29" y="99"/>
                </a:cxn>
                <a:cxn ang="0">
                  <a:pos x="15" y="102"/>
                </a:cxn>
                <a:cxn ang="0">
                  <a:pos x="0" y="137"/>
                </a:cxn>
              </a:cxnLst>
              <a:rect l="0" t="0" r="r" b="b"/>
              <a:pathLst>
                <a:path w="232" h="260">
                  <a:moveTo>
                    <a:pt x="0" y="137"/>
                  </a:moveTo>
                  <a:lnTo>
                    <a:pt x="11" y="163"/>
                  </a:lnTo>
                  <a:lnTo>
                    <a:pt x="22" y="191"/>
                  </a:lnTo>
                  <a:lnTo>
                    <a:pt x="45" y="201"/>
                  </a:lnTo>
                  <a:lnTo>
                    <a:pt x="80" y="240"/>
                  </a:lnTo>
                  <a:lnTo>
                    <a:pt x="126" y="260"/>
                  </a:lnTo>
                  <a:lnTo>
                    <a:pt x="169" y="255"/>
                  </a:lnTo>
                  <a:lnTo>
                    <a:pt x="195" y="247"/>
                  </a:lnTo>
                  <a:lnTo>
                    <a:pt x="179" y="220"/>
                  </a:lnTo>
                  <a:lnTo>
                    <a:pt x="155" y="204"/>
                  </a:lnTo>
                  <a:lnTo>
                    <a:pt x="171" y="193"/>
                  </a:lnTo>
                  <a:lnTo>
                    <a:pt x="173" y="169"/>
                  </a:lnTo>
                  <a:lnTo>
                    <a:pt x="200" y="137"/>
                  </a:lnTo>
                  <a:lnTo>
                    <a:pt x="211" y="81"/>
                  </a:lnTo>
                  <a:lnTo>
                    <a:pt x="232" y="69"/>
                  </a:lnTo>
                  <a:lnTo>
                    <a:pt x="216" y="56"/>
                  </a:lnTo>
                  <a:lnTo>
                    <a:pt x="209" y="15"/>
                  </a:lnTo>
                  <a:lnTo>
                    <a:pt x="191" y="0"/>
                  </a:lnTo>
                  <a:lnTo>
                    <a:pt x="169" y="18"/>
                  </a:lnTo>
                  <a:lnTo>
                    <a:pt x="43" y="14"/>
                  </a:lnTo>
                  <a:lnTo>
                    <a:pt x="43" y="41"/>
                  </a:lnTo>
                  <a:lnTo>
                    <a:pt x="30" y="42"/>
                  </a:lnTo>
                  <a:lnTo>
                    <a:pt x="30" y="49"/>
                  </a:lnTo>
                  <a:lnTo>
                    <a:pt x="29" y="99"/>
                  </a:lnTo>
                  <a:lnTo>
                    <a:pt x="15" y="102"/>
                  </a:lnTo>
                  <a:lnTo>
                    <a:pt x="0" y="137"/>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93" name="Freeform 449"/>
            <p:cNvSpPr>
              <a:spLocks noEditPoints="1"/>
            </p:cNvSpPr>
            <p:nvPr/>
          </p:nvSpPr>
          <p:spPr bwMode="auto">
            <a:xfrm>
              <a:off x="3045" y="1815"/>
              <a:ext cx="237" cy="264"/>
            </a:xfrm>
            <a:custGeom>
              <a:avLst/>
              <a:gdLst/>
              <a:ahLst/>
              <a:cxnLst>
                <a:cxn ang="0">
                  <a:pos x="16" y="605"/>
                </a:cxn>
                <a:cxn ang="0">
                  <a:pos x="88" y="843"/>
                </a:cxn>
                <a:cxn ang="0">
                  <a:pos x="166" y="883"/>
                </a:cxn>
                <a:cxn ang="0">
                  <a:pos x="287" y="1053"/>
                </a:cxn>
                <a:cxn ang="0">
                  <a:pos x="444" y="1137"/>
                </a:cxn>
                <a:cxn ang="0">
                  <a:pos x="588" y="1115"/>
                </a:cxn>
                <a:cxn ang="0">
                  <a:pos x="677" y="1082"/>
                </a:cxn>
                <a:cxn ang="0">
                  <a:pos x="618" y="973"/>
                </a:cxn>
                <a:cxn ang="0">
                  <a:pos x="535" y="907"/>
                </a:cxn>
                <a:cxn ang="0">
                  <a:pos x="535" y="894"/>
                </a:cxn>
                <a:cxn ang="0">
                  <a:pos x="588" y="855"/>
                </a:cxn>
                <a:cxn ang="0">
                  <a:pos x="595" y="745"/>
                </a:cxn>
                <a:cxn ang="0">
                  <a:pos x="688" y="608"/>
                </a:cxn>
                <a:cxn ang="0">
                  <a:pos x="729" y="357"/>
                </a:cxn>
                <a:cxn ang="0">
                  <a:pos x="803" y="315"/>
                </a:cxn>
                <a:cxn ang="0">
                  <a:pos x="742" y="257"/>
                </a:cxn>
                <a:cxn ang="0">
                  <a:pos x="722" y="79"/>
                </a:cxn>
                <a:cxn ang="0">
                  <a:pos x="671" y="14"/>
                </a:cxn>
                <a:cxn ang="0">
                  <a:pos x="589" y="95"/>
                </a:cxn>
                <a:cxn ang="0">
                  <a:pos x="162" y="72"/>
                </a:cxn>
                <a:cxn ang="0">
                  <a:pos x="155" y="196"/>
                </a:cxn>
                <a:cxn ang="0">
                  <a:pos x="119" y="191"/>
                </a:cxn>
                <a:cxn ang="0">
                  <a:pos x="116" y="442"/>
                </a:cxn>
                <a:cxn ang="0">
                  <a:pos x="62" y="461"/>
                </a:cxn>
                <a:cxn ang="0">
                  <a:pos x="16" y="611"/>
                </a:cxn>
                <a:cxn ang="0">
                  <a:pos x="58" y="446"/>
                </a:cxn>
                <a:cxn ang="0">
                  <a:pos x="100" y="442"/>
                </a:cxn>
                <a:cxn ang="0">
                  <a:pos x="103" y="191"/>
                </a:cxn>
                <a:cxn ang="0">
                  <a:pos x="154" y="180"/>
                </a:cxn>
                <a:cxn ang="0">
                  <a:pos x="146" y="72"/>
                </a:cxn>
                <a:cxn ang="0">
                  <a:pos x="155" y="64"/>
                </a:cxn>
                <a:cxn ang="0">
                  <a:pos x="583" y="81"/>
                </a:cxn>
                <a:cxn ang="0">
                  <a:pos x="665" y="0"/>
                </a:cxn>
                <a:cxn ang="0">
                  <a:pos x="734" y="68"/>
                </a:cxn>
                <a:cxn ang="0">
                  <a:pos x="758" y="255"/>
                </a:cxn>
                <a:cxn ang="0">
                  <a:pos x="814" y="303"/>
                </a:cxn>
                <a:cxn ang="0">
                  <a:pos x="813" y="316"/>
                </a:cxn>
                <a:cxn ang="0">
                  <a:pos x="741" y="365"/>
                </a:cxn>
                <a:cxn ang="0">
                  <a:pos x="703" y="614"/>
                </a:cxn>
                <a:cxn ang="0">
                  <a:pos x="610" y="750"/>
                </a:cxn>
                <a:cxn ang="0">
                  <a:pos x="601" y="862"/>
                </a:cxn>
                <a:cxn ang="0">
                  <a:pos x="545" y="894"/>
                </a:cxn>
                <a:cxn ang="0">
                  <a:pos x="632" y="967"/>
                </a:cxn>
                <a:cxn ang="0">
                  <a:pos x="687" y="1093"/>
                </a:cxn>
                <a:cxn ang="0">
                  <a:pos x="592" y="1130"/>
                </a:cxn>
                <a:cxn ang="0">
                  <a:pos x="442" y="1152"/>
                </a:cxn>
                <a:cxn ang="0">
                  <a:pos x="277" y="1065"/>
                </a:cxn>
                <a:cxn ang="0">
                  <a:pos x="156" y="895"/>
                </a:cxn>
                <a:cxn ang="0">
                  <a:pos x="77" y="853"/>
                </a:cxn>
                <a:cxn ang="0">
                  <a:pos x="38" y="723"/>
                </a:cxn>
                <a:cxn ang="0">
                  <a:pos x="1" y="605"/>
                </a:cxn>
              </a:cxnLst>
              <a:rect l="0" t="0" r="r" b="b"/>
              <a:pathLst>
                <a:path w="817" h="1153">
                  <a:moveTo>
                    <a:pt x="16" y="611"/>
                  </a:moveTo>
                  <a:lnTo>
                    <a:pt x="16" y="605"/>
                  </a:lnTo>
                  <a:lnTo>
                    <a:pt x="54" y="718"/>
                  </a:lnTo>
                  <a:lnTo>
                    <a:pt x="88" y="843"/>
                  </a:lnTo>
                  <a:lnTo>
                    <a:pt x="85" y="838"/>
                  </a:lnTo>
                  <a:lnTo>
                    <a:pt x="166" y="883"/>
                  </a:lnTo>
                  <a:cubicBezTo>
                    <a:pt x="168" y="884"/>
                    <a:pt x="168" y="885"/>
                    <a:pt x="169" y="886"/>
                  </a:cubicBezTo>
                  <a:lnTo>
                    <a:pt x="287" y="1053"/>
                  </a:lnTo>
                  <a:lnTo>
                    <a:pt x="284" y="1051"/>
                  </a:lnTo>
                  <a:lnTo>
                    <a:pt x="444" y="1137"/>
                  </a:lnTo>
                  <a:lnTo>
                    <a:pt x="439" y="1137"/>
                  </a:lnTo>
                  <a:lnTo>
                    <a:pt x="588" y="1115"/>
                  </a:lnTo>
                  <a:lnTo>
                    <a:pt x="586" y="1115"/>
                  </a:lnTo>
                  <a:lnTo>
                    <a:pt x="677" y="1082"/>
                  </a:lnTo>
                  <a:lnTo>
                    <a:pt x="672" y="1093"/>
                  </a:lnTo>
                  <a:lnTo>
                    <a:pt x="618" y="973"/>
                  </a:lnTo>
                  <a:lnTo>
                    <a:pt x="620" y="976"/>
                  </a:lnTo>
                  <a:lnTo>
                    <a:pt x="535" y="907"/>
                  </a:lnTo>
                  <a:cubicBezTo>
                    <a:pt x="533" y="905"/>
                    <a:pt x="532" y="903"/>
                    <a:pt x="532" y="900"/>
                  </a:cubicBezTo>
                  <a:cubicBezTo>
                    <a:pt x="532" y="898"/>
                    <a:pt x="534" y="896"/>
                    <a:pt x="535" y="894"/>
                  </a:cubicBezTo>
                  <a:lnTo>
                    <a:pt x="591" y="849"/>
                  </a:lnTo>
                  <a:lnTo>
                    <a:pt x="588" y="855"/>
                  </a:lnTo>
                  <a:lnTo>
                    <a:pt x="594" y="749"/>
                  </a:lnTo>
                  <a:cubicBezTo>
                    <a:pt x="594" y="747"/>
                    <a:pt x="594" y="746"/>
                    <a:pt x="595" y="745"/>
                  </a:cubicBezTo>
                  <a:lnTo>
                    <a:pt x="689" y="605"/>
                  </a:lnTo>
                  <a:lnTo>
                    <a:pt x="688" y="608"/>
                  </a:lnTo>
                  <a:lnTo>
                    <a:pt x="726" y="363"/>
                  </a:lnTo>
                  <a:cubicBezTo>
                    <a:pt x="726" y="361"/>
                    <a:pt x="727" y="359"/>
                    <a:pt x="729" y="357"/>
                  </a:cubicBezTo>
                  <a:lnTo>
                    <a:pt x="804" y="303"/>
                  </a:lnTo>
                  <a:lnTo>
                    <a:pt x="803" y="315"/>
                  </a:lnTo>
                  <a:lnTo>
                    <a:pt x="745" y="262"/>
                  </a:lnTo>
                  <a:cubicBezTo>
                    <a:pt x="743" y="261"/>
                    <a:pt x="742" y="259"/>
                    <a:pt x="742" y="257"/>
                  </a:cubicBezTo>
                  <a:lnTo>
                    <a:pt x="720" y="74"/>
                  </a:lnTo>
                  <a:lnTo>
                    <a:pt x="722" y="79"/>
                  </a:lnTo>
                  <a:lnTo>
                    <a:pt x="660" y="14"/>
                  </a:lnTo>
                  <a:lnTo>
                    <a:pt x="671" y="14"/>
                  </a:lnTo>
                  <a:lnTo>
                    <a:pt x="595" y="92"/>
                  </a:lnTo>
                  <a:cubicBezTo>
                    <a:pt x="593" y="94"/>
                    <a:pt x="591" y="95"/>
                    <a:pt x="589" y="95"/>
                  </a:cubicBezTo>
                  <a:lnTo>
                    <a:pt x="154" y="80"/>
                  </a:lnTo>
                  <a:lnTo>
                    <a:pt x="162" y="72"/>
                  </a:lnTo>
                  <a:lnTo>
                    <a:pt x="162" y="188"/>
                  </a:lnTo>
                  <a:cubicBezTo>
                    <a:pt x="162" y="192"/>
                    <a:pt x="159" y="195"/>
                    <a:pt x="155" y="196"/>
                  </a:cubicBezTo>
                  <a:lnTo>
                    <a:pt x="112" y="199"/>
                  </a:lnTo>
                  <a:lnTo>
                    <a:pt x="119" y="191"/>
                  </a:lnTo>
                  <a:lnTo>
                    <a:pt x="119" y="224"/>
                  </a:lnTo>
                  <a:lnTo>
                    <a:pt x="116" y="442"/>
                  </a:lnTo>
                  <a:cubicBezTo>
                    <a:pt x="116" y="446"/>
                    <a:pt x="114" y="449"/>
                    <a:pt x="110" y="450"/>
                  </a:cubicBezTo>
                  <a:lnTo>
                    <a:pt x="62" y="461"/>
                  </a:lnTo>
                  <a:lnTo>
                    <a:pt x="67" y="456"/>
                  </a:lnTo>
                  <a:lnTo>
                    <a:pt x="16" y="611"/>
                  </a:lnTo>
                  <a:close/>
                  <a:moveTo>
                    <a:pt x="52" y="451"/>
                  </a:moveTo>
                  <a:cubicBezTo>
                    <a:pt x="53" y="448"/>
                    <a:pt x="55" y="446"/>
                    <a:pt x="58" y="446"/>
                  </a:cubicBezTo>
                  <a:lnTo>
                    <a:pt x="107" y="434"/>
                  </a:lnTo>
                  <a:lnTo>
                    <a:pt x="100" y="442"/>
                  </a:lnTo>
                  <a:lnTo>
                    <a:pt x="103" y="224"/>
                  </a:lnTo>
                  <a:lnTo>
                    <a:pt x="103" y="191"/>
                  </a:lnTo>
                  <a:cubicBezTo>
                    <a:pt x="103" y="187"/>
                    <a:pt x="106" y="183"/>
                    <a:pt x="111" y="183"/>
                  </a:cubicBezTo>
                  <a:lnTo>
                    <a:pt x="154" y="180"/>
                  </a:lnTo>
                  <a:lnTo>
                    <a:pt x="146" y="188"/>
                  </a:lnTo>
                  <a:lnTo>
                    <a:pt x="146" y="72"/>
                  </a:lnTo>
                  <a:cubicBezTo>
                    <a:pt x="146" y="69"/>
                    <a:pt x="147" y="67"/>
                    <a:pt x="149" y="66"/>
                  </a:cubicBezTo>
                  <a:cubicBezTo>
                    <a:pt x="150" y="64"/>
                    <a:pt x="152" y="63"/>
                    <a:pt x="155" y="64"/>
                  </a:cubicBezTo>
                  <a:lnTo>
                    <a:pt x="589" y="79"/>
                  </a:lnTo>
                  <a:lnTo>
                    <a:pt x="583" y="81"/>
                  </a:lnTo>
                  <a:lnTo>
                    <a:pt x="660" y="3"/>
                  </a:lnTo>
                  <a:cubicBezTo>
                    <a:pt x="661" y="1"/>
                    <a:pt x="663" y="0"/>
                    <a:pt x="665" y="0"/>
                  </a:cubicBezTo>
                  <a:cubicBezTo>
                    <a:pt x="668" y="0"/>
                    <a:pt x="670" y="1"/>
                    <a:pt x="671" y="3"/>
                  </a:cubicBezTo>
                  <a:lnTo>
                    <a:pt x="734" y="68"/>
                  </a:lnTo>
                  <a:cubicBezTo>
                    <a:pt x="735" y="69"/>
                    <a:pt x="736" y="71"/>
                    <a:pt x="736" y="72"/>
                  </a:cubicBezTo>
                  <a:lnTo>
                    <a:pt x="758" y="255"/>
                  </a:lnTo>
                  <a:lnTo>
                    <a:pt x="756" y="250"/>
                  </a:lnTo>
                  <a:lnTo>
                    <a:pt x="814" y="303"/>
                  </a:lnTo>
                  <a:cubicBezTo>
                    <a:pt x="816" y="305"/>
                    <a:pt x="817" y="307"/>
                    <a:pt x="816" y="310"/>
                  </a:cubicBezTo>
                  <a:cubicBezTo>
                    <a:pt x="816" y="312"/>
                    <a:pt x="815" y="314"/>
                    <a:pt x="813" y="316"/>
                  </a:cubicBezTo>
                  <a:lnTo>
                    <a:pt x="738" y="370"/>
                  </a:lnTo>
                  <a:lnTo>
                    <a:pt x="741" y="365"/>
                  </a:lnTo>
                  <a:lnTo>
                    <a:pt x="704" y="611"/>
                  </a:lnTo>
                  <a:cubicBezTo>
                    <a:pt x="704" y="612"/>
                    <a:pt x="703" y="613"/>
                    <a:pt x="703" y="614"/>
                  </a:cubicBezTo>
                  <a:lnTo>
                    <a:pt x="608" y="754"/>
                  </a:lnTo>
                  <a:lnTo>
                    <a:pt x="610" y="750"/>
                  </a:lnTo>
                  <a:lnTo>
                    <a:pt x="604" y="856"/>
                  </a:lnTo>
                  <a:cubicBezTo>
                    <a:pt x="604" y="858"/>
                    <a:pt x="603" y="860"/>
                    <a:pt x="601" y="862"/>
                  </a:cubicBezTo>
                  <a:lnTo>
                    <a:pt x="545" y="907"/>
                  </a:lnTo>
                  <a:lnTo>
                    <a:pt x="545" y="894"/>
                  </a:lnTo>
                  <a:lnTo>
                    <a:pt x="630" y="964"/>
                  </a:lnTo>
                  <a:cubicBezTo>
                    <a:pt x="631" y="965"/>
                    <a:pt x="632" y="966"/>
                    <a:pt x="632" y="967"/>
                  </a:cubicBezTo>
                  <a:lnTo>
                    <a:pt x="687" y="1086"/>
                  </a:lnTo>
                  <a:cubicBezTo>
                    <a:pt x="688" y="1088"/>
                    <a:pt x="688" y="1091"/>
                    <a:pt x="687" y="1093"/>
                  </a:cubicBezTo>
                  <a:cubicBezTo>
                    <a:pt x="686" y="1095"/>
                    <a:pt x="684" y="1096"/>
                    <a:pt x="682" y="1097"/>
                  </a:cubicBezTo>
                  <a:lnTo>
                    <a:pt x="592" y="1130"/>
                  </a:lnTo>
                  <a:cubicBezTo>
                    <a:pt x="591" y="1131"/>
                    <a:pt x="591" y="1131"/>
                    <a:pt x="590" y="1131"/>
                  </a:cubicBezTo>
                  <a:lnTo>
                    <a:pt x="442" y="1152"/>
                  </a:lnTo>
                  <a:cubicBezTo>
                    <a:pt x="440" y="1153"/>
                    <a:pt x="438" y="1152"/>
                    <a:pt x="437" y="1152"/>
                  </a:cubicBezTo>
                  <a:lnTo>
                    <a:pt x="277" y="1065"/>
                  </a:lnTo>
                  <a:cubicBezTo>
                    <a:pt x="276" y="1065"/>
                    <a:pt x="275" y="1064"/>
                    <a:pt x="274" y="1063"/>
                  </a:cubicBezTo>
                  <a:lnTo>
                    <a:pt x="156" y="895"/>
                  </a:lnTo>
                  <a:lnTo>
                    <a:pt x="159" y="897"/>
                  </a:lnTo>
                  <a:lnTo>
                    <a:pt x="77" y="853"/>
                  </a:lnTo>
                  <a:cubicBezTo>
                    <a:pt x="75" y="852"/>
                    <a:pt x="74" y="850"/>
                    <a:pt x="73" y="848"/>
                  </a:cubicBezTo>
                  <a:lnTo>
                    <a:pt x="38" y="723"/>
                  </a:lnTo>
                  <a:lnTo>
                    <a:pt x="1" y="611"/>
                  </a:lnTo>
                  <a:cubicBezTo>
                    <a:pt x="0" y="609"/>
                    <a:pt x="0" y="607"/>
                    <a:pt x="1" y="605"/>
                  </a:cubicBezTo>
                  <a:lnTo>
                    <a:pt x="52" y="45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94" name="Freeform 450"/>
            <p:cNvSpPr>
              <a:spLocks/>
            </p:cNvSpPr>
            <p:nvPr/>
          </p:nvSpPr>
          <p:spPr bwMode="auto">
            <a:xfrm>
              <a:off x="3173" y="2468"/>
              <a:ext cx="18" cy="22"/>
            </a:xfrm>
            <a:custGeom>
              <a:avLst/>
              <a:gdLst/>
              <a:ahLst/>
              <a:cxnLst>
                <a:cxn ang="0">
                  <a:pos x="0" y="13"/>
                </a:cxn>
                <a:cxn ang="0">
                  <a:pos x="10" y="22"/>
                </a:cxn>
                <a:cxn ang="0">
                  <a:pos x="18" y="14"/>
                </a:cxn>
                <a:cxn ang="0">
                  <a:pos x="17" y="0"/>
                </a:cxn>
                <a:cxn ang="0">
                  <a:pos x="0" y="13"/>
                </a:cxn>
              </a:cxnLst>
              <a:rect l="0" t="0" r="r" b="b"/>
              <a:pathLst>
                <a:path w="18" h="22">
                  <a:moveTo>
                    <a:pt x="0" y="13"/>
                  </a:moveTo>
                  <a:lnTo>
                    <a:pt x="10" y="22"/>
                  </a:lnTo>
                  <a:lnTo>
                    <a:pt x="18" y="14"/>
                  </a:lnTo>
                  <a:lnTo>
                    <a:pt x="17" y="0"/>
                  </a:lnTo>
                  <a:lnTo>
                    <a:pt x="0" y="13"/>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95" name="Freeform 451"/>
            <p:cNvSpPr>
              <a:spLocks noEditPoints="1"/>
            </p:cNvSpPr>
            <p:nvPr/>
          </p:nvSpPr>
          <p:spPr bwMode="auto">
            <a:xfrm>
              <a:off x="3170" y="2466"/>
              <a:ext cx="24" cy="26"/>
            </a:xfrm>
            <a:custGeom>
              <a:avLst/>
              <a:gdLst/>
              <a:ahLst/>
              <a:cxnLst>
                <a:cxn ang="0">
                  <a:pos x="14" y="68"/>
                </a:cxn>
                <a:cxn ang="0">
                  <a:pos x="15" y="57"/>
                </a:cxn>
                <a:cxn ang="0">
                  <a:pos x="50" y="99"/>
                </a:cxn>
                <a:cxn ang="0">
                  <a:pos x="37" y="99"/>
                </a:cxn>
                <a:cxn ang="0">
                  <a:pos x="66" y="64"/>
                </a:cxn>
                <a:cxn ang="0">
                  <a:pos x="64" y="70"/>
                </a:cxn>
                <a:cxn ang="0">
                  <a:pos x="58" y="9"/>
                </a:cxn>
                <a:cxn ang="0">
                  <a:pos x="72" y="14"/>
                </a:cxn>
                <a:cxn ang="0">
                  <a:pos x="14" y="68"/>
                </a:cxn>
                <a:cxn ang="0">
                  <a:pos x="61" y="3"/>
                </a:cxn>
                <a:cxn ang="0">
                  <a:pos x="69" y="1"/>
                </a:cxn>
                <a:cxn ang="0">
                  <a:pos x="74" y="8"/>
                </a:cxn>
                <a:cxn ang="0">
                  <a:pos x="80" y="69"/>
                </a:cxn>
                <a:cxn ang="0">
                  <a:pos x="79" y="75"/>
                </a:cxn>
                <a:cxn ang="0">
                  <a:pos x="50" y="110"/>
                </a:cxn>
                <a:cxn ang="0">
                  <a:pos x="44" y="112"/>
                </a:cxn>
                <a:cxn ang="0">
                  <a:pos x="37" y="110"/>
                </a:cxn>
                <a:cxn ang="0">
                  <a:pos x="2" y="68"/>
                </a:cxn>
                <a:cxn ang="0">
                  <a:pos x="3" y="57"/>
                </a:cxn>
                <a:cxn ang="0">
                  <a:pos x="61" y="3"/>
                </a:cxn>
              </a:cxnLst>
              <a:rect l="0" t="0" r="r" b="b"/>
              <a:pathLst>
                <a:path w="81" h="112">
                  <a:moveTo>
                    <a:pt x="14" y="68"/>
                  </a:moveTo>
                  <a:lnTo>
                    <a:pt x="15" y="57"/>
                  </a:lnTo>
                  <a:lnTo>
                    <a:pt x="50" y="99"/>
                  </a:lnTo>
                  <a:lnTo>
                    <a:pt x="37" y="99"/>
                  </a:lnTo>
                  <a:lnTo>
                    <a:pt x="66" y="64"/>
                  </a:lnTo>
                  <a:lnTo>
                    <a:pt x="64" y="70"/>
                  </a:lnTo>
                  <a:lnTo>
                    <a:pt x="58" y="9"/>
                  </a:lnTo>
                  <a:lnTo>
                    <a:pt x="72" y="14"/>
                  </a:lnTo>
                  <a:lnTo>
                    <a:pt x="14" y="68"/>
                  </a:lnTo>
                  <a:close/>
                  <a:moveTo>
                    <a:pt x="61" y="3"/>
                  </a:moveTo>
                  <a:cubicBezTo>
                    <a:pt x="63" y="1"/>
                    <a:pt x="66" y="0"/>
                    <a:pt x="69" y="1"/>
                  </a:cubicBezTo>
                  <a:cubicBezTo>
                    <a:pt x="72" y="2"/>
                    <a:pt x="74" y="5"/>
                    <a:pt x="74" y="8"/>
                  </a:cubicBezTo>
                  <a:lnTo>
                    <a:pt x="80" y="69"/>
                  </a:lnTo>
                  <a:cubicBezTo>
                    <a:pt x="81" y="71"/>
                    <a:pt x="80" y="73"/>
                    <a:pt x="79" y="75"/>
                  </a:cubicBezTo>
                  <a:lnTo>
                    <a:pt x="50" y="110"/>
                  </a:lnTo>
                  <a:cubicBezTo>
                    <a:pt x="48" y="111"/>
                    <a:pt x="46" y="112"/>
                    <a:pt x="44" y="112"/>
                  </a:cubicBezTo>
                  <a:cubicBezTo>
                    <a:pt x="41" y="112"/>
                    <a:pt x="39" y="111"/>
                    <a:pt x="37" y="110"/>
                  </a:cubicBezTo>
                  <a:lnTo>
                    <a:pt x="2" y="68"/>
                  </a:lnTo>
                  <a:cubicBezTo>
                    <a:pt x="0" y="64"/>
                    <a:pt x="0" y="60"/>
                    <a:pt x="3" y="57"/>
                  </a:cubicBezTo>
                  <a:lnTo>
                    <a:pt x="61" y="3"/>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96" name="Freeform 452"/>
            <p:cNvSpPr>
              <a:spLocks/>
            </p:cNvSpPr>
            <p:nvPr/>
          </p:nvSpPr>
          <p:spPr bwMode="auto">
            <a:xfrm>
              <a:off x="3159" y="2135"/>
              <a:ext cx="148" cy="143"/>
            </a:xfrm>
            <a:custGeom>
              <a:avLst/>
              <a:gdLst/>
              <a:ahLst/>
              <a:cxnLst>
                <a:cxn ang="0">
                  <a:pos x="0" y="46"/>
                </a:cxn>
                <a:cxn ang="0">
                  <a:pos x="1" y="73"/>
                </a:cxn>
                <a:cxn ang="0">
                  <a:pos x="19" y="101"/>
                </a:cxn>
                <a:cxn ang="0">
                  <a:pos x="45" y="113"/>
                </a:cxn>
                <a:cxn ang="0">
                  <a:pos x="58" y="116"/>
                </a:cxn>
                <a:cxn ang="0">
                  <a:pos x="73" y="143"/>
                </a:cxn>
                <a:cxn ang="0">
                  <a:pos x="128" y="139"/>
                </a:cxn>
                <a:cxn ang="0">
                  <a:pos x="148" y="127"/>
                </a:cxn>
                <a:cxn ang="0">
                  <a:pos x="128" y="71"/>
                </a:cxn>
                <a:cxn ang="0">
                  <a:pos x="133" y="50"/>
                </a:cxn>
                <a:cxn ang="0">
                  <a:pos x="62" y="0"/>
                </a:cxn>
                <a:cxn ang="0">
                  <a:pos x="44" y="25"/>
                </a:cxn>
                <a:cxn ang="0">
                  <a:pos x="35" y="18"/>
                </a:cxn>
                <a:cxn ang="0">
                  <a:pos x="30" y="24"/>
                </a:cxn>
                <a:cxn ang="0">
                  <a:pos x="29" y="0"/>
                </a:cxn>
                <a:cxn ang="0">
                  <a:pos x="11" y="1"/>
                </a:cxn>
                <a:cxn ang="0">
                  <a:pos x="14" y="19"/>
                </a:cxn>
                <a:cxn ang="0">
                  <a:pos x="15" y="30"/>
                </a:cxn>
                <a:cxn ang="0">
                  <a:pos x="0" y="46"/>
                </a:cxn>
              </a:cxnLst>
              <a:rect l="0" t="0" r="r" b="b"/>
              <a:pathLst>
                <a:path w="148" h="143">
                  <a:moveTo>
                    <a:pt x="0" y="46"/>
                  </a:moveTo>
                  <a:lnTo>
                    <a:pt x="1" y="73"/>
                  </a:lnTo>
                  <a:lnTo>
                    <a:pt x="19" y="101"/>
                  </a:lnTo>
                  <a:lnTo>
                    <a:pt x="45" y="113"/>
                  </a:lnTo>
                  <a:lnTo>
                    <a:pt x="58" y="116"/>
                  </a:lnTo>
                  <a:lnTo>
                    <a:pt x="73" y="143"/>
                  </a:lnTo>
                  <a:lnTo>
                    <a:pt x="128" y="139"/>
                  </a:lnTo>
                  <a:lnTo>
                    <a:pt x="148" y="127"/>
                  </a:lnTo>
                  <a:lnTo>
                    <a:pt x="128" y="71"/>
                  </a:lnTo>
                  <a:lnTo>
                    <a:pt x="133" y="50"/>
                  </a:lnTo>
                  <a:lnTo>
                    <a:pt x="62" y="0"/>
                  </a:lnTo>
                  <a:lnTo>
                    <a:pt x="44" y="25"/>
                  </a:lnTo>
                  <a:lnTo>
                    <a:pt x="35" y="18"/>
                  </a:lnTo>
                  <a:lnTo>
                    <a:pt x="30" y="24"/>
                  </a:lnTo>
                  <a:lnTo>
                    <a:pt x="29" y="0"/>
                  </a:lnTo>
                  <a:lnTo>
                    <a:pt x="11" y="1"/>
                  </a:lnTo>
                  <a:lnTo>
                    <a:pt x="14" y="19"/>
                  </a:lnTo>
                  <a:lnTo>
                    <a:pt x="15" y="30"/>
                  </a:lnTo>
                  <a:lnTo>
                    <a:pt x="0" y="46"/>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97" name="Freeform 453"/>
            <p:cNvSpPr>
              <a:spLocks noEditPoints="1"/>
            </p:cNvSpPr>
            <p:nvPr/>
          </p:nvSpPr>
          <p:spPr bwMode="auto">
            <a:xfrm>
              <a:off x="3156" y="2133"/>
              <a:ext cx="154" cy="147"/>
            </a:xfrm>
            <a:custGeom>
              <a:avLst/>
              <a:gdLst/>
              <a:ahLst/>
              <a:cxnLst>
                <a:cxn ang="0">
                  <a:pos x="16" y="207"/>
                </a:cxn>
                <a:cxn ang="0">
                  <a:pos x="20" y="323"/>
                </a:cxn>
                <a:cxn ang="0">
                  <a:pos x="78" y="442"/>
                </a:cxn>
                <a:cxn ang="0">
                  <a:pos x="165" y="494"/>
                </a:cxn>
                <a:cxn ang="0">
                  <a:pos x="217" y="510"/>
                </a:cxn>
                <a:cxn ang="0">
                  <a:pos x="260" y="624"/>
                </a:cxn>
                <a:cxn ang="0">
                  <a:pos x="446" y="611"/>
                </a:cxn>
                <a:cxn ang="0">
                  <a:pos x="513" y="567"/>
                </a:cxn>
                <a:cxn ang="0">
                  <a:pos x="441" y="318"/>
                </a:cxn>
                <a:cxn ang="0">
                  <a:pos x="462" y="231"/>
                </a:cxn>
                <a:cxn ang="0">
                  <a:pos x="230" y="13"/>
                </a:cxn>
                <a:cxn ang="0">
                  <a:pos x="160" y="124"/>
                </a:cxn>
                <a:cxn ang="0">
                  <a:pos x="125" y="93"/>
                </a:cxn>
                <a:cxn ang="0">
                  <a:pos x="119" y="117"/>
                </a:cxn>
                <a:cxn ang="0">
                  <a:pos x="105" y="113"/>
                </a:cxn>
                <a:cxn ang="0">
                  <a:pos x="110" y="16"/>
                </a:cxn>
                <a:cxn ang="0">
                  <a:pos x="55" y="12"/>
                </a:cxn>
                <a:cxn ang="0">
                  <a:pos x="68" y="139"/>
                </a:cxn>
                <a:cxn ang="0">
                  <a:pos x="15" y="212"/>
                </a:cxn>
                <a:cxn ang="0">
                  <a:pos x="52" y="140"/>
                </a:cxn>
                <a:cxn ang="0">
                  <a:pos x="39" y="15"/>
                </a:cxn>
                <a:cxn ang="0">
                  <a:pos x="46" y="6"/>
                </a:cxn>
                <a:cxn ang="0">
                  <a:pos x="115" y="3"/>
                </a:cxn>
                <a:cxn ang="0">
                  <a:pos x="121" y="113"/>
                </a:cxn>
                <a:cxn ang="0">
                  <a:pos x="124" y="83"/>
                </a:cxn>
                <a:cxn ang="0">
                  <a:pos x="136" y="82"/>
                </a:cxn>
                <a:cxn ang="0">
                  <a:pos x="152" y="112"/>
                </a:cxn>
                <a:cxn ang="0">
                  <a:pos x="222" y="1"/>
                </a:cxn>
                <a:cxn ang="0">
                  <a:pos x="472" y="219"/>
                </a:cxn>
                <a:cxn ang="0">
                  <a:pos x="457" y="321"/>
                </a:cxn>
                <a:cxn ang="0">
                  <a:pos x="528" y="563"/>
                </a:cxn>
                <a:cxn ang="0">
                  <a:pos x="455" y="624"/>
                </a:cxn>
                <a:cxn ang="0">
                  <a:pos x="261" y="640"/>
                </a:cxn>
                <a:cxn ang="0">
                  <a:pos x="202" y="516"/>
                </a:cxn>
                <a:cxn ang="0">
                  <a:pos x="161" y="509"/>
                </a:cxn>
                <a:cxn ang="0">
                  <a:pos x="70" y="456"/>
                </a:cxn>
                <a:cxn ang="0">
                  <a:pos x="5" y="330"/>
                </a:cxn>
                <a:cxn ang="0">
                  <a:pos x="0" y="207"/>
                </a:cxn>
                <a:cxn ang="0">
                  <a:pos x="54" y="135"/>
                </a:cxn>
              </a:cxnLst>
              <a:rect l="0" t="0" r="r" b="b"/>
              <a:pathLst>
                <a:path w="529" h="641">
                  <a:moveTo>
                    <a:pt x="15" y="212"/>
                  </a:moveTo>
                  <a:lnTo>
                    <a:pt x="16" y="207"/>
                  </a:lnTo>
                  <a:lnTo>
                    <a:pt x="21" y="326"/>
                  </a:lnTo>
                  <a:lnTo>
                    <a:pt x="20" y="323"/>
                  </a:lnTo>
                  <a:lnTo>
                    <a:pt x="81" y="446"/>
                  </a:lnTo>
                  <a:lnTo>
                    <a:pt x="78" y="442"/>
                  </a:lnTo>
                  <a:lnTo>
                    <a:pt x="167" y="494"/>
                  </a:lnTo>
                  <a:lnTo>
                    <a:pt x="165" y="494"/>
                  </a:lnTo>
                  <a:lnTo>
                    <a:pt x="212" y="505"/>
                  </a:lnTo>
                  <a:cubicBezTo>
                    <a:pt x="214" y="506"/>
                    <a:pt x="216" y="508"/>
                    <a:pt x="217" y="510"/>
                  </a:cubicBezTo>
                  <a:lnTo>
                    <a:pt x="268" y="629"/>
                  </a:lnTo>
                  <a:lnTo>
                    <a:pt x="260" y="624"/>
                  </a:lnTo>
                  <a:lnTo>
                    <a:pt x="450" y="609"/>
                  </a:lnTo>
                  <a:lnTo>
                    <a:pt x="446" y="611"/>
                  </a:lnTo>
                  <a:lnTo>
                    <a:pt x="516" y="559"/>
                  </a:lnTo>
                  <a:lnTo>
                    <a:pt x="513" y="567"/>
                  </a:lnTo>
                  <a:lnTo>
                    <a:pt x="442" y="322"/>
                  </a:lnTo>
                  <a:cubicBezTo>
                    <a:pt x="441" y="321"/>
                    <a:pt x="441" y="319"/>
                    <a:pt x="441" y="318"/>
                  </a:cubicBezTo>
                  <a:lnTo>
                    <a:pt x="459" y="224"/>
                  </a:lnTo>
                  <a:lnTo>
                    <a:pt x="462" y="231"/>
                  </a:lnTo>
                  <a:lnTo>
                    <a:pt x="218" y="14"/>
                  </a:lnTo>
                  <a:lnTo>
                    <a:pt x="230" y="13"/>
                  </a:lnTo>
                  <a:lnTo>
                    <a:pt x="166" y="120"/>
                  </a:lnTo>
                  <a:cubicBezTo>
                    <a:pt x="165" y="122"/>
                    <a:pt x="162" y="124"/>
                    <a:pt x="160" y="124"/>
                  </a:cubicBezTo>
                  <a:cubicBezTo>
                    <a:pt x="158" y="124"/>
                    <a:pt x="155" y="124"/>
                    <a:pt x="153" y="122"/>
                  </a:cubicBezTo>
                  <a:lnTo>
                    <a:pt x="125" y="93"/>
                  </a:lnTo>
                  <a:lnTo>
                    <a:pt x="137" y="92"/>
                  </a:lnTo>
                  <a:lnTo>
                    <a:pt x="119" y="117"/>
                  </a:lnTo>
                  <a:cubicBezTo>
                    <a:pt x="117" y="120"/>
                    <a:pt x="113" y="121"/>
                    <a:pt x="110" y="120"/>
                  </a:cubicBezTo>
                  <a:cubicBezTo>
                    <a:pt x="107" y="119"/>
                    <a:pt x="105" y="116"/>
                    <a:pt x="105" y="113"/>
                  </a:cubicBezTo>
                  <a:lnTo>
                    <a:pt x="102" y="9"/>
                  </a:lnTo>
                  <a:lnTo>
                    <a:pt x="110" y="16"/>
                  </a:lnTo>
                  <a:lnTo>
                    <a:pt x="47" y="21"/>
                  </a:lnTo>
                  <a:lnTo>
                    <a:pt x="55" y="12"/>
                  </a:lnTo>
                  <a:lnTo>
                    <a:pt x="66" y="90"/>
                  </a:lnTo>
                  <a:lnTo>
                    <a:pt x="68" y="139"/>
                  </a:lnTo>
                  <a:cubicBezTo>
                    <a:pt x="69" y="141"/>
                    <a:pt x="68" y="143"/>
                    <a:pt x="67" y="145"/>
                  </a:cubicBezTo>
                  <a:lnTo>
                    <a:pt x="15" y="212"/>
                  </a:lnTo>
                  <a:close/>
                  <a:moveTo>
                    <a:pt x="54" y="135"/>
                  </a:moveTo>
                  <a:lnTo>
                    <a:pt x="52" y="140"/>
                  </a:lnTo>
                  <a:lnTo>
                    <a:pt x="50" y="92"/>
                  </a:lnTo>
                  <a:lnTo>
                    <a:pt x="39" y="15"/>
                  </a:lnTo>
                  <a:cubicBezTo>
                    <a:pt x="39" y="12"/>
                    <a:pt x="39" y="10"/>
                    <a:pt x="41" y="9"/>
                  </a:cubicBezTo>
                  <a:cubicBezTo>
                    <a:pt x="42" y="7"/>
                    <a:pt x="44" y="6"/>
                    <a:pt x="46" y="6"/>
                  </a:cubicBezTo>
                  <a:lnTo>
                    <a:pt x="109" y="0"/>
                  </a:lnTo>
                  <a:cubicBezTo>
                    <a:pt x="111" y="0"/>
                    <a:pt x="113" y="1"/>
                    <a:pt x="115" y="3"/>
                  </a:cubicBezTo>
                  <a:cubicBezTo>
                    <a:pt x="117" y="4"/>
                    <a:pt x="118" y="6"/>
                    <a:pt x="118" y="8"/>
                  </a:cubicBezTo>
                  <a:lnTo>
                    <a:pt x="121" y="113"/>
                  </a:lnTo>
                  <a:lnTo>
                    <a:pt x="106" y="108"/>
                  </a:lnTo>
                  <a:lnTo>
                    <a:pt x="124" y="83"/>
                  </a:lnTo>
                  <a:cubicBezTo>
                    <a:pt x="125" y="81"/>
                    <a:pt x="127" y="80"/>
                    <a:pt x="130" y="80"/>
                  </a:cubicBezTo>
                  <a:cubicBezTo>
                    <a:pt x="132" y="79"/>
                    <a:pt x="134" y="80"/>
                    <a:pt x="136" y="82"/>
                  </a:cubicBezTo>
                  <a:lnTo>
                    <a:pt x="165" y="110"/>
                  </a:lnTo>
                  <a:lnTo>
                    <a:pt x="152" y="112"/>
                  </a:lnTo>
                  <a:lnTo>
                    <a:pt x="217" y="4"/>
                  </a:lnTo>
                  <a:cubicBezTo>
                    <a:pt x="218" y="2"/>
                    <a:pt x="220" y="1"/>
                    <a:pt x="222" y="1"/>
                  </a:cubicBezTo>
                  <a:cubicBezTo>
                    <a:pt x="225" y="0"/>
                    <a:pt x="227" y="1"/>
                    <a:pt x="229" y="2"/>
                  </a:cubicBezTo>
                  <a:lnTo>
                    <a:pt x="472" y="219"/>
                  </a:lnTo>
                  <a:cubicBezTo>
                    <a:pt x="475" y="221"/>
                    <a:pt x="475" y="224"/>
                    <a:pt x="475" y="227"/>
                  </a:cubicBezTo>
                  <a:lnTo>
                    <a:pt x="457" y="321"/>
                  </a:lnTo>
                  <a:lnTo>
                    <a:pt x="457" y="317"/>
                  </a:lnTo>
                  <a:lnTo>
                    <a:pt x="528" y="563"/>
                  </a:lnTo>
                  <a:cubicBezTo>
                    <a:pt x="529" y="566"/>
                    <a:pt x="528" y="570"/>
                    <a:pt x="525" y="572"/>
                  </a:cubicBezTo>
                  <a:lnTo>
                    <a:pt x="455" y="624"/>
                  </a:lnTo>
                  <a:cubicBezTo>
                    <a:pt x="454" y="625"/>
                    <a:pt x="453" y="625"/>
                    <a:pt x="451" y="625"/>
                  </a:cubicBezTo>
                  <a:lnTo>
                    <a:pt x="261" y="640"/>
                  </a:lnTo>
                  <a:cubicBezTo>
                    <a:pt x="258" y="641"/>
                    <a:pt x="254" y="639"/>
                    <a:pt x="253" y="636"/>
                  </a:cubicBezTo>
                  <a:lnTo>
                    <a:pt x="202" y="516"/>
                  </a:lnTo>
                  <a:lnTo>
                    <a:pt x="208" y="521"/>
                  </a:lnTo>
                  <a:lnTo>
                    <a:pt x="161" y="509"/>
                  </a:lnTo>
                  <a:cubicBezTo>
                    <a:pt x="160" y="509"/>
                    <a:pt x="160" y="509"/>
                    <a:pt x="159" y="508"/>
                  </a:cubicBezTo>
                  <a:lnTo>
                    <a:pt x="70" y="456"/>
                  </a:lnTo>
                  <a:cubicBezTo>
                    <a:pt x="69" y="455"/>
                    <a:pt x="68" y="454"/>
                    <a:pt x="67" y="453"/>
                  </a:cubicBezTo>
                  <a:lnTo>
                    <a:pt x="5" y="330"/>
                  </a:lnTo>
                  <a:cubicBezTo>
                    <a:pt x="5" y="329"/>
                    <a:pt x="5" y="328"/>
                    <a:pt x="5" y="327"/>
                  </a:cubicBezTo>
                  <a:lnTo>
                    <a:pt x="0" y="207"/>
                  </a:lnTo>
                  <a:cubicBezTo>
                    <a:pt x="0" y="205"/>
                    <a:pt x="1" y="204"/>
                    <a:pt x="2" y="202"/>
                  </a:cubicBezTo>
                  <a:lnTo>
                    <a:pt x="54" y="135"/>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98" name="Freeform 454"/>
            <p:cNvSpPr>
              <a:spLocks/>
            </p:cNvSpPr>
            <p:nvPr/>
          </p:nvSpPr>
          <p:spPr bwMode="auto">
            <a:xfrm>
              <a:off x="2741" y="1974"/>
              <a:ext cx="28" cy="70"/>
            </a:xfrm>
            <a:custGeom>
              <a:avLst/>
              <a:gdLst/>
              <a:ahLst/>
              <a:cxnLst>
                <a:cxn ang="0">
                  <a:pos x="0" y="0"/>
                </a:cxn>
                <a:cxn ang="0">
                  <a:pos x="15" y="4"/>
                </a:cxn>
                <a:cxn ang="0">
                  <a:pos x="28" y="67"/>
                </a:cxn>
                <a:cxn ang="0">
                  <a:pos x="19" y="70"/>
                </a:cxn>
                <a:cxn ang="0">
                  <a:pos x="0" y="0"/>
                </a:cxn>
              </a:cxnLst>
              <a:rect l="0" t="0" r="r" b="b"/>
              <a:pathLst>
                <a:path w="28" h="70">
                  <a:moveTo>
                    <a:pt x="0" y="0"/>
                  </a:moveTo>
                  <a:lnTo>
                    <a:pt x="15" y="4"/>
                  </a:lnTo>
                  <a:lnTo>
                    <a:pt x="28" y="67"/>
                  </a:lnTo>
                  <a:lnTo>
                    <a:pt x="19" y="70"/>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99" name="Freeform 455"/>
            <p:cNvSpPr>
              <a:spLocks noEditPoints="1"/>
            </p:cNvSpPr>
            <p:nvPr/>
          </p:nvSpPr>
          <p:spPr bwMode="auto">
            <a:xfrm>
              <a:off x="2739" y="1972"/>
              <a:ext cx="33" cy="74"/>
            </a:xfrm>
            <a:custGeom>
              <a:avLst/>
              <a:gdLst/>
              <a:ahLst/>
              <a:cxnLst>
                <a:cxn ang="0">
                  <a:pos x="1" y="10"/>
                </a:cxn>
                <a:cxn ang="0">
                  <a:pos x="3" y="3"/>
                </a:cxn>
                <a:cxn ang="0">
                  <a:pos x="11" y="1"/>
                </a:cxn>
                <a:cxn ang="0">
                  <a:pos x="60" y="16"/>
                </a:cxn>
                <a:cxn ang="0">
                  <a:pos x="66" y="23"/>
                </a:cxn>
                <a:cxn ang="0">
                  <a:pos x="112" y="301"/>
                </a:cxn>
                <a:cxn ang="0">
                  <a:pos x="107" y="310"/>
                </a:cxn>
                <a:cxn ang="0">
                  <a:pos x="74" y="320"/>
                </a:cxn>
                <a:cxn ang="0">
                  <a:pos x="68" y="319"/>
                </a:cxn>
                <a:cxn ang="0">
                  <a:pos x="64" y="314"/>
                </a:cxn>
                <a:cxn ang="0">
                  <a:pos x="1" y="10"/>
                </a:cxn>
                <a:cxn ang="0">
                  <a:pos x="80" y="311"/>
                </a:cxn>
                <a:cxn ang="0">
                  <a:pos x="70" y="305"/>
                </a:cxn>
                <a:cxn ang="0">
                  <a:pos x="102" y="295"/>
                </a:cxn>
                <a:cxn ang="0">
                  <a:pos x="97" y="303"/>
                </a:cxn>
                <a:cxn ang="0">
                  <a:pos x="50" y="25"/>
                </a:cxn>
                <a:cxn ang="0">
                  <a:pos x="55" y="32"/>
                </a:cxn>
                <a:cxn ang="0">
                  <a:pos x="6" y="16"/>
                </a:cxn>
                <a:cxn ang="0">
                  <a:pos x="16" y="7"/>
                </a:cxn>
                <a:cxn ang="0">
                  <a:pos x="80" y="311"/>
                </a:cxn>
              </a:cxnLst>
              <a:rect l="0" t="0" r="r" b="b"/>
              <a:pathLst>
                <a:path w="113" h="321">
                  <a:moveTo>
                    <a:pt x="1" y="10"/>
                  </a:moveTo>
                  <a:cubicBezTo>
                    <a:pt x="0" y="7"/>
                    <a:pt x="1" y="4"/>
                    <a:pt x="3" y="3"/>
                  </a:cubicBezTo>
                  <a:cubicBezTo>
                    <a:pt x="5" y="1"/>
                    <a:pt x="8" y="0"/>
                    <a:pt x="11" y="1"/>
                  </a:cubicBezTo>
                  <a:lnTo>
                    <a:pt x="60" y="16"/>
                  </a:lnTo>
                  <a:cubicBezTo>
                    <a:pt x="63" y="17"/>
                    <a:pt x="65" y="20"/>
                    <a:pt x="66" y="23"/>
                  </a:cubicBezTo>
                  <a:lnTo>
                    <a:pt x="112" y="301"/>
                  </a:lnTo>
                  <a:cubicBezTo>
                    <a:pt x="113" y="305"/>
                    <a:pt x="111" y="309"/>
                    <a:pt x="107" y="310"/>
                  </a:cubicBezTo>
                  <a:lnTo>
                    <a:pt x="74" y="320"/>
                  </a:lnTo>
                  <a:cubicBezTo>
                    <a:pt x="72" y="321"/>
                    <a:pt x="70" y="321"/>
                    <a:pt x="68" y="319"/>
                  </a:cubicBezTo>
                  <a:cubicBezTo>
                    <a:pt x="66" y="318"/>
                    <a:pt x="65" y="316"/>
                    <a:pt x="64" y="314"/>
                  </a:cubicBezTo>
                  <a:lnTo>
                    <a:pt x="1" y="10"/>
                  </a:lnTo>
                  <a:close/>
                  <a:moveTo>
                    <a:pt x="80" y="311"/>
                  </a:moveTo>
                  <a:lnTo>
                    <a:pt x="70" y="305"/>
                  </a:lnTo>
                  <a:lnTo>
                    <a:pt x="102" y="295"/>
                  </a:lnTo>
                  <a:lnTo>
                    <a:pt x="97" y="303"/>
                  </a:lnTo>
                  <a:lnTo>
                    <a:pt x="50" y="25"/>
                  </a:lnTo>
                  <a:lnTo>
                    <a:pt x="55" y="32"/>
                  </a:lnTo>
                  <a:lnTo>
                    <a:pt x="6" y="16"/>
                  </a:lnTo>
                  <a:lnTo>
                    <a:pt x="16" y="7"/>
                  </a:lnTo>
                  <a:lnTo>
                    <a:pt x="80" y="31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00" name="Freeform 456"/>
            <p:cNvSpPr>
              <a:spLocks/>
            </p:cNvSpPr>
            <p:nvPr/>
          </p:nvSpPr>
          <p:spPr bwMode="auto">
            <a:xfrm>
              <a:off x="3159" y="2069"/>
              <a:ext cx="74" cy="70"/>
            </a:xfrm>
            <a:custGeom>
              <a:avLst/>
              <a:gdLst/>
              <a:ahLst/>
              <a:cxnLst>
                <a:cxn ang="0">
                  <a:pos x="0" y="70"/>
                </a:cxn>
                <a:cxn ang="0">
                  <a:pos x="11" y="66"/>
                </a:cxn>
                <a:cxn ang="0">
                  <a:pos x="29" y="65"/>
                </a:cxn>
                <a:cxn ang="0">
                  <a:pos x="30" y="55"/>
                </a:cxn>
                <a:cxn ang="0">
                  <a:pos x="59" y="50"/>
                </a:cxn>
                <a:cxn ang="0">
                  <a:pos x="74" y="26"/>
                </a:cxn>
                <a:cxn ang="0">
                  <a:pos x="59" y="0"/>
                </a:cxn>
                <a:cxn ang="0">
                  <a:pos x="16" y="5"/>
                </a:cxn>
                <a:cxn ang="0">
                  <a:pos x="21" y="24"/>
                </a:cxn>
                <a:cxn ang="0">
                  <a:pos x="12" y="37"/>
                </a:cxn>
                <a:cxn ang="0">
                  <a:pos x="0" y="70"/>
                </a:cxn>
              </a:cxnLst>
              <a:rect l="0" t="0" r="r" b="b"/>
              <a:pathLst>
                <a:path w="74" h="70">
                  <a:moveTo>
                    <a:pt x="0" y="70"/>
                  </a:moveTo>
                  <a:lnTo>
                    <a:pt x="11" y="66"/>
                  </a:lnTo>
                  <a:lnTo>
                    <a:pt x="29" y="65"/>
                  </a:lnTo>
                  <a:lnTo>
                    <a:pt x="30" y="55"/>
                  </a:lnTo>
                  <a:lnTo>
                    <a:pt x="59" y="50"/>
                  </a:lnTo>
                  <a:lnTo>
                    <a:pt x="74" y="26"/>
                  </a:lnTo>
                  <a:lnTo>
                    <a:pt x="59" y="0"/>
                  </a:lnTo>
                  <a:lnTo>
                    <a:pt x="16" y="5"/>
                  </a:lnTo>
                  <a:lnTo>
                    <a:pt x="21" y="24"/>
                  </a:lnTo>
                  <a:lnTo>
                    <a:pt x="12" y="37"/>
                  </a:lnTo>
                  <a:lnTo>
                    <a:pt x="0" y="7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01" name="Freeform 457"/>
            <p:cNvSpPr>
              <a:spLocks noEditPoints="1"/>
            </p:cNvSpPr>
            <p:nvPr/>
          </p:nvSpPr>
          <p:spPr bwMode="auto">
            <a:xfrm>
              <a:off x="3156" y="2067"/>
              <a:ext cx="80" cy="74"/>
            </a:xfrm>
            <a:custGeom>
              <a:avLst/>
              <a:gdLst/>
              <a:ahLst/>
              <a:cxnLst>
                <a:cxn ang="0">
                  <a:pos x="16" y="315"/>
                </a:cxn>
                <a:cxn ang="0">
                  <a:pos x="5" y="305"/>
                </a:cxn>
                <a:cxn ang="0">
                  <a:pos x="43" y="289"/>
                </a:cxn>
                <a:cxn ang="0">
                  <a:pos x="45" y="288"/>
                </a:cxn>
                <a:cxn ang="0">
                  <a:pos x="109" y="283"/>
                </a:cxn>
                <a:cxn ang="0">
                  <a:pos x="101" y="290"/>
                </a:cxn>
                <a:cxn ang="0">
                  <a:pos x="104" y="249"/>
                </a:cxn>
                <a:cxn ang="0">
                  <a:pos x="110" y="242"/>
                </a:cxn>
                <a:cxn ang="0">
                  <a:pos x="210" y="217"/>
                </a:cxn>
                <a:cxn ang="0">
                  <a:pos x="205" y="221"/>
                </a:cxn>
                <a:cxn ang="0">
                  <a:pos x="257" y="118"/>
                </a:cxn>
                <a:cxn ang="0">
                  <a:pos x="257" y="125"/>
                </a:cxn>
                <a:cxn ang="0">
                  <a:pos x="205" y="12"/>
                </a:cxn>
                <a:cxn ang="0">
                  <a:pos x="213" y="16"/>
                </a:cxn>
                <a:cxn ang="0">
                  <a:pos x="65" y="38"/>
                </a:cxn>
                <a:cxn ang="0">
                  <a:pos x="72" y="28"/>
                </a:cxn>
                <a:cxn ang="0">
                  <a:pos x="90" y="111"/>
                </a:cxn>
                <a:cxn ang="0">
                  <a:pos x="89" y="117"/>
                </a:cxn>
                <a:cxn ang="0">
                  <a:pos x="57" y="172"/>
                </a:cxn>
                <a:cxn ang="0">
                  <a:pos x="58" y="170"/>
                </a:cxn>
                <a:cxn ang="0">
                  <a:pos x="16" y="315"/>
                </a:cxn>
                <a:cxn ang="0">
                  <a:pos x="42" y="166"/>
                </a:cxn>
                <a:cxn ang="0">
                  <a:pos x="43" y="164"/>
                </a:cxn>
                <a:cxn ang="0">
                  <a:pos x="75" y="109"/>
                </a:cxn>
                <a:cxn ang="0">
                  <a:pos x="74" y="115"/>
                </a:cxn>
                <a:cxn ang="0">
                  <a:pos x="56" y="32"/>
                </a:cxn>
                <a:cxn ang="0">
                  <a:pos x="57" y="25"/>
                </a:cxn>
                <a:cxn ang="0">
                  <a:pos x="63" y="22"/>
                </a:cxn>
                <a:cxn ang="0">
                  <a:pos x="211" y="1"/>
                </a:cxn>
                <a:cxn ang="0">
                  <a:pos x="219" y="5"/>
                </a:cxn>
                <a:cxn ang="0">
                  <a:pos x="272" y="118"/>
                </a:cxn>
                <a:cxn ang="0">
                  <a:pos x="272" y="125"/>
                </a:cxn>
                <a:cxn ang="0">
                  <a:pos x="219" y="228"/>
                </a:cxn>
                <a:cxn ang="0">
                  <a:pos x="214" y="232"/>
                </a:cxn>
                <a:cxn ang="0">
                  <a:pos x="114" y="257"/>
                </a:cxn>
                <a:cxn ang="0">
                  <a:pos x="120" y="250"/>
                </a:cxn>
                <a:cxn ang="0">
                  <a:pos x="117" y="291"/>
                </a:cxn>
                <a:cxn ang="0">
                  <a:pos x="110" y="299"/>
                </a:cxn>
                <a:cxn ang="0">
                  <a:pos x="46" y="304"/>
                </a:cxn>
                <a:cxn ang="0">
                  <a:pos x="49" y="303"/>
                </a:cxn>
                <a:cxn ang="0">
                  <a:pos x="12" y="320"/>
                </a:cxn>
                <a:cxn ang="0">
                  <a:pos x="3" y="319"/>
                </a:cxn>
                <a:cxn ang="0">
                  <a:pos x="1" y="310"/>
                </a:cxn>
                <a:cxn ang="0">
                  <a:pos x="42" y="166"/>
                </a:cxn>
              </a:cxnLst>
              <a:rect l="0" t="0" r="r" b="b"/>
              <a:pathLst>
                <a:path w="273" h="321">
                  <a:moveTo>
                    <a:pt x="16" y="315"/>
                  </a:moveTo>
                  <a:lnTo>
                    <a:pt x="5" y="305"/>
                  </a:lnTo>
                  <a:lnTo>
                    <a:pt x="43" y="289"/>
                  </a:lnTo>
                  <a:cubicBezTo>
                    <a:pt x="43" y="288"/>
                    <a:pt x="44" y="288"/>
                    <a:pt x="45" y="288"/>
                  </a:cubicBezTo>
                  <a:lnTo>
                    <a:pt x="109" y="283"/>
                  </a:lnTo>
                  <a:lnTo>
                    <a:pt x="101" y="290"/>
                  </a:lnTo>
                  <a:lnTo>
                    <a:pt x="104" y="249"/>
                  </a:lnTo>
                  <a:cubicBezTo>
                    <a:pt x="104" y="245"/>
                    <a:pt x="107" y="242"/>
                    <a:pt x="110" y="242"/>
                  </a:cubicBezTo>
                  <a:lnTo>
                    <a:pt x="210" y="217"/>
                  </a:lnTo>
                  <a:lnTo>
                    <a:pt x="205" y="221"/>
                  </a:lnTo>
                  <a:lnTo>
                    <a:pt x="257" y="118"/>
                  </a:lnTo>
                  <a:lnTo>
                    <a:pt x="257" y="125"/>
                  </a:lnTo>
                  <a:lnTo>
                    <a:pt x="205" y="12"/>
                  </a:lnTo>
                  <a:lnTo>
                    <a:pt x="213" y="16"/>
                  </a:lnTo>
                  <a:lnTo>
                    <a:pt x="65" y="38"/>
                  </a:lnTo>
                  <a:lnTo>
                    <a:pt x="72" y="28"/>
                  </a:lnTo>
                  <a:lnTo>
                    <a:pt x="90" y="111"/>
                  </a:lnTo>
                  <a:cubicBezTo>
                    <a:pt x="90" y="113"/>
                    <a:pt x="90" y="115"/>
                    <a:pt x="89" y="117"/>
                  </a:cubicBezTo>
                  <a:lnTo>
                    <a:pt x="57" y="172"/>
                  </a:lnTo>
                  <a:lnTo>
                    <a:pt x="58" y="170"/>
                  </a:lnTo>
                  <a:lnTo>
                    <a:pt x="16" y="315"/>
                  </a:lnTo>
                  <a:close/>
                  <a:moveTo>
                    <a:pt x="42" y="166"/>
                  </a:moveTo>
                  <a:cubicBezTo>
                    <a:pt x="42" y="165"/>
                    <a:pt x="43" y="164"/>
                    <a:pt x="43" y="164"/>
                  </a:cubicBezTo>
                  <a:lnTo>
                    <a:pt x="75" y="109"/>
                  </a:lnTo>
                  <a:lnTo>
                    <a:pt x="74" y="115"/>
                  </a:lnTo>
                  <a:lnTo>
                    <a:pt x="56" y="32"/>
                  </a:lnTo>
                  <a:cubicBezTo>
                    <a:pt x="56" y="30"/>
                    <a:pt x="56" y="27"/>
                    <a:pt x="57" y="25"/>
                  </a:cubicBezTo>
                  <a:cubicBezTo>
                    <a:pt x="59" y="24"/>
                    <a:pt x="60" y="22"/>
                    <a:pt x="63" y="22"/>
                  </a:cubicBezTo>
                  <a:lnTo>
                    <a:pt x="211" y="1"/>
                  </a:lnTo>
                  <a:cubicBezTo>
                    <a:pt x="214" y="0"/>
                    <a:pt x="218" y="2"/>
                    <a:pt x="219" y="5"/>
                  </a:cubicBezTo>
                  <a:lnTo>
                    <a:pt x="272" y="118"/>
                  </a:lnTo>
                  <a:cubicBezTo>
                    <a:pt x="273" y="120"/>
                    <a:pt x="273" y="123"/>
                    <a:pt x="272" y="125"/>
                  </a:cubicBezTo>
                  <a:lnTo>
                    <a:pt x="219" y="228"/>
                  </a:lnTo>
                  <a:cubicBezTo>
                    <a:pt x="218" y="230"/>
                    <a:pt x="216" y="232"/>
                    <a:pt x="214" y="232"/>
                  </a:cubicBezTo>
                  <a:lnTo>
                    <a:pt x="114" y="257"/>
                  </a:lnTo>
                  <a:lnTo>
                    <a:pt x="120" y="250"/>
                  </a:lnTo>
                  <a:lnTo>
                    <a:pt x="117" y="291"/>
                  </a:lnTo>
                  <a:cubicBezTo>
                    <a:pt x="117" y="295"/>
                    <a:pt x="114" y="299"/>
                    <a:pt x="110" y="299"/>
                  </a:cubicBezTo>
                  <a:lnTo>
                    <a:pt x="46" y="304"/>
                  </a:lnTo>
                  <a:lnTo>
                    <a:pt x="49" y="303"/>
                  </a:lnTo>
                  <a:lnTo>
                    <a:pt x="12" y="320"/>
                  </a:lnTo>
                  <a:cubicBezTo>
                    <a:pt x="9" y="321"/>
                    <a:pt x="6" y="321"/>
                    <a:pt x="3" y="319"/>
                  </a:cubicBezTo>
                  <a:cubicBezTo>
                    <a:pt x="1" y="316"/>
                    <a:pt x="0" y="313"/>
                    <a:pt x="1" y="310"/>
                  </a:cubicBezTo>
                  <a:lnTo>
                    <a:pt x="42" y="166"/>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02" name="Freeform 458"/>
            <p:cNvSpPr>
              <a:spLocks/>
            </p:cNvSpPr>
            <p:nvPr/>
          </p:nvSpPr>
          <p:spPr bwMode="auto">
            <a:xfrm>
              <a:off x="3085" y="1692"/>
              <a:ext cx="157" cy="139"/>
            </a:xfrm>
            <a:custGeom>
              <a:avLst/>
              <a:gdLst/>
              <a:ahLst/>
              <a:cxnLst>
                <a:cxn ang="0">
                  <a:pos x="0" y="23"/>
                </a:cxn>
                <a:cxn ang="0">
                  <a:pos x="6" y="136"/>
                </a:cxn>
                <a:cxn ang="0">
                  <a:pos x="133" y="139"/>
                </a:cxn>
                <a:cxn ang="0">
                  <a:pos x="155" y="122"/>
                </a:cxn>
                <a:cxn ang="0">
                  <a:pos x="157" y="109"/>
                </a:cxn>
                <a:cxn ang="0">
                  <a:pos x="110" y="30"/>
                </a:cxn>
                <a:cxn ang="0">
                  <a:pos x="133" y="55"/>
                </a:cxn>
                <a:cxn ang="0">
                  <a:pos x="145" y="34"/>
                </a:cxn>
                <a:cxn ang="0">
                  <a:pos x="133" y="6"/>
                </a:cxn>
                <a:cxn ang="0">
                  <a:pos x="104" y="10"/>
                </a:cxn>
                <a:cxn ang="0">
                  <a:pos x="103" y="2"/>
                </a:cxn>
                <a:cxn ang="0">
                  <a:pos x="88" y="2"/>
                </a:cxn>
                <a:cxn ang="0">
                  <a:pos x="61" y="13"/>
                </a:cxn>
                <a:cxn ang="0">
                  <a:pos x="6" y="0"/>
                </a:cxn>
                <a:cxn ang="0">
                  <a:pos x="0" y="23"/>
                </a:cxn>
              </a:cxnLst>
              <a:rect l="0" t="0" r="r" b="b"/>
              <a:pathLst>
                <a:path w="157" h="139">
                  <a:moveTo>
                    <a:pt x="0" y="23"/>
                  </a:moveTo>
                  <a:lnTo>
                    <a:pt x="6" y="136"/>
                  </a:lnTo>
                  <a:lnTo>
                    <a:pt x="133" y="139"/>
                  </a:lnTo>
                  <a:lnTo>
                    <a:pt x="155" y="122"/>
                  </a:lnTo>
                  <a:lnTo>
                    <a:pt x="157" y="109"/>
                  </a:lnTo>
                  <a:lnTo>
                    <a:pt x="110" y="30"/>
                  </a:lnTo>
                  <a:lnTo>
                    <a:pt x="133" y="55"/>
                  </a:lnTo>
                  <a:lnTo>
                    <a:pt x="145" y="34"/>
                  </a:lnTo>
                  <a:lnTo>
                    <a:pt x="133" y="6"/>
                  </a:lnTo>
                  <a:lnTo>
                    <a:pt x="104" y="10"/>
                  </a:lnTo>
                  <a:lnTo>
                    <a:pt x="103" y="2"/>
                  </a:lnTo>
                  <a:lnTo>
                    <a:pt x="88" y="2"/>
                  </a:lnTo>
                  <a:lnTo>
                    <a:pt x="61" y="13"/>
                  </a:lnTo>
                  <a:lnTo>
                    <a:pt x="6" y="0"/>
                  </a:lnTo>
                  <a:lnTo>
                    <a:pt x="0" y="23"/>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03" name="Freeform 459"/>
            <p:cNvSpPr>
              <a:spLocks noEditPoints="1"/>
            </p:cNvSpPr>
            <p:nvPr/>
          </p:nvSpPr>
          <p:spPr bwMode="auto">
            <a:xfrm>
              <a:off x="3082" y="1691"/>
              <a:ext cx="163" cy="142"/>
            </a:xfrm>
            <a:custGeom>
              <a:avLst/>
              <a:gdLst/>
              <a:ahLst/>
              <a:cxnLst>
                <a:cxn ang="0">
                  <a:pos x="16" y="110"/>
                </a:cxn>
                <a:cxn ang="0">
                  <a:pos x="16" y="108"/>
                </a:cxn>
                <a:cxn ang="0">
                  <a:pos x="39" y="601"/>
                </a:cxn>
                <a:cxn ang="0">
                  <a:pos x="31" y="593"/>
                </a:cxn>
                <a:cxn ang="0">
                  <a:pos x="469" y="608"/>
                </a:cxn>
                <a:cxn ang="0">
                  <a:pos x="463" y="611"/>
                </a:cxn>
                <a:cxn ang="0">
                  <a:pos x="540" y="533"/>
                </a:cxn>
                <a:cxn ang="0">
                  <a:pos x="538" y="537"/>
                </a:cxn>
                <a:cxn ang="0">
                  <a:pos x="545" y="484"/>
                </a:cxn>
                <a:cxn ang="0">
                  <a:pos x="545" y="488"/>
                </a:cxn>
                <a:cxn ang="0">
                  <a:pos x="382" y="140"/>
                </a:cxn>
                <a:cxn ang="0">
                  <a:pos x="385" y="130"/>
                </a:cxn>
                <a:cxn ang="0">
                  <a:pos x="395" y="132"/>
                </a:cxn>
                <a:cxn ang="0">
                  <a:pos x="475" y="244"/>
                </a:cxn>
                <a:cxn ang="0">
                  <a:pos x="461" y="245"/>
                </a:cxn>
                <a:cxn ang="0">
                  <a:pos x="503" y="150"/>
                </a:cxn>
                <a:cxn ang="0">
                  <a:pos x="503" y="156"/>
                </a:cxn>
                <a:cxn ang="0">
                  <a:pos x="461" y="34"/>
                </a:cxn>
                <a:cxn ang="0">
                  <a:pos x="470" y="40"/>
                </a:cxn>
                <a:cxn ang="0">
                  <a:pos x="369" y="58"/>
                </a:cxn>
                <a:cxn ang="0">
                  <a:pos x="363" y="56"/>
                </a:cxn>
                <a:cxn ang="0">
                  <a:pos x="360" y="51"/>
                </a:cxn>
                <a:cxn ang="0">
                  <a:pos x="357" y="17"/>
                </a:cxn>
                <a:cxn ang="0">
                  <a:pos x="365" y="25"/>
                </a:cxn>
                <a:cxn ang="0">
                  <a:pos x="312" y="25"/>
                </a:cxn>
                <a:cxn ang="0">
                  <a:pos x="315" y="24"/>
                </a:cxn>
                <a:cxn ang="0">
                  <a:pos x="225" y="69"/>
                </a:cxn>
                <a:cxn ang="0">
                  <a:pos x="219" y="69"/>
                </a:cxn>
                <a:cxn ang="0">
                  <a:pos x="29" y="16"/>
                </a:cxn>
                <a:cxn ang="0">
                  <a:pos x="39" y="10"/>
                </a:cxn>
                <a:cxn ang="0">
                  <a:pos x="16" y="110"/>
                </a:cxn>
                <a:cxn ang="0">
                  <a:pos x="23" y="7"/>
                </a:cxn>
                <a:cxn ang="0">
                  <a:pos x="27" y="2"/>
                </a:cxn>
                <a:cxn ang="0">
                  <a:pos x="33" y="1"/>
                </a:cxn>
                <a:cxn ang="0">
                  <a:pos x="223" y="54"/>
                </a:cxn>
                <a:cxn ang="0">
                  <a:pos x="217" y="55"/>
                </a:cxn>
                <a:cxn ang="0">
                  <a:pos x="308" y="10"/>
                </a:cxn>
                <a:cxn ang="0">
                  <a:pos x="312" y="9"/>
                </a:cxn>
                <a:cxn ang="0">
                  <a:pos x="365" y="9"/>
                </a:cxn>
                <a:cxn ang="0">
                  <a:pos x="373" y="16"/>
                </a:cxn>
                <a:cxn ang="0">
                  <a:pos x="376" y="49"/>
                </a:cxn>
                <a:cxn ang="0">
                  <a:pos x="366" y="42"/>
                </a:cxn>
                <a:cxn ang="0">
                  <a:pos x="467" y="24"/>
                </a:cxn>
                <a:cxn ang="0">
                  <a:pos x="476" y="29"/>
                </a:cxn>
                <a:cxn ang="0">
                  <a:pos x="518" y="151"/>
                </a:cxn>
                <a:cxn ang="0">
                  <a:pos x="518" y="157"/>
                </a:cxn>
                <a:cxn ang="0">
                  <a:pos x="476" y="252"/>
                </a:cxn>
                <a:cxn ang="0">
                  <a:pos x="469" y="256"/>
                </a:cxn>
                <a:cxn ang="0">
                  <a:pos x="462" y="253"/>
                </a:cxn>
                <a:cxn ang="0">
                  <a:pos x="382" y="141"/>
                </a:cxn>
                <a:cxn ang="0">
                  <a:pos x="396" y="133"/>
                </a:cxn>
                <a:cxn ang="0">
                  <a:pos x="560" y="481"/>
                </a:cxn>
                <a:cxn ang="0">
                  <a:pos x="560" y="486"/>
                </a:cxn>
                <a:cxn ang="0">
                  <a:pos x="553" y="539"/>
                </a:cxn>
                <a:cxn ang="0">
                  <a:pos x="551" y="544"/>
                </a:cxn>
                <a:cxn ang="0">
                  <a:pos x="474" y="622"/>
                </a:cxn>
                <a:cxn ang="0">
                  <a:pos x="468" y="624"/>
                </a:cxn>
                <a:cxn ang="0">
                  <a:pos x="31" y="609"/>
                </a:cxn>
                <a:cxn ang="0">
                  <a:pos x="23" y="602"/>
                </a:cxn>
                <a:cxn ang="0">
                  <a:pos x="0" y="109"/>
                </a:cxn>
                <a:cxn ang="0">
                  <a:pos x="1" y="107"/>
                </a:cxn>
                <a:cxn ang="0">
                  <a:pos x="23" y="7"/>
                </a:cxn>
              </a:cxnLst>
              <a:rect l="0" t="0" r="r" b="b"/>
              <a:pathLst>
                <a:path w="561" h="625">
                  <a:moveTo>
                    <a:pt x="16" y="110"/>
                  </a:moveTo>
                  <a:lnTo>
                    <a:pt x="16" y="108"/>
                  </a:lnTo>
                  <a:lnTo>
                    <a:pt x="39" y="601"/>
                  </a:lnTo>
                  <a:lnTo>
                    <a:pt x="31" y="593"/>
                  </a:lnTo>
                  <a:lnTo>
                    <a:pt x="469" y="608"/>
                  </a:lnTo>
                  <a:lnTo>
                    <a:pt x="463" y="611"/>
                  </a:lnTo>
                  <a:lnTo>
                    <a:pt x="540" y="533"/>
                  </a:lnTo>
                  <a:lnTo>
                    <a:pt x="538" y="537"/>
                  </a:lnTo>
                  <a:lnTo>
                    <a:pt x="545" y="484"/>
                  </a:lnTo>
                  <a:lnTo>
                    <a:pt x="545" y="488"/>
                  </a:lnTo>
                  <a:lnTo>
                    <a:pt x="382" y="140"/>
                  </a:lnTo>
                  <a:cubicBezTo>
                    <a:pt x="380" y="136"/>
                    <a:pt x="381" y="132"/>
                    <a:pt x="385" y="130"/>
                  </a:cubicBezTo>
                  <a:cubicBezTo>
                    <a:pt x="388" y="128"/>
                    <a:pt x="393" y="129"/>
                    <a:pt x="395" y="132"/>
                  </a:cubicBezTo>
                  <a:lnTo>
                    <a:pt x="475" y="244"/>
                  </a:lnTo>
                  <a:lnTo>
                    <a:pt x="461" y="245"/>
                  </a:lnTo>
                  <a:lnTo>
                    <a:pt x="503" y="150"/>
                  </a:lnTo>
                  <a:lnTo>
                    <a:pt x="503" y="156"/>
                  </a:lnTo>
                  <a:lnTo>
                    <a:pt x="461" y="34"/>
                  </a:lnTo>
                  <a:lnTo>
                    <a:pt x="470" y="40"/>
                  </a:lnTo>
                  <a:lnTo>
                    <a:pt x="369" y="58"/>
                  </a:lnTo>
                  <a:cubicBezTo>
                    <a:pt x="367" y="58"/>
                    <a:pt x="365" y="58"/>
                    <a:pt x="363" y="56"/>
                  </a:cubicBezTo>
                  <a:cubicBezTo>
                    <a:pt x="361" y="55"/>
                    <a:pt x="360" y="53"/>
                    <a:pt x="360" y="51"/>
                  </a:cubicBezTo>
                  <a:lnTo>
                    <a:pt x="357" y="17"/>
                  </a:lnTo>
                  <a:lnTo>
                    <a:pt x="365" y="25"/>
                  </a:lnTo>
                  <a:lnTo>
                    <a:pt x="312" y="25"/>
                  </a:lnTo>
                  <a:lnTo>
                    <a:pt x="315" y="24"/>
                  </a:lnTo>
                  <a:lnTo>
                    <a:pt x="225" y="69"/>
                  </a:lnTo>
                  <a:cubicBezTo>
                    <a:pt x="223" y="70"/>
                    <a:pt x="221" y="70"/>
                    <a:pt x="219" y="69"/>
                  </a:cubicBezTo>
                  <a:lnTo>
                    <a:pt x="29" y="16"/>
                  </a:lnTo>
                  <a:lnTo>
                    <a:pt x="39" y="10"/>
                  </a:lnTo>
                  <a:lnTo>
                    <a:pt x="16" y="110"/>
                  </a:lnTo>
                  <a:close/>
                  <a:moveTo>
                    <a:pt x="23" y="7"/>
                  </a:moveTo>
                  <a:cubicBezTo>
                    <a:pt x="24" y="5"/>
                    <a:pt x="25" y="3"/>
                    <a:pt x="27" y="2"/>
                  </a:cubicBezTo>
                  <a:cubicBezTo>
                    <a:pt x="29" y="0"/>
                    <a:pt x="31" y="0"/>
                    <a:pt x="33" y="1"/>
                  </a:cubicBezTo>
                  <a:lnTo>
                    <a:pt x="223" y="54"/>
                  </a:lnTo>
                  <a:lnTo>
                    <a:pt x="217" y="55"/>
                  </a:lnTo>
                  <a:lnTo>
                    <a:pt x="308" y="10"/>
                  </a:lnTo>
                  <a:cubicBezTo>
                    <a:pt x="309" y="9"/>
                    <a:pt x="311" y="9"/>
                    <a:pt x="312" y="9"/>
                  </a:cubicBezTo>
                  <a:lnTo>
                    <a:pt x="365" y="9"/>
                  </a:lnTo>
                  <a:cubicBezTo>
                    <a:pt x="369" y="9"/>
                    <a:pt x="373" y="12"/>
                    <a:pt x="373" y="16"/>
                  </a:cubicBezTo>
                  <a:lnTo>
                    <a:pt x="376" y="49"/>
                  </a:lnTo>
                  <a:lnTo>
                    <a:pt x="366" y="42"/>
                  </a:lnTo>
                  <a:lnTo>
                    <a:pt x="467" y="24"/>
                  </a:lnTo>
                  <a:cubicBezTo>
                    <a:pt x="471" y="23"/>
                    <a:pt x="475" y="25"/>
                    <a:pt x="476" y="29"/>
                  </a:cubicBezTo>
                  <a:lnTo>
                    <a:pt x="518" y="151"/>
                  </a:lnTo>
                  <a:cubicBezTo>
                    <a:pt x="519" y="153"/>
                    <a:pt x="519" y="155"/>
                    <a:pt x="518" y="157"/>
                  </a:cubicBezTo>
                  <a:lnTo>
                    <a:pt x="476" y="252"/>
                  </a:lnTo>
                  <a:cubicBezTo>
                    <a:pt x="475" y="254"/>
                    <a:pt x="472" y="256"/>
                    <a:pt x="469" y="256"/>
                  </a:cubicBezTo>
                  <a:cubicBezTo>
                    <a:pt x="467" y="257"/>
                    <a:pt x="464" y="255"/>
                    <a:pt x="462" y="253"/>
                  </a:cubicBezTo>
                  <a:lnTo>
                    <a:pt x="382" y="141"/>
                  </a:lnTo>
                  <a:lnTo>
                    <a:pt x="396" y="133"/>
                  </a:lnTo>
                  <a:lnTo>
                    <a:pt x="560" y="481"/>
                  </a:lnTo>
                  <a:cubicBezTo>
                    <a:pt x="560" y="483"/>
                    <a:pt x="561" y="484"/>
                    <a:pt x="560" y="486"/>
                  </a:cubicBezTo>
                  <a:lnTo>
                    <a:pt x="553" y="539"/>
                  </a:lnTo>
                  <a:cubicBezTo>
                    <a:pt x="553" y="541"/>
                    <a:pt x="552" y="543"/>
                    <a:pt x="551" y="544"/>
                  </a:cubicBezTo>
                  <a:lnTo>
                    <a:pt x="474" y="622"/>
                  </a:lnTo>
                  <a:cubicBezTo>
                    <a:pt x="473" y="624"/>
                    <a:pt x="471" y="625"/>
                    <a:pt x="468" y="624"/>
                  </a:cubicBezTo>
                  <a:lnTo>
                    <a:pt x="31" y="609"/>
                  </a:lnTo>
                  <a:cubicBezTo>
                    <a:pt x="26" y="609"/>
                    <a:pt x="23" y="606"/>
                    <a:pt x="23" y="602"/>
                  </a:cubicBezTo>
                  <a:lnTo>
                    <a:pt x="0" y="109"/>
                  </a:lnTo>
                  <a:cubicBezTo>
                    <a:pt x="0" y="108"/>
                    <a:pt x="0" y="107"/>
                    <a:pt x="1" y="107"/>
                  </a:cubicBezTo>
                  <a:lnTo>
                    <a:pt x="23" y="7"/>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04" name="Freeform 460"/>
            <p:cNvSpPr>
              <a:spLocks/>
            </p:cNvSpPr>
            <p:nvPr/>
          </p:nvSpPr>
          <p:spPr bwMode="auto">
            <a:xfrm>
              <a:off x="2672" y="1927"/>
              <a:ext cx="102" cy="69"/>
            </a:xfrm>
            <a:custGeom>
              <a:avLst/>
              <a:gdLst/>
              <a:ahLst/>
              <a:cxnLst>
                <a:cxn ang="0">
                  <a:pos x="0" y="59"/>
                </a:cxn>
                <a:cxn ang="0">
                  <a:pos x="7" y="67"/>
                </a:cxn>
                <a:cxn ang="0">
                  <a:pos x="34" y="69"/>
                </a:cxn>
                <a:cxn ang="0">
                  <a:pos x="31" y="52"/>
                </a:cxn>
                <a:cxn ang="0">
                  <a:pos x="67" y="48"/>
                </a:cxn>
                <a:cxn ang="0">
                  <a:pos x="82" y="52"/>
                </a:cxn>
                <a:cxn ang="0">
                  <a:pos x="102" y="38"/>
                </a:cxn>
                <a:cxn ang="0">
                  <a:pos x="76" y="12"/>
                </a:cxn>
                <a:cxn ang="0">
                  <a:pos x="73" y="0"/>
                </a:cxn>
                <a:cxn ang="0">
                  <a:pos x="17" y="22"/>
                </a:cxn>
                <a:cxn ang="0">
                  <a:pos x="0" y="59"/>
                </a:cxn>
              </a:cxnLst>
              <a:rect l="0" t="0" r="r" b="b"/>
              <a:pathLst>
                <a:path w="102" h="69">
                  <a:moveTo>
                    <a:pt x="0" y="59"/>
                  </a:moveTo>
                  <a:lnTo>
                    <a:pt x="7" y="67"/>
                  </a:lnTo>
                  <a:lnTo>
                    <a:pt x="34" y="69"/>
                  </a:lnTo>
                  <a:lnTo>
                    <a:pt x="31" y="52"/>
                  </a:lnTo>
                  <a:lnTo>
                    <a:pt x="67" y="48"/>
                  </a:lnTo>
                  <a:lnTo>
                    <a:pt x="82" y="52"/>
                  </a:lnTo>
                  <a:lnTo>
                    <a:pt x="102" y="38"/>
                  </a:lnTo>
                  <a:lnTo>
                    <a:pt x="76" y="12"/>
                  </a:lnTo>
                  <a:lnTo>
                    <a:pt x="73" y="0"/>
                  </a:lnTo>
                  <a:lnTo>
                    <a:pt x="17" y="22"/>
                  </a:lnTo>
                  <a:lnTo>
                    <a:pt x="0" y="59"/>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05" name="Freeform 461"/>
            <p:cNvSpPr>
              <a:spLocks noEditPoints="1"/>
            </p:cNvSpPr>
            <p:nvPr/>
          </p:nvSpPr>
          <p:spPr bwMode="auto">
            <a:xfrm>
              <a:off x="2669" y="1925"/>
              <a:ext cx="107" cy="73"/>
            </a:xfrm>
            <a:custGeom>
              <a:avLst/>
              <a:gdLst/>
              <a:ahLst/>
              <a:cxnLst>
                <a:cxn ang="0">
                  <a:pos x="16" y="270"/>
                </a:cxn>
                <a:cxn ang="0">
                  <a:pos x="15" y="263"/>
                </a:cxn>
                <a:cxn ang="0">
                  <a:pos x="39" y="297"/>
                </a:cxn>
                <a:cxn ang="0">
                  <a:pos x="34" y="293"/>
                </a:cxn>
                <a:cxn ang="0">
                  <a:pos x="128" y="305"/>
                </a:cxn>
                <a:cxn ang="0">
                  <a:pos x="119" y="313"/>
                </a:cxn>
                <a:cxn ang="0">
                  <a:pos x="109" y="237"/>
                </a:cxn>
                <a:cxn ang="0">
                  <a:pos x="111" y="231"/>
                </a:cxn>
                <a:cxn ang="0">
                  <a:pos x="116" y="228"/>
                </a:cxn>
                <a:cxn ang="0">
                  <a:pos x="241" y="213"/>
                </a:cxn>
                <a:cxn ang="0">
                  <a:pos x="244" y="214"/>
                </a:cxn>
                <a:cxn ang="0">
                  <a:pos x="295" y="228"/>
                </a:cxn>
                <a:cxn ang="0">
                  <a:pos x="288" y="230"/>
                </a:cxn>
                <a:cxn ang="0">
                  <a:pos x="355" y="172"/>
                </a:cxn>
                <a:cxn ang="0">
                  <a:pos x="354" y="183"/>
                </a:cxn>
                <a:cxn ang="0">
                  <a:pos x="264" y="68"/>
                </a:cxn>
                <a:cxn ang="0">
                  <a:pos x="263" y="64"/>
                </a:cxn>
                <a:cxn ang="0">
                  <a:pos x="252" y="10"/>
                </a:cxn>
                <a:cxn ang="0">
                  <a:pos x="263" y="16"/>
                </a:cxn>
                <a:cxn ang="0">
                  <a:pos x="71" y="115"/>
                </a:cxn>
                <a:cxn ang="0">
                  <a:pos x="75" y="110"/>
                </a:cxn>
                <a:cxn ang="0">
                  <a:pos x="16" y="270"/>
                </a:cxn>
                <a:cxn ang="0">
                  <a:pos x="60" y="105"/>
                </a:cxn>
                <a:cxn ang="0">
                  <a:pos x="64" y="101"/>
                </a:cxn>
                <a:cxn ang="0">
                  <a:pos x="256" y="1"/>
                </a:cxn>
                <a:cxn ang="0">
                  <a:pos x="263" y="1"/>
                </a:cxn>
                <a:cxn ang="0">
                  <a:pos x="268" y="7"/>
                </a:cxn>
                <a:cxn ang="0">
                  <a:pos x="278" y="61"/>
                </a:cxn>
                <a:cxn ang="0">
                  <a:pos x="277" y="58"/>
                </a:cxn>
                <a:cxn ang="0">
                  <a:pos x="367" y="173"/>
                </a:cxn>
                <a:cxn ang="0">
                  <a:pos x="366" y="184"/>
                </a:cxn>
                <a:cxn ang="0">
                  <a:pos x="299" y="242"/>
                </a:cxn>
                <a:cxn ang="0">
                  <a:pos x="291" y="243"/>
                </a:cxn>
                <a:cxn ang="0">
                  <a:pos x="240" y="229"/>
                </a:cxn>
                <a:cxn ang="0">
                  <a:pos x="243" y="229"/>
                </a:cxn>
                <a:cxn ang="0">
                  <a:pos x="118" y="244"/>
                </a:cxn>
                <a:cxn ang="0">
                  <a:pos x="125" y="235"/>
                </a:cxn>
                <a:cxn ang="0">
                  <a:pos x="135" y="311"/>
                </a:cxn>
                <a:cxn ang="0">
                  <a:pos x="132" y="318"/>
                </a:cxn>
                <a:cxn ang="0">
                  <a:pos x="126" y="320"/>
                </a:cxn>
                <a:cxn ang="0">
                  <a:pos x="32" y="309"/>
                </a:cxn>
                <a:cxn ang="0">
                  <a:pos x="26" y="306"/>
                </a:cxn>
                <a:cxn ang="0">
                  <a:pos x="2" y="272"/>
                </a:cxn>
                <a:cxn ang="0">
                  <a:pos x="1" y="265"/>
                </a:cxn>
                <a:cxn ang="0">
                  <a:pos x="60" y="105"/>
                </a:cxn>
              </a:cxnLst>
              <a:rect l="0" t="0" r="r" b="b"/>
              <a:pathLst>
                <a:path w="369" h="321">
                  <a:moveTo>
                    <a:pt x="16" y="270"/>
                  </a:moveTo>
                  <a:lnTo>
                    <a:pt x="15" y="263"/>
                  </a:lnTo>
                  <a:lnTo>
                    <a:pt x="39" y="297"/>
                  </a:lnTo>
                  <a:lnTo>
                    <a:pt x="34" y="293"/>
                  </a:lnTo>
                  <a:lnTo>
                    <a:pt x="128" y="305"/>
                  </a:lnTo>
                  <a:lnTo>
                    <a:pt x="119" y="313"/>
                  </a:lnTo>
                  <a:lnTo>
                    <a:pt x="109" y="237"/>
                  </a:lnTo>
                  <a:cubicBezTo>
                    <a:pt x="109" y="235"/>
                    <a:pt x="110" y="232"/>
                    <a:pt x="111" y="231"/>
                  </a:cubicBezTo>
                  <a:cubicBezTo>
                    <a:pt x="112" y="229"/>
                    <a:pt x="114" y="228"/>
                    <a:pt x="116" y="228"/>
                  </a:cubicBezTo>
                  <a:lnTo>
                    <a:pt x="241" y="213"/>
                  </a:lnTo>
                  <a:cubicBezTo>
                    <a:pt x="242" y="213"/>
                    <a:pt x="243" y="213"/>
                    <a:pt x="244" y="214"/>
                  </a:cubicBezTo>
                  <a:lnTo>
                    <a:pt x="295" y="228"/>
                  </a:lnTo>
                  <a:lnTo>
                    <a:pt x="288" y="230"/>
                  </a:lnTo>
                  <a:lnTo>
                    <a:pt x="355" y="172"/>
                  </a:lnTo>
                  <a:lnTo>
                    <a:pt x="354" y="183"/>
                  </a:lnTo>
                  <a:lnTo>
                    <a:pt x="264" y="68"/>
                  </a:lnTo>
                  <a:cubicBezTo>
                    <a:pt x="263" y="67"/>
                    <a:pt x="263" y="66"/>
                    <a:pt x="263" y="64"/>
                  </a:cubicBezTo>
                  <a:lnTo>
                    <a:pt x="252" y="10"/>
                  </a:lnTo>
                  <a:lnTo>
                    <a:pt x="263" y="16"/>
                  </a:lnTo>
                  <a:lnTo>
                    <a:pt x="71" y="115"/>
                  </a:lnTo>
                  <a:lnTo>
                    <a:pt x="75" y="110"/>
                  </a:lnTo>
                  <a:lnTo>
                    <a:pt x="16" y="270"/>
                  </a:lnTo>
                  <a:close/>
                  <a:moveTo>
                    <a:pt x="60" y="105"/>
                  </a:moveTo>
                  <a:cubicBezTo>
                    <a:pt x="61" y="103"/>
                    <a:pt x="62" y="101"/>
                    <a:pt x="64" y="101"/>
                  </a:cubicBezTo>
                  <a:lnTo>
                    <a:pt x="256" y="1"/>
                  </a:lnTo>
                  <a:cubicBezTo>
                    <a:pt x="258" y="0"/>
                    <a:pt x="261" y="0"/>
                    <a:pt x="263" y="1"/>
                  </a:cubicBezTo>
                  <a:cubicBezTo>
                    <a:pt x="265" y="2"/>
                    <a:pt x="267" y="4"/>
                    <a:pt x="268" y="7"/>
                  </a:cubicBezTo>
                  <a:lnTo>
                    <a:pt x="278" y="61"/>
                  </a:lnTo>
                  <a:lnTo>
                    <a:pt x="277" y="58"/>
                  </a:lnTo>
                  <a:lnTo>
                    <a:pt x="367" y="173"/>
                  </a:lnTo>
                  <a:cubicBezTo>
                    <a:pt x="369" y="177"/>
                    <a:pt x="369" y="181"/>
                    <a:pt x="366" y="184"/>
                  </a:cubicBezTo>
                  <a:lnTo>
                    <a:pt x="299" y="242"/>
                  </a:lnTo>
                  <a:cubicBezTo>
                    <a:pt x="296" y="243"/>
                    <a:pt x="294" y="244"/>
                    <a:pt x="291" y="243"/>
                  </a:cubicBezTo>
                  <a:lnTo>
                    <a:pt x="240" y="229"/>
                  </a:lnTo>
                  <a:lnTo>
                    <a:pt x="243" y="229"/>
                  </a:lnTo>
                  <a:lnTo>
                    <a:pt x="118" y="244"/>
                  </a:lnTo>
                  <a:lnTo>
                    <a:pt x="125" y="235"/>
                  </a:lnTo>
                  <a:lnTo>
                    <a:pt x="135" y="311"/>
                  </a:lnTo>
                  <a:cubicBezTo>
                    <a:pt x="135" y="314"/>
                    <a:pt x="134" y="316"/>
                    <a:pt x="132" y="318"/>
                  </a:cubicBezTo>
                  <a:cubicBezTo>
                    <a:pt x="131" y="320"/>
                    <a:pt x="128" y="321"/>
                    <a:pt x="126" y="320"/>
                  </a:cubicBezTo>
                  <a:lnTo>
                    <a:pt x="32" y="309"/>
                  </a:lnTo>
                  <a:cubicBezTo>
                    <a:pt x="29" y="309"/>
                    <a:pt x="27" y="308"/>
                    <a:pt x="26" y="306"/>
                  </a:cubicBezTo>
                  <a:lnTo>
                    <a:pt x="2" y="272"/>
                  </a:lnTo>
                  <a:cubicBezTo>
                    <a:pt x="0" y="270"/>
                    <a:pt x="0" y="267"/>
                    <a:pt x="1" y="265"/>
                  </a:cubicBezTo>
                  <a:lnTo>
                    <a:pt x="60" y="105"/>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06" name="Freeform 462"/>
            <p:cNvSpPr>
              <a:spLocks/>
            </p:cNvSpPr>
            <p:nvPr/>
          </p:nvSpPr>
          <p:spPr bwMode="auto">
            <a:xfrm>
              <a:off x="3047" y="2230"/>
              <a:ext cx="167" cy="128"/>
            </a:xfrm>
            <a:custGeom>
              <a:avLst/>
              <a:gdLst/>
              <a:ahLst/>
              <a:cxnLst>
                <a:cxn ang="0">
                  <a:pos x="0" y="63"/>
                </a:cxn>
                <a:cxn ang="0">
                  <a:pos x="0" y="112"/>
                </a:cxn>
                <a:cxn ang="0">
                  <a:pos x="18" y="125"/>
                </a:cxn>
                <a:cxn ang="0">
                  <a:pos x="45" y="128"/>
                </a:cxn>
                <a:cxn ang="0">
                  <a:pos x="70" y="128"/>
                </a:cxn>
                <a:cxn ang="0">
                  <a:pos x="95" y="111"/>
                </a:cxn>
                <a:cxn ang="0">
                  <a:pos x="96" y="104"/>
                </a:cxn>
                <a:cxn ang="0">
                  <a:pos x="118" y="98"/>
                </a:cxn>
                <a:cxn ang="0">
                  <a:pos x="114" y="92"/>
                </a:cxn>
                <a:cxn ang="0">
                  <a:pos x="159" y="79"/>
                </a:cxn>
                <a:cxn ang="0">
                  <a:pos x="153" y="72"/>
                </a:cxn>
                <a:cxn ang="0">
                  <a:pos x="167" y="34"/>
                </a:cxn>
                <a:cxn ang="0">
                  <a:pos x="156" y="17"/>
                </a:cxn>
                <a:cxn ang="0">
                  <a:pos x="130" y="5"/>
                </a:cxn>
                <a:cxn ang="0">
                  <a:pos x="123" y="0"/>
                </a:cxn>
                <a:cxn ang="0">
                  <a:pos x="97" y="12"/>
                </a:cxn>
                <a:cxn ang="0">
                  <a:pos x="94" y="46"/>
                </a:cxn>
                <a:cxn ang="0">
                  <a:pos x="110" y="53"/>
                </a:cxn>
                <a:cxn ang="0">
                  <a:pos x="111" y="67"/>
                </a:cxn>
                <a:cxn ang="0">
                  <a:pos x="29" y="36"/>
                </a:cxn>
                <a:cxn ang="0">
                  <a:pos x="32" y="63"/>
                </a:cxn>
                <a:cxn ang="0">
                  <a:pos x="0" y="63"/>
                </a:cxn>
              </a:cxnLst>
              <a:rect l="0" t="0" r="r" b="b"/>
              <a:pathLst>
                <a:path w="167" h="128">
                  <a:moveTo>
                    <a:pt x="0" y="63"/>
                  </a:moveTo>
                  <a:lnTo>
                    <a:pt x="0" y="112"/>
                  </a:lnTo>
                  <a:lnTo>
                    <a:pt x="18" y="125"/>
                  </a:lnTo>
                  <a:lnTo>
                    <a:pt x="45" y="128"/>
                  </a:lnTo>
                  <a:lnTo>
                    <a:pt x="70" y="128"/>
                  </a:lnTo>
                  <a:lnTo>
                    <a:pt x="95" y="111"/>
                  </a:lnTo>
                  <a:lnTo>
                    <a:pt x="96" y="104"/>
                  </a:lnTo>
                  <a:lnTo>
                    <a:pt x="118" y="98"/>
                  </a:lnTo>
                  <a:lnTo>
                    <a:pt x="114" y="92"/>
                  </a:lnTo>
                  <a:lnTo>
                    <a:pt x="159" y="79"/>
                  </a:lnTo>
                  <a:lnTo>
                    <a:pt x="153" y="72"/>
                  </a:lnTo>
                  <a:lnTo>
                    <a:pt x="167" y="34"/>
                  </a:lnTo>
                  <a:lnTo>
                    <a:pt x="156" y="17"/>
                  </a:lnTo>
                  <a:lnTo>
                    <a:pt x="130" y="5"/>
                  </a:lnTo>
                  <a:lnTo>
                    <a:pt x="123" y="0"/>
                  </a:lnTo>
                  <a:lnTo>
                    <a:pt x="97" y="12"/>
                  </a:lnTo>
                  <a:lnTo>
                    <a:pt x="94" y="46"/>
                  </a:lnTo>
                  <a:lnTo>
                    <a:pt x="110" y="53"/>
                  </a:lnTo>
                  <a:lnTo>
                    <a:pt x="111" y="67"/>
                  </a:lnTo>
                  <a:lnTo>
                    <a:pt x="29" y="36"/>
                  </a:lnTo>
                  <a:lnTo>
                    <a:pt x="32" y="63"/>
                  </a:lnTo>
                  <a:lnTo>
                    <a:pt x="0" y="63"/>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07" name="Freeform 463"/>
            <p:cNvSpPr>
              <a:spLocks noEditPoints="1"/>
            </p:cNvSpPr>
            <p:nvPr/>
          </p:nvSpPr>
          <p:spPr bwMode="auto">
            <a:xfrm>
              <a:off x="3045" y="2228"/>
              <a:ext cx="172" cy="132"/>
            </a:xfrm>
            <a:custGeom>
              <a:avLst/>
              <a:gdLst/>
              <a:ahLst/>
              <a:cxnLst>
                <a:cxn ang="0">
                  <a:pos x="16" y="283"/>
                </a:cxn>
                <a:cxn ang="0">
                  <a:pos x="14" y="491"/>
                </a:cxn>
                <a:cxn ang="0">
                  <a:pos x="70" y="544"/>
                </a:cxn>
                <a:cxn ang="0">
                  <a:pos x="248" y="560"/>
                </a:cxn>
                <a:cxn ang="0">
                  <a:pos x="328" y="486"/>
                </a:cxn>
                <a:cxn ang="0">
                  <a:pos x="332" y="460"/>
                </a:cxn>
                <a:cxn ang="0">
                  <a:pos x="412" y="430"/>
                </a:cxn>
                <a:cxn ang="0">
                  <a:pos x="393" y="412"/>
                </a:cxn>
                <a:cxn ang="0">
                  <a:pos x="397" y="401"/>
                </a:cxn>
                <a:cxn ang="0">
                  <a:pos x="550" y="357"/>
                </a:cxn>
                <a:cxn ang="0">
                  <a:pos x="527" y="322"/>
                </a:cxn>
                <a:cxn ang="0">
                  <a:pos x="577" y="157"/>
                </a:cxn>
                <a:cxn ang="0">
                  <a:pos x="543" y="86"/>
                </a:cxn>
                <a:cxn ang="0">
                  <a:pos x="450" y="34"/>
                </a:cxn>
                <a:cxn ang="0">
                  <a:pos x="435" y="15"/>
                </a:cxn>
                <a:cxn ang="0">
                  <a:pos x="350" y="62"/>
                </a:cxn>
                <a:cxn ang="0">
                  <a:pos x="336" y="203"/>
                </a:cxn>
                <a:cxn ang="0">
                  <a:pos x="395" y="238"/>
                </a:cxn>
                <a:cxn ang="0">
                  <a:pos x="393" y="306"/>
                </a:cxn>
                <a:cxn ang="0">
                  <a:pos x="105" y="171"/>
                </a:cxn>
                <a:cxn ang="0">
                  <a:pos x="125" y="282"/>
                </a:cxn>
                <a:cxn ang="0">
                  <a:pos x="117" y="291"/>
                </a:cxn>
                <a:cxn ang="0">
                  <a:pos x="117" y="275"/>
                </a:cxn>
                <a:cxn ang="0">
                  <a:pos x="100" y="164"/>
                </a:cxn>
                <a:cxn ang="0">
                  <a:pos x="112" y="157"/>
                </a:cxn>
                <a:cxn ang="0">
                  <a:pos x="381" y="299"/>
                </a:cxn>
                <a:cxn ang="0">
                  <a:pos x="384" y="245"/>
                </a:cxn>
                <a:cxn ang="0">
                  <a:pos x="324" y="209"/>
                </a:cxn>
                <a:cxn ang="0">
                  <a:pos x="338" y="54"/>
                </a:cxn>
                <a:cxn ang="0">
                  <a:pos x="436" y="2"/>
                </a:cxn>
                <a:cxn ang="0">
                  <a:pos x="459" y="21"/>
                </a:cxn>
                <a:cxn ang="0">
                  <a:pos x="554" y="76"/>
                </a:cxn>
                <a:cxn ang="0">
                  <a:pos x="592" y="156"/>
                </a:cxn>
                <a:cxn ang="0">
                  <a:pos x="542" y="319"/>
                </a:cxn>
                <a:cxn ang="0">
                  <a:pos x="564" y="354"/>
                </a:cxn>
                <a:cxn ang="0">
                  <a:pos x="403" y="416"/>
                </a:cxn>
                <a:cxn ang="0">
                  <a:pos x="421" y="435"/>
                </a:cxn>
                <a:cxn ang="0">
                  <a:pos x="416" y="446"/>
                </a:cxn>
                <a:cxn ang="0">
                  <a:pos x="347" y="463"/>
                </a:cxn>
                <a:cxn ang="0">
                  <a:pos x="339" y="498"/>
                </a:cxn>
                <a:cxn ang="0">
                  <a:pos x="248" y="576"/>
                </a:cxn>
                <a:cxn ang="0">
                  <a:pos x="68" y="560"/>
                </a:cxn>
                <a:cxn ang="0">
                  <a:pos x="3" y="503"/>
                </a:cxn>
                <a:cxn ang="0">
                  <a:pos x="0" y="283"/>
                </a:cxn>
                <a:cxn ang="0">
                  <a:pos x="117" y="275"/>
                </a:cxn>
              </a:cxnLst>
              <a:rect l="0" t="0" r="r" b="b"/>
              <a:pathLst>
                <a:path w="593" h="577">
                  <a:moveTo>
                    <a:pt x="8" y="291"/>
                  </a:moveTo>
                  <a:lnTo>
                    <a:pt x="16" y="283"/>
                  </a:lnTo>
                  <a:lnTo>
                    <a:pt x="16" y="497"/>
                  </a:lnTo>
                  <a:lnTo>
                    <a:pt x="14" y="491"/>
                  </a:lnTo>
                  <a:lnTo>
                    <a:pt x="74" y="546"/>
                  </a:lnTo>
                  <a:lnTo>
                    <a:pt x="70" y="544"/>
                  </a:lnTo>
                  <a:lnTo>
                    <a:pt x="163" y="557"/>
                  </a:lnTo>
                  <a:lnTo>
                    <a:pt x="248" y="560"/>
                  </a:lnTo>
                  <a:lnTo>
                    <a:pt x="243" y="562"/>
                  </a:lnTo>
                  <a:lnTo>
                    <a:pt x="328" y="486"/>
                  </a:lnTo>
                  <a:lnTo>
                    <a:pt x="326" y="491"/>
                  </a:lnTo>
                  <a:lnTo>
                    <a:pt x="332" y="460"/>
                  </a:lnTo>
                  <a:cubicBezTo>
                    <a:pt x="332" y="457"/>
                    <a:pt x="334" y="454"/>
                    <a:pt x="337" y="453"/>
                  </a:cubicBezTo>
                  <a:lnTo>
                    <a:pt x="412" y="430"/>
                  </a:lnTo>
                  <a:lnTo>
                    <a:pt x="407" y="441"/>
                  </a:lnTo>
                  <a:lnTo>
                    <a:pt x="393" y="412"/>
                  </a:lnTo>
                  <a:cubicBezTo>
                    <a:pt x="392" y="410"/>
                    <a:pt x="392" y="407"/>
                    <a:pt x="393" y="405"/>
                  </a:cubicBezTo>
                  <a:cubicBezTo>
                    <a:pt x="393" y="403"/>
                    <a:pt x="395" y="401"/>
                    <a:pt x="397" y="401"/>
                  </a:cubicBezTo>
                  <a:lnTo>
                    <a:pt x="554" y="345"/>
                  </a:lnTo>
                  <a:lnTo>
                    <a:pt x="550" y="357"/>
                  </a:lnTo>
                  <a:lnTo>
                    <a:pt x="529" y="329"/>
                  </a:lnTo>
                  <a:cubicBezTo>
                    <a:pt x="527" y="327"/>
                    <a:pt x="527" y="324"/>
                    <a:pt x="527" y="322"/>
                  </a:cubicBezTo>
                  <a:lnTo>
                    <a:pt x="577" y="152"/>
                  </a:lnTo>
                  <a:lnTo>
                    <a:pt x="577" y="157"/>
                  </a:lnTo>
                  <a:lnTo>
                    <a:pt x="539" y="83"/>
                  </a:lnTo>
                  <a:lnTo>
                    <a:pt x="543" y="86"/>
                  </a:lnTo>
                  <a:lnTo>
                    <a:pt x="451" y="35"/>
                  </a:lnTo>
                  <a:cubicBezTo>
                    <a:pt x="451" y="35"/>
                    <a:pt x="450" y="35"/>
                    <a:pt x="450" y="34"/>
                  </a:cubicBezTo>
                  <a:lnTo>
                    <a:pt x="426" y="15"/>
                  </a:lnTo>
                  <a:lnTo>
                    <a:pt x="435" y="15"/>
                  </a:lnTo>
                  <a:lnTo>
                    <a:pt x="346" y="68"/>
                  </a:lnTo>
                  <a:lnTo>
                    <a:pt x="350" y="62"/>
                  </a:lnTo>
                  <a:lnTo>
                    <a:pt x="340" y="211"/>
                  </a:lnTo>
                  <a:lnTo>
                    <a:pt x="336" y="203"/>
                  </a:lnTo>
                  <a:lnTo>
                    <a:pt x="391" y="231"/>
                  </a:lnTo>
                  <a:cubicBezTo>
                    <a:pt x="394" y="232"/>
                    <a:pt x="395" y="235"/>
                    <a:pt x="395" y="238"/>
                  </a:cubicBezTo>
                  <a:lnTo>
                    <a:pt x="397" y="299"/>
                  </a:lnTo>
                  <a:cubicBezTo>
                    <a:pt x="397" y="302"/>
                    <a:pt x="395" y="304"/>
                    <a:pt x="393" y="306"/>
                  </a:cubicBezTo>
                  <a:cubicBezTo>
                    <a:pt x="391" y="307"/>
                    <a:pt x="388" y="308"/>
                    <a:pt x="385" y="306"/>
                  </a:cubicBezTo>
                  <a:lnTo>
                    <a:pt x="105" y="171"/>
                  </a:lnTo>
                  <a:lnTo>
                    <a:pt x="116" y="163"/>
                  </a:lnTo>
                  <a:lnTo>
                    <a:pt x="125" y="282"/>
                  </a:lnTo>
                  <a:cubicBezTo>
                    <a:pt x="125" y="284"/>
                    <a:pt x="124" y="287"/>
                    <a:pt x="123" y="288"/>
                  </a:cubicBezTo>
                  <a:cubicBezTo>
                    <a:pt x="121" y="290"/>
                    <a:pt x="119" y="291"/>
                    <a:pt x="117" y="291"/>
                  </a:cubicBezTo>
                  <a:lnTo>
                    <a:pt x="8" y="291"/>
                  </a:lnTo>
                  <a:close/>
                  <a:moveTo>
                    <a:pt x="117" y="275"/>
                  </a:moveTo>
                  <a:lnTo>
                    <a:pt x="109" y="283"/>
                  </a:lnTo>
                  <a:lnTo>
                    <a:pt x="100" y="164"/>
                  </a:lnTo>
                  <a:cubicBezTo>
                    <a:pt x="100" y="161"/>
                    <a:pt x="102" y="159"/>
                    <a:pt x="104" y="157"/>
                  </a:cubicBezTo>
                  <a:cubicBezTo>
                    <a:pt x="106" y="156"/>
                    <a:pt x="109" y="155"/>
                    <a:pt x="112" y="157"/>
                  </a:cubicBezTo>
                  <a:lnTo>
                    <a:pt x="392" y="292"/>
                  </a:lnTo>
                  <a:lnTo>
                    <a:pt x="381" y="299"/>
                  </a:lnTo>
                  <a:lnTo>
                    <a:pt x="379" y="238"/>
                  </a:lnTo>
                  <a:lnTo>
                    <a:pt x="384" y="245"/>
                  </a:lnTo>
                  <a:lnTo>
                    <a:pt x="329" y="217"/>
                  </a:lnTo>
                  <a:cubicBezTo>
                    <a:pt x="326" y="216"/>
                    <a:pt x="324" y="213"/>
                    <a:pt x="324" y="209"/>
                  </a:cubicBezTo>
                  <a:lnTo>
                    <a:pt x="334" y="61"/>
                  </a:lnTo>
                  <a:cubicBezTo>
                    <a:pt x="334" y="58"/>
                    <a:pt x="336" y="56"/>
                    <a:pt x="338" y="54"/>
                  </a:cubicBezTo>
                  <a:lnTo>
                    <a:pt x="427" y="2"/>
                  </a:lnTo>
                  <a:cubicBezTo>
                    <a:pt x="430" y="0"/>
                    <a:pt x="433" y="0"/>
                    <a:pt x="436" y="2"/>
                  </a:cubicBezTo>
                  <a:lnTo>
                    <a:pt x="460" y="22"/>
                  </a:lnTo>
                  <a:lnTo>
                    <a:pt x="459" y="21"/>
                  </a:lnTo>
                  <a:lnTo>
                    <a:pt x="550" y="73"/>
                  </a:lnTo>
                  <a:cubicBezTo>
                    <a:pt x="552" y="73"/>
                    <a:pt x="553" y="74"/>
                    <a:pt x="554" y="76"/>
                  </a:cubicBezTo>
                  <a:lnTo>
                    <a:pt x="592" y="150"/>
                  </a:lnTo>
                  <a:cubicBezTo>
                    <a:pt x="593" y="152"/>
                    <a:pt x="593" y="154"/>
                    <a:pt x="592" y="156"/>
                  </a:cubicBezTo>
                  <a:lnTo>
                    <a:pt x="543" y="326"/>
                  </a:lnTo>
                  <a:lnTo>
                    <a:pt x="542" y="319"/>
                  </a:lnTo>
                  <a:lnTo>
                    <a:pt x="563" y="347"/>
                  </a:lnTo>
                  <a:cubicBezTo>
                    <a:pt x="564" y="349"/>
                    <a:pt x="565" y="352"/>
                    <a:pt x="564" y="354"/>
                  </a:cubicBezTo>
                  <a:cubicBezTo>
                    <a:pt x="563" y="357"/>
                    <a:pt x="561" y="359"/>
                    <a:pt x="559" y="360"/>
                  </a:cubicBezTo>
                  <a:lnTo>
                    <a:pt x="403" y="416"/>
                  </a:lnTo>
                  <a:lnTo>
                    <a:pt x="407" y="405"/>
                  </a:lnTo>
                  <a:lnTo>
                    <a:pt x="421" y="435"/>
                  </a:lnTo>
                  <a:cubicBezTo>
                    <a:pt x="422" y="437"/>
                    <a:pt x="422" y="439"/>
                    <a:pt x="421" y="441"/>
                  </a:cubicBezTo>
                  <a:cubicBezTo>
                    <a:pt x="420" y="443"/>
                    <a:pt x="419" y="445"/>
                    <a:pt x="416" y="446"/>
                  </a:cubicBezTo>
                  <a:lnTo>
                    <a:pt x="342" y="469"/>
                  </a:lnTo>
                  <a:lnTo>
                    <a:pt x="347" y="463"/>
                  </a:lnTo>
                  <a:lnTo>
                    <a:pt x="342" y="494"/>
                  </a:lnTo>
                  <a:cubicBezTo>
                    <a:pt x="341" y="496"/>
                    <a:pt x="340" y="497"/>
                    <a:pt x="339" y="498"/>
                  </a:cubicBezTo>
                  <a:lnTo>
                    <a:pt x="253" y="574"/>
                  </a:lnTo>
                  <a:cubicBezTo>
                    <a:pt x="252" y="576"/>
                    <a:pt x="250" y="577"/>
                    <a:pt x="248" y="576"/>
                  </a:cubicBezTo>
                  <a:lnTo>
                    <a:pt x="161" y="573"/>
                  </a:lnTo>
                  <a:lnTo>
                    <a:pt x="68" y="560"/>
                  </a:lnTo>
                  <a:cubicBezTo>
                    <a:pt x="66" y="560"/>
                    <a:pt x="65" y="559"/>
                    <a:pt x="64" y="558"/>
                  </a:cubicBezTo>
                  <a:lnTo>
                    <a:pt x="3" y="503"/>
                  </a:lnTo>
                  <a:cubicBezTo>
                    <a:pt x="1" y="502"/>
                    <a:pt x="0" y="500"/>
                    <a:pt x="0" y="497"/>
                  </a:cubicBezTo>
                  <a:lnTo>
                    <a:pt x="0" y="283"/>
                  </a:lnTo>
                  <a:cubicBezTo>
                    <a:pt x="0" y="278"/>
                    <a:pt x="4" y="275"/>
                    <a:pt x="8" y="275"/>
                  </a:cubicBezTo>
                  <a:lnTo>
                    <a:pt x="117" y="275"/>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08" name="Freeform 464"/>
            <p:cNvSpPr>
              <a:spLocks/>
            </p:cNvSpPr>
            <p:nvPr/>
          </p:nvSpPr>
          <p:spPr bwMode="auto">
            <a:xfrm>
              <a:off x="2973" y="2417"/>
              <a:ext cx="228" cy="175"/>
            </a:xfrm>
            <a:custGeom>
              <a:avLst/>
              <a:gdLst/>
              <a:ahLst/>
              <a:cxnLst>
                <a:cxn ang="0">
                  <a:pos x="0" y="93"/>
                </a:cxn>
                <a:cxn ang="0">
                  <a:pos x="9" y="86"/>
                </a:cxn>
                <a:cxn ang="0">
                  <a:pos x="18" y="98"/>
                </a:cxn>
                <a:cxn ang="0">
                  <a:pos x="36" y="98"/>
                </a:cxn>
                <a:cxn ang="0">
                  <a:pos x="48" y="89"/>
                </a:cxn>
                <a:cxn ang="0">
                  <a:pos x="48" y="35"/>
                </a:cxn>
                <a:cxn ang="0">
                  <a:pos x="60" y="49"/>
                </a:cxn>
                <a:cxn ang="0">
                  <a:pos x="60" y="64"/>
                </a:cxn>
                <a:cxn ang="0">
                  <a:pos x="79" y="63"/>
                </a:cxn>
                <a:cxn ang="0">
                  <a:pos x="95" y="47"/>
                </a:cxn>
                <a:cxn ang="0">
                  <a:pos x="125" y="47"/>
                </a:cxn>
                <a:cxn ang="0">
                  <a:pos x="179" y="0"/>
                </a:cxn>
                <a:cxn ang="0">
                  <a:pos x="210" y="6"/>
                </a:cxn>
                <a:cxn ang="0">
                  <a:pos x="215" y="50"/>
                </a:cxn>
                <a:cxn ang="0">
                  <a:pos x="200" y="62"/>
                </a:cxn>
                <a:cxn ang="0">
                  <a:pos x="209" y="71"/>
                </a:cxn>
                <a:cxn ang="0">
                  <a:pos x="217" y="64"/>
                </a:cxn>
                <a:cxn ang="0">
                  <a:pos x="228" y="64"/>
                </a:cxn>
                <a:cxn ang="0">
                  <a:pos x="222" y="89"/>
                </a:cxn>
                <a:cxn ang="0">
                  <a:pos x="189" y="129"/>
                </a:cxn>
                <a:cxn ang="0">
                  <a:pos x="148" y="163"/>
                </a:cxn>
                <a:cxn ang="0">
                  <a:pos x="117" y="175"/>
                </a:cxn>
                <a:cxn ang="0">
                  <a:pos x="27" y="175"/>
                </a:cxn>
                <a:cxn ang="0">
                  <a:pos x="20" y="156"/>
                </a:cxn>
                <a:cxn ang="0">
                  <a:pos x="24" y="140"/>
                </a:cxn>
                <a:cxn ang="0">
                  <a:pos x="0" y="93"/>
                </a:cxn>
              </a:cxnLst>
              <a:rect l="0" t="0" r="r" b="b"/>
              <a:pathLst>
                <a:path w="228" h="175">
                  <a:moveTo>
                    <a:pt x="0" y="93"/>
                  </a:moveTo>
                  <a:lnTo>
                    <a:pt x="9" y="86"/>
                  </a:lnTo>
                  <a:lnTo>
                    <a:pt x="18" y="98"/>
                  </a:lnTo>
                  <a:lnTo>
                    <a:pt x="36" y="98"/>
                  </a:lnTo>
                  <a:lnTo>
                    <a:pt x="48" y="89"/>
                  </a:lnTo>
                  <a:lnTo>
                    <a:pt x="48" y="35"/>
                  </a:lnTo>
                  <a:lnTo>
                    <a:pt x="60" y="49"/>
                  </a:lnTo>
                  <a:lnTo>
                    <a:pt x="60" y="64"/>
                  </a:lnTo>
                  <a:lnTo>
                    <a:pt x="79" y="63"/>
                  </a:lnTo>
                  <a:lnTo>
                    <a:pt x="95" y="47"/>
                  </a:lnTo>
                  <a:lnTo>
                    <a:pt x="125" y="47"/>
                  </a:lnTo>
                  <a:lnTo>
                    <a:pt x="179" y="0"/>
                  </a:lnTo>
                  <a:lnTo>
                    <a:pt x="210" y="6"/>
                  </a:lnTo>
                  <a:lnTo>
                    <a:pt x="215" y="50"/>
                  </a:lnTo>
                  <a:lnTo>
                    <a:pt x="200" y="62"/>
                  </a:lnTo>
                  <a:lnTo>
                    <a:pt x="209" y="71"/>
                  </a:lnTo>
                  <a:lnTo>
                    <a:pt x="217" y="64"/>
                  </a:lnTo>
                  <a:lnTo>
                    <a:pt x="228" y="64"/>
                  </a:lnTo>
                  <a:lnTo>
                    <a:pt x="222" y="89"/>
                  </a:lnTo>
                  <a:lnTo>
                    <a:pt x="189" y="129"/>
                  </a:lnTo>
                  <a:lnTo>
                    <a:pt x="148" y="163"/>
                  </a:lnTo>
                  <a:lnTo>
                    <a:pt x="117" y="175"/>
                  </a:lnTo>
                  <a:lnTo>
                    <a:pt x="27" y="175"/>
                  </a:lnTo>
                  <a:lnTo>
                    <a:pt x="20" y="156"/>
                  </a:lnTo>
                  <a:lnTo>
                    <a:pt x="24" y="140"/>
                  </a:lnTo>
                  <a:lnTo>
                    <a:pt x="0" y="93"/>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09" name="Freeform 465"/>
            <p:cNvSpPr>
              <a:spLocks noEditPoints="1"/>
            </p:cNvSpPr>
            <p:nvPr/>
          </p:nvSpPr>
          <p:spPr bwMode="auto">
            <a:xfrm>
              <a:off x="2971" y="2415"/>
              <a:ext cx="232" cy="179"/>
            </a:xfrm>
            <a:custGeom>
              <a:avLst/>
              <a:gdLst/>
              <a:ahLst/>
              <a:cxnLst>
                <a:cxn ang="0">
                  <a:pos x="3" y="408"/>
                </a:cxn>
                <a:cxn ang="0">
                  <a:pos x="38" y="379"/>
                </a:cxn>
                <a:cxn ang="0">
                  <a:pos x="77" y="433"/>
                </a:cxn>
                <a:cxn ang="0">
                  <a:pos x="131" y="429"/>
                </a:cxn>
                <a:cxn ang="0">
                  <a:pos x="167" y="394"/>
                </a:cxn>
                <a:cxn ang="0">
                  <a:pos x="165" y="162"/>
                </a:cxn>
                <a:cxn ang="0">
                  <a:pos x="179" y="158"/>
                </a:cxn>
                <a:cxn ang="0">
                  <a:pos x="222" y="223"/>
                </a:cxn>
                <a:cxn ang="0">
                  <a:pos x="213" y="279"/>
                </a:cxn>
                <a:cxn ang="0">
                  <a:pos x="273" y="280"/>
                </a:cxn>
                <a:cxn ang="0">
                  <a:pos x="336" y="205"/>
                </a:cxn>
                <a:cxn ang="0">
                  <a:pos x="435" y="207"/>
                </a:cxn>
                <a:cxn ang="0">
                  <a:pos x="625" y="1"/>
                </a:cxn>
                <a:cxn ang="0">
                  <a:pos x="740" y="36"/>
                </a:cxn>
                <a:cxn ang="0">
                  <a:pos x="755" y="234"/>
                </a:cxn>
                <a:cxn ang="0">
                  <a:pos x="704" y="275"/>
                </a:cxn>
                <a:cxn ang="0">
                  <a:pos x="723" y="316"/>
                </a:cxn>
                <a:cxn ang="0">
                  <a:pos x="755" y="279"/>
                </a:cxn>
                <a:cxn ang="0">
                  <a:pos x="799" y="282"/>
                </a:cxn>
                <a:cxn ang="0">
                  <a:pos x="781" y="401"/>
                </a:cxn>
                <a:cxn ang="0">
                  <a:pos x="665" y="578"/>
                </a:cxn>
                <a:cxn ang="0">
                  <a:pos x="522" y="730"/>
                </a:cxn>
                <a:cxn ang="0">
                  <a:pos x="414" y="782"/>
                </a:cxn>
                <a:cxn ang="0">
                  <a:pos x="101" y="784"/>
                </a:cxn>
                <a:cxn ang="0">
                  <a:pos x="68" y="693"/>
                </a:cxn>
                <a:cxn ang="0">
                  <a:pos x="81" y="620"/>
                </a:cxn>
                <a:cxn ang="0">
                  <a:pos x="1" y="416"/>
                </a:cxn>
                <a:cxn ang="0">
                  <a:pos x="96" y="623"/>
                </a:cxn>
                <a:cxn ang="0">
                  <a:pos x="84" y="688"/>
                </a:cxn>
                <a:cxn ang="0">
                  <a:pos x="101" y="768"/>
                </a:cxn>
                <a:cxn ang="0">
                  <a:pos x="407" y="768"/>
                </a:cxn>
                <a:cxn ang="0">
                  <a:pos x="511" y="719"/>
                </a:cxn>
                <a:cxn ang="0">
                  <a:pos x="652" y="570"/>
                </a:cxn>
                <a:cxn ang="0">
                  <a:pos x="765" y="399"/>
                </a:cxn>
                <a:cxn ang="0">
                  <a:pos x="792" y="295"/>
                </a:cxn>
                <a:cxn ang="0">
                  <a:pos x="762" y="292"/>
                </a:cxn>
                <a:cxn ang="0">
                  <a:pos x="729" y="329"/>
                </a:cxn>
                <a:cxn ang="0">
                  <a:pos x="691" y="285"/>
                </a:cxn>
                <a:cxn ang="0">
                  <a:pos x="744" y="222"/>
                </a:cxn>
                <a:cxn ang="0">
                  <a:pos x="724" y="38"/>
                </a:cxn>
                <a:cxn ang="0">
                  <a:pos x="621" y="16"/>
                </a:cxn>
                <a:cxn ang="0">
                  <a:pos x="446" y="218"/>
                </a:cxn>
                <a:cxn ang="0">
                  <a:pos x="336" y="221"/>
                </a:cxn>
                <a:cxn ang="0">
                  <a:pos x="285" y="290"/>
                </a:cxn>
                <a:cxn ang="0">
                  <a:pos x="213" y="295"/>
                </a:cxn>
                <a:cxn ang="0">
                  <a:pos x="205" y="287"/>
                </a:cxn>
                <a:cxn ang="0">
                  <a:pos x="208" y="227"/>
                </a:cxn>
                <a:cxn ang="0">
                  <a:pos x="181" y="162"/>
                </a:cxn>
                <a:cxn ang="0">
                  <a:pos x="178" y="406"/>
                </a:cxn>
                <a:cxn ang="0">
                  <a:pos x="131" y="445"/>
                </a:cxn>
                <a:cxn ang="0">
                  <a:pos x="64" y="442"/>
                </a:cxn>
                <a:cxn ang="0">
                  <a:pos x="43" y="392"/>
                </a:cxn>
                <a:cxn ang="0">
                  <a:pos x="16" y="411"/>
                </a:cxn>
              </a:cxnLst>
              <a:rect l="0" t="0" r="r" b="b"/>
              <a:pathLst>
                <a:path w="801" h="784">
                  <a:moveTo>
                    <a:pt x="1" y="416"/>
                  </a:moveTo>
                  <a:cubicBezTo>
                    <a:pt x="0" y="413"/>
                    <a:pt x="1" y="410"/>
                    <a:pt x="3" y="408"/>
                  </a:cubicBezTo>
                  <a:lnTo>
                    <a:pt x="32" y="381"/>
                  </a:lnTo>
                  <a:cubicBezTo>
                    <a:pt x="34" y="379"/>
                    <a:pt x="36" y="378"/>
                    <a:pt x="38" y="379"/>
                  </a:cubicBezTo>
                  <a:cubicBezTo>
                    <a:pt x="41" y="379"/>
                    <a:pt x="43" y="380"/>
                    <a:pt x="44" y="382"/>
                  </a:cubicBezTo>
                  <a:lnTo>
                    <a:pt x="77" y="433"/>
                  </a:lnTo>
                  <a:lnTo>
                    <a:pt x="71" y="429"/>
                  </a:lnTo>
                  <a:lnTo>
                    <a:pt x="131" y="429"/>
                  </a:lnTo>
                  <a:lnTo>
                    <a:pt x="126" y="431"/>
                  </a:lnTo>
                  <a:lnTo>
                    <a:pt x="167" y="394"/>
                  </a:lnTo>
                  <a:lnTo>
                    <a:pt x="165" y="400"/>
                  </a:lnTo>
                  <a:lnTo>
                    <a:pt x="165" y="162"/>
                  </a:lnTo>
                  <a:cubicBezTo>
                    <a:pt x="165" y="159"/>
                    <a:pt x="167" y="155"/>
                    <a:pt x="170" y="154"/>
                  </a:cubicBezTo>
                  <a:cubicBezTo>
                    <a:pt x="174" y="153"/>
                    <a:pt x="177" y="155"/>
                    <a:pt x="179" y="158"/>
                  </a:cubicBezTo>
                  <a:lnTo>
                    <a:pt x="221" y="218"/>
                  </a:lnTo>
                  <a:cubicBezTo>
                    <a:pt x="222" y="220"/>
                    <a:pt x="222" y="221"/>
                    <a:pt x="222" y="223"/>
                  </a:cubicBezTo>
                  <a:lnTo>
                    <a:pt x="221" y="287"/>
                  </a:lnTo>
                  <a:lnTo>
                    <a:pt x="213" y="279"/>
                  </a:lnTo>
                  <a:lnTo>
                    <a:pt x="279" y="277"/>
                  </a:lnTo>
                  <a:lnTo>
                    <a:pt x="273" y="280"/>
                  </a:lnTo>
                  <a:lnTo>
                    <a:pt x="329" y="208"/>
                  </a:lnTo>
                  <a:cubicBezTo>
                    <a:pt x="331" y="206"/>
                    <a:pt x="333" y="205"/>
                    <a:pt x="336" y="205"/>
                  </a:cubicBezTo>
                  <a:lnTo>
                    <a:pt x="440" y="205"/>
                  </a:lnTo>
                  <a:lnTo>
                    <a:pt x="435" y="207"/>
                  </a:lnTo>
                  <a:lnTo>
                    <a:pt x="617" y="3"/>
                  </a:lnTo>
                  <a:cubicBezTo>
                    <a:pt x="619" y="1"/>
                    <a:pt x="622" y="0"/>
                    <a:pt x="625" y="1"/>
                  </a:cubicBezTo>
                  <a:lnTo>
                    <a:pt x="734" y="29"/>
                  </a:lnTo>
                  <a:cubicBezTo>
                    <a:pt x="737" y="30"/>
                    <a:pt x="739" y="33"/>
                    <a:pt x="740" y="36"/>
                  </a:cubicBezTo>
                  <a:lnTo>
                    <a:pt x="758" y="227"/>
                  </a:lnTo>
                  <a:cubicBezTo>
                    <a:pt x="758" y="230"/>
                    <a:pt x="757" y="232"/>
                    <a:pt x="755" y="234"/>
                  </a:cubicBezTo>
                  <a:lnTo>
                    <a:pt x="703" y="286"/>
                  </a:lnTo>
                  <a:lnTo>
                    <a:pt x="704" y="275"/>
                  </a:lnTo>
                  <a:lnTo>
                    <a:pt x="735" y="316"/>
                  </a:lnTo>
                  <a:lnTo>
                    <a:pt x="723" y="316"/>
                  </a:lnTo>
                  <a:lnTo>
                    <a:pt x="749" y="282"/>
                  </a:lnTo>
                  <a:cubicBezTo>
                    <a:pt x="750" y="280"/>
                    <a:pt x="753" y="279"/>
                    <a:pt x="755" y="279"/>
                  </a:cubicBezTo>
                  <a:lnTo>
                    <a:pt x="792" y="279"/>
                  </a:lnTo>
                  <a:cubicBezTo>
                    <a:pt x="795" y="279"/>
                    <a:pt x="797" y="280"/>
                    <a:pt x="799" y="282"/>
                  </a:cubicBezTo>
                  <a:cubicBezTo>
                    <a:pt x="800" y="284"/>
                    <a:pt x="801" y="286"/>
                    <a:pt x="800" y="288"/>
                  </a:cubicBezTo>
                  <a:lnTo>
                    <a:pt x="781" y="401"/>
                  </a:lnTo>
                  <a:cubicBezTo>
                    <a:pt x="781" y="403"/>
                    <a:pt x="780" y="404"/>
                    <a:pt x="780" y="404"/>
                  </a:cubicBezTo>
                  <a:lnTo>
                    <a:pt x="665" y="578"/>
                  </a:lnTo>
                  <a:cubicBezTo>
                    <a:pt x="665" y="579"/>
                    <a:pt x="665" y="579"/>
                    <a:pt x="664" y="579"/>
                  </a:cubicBezTo>
                  <a:lnTo>
                    <a:pt x="522" y="730"/>
                  </a:lnTo>
                  <a:cubicBezTo>
                    <a:pt x="522" y="730"/>
                    <a:pt x="521" y="731"/>
                    <a:pt x="520" y="731"/>
                  </a:cubicBezTo>
                  <a:lnTo>
                    <a:pt x="414" y="782"/>
                  </a:lnTo>
                  <a:cubicBezTo>
                    <a:pt x="413" y="783"/>
                    <a:pt x="411" y="783"/>
                    <a:pt x="410" y="783"/>
                  </a:cubicBezTo>
                  <a:lnTo>
                    <a:pt x="101" y="784"/>
                  </a:lnTo>
                  <a:cubicBezTo>
                    <a:pt x="97" y="784"/>
                    <a:pt x="94" y="782"/>
                    <a:pt x="93" y="779"/>
                  </a:cubicBezTo>
                  <a:lnTo>
                    <a:pt x="68" y="693"/>
                  </a:lnTo>
                  <a:cubicBezTo>
                    <a:pt x="68" y="691"/>
                    <a:pt x="68" y="690"/>
                    <a:pt x="68" y="689"/>
                  </a:cubicBezTo>
                  <a:lnTo>
                    <a:pt x="81" y="620"/>
                  </a:lnTo>
                  <a:lnTo>
                    <a:pt x="81" y="624"/>
                  </a:lnTo>
                  <a:lnTo>
                    <a:pt x="1" y="416"/>
                  </a:lnTo>
                  <a:close/>
                  <a:moveTo>
                    <a:pt x="96" y="618"/>
                  </a:moveTo>
                  <a:cubicBezTo>
                    <a:pt x="97" y="620"/>
                    <a:pt x="97" y="621"/>
                    <a:pt x="96" y="623"/>
                  </a:cubicBezTo>
                  <a:lnTo>
                    <a:pt x="84" y="692"/>
                  </a:lnTo>
                  <a:lnTo>
                    <a:pt x="84" y="688"/>
                  </a:lnTo>
                  <a:lnTo>
                    <a:pt x="109" y="774"/>
                  </a:lnTo>
                  <a:lnTo>
                    <a:pt x="101" y="768"/>
                  </a:lnTo>
                  <a:lnTo>
                    <a:pt x="410" y="767"/>
                  </a:lnTo>
                  <a:lnTo>
                    <a:pt x="407" y="768"/>
                  </a:lnTo>
                  <a:lnTo>
                    <a:pt x="513" y="717"/>
                  </a:lnTo>
                  <a:lnTo>
                    <a:pt x="511" y="719"/>
                  </a:lnTo>
                  <a:lnTo>
                    <a:pt x="653" y="568"/>
                  </a:lnTo>
                  <a:lnTo>
                    <a:pt x="652" y="570"/>
                  </a:lnTo>
                  <a:lnTo>
                    <a:pt x="766" y="396"/>
                  </a:lnTo>
                  <a:lnTo>
                    <a:pt x="765" y="399"/>
                  </a:lnTo>
                  <a:lnTo>
                    <a:pt x="785" y="286"/>
                  </a:lnTo>
                  <a:lnTo>
                    <a:pt x="792" y="295"/>
                  </a:lnTo>
                  <a:lnTo>
                    <a:pt x="755" y="295"/>
                  </a:lnTo>
                  <a:lnTo>
                    <a:pt x="762" y="292"/>
                  </a:lnTo>
                  <a:lnTo>
                    <a:pt x="735" y="326"/>
                  </a:lnTo>
                  <a:cubicBezTo>
                    <a:pt x="734" y="328"/>
                    <a:pt x="731" y="329"/>
                    <a:pt x="729" y="329"/>
                  </a:cubicBezTo>
                  <a:cubicBezTo>
                    <a:pt x="727" y="329"/>
                    <a:pt x="724" y="328"/>
                    <a:pt x="723" y="326"/>
                  </a:cubicBezTo>
                  <a:lnTo>
                    <a:pt x="691" y="285"/>
                  </a:lnTo>
                  <a:cubicBezTo>
                    <a:pt x="688" y="282"/>
                    <a:pt x="689" y="277"/>
                    <a:pt x="692" y="275"/>
                  </a:cubicBezTo>
                  <a:lnTo>
                    <a:pt x="744" y="222"/>
                  </a:lnTo>
                  <a:lnTo>
                    <a:pt x="742" y="229"/>
                  </a:lnTo>
                  <a:lnTo>
                    <a:pt x="724" y="38"/>
                  </a:lnTo>
                  <a:lnTo>
                    <a:pt x="730" y="45"/>
                  </a:lnTo>
                  <a:lnTo>
                    <a:pt x="621" y="16"/>
                  </a:lnTo>
                  <a:lnTo>
                    <a:pt x="629" y="14"/>
                  </a:lnTo>
                  <a:lnTo>
                    <a:pt x="446" y="218"/>
                  </a:lnTo>
                  <a:cubicBezTo>
                    <a:pt x="445" y="220"/>
                    <a:pt x="443" y="221"/>
                    <a:pt x="440" y="221"/>
                  </a:cubicBezTo>
                  <a:lnTo>
                    <a:pt x="336" y="221"/>
                  </a:lnTo>
                  <a:lnTo>
                    <a:pt x="342" y="218"/>
                  </a:lnTo>
                  <a:lnTo>
                    <a:pt x="285" y="290"/>
                  </a:lnTo>
                  <a:cubicBezTo>
                    <a:pt x="284" y="292"/>
                    <a:pt x="282" y="293"/>
                    <a:pt x="279" y="293"/>
                  </a:cubicBezTo>
                  <a:lnTo>
                    <a:pt x="213" y="295"/>
                  </a:lnTo>
                  <a:cubicBezTo>
                    <a:pt x="211" y="295"/>
                    <a:pt x="209" y="294"/>
                    <a:pt x="207" y="293"/>
                  </a:cubicBezTo>
                  <a:cubicBezTo>
                    <a:pt x="206" y="291"/>
                    <a:pt x="205" y="289"/>
                    <a:pt x="205" y="287"/>
                  </a:cubicBezTo>
                  <a:lnTo>
                    <a:pt x="206" y="223"/>
                  </a:lnTo>
                  <a:lnTo>
                    <a:pt x="208" y="227"/>
                  </a:lnTo>
                  <a:lnTo>
                    <a:pt x="166" y="167"/>
                  </a:lnTo>
                  <a:lnTo>
                    <a:pt x="181" y="162"/>
                  </a:lnTo>
                  <a:lnTo>
                    <a:pt x="181" y="400"/>
                  </a:lnTo>
                  <a:cubicBezTo>
                    <a:pt x="181" y="402"/>
                    <a:pt x="180" y="405"/>
                    <a:pt x="178" y="406"/>
                  </a:cubicBezTo>
                  <a:lnTo>
                    <a:pt x="137" y="443"/>
                  </a:lnTo>
                  <a:cubicBezTo>
                    <a:pt x="135" y="444"/>
                    <a:pt x="133" y="445"/>
                    <a:pt x="131" y="445"/>
                  </a:cubicBezTo>
                  <a:lnTo>
                    <a:pt x="71" y="445"/>
                  </a:lnTo>
                  <a:cubicBezTo>
                    <a:pt x="68" y="445"/>
                    <a:pt x="65" y="444"/>
                    <a:pt x="64" y="442"/>
                  </a:cubicBezTo>
                  <a:lnTo>
                    <a:pt x="31" y="391"/>
                  </a:lnTo>
                  <a:lnTo>
                    <a:pt x="43" y="392"/>
                  </a:lnTo>
                  <a:lnTo>
                    <a:pt x="14" y="419"/>
                  </a:lnTo>
                  <a:lnTo>
                    <a:pt x="16" y="411"/>
                  </a:lnTo>
                  <a:lnTo>
                    <a:pt x="96" y="618"/>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10" name="Freeform 466"/>
            <p:cNvSpPr>
              <a:spLocks/>
            </p:cNvSpPr>
            <p:nvPr/>
          </p:nvSpPr>
          <p:spPr bwMode="auto">
            <a:xfrm>
              <a:off x="3122" y="2512"/>
              <a:ext cx="32" cy="29"/>
            </a:xfrm>
            <a:custGeom>
              <a:avLst/>
              <a:gdLst/>
              <a:ahLst/>
              <a:cxnLst>
                <a:cxn ang="0">
                  <a:pos x="0" y="14"/>
                </a:cxn>
                <a:cxn ang="0">
                  <a:pos x="12" y="29"/>
                </a:cxn>
                <a:cxn ang="0">
                  <a:pos x="32" y="14"/>
                </a:cxn>
                <a:cxn ang="0">
                  <a:pos x="23" y="0"/>
                </a:cxn>
                <a:cxn ang="0">
                  <a:pos x="0" y="14"/>
                </a:cxn>
              </a:cxnLst>
              <a:rect l="0" t="0" r="r" b="b"/>
              <a:pathLst>
                <a:path w="32" h="29">
                  <a:moveTo>
                    <a:pt x="0" y="14"/>
                  </a:moveTo>
                  <a:lnTo>
                    <a:pt x="12" y="29"/>
                  </a:lnTo>
                  <a:lnTo>
                    <a:pt x="32" y="14"/>
                  </a:lnTo>
                  <a:lnTo>
                    <a:pt x="23" y="0"/>
                  </a:lnTo>
                  <a:lnTo>
                    <a:pt x="0" y="14"/>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11" name="Freeform 467"/>
            <p:cNvSpPr>
              <a:spLocks noEditPoints="1"/>
            </p:cNvSpPr>
            <p:nvPr/>
          </p:nvSpPr>
          <p:spPr bwMode="auto">
            <a:xfrm>
              <a:off x="3119" y="2510"/>
              <a:ext cx="38" cy="33"/>
            </a:xfrm>
            <a:custGeom>
              <a:avLst/>
              <a:gdLst/>
              <a:ahLst/>
              <a:cxnLst>
                <a:cxn ang="0">
                  <a:pos x="14" y="77"/>
                </a:cxn>
                <a:cxn ang="0">
                  <a:pos x="16" y="67"/>
                </a:cxn>
                <a:cxn ang="0">
                  <a:pos x="58" y="132"/>
                </a:cxn>
                <a:cxn ang="0">
                  <a:pos x="46" y="131"/>
                </a:cxn>
                <a:cxn ang="0">
                  <a:pos x="116" y="65"/>
                </a:cxn>
                <a:cxn ang="0">
                  <a:pos x="114" y="75"/>
                </a:cxn>
                <a:cxn ang="0">
                  <a:pos x="82" y="12"/>
                </a:cxn>
                <a:cxn ang="0">
                  <a:pos x="94" y="15"/>
                </a:cxn>
                <a:cxn ang="0">
                  <a:pos x="14" y="77"/>
                </a:cxn>
                <a:cxn ang="0">
                  <a:pos x="84" y="2"/>
                </a:cxn>
                <a:cxn ang="0">
                  <a:pos x="91" y="1"/>
                </a:cxn>
                <a:cxn ang="0">
                  <a:pos x="96" y="5"/>
                </a:cxn>
                <a:cxn ang="0">
                  <a:pos x="129" y="67"/>
                </a:cxn>
                <a:cxn ang="0">
                  <a:pos x="127" y="77"/>
                </a:cxn>
                <a:cxn ang="0">
                  <a:pos x="57" y="142"/>
                </a:cxn>
                <a:cxn ang="0">
                  <a:pos x="50" y="144"/>
                </a:cxn>
                <a:cxn ang="0">
                  <a:pos x="45" y="141"/>
                </a:cxn>
                <a:cxn ang="0">
                  <a:pos x="3" y="75"/>
                </a:cxn>
                <a:cxn ang="0">
                  <a:pos x="5" y="65"/>
                </a:cxn>
                <a:cxn ang="0">
                  <a:pos x="84" y="2"/>
                </a:cxn>
              </a:cxnLst>
              <a:rect l="0" t="0" r="r" b="b"/>
              <a:pathLst>
                <a:path w="130" h="145">
                  <a:moveTo>
                    <a:pt x="14" y="77"/>
                  </a:moveTo>
                  <a:lnTo>
                    <a:pt x="16" y="67"/>
                  </a:lnTo>
                  <a:lnTo>
                    <a:pt x="58" y="132"/>
                  </a:lnTo>
                  <a:lnTo>
                    <a:pt x="46" y="131"/>
                  </a:lnTo>
                  <a:lnTo>
                    <a:pt x="116" y="65"/>
                  </a:lnTo>
                  <a:lnTo>
                    <a:pt x="114" y="75"/>
                  </a:lnTo>
                  <a:lnTo>
                    <a:pt x="82" y="12"/>
                  </a:lnTo>
                  <a:lnTo>
                    <a:pt x="94" y="15"/>
                  </a:lnTo>
                  <a:lnTo>
                    <a:pt x="14" y="77"/>
                  </a:lnTo>
                  <a:close/>
                  <a:moveTo>
                    <a:pt x="84" y="2"/>
                  </a:moveTo>
                  <a:cubicBezTo>
                    <a:pt x="86" y="1"/>
                    <a:pt x="89" y="0"/>
                    <a:pt x="91" y="1"/>
                  </a:cubicBezTo>
                  <a:cubicBezTo>
                    <a:pt x="93" y="1"/>
                    <a:pt x="95" y="3"/>
                    <a:pt x="96" y="5"/>
                  </a:cubicBezTo>
                  <a:lnTo>
                    <a:pt x="129" y="67"/>
                  </a:lnTo>
                  <a:cubicBezTo>
                    <a:pt x="130" y="70"/>
                    <a:pt x="130" y="74"/>
                    <a:pt x="127" y="77"/>
                  </a:cubicBezTo>
                  <a:lnTo>
                    <a:pt x="57" y="142"/>
                  </a:lnTo>
                  <a:cubicBezTo>
                    <a:pt x="55" y="144"/>
                    <a:pt x="53" y="145"/>
                    <a:pt x="50" y="144"/>
                  </a:cubicBezTo>
                  <a:cubicBezTo>
                    <a:pt x="48" y="144"/>
                    <a:pt x="46" y="143"/>
                    <a:pt x="45" y="141"/>
                  </a:cubicBezTo>
                  <a:lnTo>
                    <a:pt x="3" y="75"/>
                  </a:lnTo>
                  <a:cubicBezTo>
                    <a:pt x="0" y="72"/>
                    <a:pt x="1" y="67"/>
                    <a:pt x="5" y="65"/>
                  </a:cubicBezTo>
                  <a:lnTo>
                    <a:pt x="84" y="2"/>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12" name="Freeform 468"/>
            <p:cNvSpPr>
              <a:spLocks/>
            </p:cNvSpPr>
            <p:nvPr/>
          </p:nvSpPr>
          <p:spPr bwMode="auto">
            <a:xfrm>
              <a:off x="3047" y="1363"/>
              <a:ext cx="251" cy="136"/>
            </a:xfrm>
            <a:custGeom>
              <a:avLst/>
              <a:gdLst/>
              <a:ahLst/>
              <a:cxnLst>
                <a:cxn ang="0">
                  <a:pos x="129" y="6"/>
                </a:cxn>
                <a:cxn ang="0">
                  <a:pos x="141" y="0"/>
                </a:cxn>
                <a:cxn ang="0">
                  <a:pos x="157" y="9"/>
                </a:cxn>
                <a:cxn ang="0">
                  <a:pos x="163" y="20"/>
                </a:cxn>
                <a:cxn ang="0">
                  <a:pos x="181" y="29"/>
                </a:cxn>
                <a:cxn ang="0">
                  <a:pos x="204" y="45"/>
                </a:cxn>
                <a:cxn ang="0">
                  <a:pos x="221" y="45"/>
                </a:cxn>
                <a:cxn ang="0">
                  <a:pos x="244" y="51"/>
                </a:cxn>
                <a:cxn ang="0">
                  <a:pos x="239" y="74"/>
                </a:cxn>
                <a:cxn ang="0">
                  <a:pos x="217" y="94"/>
                </a:cxn>
                <a:cxn ang="0">
                  <a:pos x="185" y="111"/>
                </a:cxn>
                <a:cxn ang="0">
                  <a:pos x="186" y="120"/>
                </a:cxn>
                <a:cxn ang="0">
                  <a:pos x="170" y="136"/>
                </a:cxn>
                <a:cxn ang="0">
                  <a:pos x="167" y="109"/>
                </a:cxn>
                <a:cxn ang="0">
                  <a:pos x="141" y="106"/>
                </a:cxn>
                <a:cxn ang="0">
                  <a:pos x="140" y="97"/>
                </a:cxn>
                <a:cxn ang="0">
                  <a:pos x="107" y="120"/>
                </a:cxn>
                <a:cxn ang="0">
                  <a:pos x="96" y="107"/>
                </a:cxn>
                <a:cxn ang="0">
                  <a:pos x="106" y="99"/>
                </a:cxn>
                <a:cxn ang="0">
                  <a:pos x="112" y="91"/>
                </a:cxn>
                <a:cxn ang="0">
                  <a:pos x="100" y="77"/>
                </a:cxn>
                <a:cxn ang="0">
                  <a:pos x="77" y="70"/>
                </a:cxn>
                <a:cxn ang="0">
                  <a:pos x="39" y="74"/>
                </a:cxn>
                <a:cxn ang="0">
                  <a:pos x="10" y="76"/>
                </a:cxn>
                <a:cxn ang="0">
                  <a:pos x="6" y="56"/>
                </a:cxn>
                <a:cxn ang="0">
                  <a:pos x="28" y="31"/>
                </a:cxn>
                <a:cxn ang="0">
                  <a:pos x="23" y="13"/>
                </a:cxn>
                <a:cxn ang="0">
                  <a:pos x="35" y="11"/>
                </a:cxn>
                <a:cxn ang="0">
                  <a:pos x="55" y="13"/>
                </a:cxn>
                <a:cxn ang="0">
                  <a:pos x="75" y="15"/>
                </a:cxn>
                <a:cxn ang="0">
                  <a:pos x="93" y="21"/>
                </a:cxn>
                <a:cxn ang="0">
                  <a:pos x="104" y="22"/>
                </a:cxn>
                <a:cxn ang="0">
                  <a:pos x="108" y="13"/>
                </a:cxn>
                <a:cxn ang="0">
                  <a:pos x="122" y="11"/>
                </a:cxn>
              </a:cxnLst>
              <a:rect l="0" t="0" r="r" b="b"/>
              <a:pathLst>
                <a:path w="251" h="136">
                  <a:moveTo>
                    <a:pt x="125" y="7"/>
                  </a:moveTo>
                  <a:lnTo>
                    <a:pt x="129" y="6"/>
                  </a:lnTo>
                  <a:lnTo>
                    <a:pt x="136" y="2"/>
                  </a:lnTo>
                  <a:lnTo>
                    <a:pt x="141" y="0"/>
                  </a:lnTo>
                  <a:lnTo>
                    <a:pt x="153" y="2"/>
                  </a:lnTo>
                  <a:lnTo>
                    <a:pt x="157" y="9"/>
                  </a:lnTo>
                  <a:lnTo>
                    <a:pt x="159" y="18"/>
                  </a:lnTo>
                  <a:lnTo>
                    <a:pt x="163" y="20"/>
                  </a:lnTo>
                  <a:lnTo>
                    <a:pt x="169" y="18"/>
                  </a:lnTo>
                  <a:lnTo>
                    <a:pt x="181" y="29"/>
                  </a:lnTo>
                  <a:lnTo>
                    <a:pt x="187" y="38"/>
                  </a:lnTo>
                  <a:lnTo>
                    <a:pt x="204" y="45"/>
                  </a:lnTo>
                  <a:lnTo>
                    <a:pt x="215" y="46"/>
                  </a:lnTo>
                  <a:lnTo>
                    <a:pt x="221" y="45"/>
                  </a:lnTo>
                  <a:lnTo>
                    <a:pt x="231" y="49"/>
                  </a:lnTo>
                  <a:lnTo>
                    <a:pt x="244" y="51"/>
                  </a:lnTo>
                  <a:lnTo>
                    <a:pt x="251" y="71"/>
                  </a:lnTo>
                  <a:lnTo>
                    <a:pt x="239" y="74"/>
                  </a:lnTo>
                  <a:lnTo>
                    <a:pt x="236" y="84"/>
                  </a:lnTo>
                  <a:lnTo>
                    <a:pt x="217" y="94"/>
                  </a:lnTo>
                  <a:lnTo>
                    <a:pt x="188" y="101"/>
                  </a:lnTo>
                  <a:lnTo>
                    <a:pt x="185" y="111"/>
                  </a:lnTo>
                  <a:lnTo>
                    <a:pt x="173" y="107"/>
                  </a:lnTo>
                  <a:lnTo>
                    <a:pt x="186" y="120"/>
                  </a:lnTo>
                  <a:lnTo>
                    <a:pt x="202" y="121"/>
                  </a:lnTo>
                  <a:lnTo>
                    <a:pt x="170" y="136"/>
                  </a:lnTo>
                  <a:lnTo>
                    <a:pt x="151" y="120"/>
                  </a:lnTo>
                  <a:lnTo>
                    <a:pt x="167" y="109"/>
                  </a:lnTo>
                  <a:lnTo>
                    <a:pt x="151" y="106"/>
                  </a:lnTo>
                  <a:lnTo>
                    <a:pt x="141" y="106"/>
                  </a:lnTo>
                  <a:lnTo>
                    <a:pt x="143" y="96"/>
                  </a:lnTo>
                  <a:lnTo>
                    <a:pt x="140" y="97"/>
                  </a:lnTo>
                  <a:lnTo>
                    <a:pt x="116" y="103"/>
                  </a:lnTo>
                  <a:lnTo>
                    <a:pt x="107" y="120"/>
                  </a:lnTo>
                  <a:lnTo>
                    <a:pt x="93" y="119"/>
                  </a:lnTo>
                  <a:lnTo>
                    <a:pt x="96" y="107"/>
                  </a:lnTo>
                  <a:lnTo>
                    <a:pt x="97" y="101"/>
                  </a:lnTo>
                  <a:lnTo>
                    <a:pt x="106" y="99"/>
                  </a:lnTo>
                  <a:lnTo>
                    <a:pt x="111" y="95"/>
                  </a:lnTo>
                  <a:lnTo>
                    <a:pt x="112" y="91"/>
                  </a:lnTo>
                  <a:lnTo>
                    <a:pt x="106" y="90"/>
                  </a:lnTo>
                  <a:lnTo>
                    <a:pt x="100" y="77"/>
                  </a:lnTo>
                  <a:lnTo>
                    <a:pt x="89" y="70"/>
                  </a:lnTo>
                  <a:lnTo>
                    <a:pt x="77" y="70"/>
                  </a:lnTo>
                  <a:lnTo>
                    <a:pt x="61" y="73"/>
                  </a:lnTo>
                  <a:lnTo>
                    <a:pt x="39" y="74"/>
                  </a:lnTo>
                  <a:lnTo>
                    <a:pt x="27" y="76"/>
                  </a:lnTo>
                  <a:lnTo>
                    <a:pt x="10" y="76"/>
                  </a:lnTo>
                  <a:lnTo>
                    <a:pt x="0" y="68"/>
                  </a:lnTo>
                  <a:lnTo>
                    <a:pt x="6" y="56"/>
                  </a:lnTo>
                  <a:lnTo>
                    <a:pt x="17" y="44"/>
                  </a:lnTo>
                  <a:lnTo>
                    <a:pt x="28" y="31"/>
                  </a:lnTo>
                  <a:lnTo>
                    <a:pt x="23" y="15"/>
                  </a:lnTo>
                  <a:lnTo>
                    <a:pt x="23" y="13"/>
                  </a:lnTo>
                  <a:lnTo>
                    <a:pt x="27" y="9"/>
                  </a:lnTo>
                  <a:lnTo>
                    <a:pt x="35" y="11"/>
                  </a:lnTo>
                  <a:lnTo>
                    <a:pt x="44" y="9"/>
                  </a:lnTo>
                  <a:lnTo>
                    <a:pt x="55" y="13"/>
                  </a:lnTo>
                  <a:lnTo>
                    <a:pt x="67" y="18"/>
                  </a:lnTo>
                  <a:lnTo>
                    <a:pt x="75" y="15"/>
                  </a:lnTo>
                  <a:lnTo>
                    <a:pt x="84" y="19"/>
                  </a:lnTo>
                  <a:lnTo>
                    <a:pt x="93" y="21"/>
                  </a:lnTo>
                  <a:lnTo>
                    <a:pt x="98" y="24"/>
                  </a:lnTo>
                  <a:lnTo>
                    <a:pt x="104" y="22"/>
                  </a:lnTo>
                  <a:lnTo>
                    <a:pt x="105" y="16"/>
                  </a:lnTo>
                  <a:lnTo>
                    <a:pt x="108" y="13"/>
                  </a:lnTo>
                  <a:lnTo>
                    <a:pt x="118" y="13"/>
                  </a:lnTo>
                  <a:lnTo>
                    <a:pt x="122" y="11"/>
                  </a:lnTo>
                  <a:lnTo>
                    <a:pt x="125" y="7"/>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13" name="Freeform 469"/>
            <p:cNvSpPr>
              <a:spLocks noEditPoints="1"/>
            </p:cNvSpPr>
            <p:nvPr/>
          </p:nvSpPr>
          <p:spPr bwMode="auto">
            <a:xfrm>
              <a:off x="3045" y="1361"/>
              <a:ext cx="256" cy="140"/>
            </a:xfrm>
            <a:custGeom>
              <a:avLst/>
              <a:gdLst/>
              <a:ahLst/>
              <a:cxnLst>
                <a:cxn ang="0">
                  <a:pos x="472" y="10"/>
                </a:cxn>
                <a:cxn ang="0">
                  <a:pos x="554" y="44"/>
                </a:cxn>
                <a:cxn ang="0">
                  <a:pos x="565" y="87"/>
                </a:cxn>
                <a:cxn ang="0">
                  <a:pos x="660" y="171"/>
                </a:cxn>
                <a:cxn ang="0">
                  <a:pos x="747" y="199"/>
                </a:cxn>
                <a:cxn ang="0">
                  <a:pos x="850" y="221"/>
                </a:cxn>
                <a:cxn ang="0">
                  <a:pos x="836" y="333"/>
                </a:cxn>
                <a:cxn ang="0">
                  <a:pos x="657" y="458"/>
                </a:cxn>
                <a:cxn ang="0">
                  <a:pos x="599" y="482"/>
                </a:cxn>
                <a:cxn ang="0">
                  <a:pos x="712" y="535"/>
                </a:cxn>
                <a:cxn ang="0">
                  <a:pos x="520" y="533"/>
                </a:cxn>
                <a:cxn ang="0">
                  <a:pos x="528" y="479"/>
                </a:cxn>
                <a:cxn ang="0">
                  <a:pos x="502" y="434"/>
                </a:cxn>
                <a:cxn ang="0">
                  <a:pos x="384" y="536"/>
                </a:cxn>
                <a:cxn ang="0">
                  <a:pos x="331" y="472"/>
                </a:cxn>
                <a:cxn ang="0">
                  <a:pos x="382" y="417"/>
                </a:cxn>
                <a:cxn ang="0">
                  <a:pos x="365" y="403"/>
                </a:cxn>
                <a:cxn ang="0">
                  <a:pos x="272" y="321"/>
                </a:cxn>
                <a:cxn ang="0">
                  <a:pos x="142" y="339"/>
                </a:cxn>
                <a:cxn ang="0">
                  <a:pos x="3" y="312"/>
                </a:cxn>
                <a:cxn ang="0">
                  <a:pos x="95" y="137"/>
                </a:cxn>
                <a:cxn ang="0">
                  <a:pos x="80" y="57"/>
                </a:cxn>
                <a:cxn ang="0">
                  <a:pos x="157" y="39"/>
                </a:cxn>
                <a:cxn ang="0">
                  <a:pos x="264" y="66"/>
                </a:cxn>
                <a:cxn ang="0">
                  <a:pos x="330" y="93"/>
                </a:cxn>
                <a:cxn ang="0">
                  <a:pos x="359" y="75"/>
                </a:cxn>
                <a:cxn ang="0">
                  <a:pos x="410" y="55"/>
                </a:cxn>
                <a:cxn ang="0">
                  <a:pos x="430" y="63"/>
                </a:cxn>
                <a:cxn ang="0">
                  <a:pos x="373" y="81"/>
                </a:cxn>
                <a:cxn ang="0">
                  <a:pos x="339" y="119"/>
                </a:cxn>
                <a:cxn ang="0">
                  <a:pos x="262" y="81"/>
                </a:cxn>
                <a:cxn ang="0">
                  <a:pos x="155" y="54"/>
                </a:cxn>
                <a:cxn ang="0">
                  <a:pos x="104" y="52"/>
                </a:cxn>
                <a:cxn ang="0">
                  <a:pos x="110" y="139"/>
                </a:cxn>
                <a:cxn ang="0">
                  <a:pos x="16" y="309"/>
                </a:cxn>
                <a:cxn ang="0">
                  <a:pos x="99" y="334"/>
                </a:cxn>
                <a:cxn ang="0">
                  <a:pos x="270" y="305"/>
                </a:cxn>
                <a:cxn ang="0">
                  <a:pos x="357" y="342"/>
                </a:cxn>
                <a:cxn ang="0">
                  <a:pos x="396" y="424"/>
                </a:cxn>
                <a:cxn ang="0">
                  <a:pos x="349" y="452"/>
                </a:cxn>
                <a:cxn ang="0">
                  <a:pos x="369" y="530"/>
                </a:cxn>
                <a:cxn ang="0">
                  <a:pos x="495" y="420"/>
                </a:cxn>
                <a:cxn ang="0">
                  <a:pos x="528" y="463"/>
                </a:cxn>
                <a:cxn ang="0">
                  <a:pos x="534" y="539"/>
                </a:cxn>
                <a:cxn ang="0">
                  <a:pos x="703" y="545"/>
                </a:cxn>
                <a:cxn ang="0">
                  <a:pos x="605" y="467"/>
                </a:cxn>
                <a:cxn ang="0">
                  <a:pos x="754" y="411"/>
                </a:cxn>
                <a:cxn ang="0">
                  <a:pos x="826" y="324"/>
                </a:cxn>
                <a:cxn ang="0">
                  <a:pos x="803" y="228"/>
                </a:cxn>
                <a:cxn ang="0">
                  <a:pos x="748" y="215"/>
                </a:cxn>
                <a:cxn ang="0">
                  <a:pos x="623" y="140"/>
                </a:cxn>
                <a:cxn ang="0">
                  <a:pos x="563" y="101"/>
                </a:cxn>
                <a:cxn ang="0">
                  <a:pos x="525" y="20"/>
                </a:cxn>
                <a:cxn ang="0">
                  <a:pos x="456" y="39"/>
                </a:cxn>
              </a:cxnLst>
              <a:rect l="0" t="0" r="r" b="b"/>
              <a:pathLst>
                <a:path w="881" h="609">
                  <a:moveTo>
                    <a:pt x="431" y="33"/>
                  </a:moveTo>
                  <a:cubicBezTo>
                    <a:pt x="432" y="31"/>
                    <a:pt x="433" y="30"/>
                    <a:pt x="435" y="30"/>
                  </a:cubicBezTo>
                  <a:lnTo>
                    <a:pt x="449" y="24"/>
                  </a:lnTo>
                  <a:lnTo>
                    <a:pt x="448" y="25"/>
                  </a:lnTo>
                  <a:lnTo>
                    <a:pt x="472" y="10"/>
                  </a:lnTo>
                  <a:lnTo>
                    <a:pt x="491" y="1"/>
                  </a:lnTo>
                  <a:cubicBezTo>
                    <a:pt x="493" y="0"/>
                    <a:pt x="494" y="0"/>
                    <a:pt x="496" y="1"/>
                  </a:cubicBezTo>
                  <a:lnTo>
                    <a:pt x="534" y="9"/>
                  </a:lnTo>
                  <a:cubicBezTo>
                    <a:pt x="537" y="10"/>
                    <a:pt x="539" y="11"/>
                    <a:pt x="540" y="13"/>
                  </a:cubicBezTo>
                  <a:lnTo>
                    <a:pt x="554" y="44"/>
                  </a:lnTo>
                  <a:cubicBezTo>
                    <a:pt x="554" y="44"/>
                    <a:pt x="554" y="45"/>
                    <a:pt x="555" y="45"/>
                  </a:cubicBezTo>
                  <a:lnTo>
                    <a:pt x="563" y="82"/>
                  </a:lnTo>
                  <a:lnTo>
                    <a:pt x="560" y="78"/>
                  </a:lnTo>
                  <a:lnTo>
                    <a:pt x="573" y="88"/>
                  </a:lnTo>
                  <a:lnTo>
                    <a:pt x="565" y="87"/>
                  </a:lnTo>
                  <a:lnTo>
                    <a:pt x="585" y="80"/>
                  </a:lnTo>
                  <a:cubicBezTo>
                    <a:pt x="588" y="79"/>
                    <a:pt x="592" y="80"/>
                    <a:pt x="594" y="82"/>
                  </a:cubicBezTo>
                  <a:lnTo>
                    <a:pt x="636" y="131"/>
                  </a:lnTo>
                  <a:cubicBezTo>
                    <a:pt x="637" y="131"/>
                    <a:pt x="637" y="132"/>
                    <a:pt x="637" y="132"/>
                  </a:cubicBezTo>
                  <a:lnTo>
                    <a:pt x="660" y="171"/>
                  </a:lnTo>
                  <a:lnTo>
                    <a:pt x="656" y="168"/>
                  </a:lnTo>
                  <a:lnTo>
                    <a:pt x="714" y="195"/>
                  </a:lnTo>
                  <a:lnTo>
                    <a:pt x="712" y="194"/>
                  </a:lnTo>
                  <a:lnTo>
                    <a:pt x="750" y="199"/>
                  </a:lnTo>
                  <a:lnTo>
                    <a:pt x="747" y="199"/>
                  </a:lnTo>
                  <a:lnTo>
                    <a:pt x="767" y="194"/>
                  </a:lnTo>
                  <a:cubicBezTo>
                    <a:pt x="769" y="194"/>
                    <a:pt x="771" y="194"/>
                    <a:pt x="773" y="195"/>
                  </a:cubicBezTo>
                  <a:lnTo>
                    <a:pt x="808" y="213"/>
                  </a:lnTo>
                  <a:lnTo>
                    <a:pt x="806" y="213"/>
                  </a:lnTo>
                  <a:lnTo>
                    <a:pt x="850" y="221"/>
                  </a:lnTo>
                  <a:cubicBezTo>
                    <a:pt x="853" y="221"/>
                    <a:pt x="855" y="224"/>
                    <a:pt x="856" y="227"/>
                  </a:cubicBezTo>
                  <a:lnTo>
                    <a:pt x="880" y="316"/>
                  </a:lnTo>
                  <a:cubicBezTo>
                    <a:pt x="881" y="320"/>
                    <a:pt x="879" y="324"/>
                    <a:pt x="875" y="326"/>
                  </a:cubicBezTo>
                  <a:lnTo>
                    <a:pt x="831" y="339"/>
                  </a:lnTo>
                  <a:lnTo>
                    <a:pt x="836" y="333"/>
                  </a:lnTo>
                  <a:lnTo>
                    <a:pt x="828" y="375"/>
                  </a:lnTo>
                  <a:cubicBezTo>
                    <a:pt x="828" y="377"/>
                    <a:pt x="826" y="379"/>
                    <a:pt x="825" y="380"/>
                  </a:cubicBezTo>
                  <a:lnTo>
                    <a:pt x="761" y="425"/>
                  </a:lnTo>
                  <a:cubicBezTo>
                    <a:pt x="760" y="426"/>
                    <a:pt x="760" y="426"/>
                    <a:pt x="759" y="426"/>
                  </a:cubicBezTo>
                  <a:lnTo>
                    <a:pt x="657" y="458"/>
                  </a:lnTo>
                  <a:lnTo>
                    <a:pt x="662" y="453"/>
                  </a:lnTo>
                  <a:lnTo>
                    <a:pt x="652" y="493"/>
                  </a:lnTo>
                  <a:cubicBezTo>
                    <a:pt x="652" y="495"/>
                    <a:pt x="650" y="497"/>
                    <a:pt x="648" y="498"/>
                  </a:cubicBezTo>
                  <a:cubicBezTo>
                    <a:pt x="646" y="499"/>
                    <a:pt x="644" y="499"/>
                    <a:pt x="641" y="499"/>
                  </a:cubicBezTo>
                  <a:lnTo>
                    <a:pt x="599" y="482"/>
                  </a:lnTo>
                  <a:lnTo>
                    <a:pt x="608" y="469"/>
                  </a:lnTo>
                  <a:lnTo>
                    <a:pt x="655" y="525"/>
                  </a:lnTo>
                  <a:lnTo>
                    <a:pt x="650" y="522"/>
                  </a:lnTo>
                  <a:lnTo>
                    <a:pt x="705" y="529"/>
                  </a:lnTo>
                  <a:cubicBezTo>
                    <a:pt x="708" y="529"/>
                    <a:pt x="711" y="532"/>
                    <a:pt x="712" y="535"/>
                  </a:cubicBezTo>
                  <a:cubicBezTo>
                    <a:pt x="712" y="538"/>
                    <a:pt x="711" y="542"/>
                    <a:pt x="708" y="543"/>
                  </a:cubicBezTo>
                  <a:lnTo>
                    <a:pt x="597" y="607"/>
                  </a:lnTo>
                  <a:cubicBezTo>
                    <a:pt x="594" y="609"/>
                    <a:pt x="590" y="609"/>
                    <a:pt x="588" y="606"/>
                  </a:cubicBezTo>
                  <a:lnTo>
                    <a:pt x="523" y="539"/>
                  </a:lnTo>
                  <a:cubicBezTo>
                    <a:pt x="521" y="537"/>
                    <a:pt x="520" y="535"/>
                    <a:pt x="520" y="533"/>
                  </a:cubicBezTo>
                  <a:cubicBezTo>
                    <a:pt x="520" y="531"/>
                    <a:pt x="521" y="529"/>
                    <a:pt x="523" y="527"/>
                  </a:cubicBezTo>
                  <a:lnTo>
                    <a:pt x="577" y="477"/>
                  </a:lnTo>
                  <a:lnTo>
                    <a:pt x="580" y="491"/>
                  </a:lnTo>
                  <a:lnTo>
                    <a:pt x="527" y="479"/>
                  </a:lnTo>
                  <a:lnTo>
                    <a:pt x="528" y="479"/>
                  </a:lnTo>
                  <a:lnTo>
                    <a:pt x="491" y="479"/>
                  </a:lnTo>
                  <a:cubicBezTo>
                    <a:pt x="489" y="479"/>
                    <a:pt x="487" y="478"/>
                    <a:pt x="485" y="476"/>
                  </a:cubicBezTo>
                  <a:cubicBezTo>
                    <a:pt x="484" y="474"/>
                    <a:pt x="483" y="472"/>
                    <a:pt x="484" y="470"/>
                  </a:cubicBezTo>
                  <a:lnTo>
                    <a:pt x="491" y="426"/>
                  </a:lnTo>
                  <a:lnTo>
                    <a:pt x="502" y="434"/>
                  </a:lnTo>
                  <a:lnTo>
                    <a:pt x="492" y="439"/>
                  </a:lnTo>
                  <a:cubicBezTo>
                    <a:pt x="492" y="440"/>
                    <a:pt x="491" y="440"/>
                    <a:pt x="491" y="440"/>
                  </a:cubicBezTo>
                  <a:lnTo>
                    <a:pt x="410" y="464"/>
                  </a:lnTo>
                  <a:lnTo>
                    <a:pt x="415" y="459"/>
                  </a:lnTo>
                  <a:lnTo>
                    <a:pt x="384" y="536"/>
                  </a:lnTo>
                  <a:cubicBezTo>
                    <a:pt x="383" y="539"/>
                    <a:pt x="379" y="542"/>
                    <a:pt x="376" y="541"/>
                  </a:cubicBezTo>
                  <a:lnTo>
                    <a:pt x="325" y="536"/>
                  </a:lnTo>
                  <a:cubicBezTo>
                    <a:pt x="323" y="536"/>
                    <a:pt x="321" y="535"/>
                    <a:pt x="319" y="533"/>
                  </a:cubicBezTo>
                  <a:cubicBezTo>
                    <a:pt x="318" y="531"/>
                    <a:pt x="317" y="529"/>
                    <a:pt x="318" y="526"/>
                  </a:cubicBezTo>
                  <a:lnTo>
                    <a:pt x="331" y="472"/>
                  </a:lnTo>
                  <a:lnTo>
                    <a:pt x="333" y="450"/>
                  </a:lnTo>
                  <a:cubicBezTo>
                    <a:pt x="334" y="447"/>
                    <a:pt x="336" y="444"/>
                    <a:pt x="339" y="443"/>
                  </a:cubicBezTo>
                  <a:lnTo>
                    <a:pt x="370" y="433"/>
                  </a:lnTo>
                  <a:lnTo>
                    <a:pt x="366" y="436"/>
                  </a:lnTo>
                  <a:lnTo>
                    <a:pt x="382" y="417"/>
                  </a:lnTo>
                  <a:lnTo>
                    <a:pt x="380" y="421"/>
                  </a:lnTo>
                  <a:lnTo>
                    <a:pt x="383" y="406"/>
                  </a:lnTo>
                  <a:lnTo>
                    <a:pt x="388" y="415"/>
                  </a:lnTo>
                  <a:lnTo>
                    <a:pt x="370" y="408"/>
                  </a:lnTo>
                  <a:cubicBezTo>
                    <a:pt x="368" y="407"/>
                    <a:pt x="366" y="405"/>
                    <a:pt x="365" y="403"/>
                  </a:cubicBezTo>
                  <a:lnTo>
                    <a:pt x="342" y="348"/>
                  </a:lnTo>
                  <a:lnTo>
                    <a:pt x="344" y="351"/>
                  </a:lnTo>
                  <a:lnTo>
                    <a:pt x="309" y="319"/>
                  </a:lnTo>
                  <a:lnTo>
                    <a:pt x="314" y="321"/>
                  </a:lnTo>
                  <a:lnTo>
                    <a:pt x="272" y="321"/>
                  </a:lnTo>
                  <a:lnTo>
                    <a:pt x="274" y="321"/>
                  </a:lnTo>
                  <a:lnTo>
                    <a:pt x="220" y="334"/>
                  </a:lnTo>
                  <a:cubicBezTo>
                    <a:pt x="220" y="334"/>
                    <a:pt x="219" y="334"/>
                    <a:pt x="219" y="334"/>
                  </a:cubicBezTo>
                  <a:lnTo>
                    <a:pt x="141" y="339"/>
                  </a:lnTo>
                  <a:lnTo>
                    <a:pt x="142" y="339"/>
                  </a:lnTo>
                  <a:lnTo>
                    <a:pt x="103" y="349"/>
                  </a:lnTo>
                  <a:cubicBezTo>
                    <a:pt x="102" y="349"/>
                    <a:pt x="101" y="349"/>
                    <a:pt x="101" y="349"/>
                  </a:cubicBezTo>
                  <a:lnTo>
                    <a:pt x="41" y="349"/>
                  </a:lnTo>
                  <a:cubicBezTo>
                    <a:pt x="39" y="349"/>
                    <a:pt x="37" y="349"/>
                    <a:pt x="35" y="347"/>
                  </a:cubicBezTo>
                  <a:lnTo>
                    <a:pt x="3" y="312"/>
                  </a:lnTo>
                  <a:cubicBezTo>
                    <a:pt x="1" y="309"/>
                    <a:pt x="0" y="306"/>
                    <a:pt x="1" y="303"/>
                  </a:cubicBezTo>
                  <a:lnTo>
                    <a:pt x="21" y="251"/>
                  </a:lnTo>
                  <a:cubicBezTo>
                    <a:pt x="21" y="251"/>
                    <a:pt x="21" y="250"/>
                    <a:pt x="22" y="250"/>
                  </a:cubicBezTo>
                  <a:lnTo>
                    <a:pt x="57" y="194"/>
                  </a:lnTo>
                  <a:lnTo>
                    <a:pt x="95" y="137"/>
                  </a:lnTo>
                  <a:lnTo>
                    <a:pt x="94" y="143"/>
                  </a:lnTo>
                  <a:lnTo>
                    <a:pt x="77" y="76"/>
                  </a:lnTo>
                  <a:cubicBezTo>
                    <a:pt x="77" y="75"/>
                    <a:pt x="77" y="74"/>
                    <a:pt x="77" y="73"/>
                  </a:cubicBezTo>
                  <a:lnTo>
                    <a:pt x="78" y="61"/>
                  </a:lnTo>
                  <a:cubicBezTo>
                    <a:pt x="79" y="60"/>
                    <a:pt x="79" y="59"/>
                    <a:pt x="80" y="57"/>
                  </a:cubicBezTo>
                  <a:lnTo>
                    <a:pt x="91" y="42"/>
                  </a:lnTo>
                  <a:cubicBezTo>
                    <a:pt x="93" y="40"/>
                    <a:pt x="97" y="39"/>
                    <a:pt x="100" y="39"/>
                  </a:cubicBezTo>
                  <a:lnTo>
                    <a:pt x="128" y="48"/>
                  </a:lnTo>
                  <a:lnTo>
                    <a:pt x="124" y="48"/>
                  </a:lnTo>
                  <a:lnTo>
                    <a:pt x="157" y="39"/>
                  </a:lnTo>
                  <a:cubicBezTo>
                    <a:pt x="158" y="39"/>
                    <a:pt x="160" y="39"/>
                    <a:pt x="162" y="40"/>
                  </a:cubicBezTo>
                  <a:lnTo>
                    <a:pt x="200" y="57"/>
                  </a:lnTo>
                  <a:lnTo>
                    <a:pt x="240" y="77"/>
                  </a:lnTo>
                  <a:lnTo>
                    <a:pt x="234" y="77"/>
                  </a:lnTo>
                  <a:lnTo>
                    <a:pt x="264" y="66"/>
                  </a:lnTo>
                  <a:cubicBezTo>
                    <a:pt x="266" y="66"/>
                    <a:pt x="268" y="66"/>
                    <a:pt x="270" y="67"/>
                  </a:cubicBezTo>
                  <a:lnTo>
                    <a:pt x="299" y="84"/>
                  </a:lnTo>
                  <a:lnTo>
                    <a:pt x="297" y="83"/>
                  </a:lnTo>
                  <a:lnTo>
                    <a:pt x="328" y="92"/>
                  </a:lnTo>
                  <a:cubicBezTo>
                    <a:pt x="329" y="92"/>
                    <a:pt x="330" y="92"/>
                    <a:pt x="330" y="93"/>
                  </a:cubicBezTo>
                  <a:lnTo>
                    <a:pt x="349" y="106"/>
                  </a:lnTo>
                  <a:lnTo>
                    <a:pt x="341" y="105"/>
                  </a:lnTo>
                  <a:lnTo>
                    <a:pt x="362" y="97"/>
                  </a:lnTo>
                  <a:lnTo>
                    <a:pt x="357" y="104"/>
                  </a:lnTo>
                  <a:lnTo>
                    <a:pt x="359" y="75"/>
                  </a:lnTo>
                  <a:cubicBezTo>
                    <a:pt x="359" y="74"/>
                    <a:pt x="360" y="72"/>
                    <a:pt x="361" y="71"/>
                  </a:cubicBezTo>
                  <a:lnTo>
                    <a:pt x="372" y="57"/>
                  </a:lnTo>
                  <a:cubicBezTo>
                    <a:pt x="374" y="55"/>
                    <a:pt x="376" y="54"/>
                    <a:pt x="378" y="54"/>
                  </a:cubicBezTo>
                  <a:lnTo>
                    <a:pt x="414" y="54"/>
                  </a:lnTo>
                  <a:lnTo>
                    <a:pt x="410" y="55"/>
                  </a:lnTo>
                  <a:lnTo>
                    <a:pt x="423" y="48"/>
                  </a:lnTo>
                  <a:lnTo>
                    <a:pt x="419" y="51"/>
                  </a:lnTo>
                  <a:lnTo>
                    <a:pt x="431" y="33"/>
                  </a:lnTo>
                  <a:close/>
                  <a:moveTo>
                    <a:pt x="433" y="60"/>
                  </a:moveTo>
                  <a:cubicBezTo>
                    <a:pt x="432" y="61"/>
                    <a:pt x="431" y="62"/>
                    <a:pt x="430" y="63"/>
                  </a:cubicBezTo>
                  <a:lnTo>
                    <a:pt x="417" y="69"/>
                  </a:lnTo>
                  <a:cubicBezTo>
                    <a:pt x="416" y="70"/>
                    <a:pt x="415" y="70"/>
                    <a:pt x="414" y="70"/>
                  </a:cubicBezTo>
                  <a:lnTo>
                    <a:pt x="378" y="70"/>
                  </a:lnTo>
                  <a:lnTo>
                    <a:pt x="384" y="67"/>
                  </a:lnTo>
                  <a:lnTo>
                    <a:pt x="373" y="81"/>
                  </a:lnTo>
                  <a:lnTo>
                    <a:pt x="375" y="76"/>
                  </a:lnTo>
                  <a:lnTo>
                    <a:pt x="373" y="105"/>
                  </a:lnTo>
                  <a:cubicBezTo>
                    <a:pt x="373" y="108"/>
                    <a:pt x="371" y="111"/>
                    <a:pt x="368" y="112"/>
                  </a:cubicBezTo>
                  <a:lnTo>
                    <a:pt x="347" y="120"/>
                  </a:lnTo>
                  <a:cubicBezTo>
                    <a:pt x="345" y="121"/>
                    <a:pt x="342" y="121"/>
                    <a:pt x="339" y="119"/>
                  </a:cubicBezTo>
                  <a:lnTo>
                    <a:pt x="321" y="106"/>
                  </a:lnTo>
                  <a:lnTo>
                    <a:pt x="324" y="107"/>
                  </a:lnTo>
                  <a:lnTo>
                    <a:pt x="292" y="99"/>
                  </a:lnTo>
                  <a:cubicBezTo>
                    <a:pt x="292" y="98"/>
                    <a:pt x="291" y="98"/>
                    <a:pt x="290" y="98"/>
                  </a:cubicBezTo>
                  <a:lnTo>
                    <a:pt x="262" y="81"/>
                  </a:lnTo>
                  <a:lnTo>
                    <a:pt x="269" y="82"/>
                  </a:lnTo>
                  <a:lnTo>
                    <a:pt x="239" y="92"/>
                  </a:lnTo>
                  <a:cubicBezTo>
                    <a:pt x="237" y="92"/>
                    <a:pt x="235" y="92"/>
                    <a:pt x="233" y="91"/>
                  </a:cubicBezTo>
                  <a:lnTo>
                    <a:pt x="194" y="71"/>
                  </a:lnTo>
                  <a:lnTo>
                    <a:pt x="155" y="54"/>
                  </a:lnTo>
                  <a:lnTo>
                    <a:pt x="161" y="55"/>
                  </a:lnTo>
                  <a:lnTo>
                    <a:pt x="128" y="63"/>
                  </a:lnTo>
                  <a:cubicBezTo>
                    <a:pt x="127" y="64"/>
                    <a:pt x="125" y="64"/>
                    <a:pt x="124" y="63"/>
                  </a:cubicBezTo>
                  <a:lnTo>
                    <a:pt x="95" y="55"/>
                  </a:lnTo>
                  <a:lnTo>
                    <a:pt x="104" y="52"/>
                  </a:lnTo>
                  <a:lnTo>
                    <a:pt x="93" y="67"/>
                  </a:lnTo>
                  <a:lnTo>
                    <a:pt x="94" y="63"/>
                  </a:lnTo>
                  <a:lnTo>
                    <a:pt x="93" y="75"/>
                  </a:lnTo>
                  <a:lnTo>
                    <a:pt x="93" y="72"/>
                  </a:lnTo>
                  <a:lnTo>
                    <a:pt x="110" y="139"/>
                  </a:lnTo>
                  <a:cubicBezTo>
                    <a:pt x="110" y="142"/>
                    <a:pt x="110" y="144"/>
                    <a:pt x="109" y="146"/>
                  </a:cubicBezTo>
                  <a:lnTo>
                    <a:pt x="70" y="203"/>
                  </a:lnTo>
                  <a:lnTo>
                    <a:pt x="35" y="258"/>
                  </a:lnTo>
                  <a:lnTo>
                    <a:pt x="36" y="257"/>
                  </a:lnTo>
                  <a:lnTo>
                    <a:pt x="16" y="309"/>
                  </a:lnTo>
                  <a:lnTo>
                    <a:pt x="14" y="301"/>
                  </a:lnTo>
                  <a:lnTo>
                    <a:pt x="47" y="336"/>
                  </a:lnTo>
                  <a:lnTo>
                    <a:pt x="41" y="333"/>
                  </a:lnTo>
                  <a:lnTo>
                    <a:pt x="101" y="333"/>
                  </a:lnTo>
                  <a:lnTo>
                    <a:pt x="99" y="334"/>
                  </a:lnTo>
                  <a:lnTo>
                    <a:pt x="138" y="324"/>
                  </a:lnTo>
                  <a:cubicBezTo>
                    <a:pt x="139" y="323"/>
                    <a:pt x="139" y="323"/>
                    <a:pt x="140" y="323"/>
                  </a:cubicBezTo>
                  <a:lnTo>
                    <a:pt x="218" y="318"/>
                  </a:lnTo>
                  <a:lnTo>
                    <a:pt x="216" y="319"/>
                  </a:lnTo>
                  <a:lnTo>
                    <a:pt x="270" y="305"/>
                  </a:lnTo>
                  <a:cubicBezTo>
                    <a:pt x="271" y="305"/>
                    <a:pt x="271" y="305"/>
                    <a:pt x="272" y="305"/>
                  </a:cubicBezTo>
                  <a:lnTo>
                    <a:pt x="314" y="305"/>
                  </a:lnTo>
                  <a:cubicBezTo>
                    <a:pt x="316" y="305"/>
                    <a:pt x="318" y="306"/>
                    <a:pt x="320" y="307"/>
                  </a:cubicBezTo>
                  <a:lnTo>
                    <a:pt x="355" y="339"/>
                  </a:lnTo>
                  <a:cubicBezTo>
                    <a:pt x="356" y="340"/>
                    <a:pt x="357" y="341"/>
                    <a:pt x="357" y="342"/>
                  </a:cubicBezTo>
                  <a:lnTo>
                    <a:pt x="380" y="397"/>
                  </a:lnTo>
                  <a:lnTo>
                    <a:pt x="375" y="393"/>
                  </a:lnTo>
                  <a:lnTo>
                    <a:pt x="394" y="400"/>
                  </a:lnTo>
                  <a:cubicBezTo>
                    <a:pt x="397" y="401"/>
                    <a:pt x="399" y="405"/>
                    <a:pt x="399" y="409"/>
                  </a:cubicBezTo>
                  <a:lnTo>
                    <a:pt x="396" y="424"/>
                  </a:lnTo>
                  <a:cubicBezTo>
                    <a:pt x="396" y="425"/>
                    <a:pt x="395" y="426"/>
                    <a:pt x="394" y="427"/>
                  </a:cubicBezTo>
                  <a:lnTo>
                    <a:pt x="379" y="446"/>
                  </a:lnTo>
                  <a:cubicBezTo>
                    <a:pt x="378" y="447"/>
                    <a:pt x="376" y="448"/>
                    <a:pt x="375" y="448"/>
                  </a:cubicBezTo>
                  <a:lnTo>
                    <a:pt x="344" y="458"/>
                  </a:lnTo>
                  <a:lnTo>
                    <a:pt x="349" y="452"/>
                  </a:lnTo>
                  <a:lnTo>
                    <a:pt x="346" y="476"/>
                  </a:lnTo>
                  <a:lnTo>
                    <a:pt x="334" y="530"/>
                  </a:lnTo>
                  <a:lnTo>
                    <a:pt x="327" y="520"/>
                  </a:lnTo>
                  <a:lnTo>
                    <a:pt x="378" y="525"/>
                  </a:lnTo>
                  <a:lnTo>
                    <a:pt x="369" y="530"/>
                  </a:lnTo>
                  <a:lnTo>
                    <a:pt x="400" y="453"/>
                  </a:lnTo>
                  <a:cubicBezTo>
                    <a:pt x="401" y="451"/>
                    <a:pt x="403" y="449"/>
                    <a:pt x="406" y="448"/>
                  </a:cubicBezTo>
                  <a:lnTo>
                    <a:pt x="486" y="425"/>
                  </a:lnTo>
                  <a:lnTo>
                    <a:pt x="485" y="425"/>
                  </a:lnTo>
                  <a:lnTo>
                    <a:pt x="495" y="420"/>
                  </a:lnTo>
                  <a:cubicBezTo>
                    <a:pt x="498" y="419"/>
                    <a:pt x="501" y="419"/>
                    <a:pt x="503" y="421"/>
                  </a:cubicBezTo>
                  <a:cubicBezTo>
                    <a:pt x="506" y="423"/>
                    <a:pt x="507" y="426"/>
                    <a:pt x="506" y="429"/>
                  </a:cubicBezTo>
                  <a:lnTo>
                    <a:pt x="499" y="472"/>
                  </a:lnTo>
                  <a:lnTo>
                    <a:pt x="491" y="463"/>
                  </a:lnTo>
                  <a:lnTo>
                    <a:pt x="528" y="463"/>
                  </a:lnTo>
                  <a:cubicBezTo>
                    <a:pt x="529" y="463"/>
                    <a:pt x="529" y="463"/>
                    <a:pt x="530" y="463"/>
                  </a:cubicBezTo>
                  <a:lnTo>
                    <a:pt x="584" y="475"/>
                  </a:lnTo>
                  <a:cubicBezTo>
                    <a:pt x="587" y="476"/>
                    <a:pt x="589" y="478"/>
                    <a:pt x="590" y="481"/>
                  </a:cubicBezTo>
                  <a:cubicBezTo>
                    <a:pt x="591" y="483"/>
                    <a:pt x="590" y="487"/>
                    <a:pt x="588" y="489"/>
                  </a:cubicBezTo>
                  <a:lnTo>
                    <a:pt x="534" y="539"/>
                  </a:lnTo>
                  <a:lnTo>
                    <a:pt x="534" y="528"/>
                  </a:lnTo>
                  <a:lnTo>
                    <a:pt x="599" y="595"/>
                  </a:lnTo>
                  <a:lnTo>
                    <a:pt x="589" y="594"/>
                  </a:lnTo>
                  <a:lnTo>
                    <a:pt x="700" y="530"/>
                  </a:lnTo>
                  <a:lnTo>
                    <a:pt x="703" y="545"/>
                  </a:lnTo>
                  <a:lnTo>
                    <a:pt x="648" y="538"/>
                  </a:lnTo>
                  <a:cubicBezTo>
                    <a:pt x="646" y="538"/>
                    <a:pt x="644" y="537"/>
                    <a:pt x="643" y="535"/>
                  </a:cubicBezTo>
                  <a:lnTo>
                    <a:pt x="596" y="479"/>
                  </a:lnTo>
                  <a:cubicBezTo>
                    <a:pt x="593" y="477"/>
                    <a:pt x="593" y="473"/>
                    <a:pt x="595" y="470"/>
                  </a:cubicBezTo>
                  <a:cubicBezTo>
                    <a:pt x="598" y="467"/>
                    <a:pt x="601" y="466"/>
                    <a:pt x="605" y="467"/>
                  </a:cubicBezTo>
                  <a:lnTo>
                    <a:pt x="647" y="484"/>
                  </a:lnTo>
                  <a:lnTo>
                    <a:pt x="637" y="489"/>
                  </a:lnTo>
                  <a:lnTo>
                    <a:pt x="647" y="449"/>
                  </a:lnTo>
                  <a:cubicBezTo>
                    <a:pt x="647" y="446"/>
                    <a:pt x="649" y="444"/>
                    <a:pt x="652" y="443"/>
                  </a:cubicBezTo>
                  <a:lnTo>
                    <a:pt x="754" y="411"/>
                  </a:lnTo>
                  <a:lnTo>
                    <a:pt x="752" y="412"/>
                  </a:lnTo>
                  <a:lnTo>
                    <a:pt x="815" y="367"/>
                  </a:lnTo>
                  <a:lnTo>
                    <a:pt x="812" y="372"/>
                  </a:lnTo>
                  <a:lnTo>
                    <a:pt x="821" y="330"/>
                  </a:lnTo>
                  <a:cubicBezTo>
                    <a:pt x="821" y="327"/>
                    <a:pt x="823" y="325"/>
                    <a:pt x="826" y="324"/>
                  </a:cubicBezTo>
                  <a:lnTo>
                    <a:pt x="870" y="310"/>
                  </a:lnTo>
                  <a:lnTo>
                    <a:pt x="865" y="320"/>
                  </a:lnTo>
                  <a:lnTo>
                    <a:pt x="841" y="231"/>
                  </a:lnTo>
                  <a:lnTo>
                    <a:pt x="847" y="237"/>
                  </a:lnTo>
                  <a:lnTo>
                    <a:pt x="803" y="228"/>
                  </a:lnTo>
                  <a:cubicBezTo>
                    <a:pt x="802" y="228"/>
                    <a:pt x="801" y="228"/>
                    <a:pt x="801" y="227"/>
                  </a:cubicBezTo>
                  <a:lnTo>
                    <a:pt x="765" y="209"/>
                  </a:lnTo>
                  <a:lnTo>
                    <a:pt x="771" y="210"/>
                  </a:lnTo>
                  <a:lnTo>
                    <a:pt x="751" y="215"/>
                  </a:lnTo>
                  <a:cubicBezTo>
                    <a:pt x="750" y="215"/>
                    <a:pt x="749" y="215"/>
                    <a:pt x="748" y="215"/>
                  </a:cubicBezTo>
                  <a:lnTo>
                    <a:pt x="710" y="210"/>
                  </a:lnTo>
                  <a:cubicBezTo>
                    <a:pt x="709" y="210"/>
                    <a:pt x="708" y="209"/>
                    <a:pt x="708" y="209"/>
                  </a:cubicBezTo>
                  <a:lnTo>
                    <a:pt x="650" y="182"/>
                  </a:lnTo>
                  <a:cubicBezTo>
                    <a:pt x="648" y="182"/>
                    <a:pt x="647" y="180"/>
                    <a:pt x="646" y="179"/>
                  </a:cubicBezTo>
                  <a:lnTo>
                    <a:pt x="623" y="140"/>
                  </a:lnTo>
                  <a:lnTo>
                    <a:pt x="624" y="142"/>
                  </a:lnTo>
                  <a:lnTo>
                    <a:pt x="582" y="93"/>
                  </a:lnTo>
                  <a:lnTo>
                    <a:pt x="590" y="95"/>
                  </a:lnTo>
                  <a:lnTo>
                    <a:pt x="571" y="102"/>
                  </a:lnTo>
                  <a:cubicBezTo>
                    <a:pt x="568" y="103"/>
                    <a:pt x="565" y="102"/>
                    <a:pt x="563" y="101"/>
                  </a:cubicBezTo>
                  <a:lnTo>
                    <a:pt x="550" y="90"/>
                  </a:lnTo>
                  <a:cubicBezTo>
                    <a:pt x="549" y="89"/>
                    <a:pt x="548" y="88"/>
                    <a:pt x="547" y="86"/>
                  </a:cubicBezTo>
                  <a:lnTo>
                    <a:pt x="539" y="49"/>
                  </a:lnTo>
                  <a:lnTo>
                    <a:pt x="539" y="51"/>
                  </a:lnTo>
                  <a:lnTo>
                    <a:pt x="525" y="20"/>
                  </a:lnTo>
                  <a:lnTo>
                    <a:pt x="531" y="25"/>
                  </a:lnTo>
                  <a:lnTo>
                    <a:pt x="493" y="16"/>
                  </a:lnTo>
                  <a:lnTo>
                    <a:pt x="498" y="16"/>
                  </a:lnTo>
                  <a:lnTo>
                    <a:pt x="480" y="24"/>
                  </a:lnTo>
                  <a:lnTo>
                    <a:pt x="456" y="39"/>
                  </a:lnTo>
                  <a:cubicBezTo>
                    <a:pt x="456" y="39"/>
                    <a:pt x="455" y="39"/>
                    <a:pt x="454" y="40"/>
                  </a:cubicBezTo>
                  <a:lnTo>
                    <a:pt x="440" y="45"/>
                  </a:lnTo>
                  <a:lnTo>
                    <a:pt x="444" y="41"/>
                  </a:lnTo>
                  <a:lnTo>
                    <a:pt x="433" y="60"/>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14" name="Freeform 470"/>
            <p:cNvSpPr>
              <a:spLocks/>
            </p:cNvSpPr>
            <p:nvPr/>
          </p:nvSpPr>
          <p:spPr bwMode="auto">
            <a:xfrm>
              <a:off x="3117" y="1433"/>
              <a:ext cx="42" cy="47"/>
            </a:xfrm>
            <a:custGeom>
              <a:avLst/>
              <a:gdLst/>
              <a:ahLst/>
              <a:cxnLst>
                <a:cxn ang="0">
                  <a:pos x="9" y="12"/>
                </a:cxn>
                <a:cxn ang="0">
                  <a:pos x="15" y="19"/>
                </a:cxn>
                <a:cxn ang="0">
                  <a:pos x="17" y="25"/>
                </a:cxn>
                <a:cxn ang="0">
                  <a:pos x="20" y="46"/>
                </a:cxn>
                <a:cxn ang="0">
                  <a:pos x="25" y="47"/>
                </a:cxn>
                <a:cxn ang="0">
                  <a:pos x="28" y="36"/>
                </a:cxn>
                <a:cxn ang="0">
                  <a:pos x="29" y="30"/>
                </a:cxn>
                <a:cxn ang="0">
                  <a:pos x="40" y="26"/>
                </a:cxn>
                <a:cxn ang="0">
                  <a:pos x="42" y="21"/>
                </a:cxn>
                <a:cxn ang="0">
                  <a:pos x="37" y="20"/>
                </a:cxn>
                <a:cxn ang="0">
                  <a:pos x="31" y="8"/>
                </a:cxn>
                <a:cxn ang="0">
                  <a:pos x="22" y="0"/>
                </a:cxn>
                <a:cxn ang="0">
                  <a:pos x="10" y="0"/>
                </a:cxn>
                <a:cxn ang="0">
                  <a:pos x="0" y="1"/>
                </a:cxn>
                <a:cxn ang="0">
                  <a:pos x="9" y="12"/>
                </a:cxn>
              </a:cxnLst>
              <a:rect l="0" t="0" r="r" b="b"/>
              <a:pathLst>
                <a:path w="42" h="47">
                  <a:moveTo>
                    <a:pt x="9" y="12"/>
                  </a:moveTo>
                  <a:lnTo>
                    <a:pt x="15" y="19"/>
                  </a:lnTo>
                  <a:lnTo>
                    <a:pt x="17" y="25"/>
                  </a:lnTo>
                  <a:lnTo>
                    <a:pt x="20" y="46"/>
                  </a:lnTo>
                  <a:lnTo>
                    <a:pt x="25" y="47"/>
                  </a:lnTo>
                  <a:lnTo>
                    <a:pt x="28" y="36"/>
                  </a:lnTo>
                  <a:lnTo>
                    <a:pt x="29" y="30"/>
                  </a:lnTo>
                  <a:lnTo>
                    <a:pt x="40" y="26"/>
                  </a:lnTo>
                  <a:lnTo>
                    <a:pt x="42" y="21"/>
                  </a:lnTo>
                  <a:lnTo>
                    <a:pt x="37" y="20"/>
                  </a:lnTo>
                  <a:lnTo>
                    <a:pt x="31" y="8"/>
                  </a:lnTo>
                  <a:lnTo>
                    <a:pt x="22" y="0"/>
                  </a:lnTo>
                  <a:lnTo>
                    <a:pt x="10" y="0"/>
                  </a:lnTo>
                  <a:lnTo>
                    <a:pt x="0" y="1"/>
                  </a:lnTo>
                  <a:lnTo>
                    <a:pt x="9" y="12"/>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15" name="Freeform 471"/>
            <p:cNvSpPr>
              <a:spLocks noEditPoints="1"/>
            </p:cNvSpPr>
            <p:nvPr/>
          </p:nvSpPr>
          <p:spPr bwMode="auto">
            <a:xfrm>
              <a:off x="3115" y="1431"/>
              <a:ext cx="46" cy="51"/>
            </a:xfrm>
            <a:custGeom>
              <a:avLst/>
              <a:gdLst/>
              <a:ahLst/>
              <a:cxnLst>
                <a:cxn ang="0">
                  <a:pos x="47" y="60"/>
                </a:cxn>
                <a:cxn ang="0">
                  <a:pos x="66" y="89"/>
                </a:cxn>
                <a:cxn ang="0">
                  <a:pos x="67" y="91"/>
                </a:cxn>
                <a:cxn ang="0">
                  <a:pos x="76" y="115"/>
                </a:cxn>
                <a:cxn ang="0">
                  <a:pos x="76" y="118"/>
                </a:cxn>
                <a:cxn ang="0">
                  <a:pos x="84" y="211"/>
                </a:cxn>
                <a:cxn ang="0">
                  <a:pos x="78" y="204"/>
                </a:cxn>
                <a:cxn ang="0">
                  <a:pos x="95" y="209"/>
                </a:cxn>
                <a:cxn ang="0">
                  <a:pos x="85" y="215"/>
                </a:cxn>
                <a:cxn ang="0">
                  <a:pos x="96" y="164"/>
                </a:cxn>
                <a:cxn ang="0">
                  <a:pos x="99" y="139"/>
                </a:cxn>
                <a:cxn ang="0">
                  <a:pos x="104" y="132"/>
                </a:cxn>
                <a:cxn ang="0">
                  <a:pos x="142" y="117"/>
                </a:cxn>
                <a:cxn ang="0">
                  <a:pos x="137" y="122"/>
                </a:cxn>
                <a:cxn ang="0">
                  <a:pos x="145" y="101"/>
                </a:cxn>
                <a:cxn ang="0">
                  <a:pos x="150" y="111"/>
                </a:cxn>
                <a:cxn ang="0">
                  <a:pos x="133" y="104"/>
                </a:cxn>
                <a:cxn ang="0">
                  <a:pos x="128" y="100"/>
                </a:cxn>
                <a:cxn ang="0">
                  <a:pos x="108" y="46"/>
                </a:cxn>
                <a:cxn ang="0">
                  <a:pos x="110" y="48"/>
                </a:cxn>
                <a:cxn ang="0">
                  <a:pos x="78" y="16"/>
                </a:cxn>
                <a:cxn ang="0">
                  <a:pos x="83" y="18"/>
                </a:cxn>
                <a:cxn ang="0">
                  <a:pos x="44" y="16"/>
                </a:cxn>
                <a:cxn ang="0">
                  <a:pos x="45" y="16"/>
                </a:cxn>
                <a:cxn ang="0">
                  <a:pos x="10" y="21"/>
                </a:cxn>
                <a:cxn ang="0">
                  <a:pos x="15" y="9"/>
                </a:cxn>
                <a:cxn ang="0">
                  <a:pos x="47" y="60"/>
                </a:cxn>
                <a:cxn ang="0">
                  <a:pos x="2" y="18"/>
                </a:cxn>
                <a:cxn ang="0">
                  <a:pos x="1" y="10"/>
                </a:cxn>
                <a:cxn ang="0">
                  <a:pos x="7" y="5"/>
                </a:cxn>
                <a:cxn ang="0">
                  <a:pos x="43" y="1"/>
                </a:cxn>
                <a:cxn ang="0">
                  <a:pos x="44" y="0"/>
                </a:cxn>
                <a:cxn ang="0">
                  <a:pos x="84" y="2"/>
                </a:cxn>
                <a:cxn ang="0">
                  <a:pos x="89" y="5"/>
                </a:cxn>
                <a:cxn ang="0">
                  <a:pos x="121" y="37"/>
                </a:cxn>
                <a:cxn ang="0">
                  <a:pos x="123" y="40"/>
                </a:cxn>
                <a:cxn ang="0">
                  <a:pos x="143" y="94"/>
                </a:cxn>
                <a:cxn ang="0">
                  <a:pos x="139" y="89"/>
                </a:cxn>
                <a:cxn ang="0">
                  <a:pos x="155" y="96"/>
                </a:cxn>
                <a:cxn ang="0">
                  <a:pos x="160" y="106"/>
                </a:cxn>
                <a:cxn ang="0">
                  <a:pos x="152" y="127"/>
                </a:cxn>
                <a:cxn ang="0">
                  <a:pos x="148" y="132"/>
                </a:cxn>
                <a:cxn ang="0">
                  <a:pos x="109" y="147"/>
                </a:cxn>
                <a:cxn ang="0">
                  <a:pos x="115" y="140"/>
                </a:cxn>
                <a:cxn ang="0">
                  <a:pos x="112" y="167"/>
                </a:cxn>
                <a:cxn ang="0">
                  <a:pos x="100" y="218"/>
                </a:cxn>
                <a:cxn ang="0">
                  <a:pos x="97" y="223"/>
                </a:cxn>
                <a:cxn ang="0">
                  <a:pos x="90" y="224"/>
                </a:cxn>
                <a:cxn ang="0">
                  <a:pos x="74" y="219"/>
                </a:cxn>
                <a:cxn ang="0">
                  <a:pos x="68" y="212"/>
                </a:cxn>
                <a:cxn ang="0">
                  <a:pos x="60" y="119"/>
                </a:cxn>
                <a:cxn ang="0">
                  <a:pos x="61" y="121"/>
                </a:cxn>
                <a:cxn ang="0">
                  <a:pos x="52" y="96"/>
                </a:cxn>
                <a:cxn ang="0">
                  <a:pos x="53" y="98"/>
                </a:cxn>
                <a:cxn ang="0">
                  <a:pos x="34" y="68"/>
                </a:cxn>
                <a:cxn ang="0">
                  <a:pos x="2" y="18"/>
                </a:cxn>
              </a:cxnLst>
              <a:rect l="0" t="0" r="r" b="b"/>
              <a:pathLst>
                <a:path w="161" h="225">
                  <a:moveTo>
                    <a:pt x="47" y="60"/>
                  </a:moveTo>
                  <a:lnTo>
                    <a:pt x="66" y="89"/>
                  </a:lnTo>
                  <a:cubicBezTo>
                    <a:pt x="66" y="90"/>
                    <a:pt x="67" y="90"/>
                    <a:pt x="67" y="91"/>
                  </a:cubicBezTo>
                  <a:lnTo>
                    <a:pt x="76" y="115"/>
                  </a:lnTo>
                  <a:cubicBezTo>
                    <a:pt x="76" y="116"/>
                    <a:pt x="76" y="117"/>
                    <a:pt x="76" y="118"/>
                  </a:cubicBezTo>
                  <a:lnTo>
                    <a:pt x="84" y="211"/>
                  </a:lnTo>
                  <a:lnTo>
                    <a:pt x="78" y="204"/>
                  </a:lnTo>
                  <a:lnTo>
                    <a:pt x="95" y="209"/>
                  </a:lnTo>
                  <a:lnTo>
                    <a:pt x="85" y="215"/>
                  </a:lnTo>
                  <a:lnTo>
                    <a:pt x="96" y="164"/>
                  </a:lnTo>
                  <a:lnTo>
                    <a:pt x="99" y="139"/>
                  </a:lnTo>
                  <a:cubicBezTo>
                    <a:pt x="99" y="136"/>
                    <a:pt x="101" y="133"/>
                    <a:pt x="104" y="132"/>
                  </a:cubicBezTo>
                  <a:lnTo>
                    <a:pt x="142" y="117"/>
                  </a:lnTo>
                  <a:lnTo>
                    <a:pt x="137" y="122"/>
                  </a:lnTo>
                  <a:lnTo>
                    <a:pt x="145" y="101"/>
                  </a:lnTo>
                  <a:lnTo>
                    <a:pt x="150" y="111"/>
                  </a:lnTo>
                  <a:lnTo>
                    <a:pt x="133" y="104"/>
                  </a:lnTo>
                  <a:cubicBezTo>
                    <a:pt x="131" y="104"/>
                    <a:pt x="129" y="102"/>
                    <a:pt x="128" y="100"/>
                  </a:cubicBezTo>
                  <a:lnTo>
                    <a:pt x="108" y="46"/>
                  </a:lnTo>
                  <a:lnTo>
                    <a:pt x="110" y="48"/>
                  </a:lnTo>
                  <a:lnTo>
                    <a:pt x="78" y="16"/>
                  </a:lnTo>
                  <a:lnTo>
                    <a:pt x="83" y="18"/>
                  </a:lnTo>
                  <a:lnTo>
                    <a:pt x="44" y="16"/>
                  </a:lnTo>
                  <a:lnTo>
                    <a:pt x="45" y="16"/>
                  </a:lnTo>
                  <a:lnTo>
                    <a:pt x="10" y="21"/>
                  </a:lnTo>
                  <a:lnTo>
                    <a:pt x="15" y="9"/>
                  </a:lnTo>
                  <a:lnTo>
                    <a:pt x="47" y="60"/>
                  </a:lnTo>
                  <a:close/>
                  <a:moveTo>
                    <a:pt x="2" y="18"/>
                  </a:moveTo>
                  <a:cubicBezTo>
                    <a:pt x="0" y="15"/>
                    <a:pt x="0" y="12"/>
                    <a:pt x="1" y="10"/>
                  </a:cubicBezTo>
                  <a:cubicBezTo>
                    <a:pt x="2" y="8"/>
                    <a:pt x="5" y="6"/>
                    <a:pt x="7" y="5"/>
                  </a:cubicBezTo>
                  <a:lnTo>
                    <a:pt x="43" y="1"/>
                  </a:lnTo>
                  <a:cubicBezTo>
                    <a:pt x="44" y="0"/>
                    <a:pt x="44" y="0"/>
                    <a:pt x="44" y="0"/>
                  </a:cubicBezTo>
                  <a:lnTo>
                    <a:pt x="84" y="2"/>
                  </a:lnTo>
                  <a:cubicBezTo>
                    <a:pt x="86" y="2"/>
                    <a:pt x="88" y="3"/>
                    <a:pt x="89" y="5"/>
                  </a:cubicBezTo>
                  <a:lnTo>
                    <a:pt x="121" y="37"/>
                  </a:lnTo>
                  <a:cubicBezTo>
                    <a:pt x="122" y="38"/>
                    <a:pt x="123" y="39"/>
                    <a:pt x="123" y="40"/>
                  </a:cubicBezTo>
                  <a:lnTo>
                    <a:pt x="143" y="94"/>
                  </a:lnTo>
                  <a:lnTo>
                    <a:pt x="139" y="89"/>
                  </a:lnTo>
                  <a:lnTo>
                    <a:pt x="155" y="96"/>
                  </a:lnTo>
                  <a:cubicBezTo>
                    <a:pt x="159" y="98"/>
                    <a:pt x="161" y="102"/>
                    <a:pt x="160" y="106"/>
                  </a:cubicBezTo>
                  <a:lnTo>
                    <a:pt x="152" y="127"/>
                  </a:lnTo>
                  <a:cubicBezTo>
                    <a:pt x="152" y="130"/>
                    <a:pt x="150" y="131"/>
                    <a:pt x="148" y="132"/>
                  </a:cubicBezTo>
                  <a:lnTo>
                    <a:pt x="109" y="147"/>
                  </a:lnTo>
                  <a:lnTo>
                    <a:pt x="115" y="140"/>
                  </a:lnTo>
                  <a:lnTo>
                    <a:pt x="112" y="167"/>
                  </a:lnTo>
                  <a:lnTo>
                    <a:pt x="100" y="218"/>
                  </a:lnTo>
                  <a:cubicBezTo>
                    <a:pt x="100" y="220"/>
                    <a:pt x="99" y="222"/>
                    <a:pt x="97" y="223"/>
                  </a:cubicBezTo>
                  <a:cubicBezTo>
                    <a:pt x="95" y="224"/>
                    <a:pt x="92" y="225"/>
                    <a:pt x="90" y="224"/>
                  </a:cubicBezTo>
                  <a:lnTo>
                    <a:pt x="74" y="219"/>
                  </a:lnTo>
                  <a:cubicBezTo>
                    <a:pt x="71" y="218"/>
                    <a:pt x="68" y="216"/>
                    <a:pt x="68" y="212"/>
                  </a:cubicBezTo>
                  <a:lnTo>
                    <a:pt x="60" y="119"/>
                  </a:lnTo>
                  <a:lnTo>
                    <a:pt x="61" y="121"/>
                  </a:lnTo>
                  <a:lnTo>
                    <a:pt x="52" y="96"/>
                  </a:lnTo>
                  <a:lnTo>
                    <a:pt x="53" y="98"/>
                  </a:lnTo>
                  <a:lnTo>
                    <a:pt x="34" y="68"/>
                  </a:lnTo>
                  <a:lnTo>
                    <a:pt x="2" y="18"/>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16" name="Freeform 472"/>
            <p:cNvSpPr>
              <a:spLocks/>
            </p:cNvSpPr>
            <p:nvPr/>
          </p:nvSpPr>
          <p:spPr bwMode="auto">
            <a:xfrm>
              <a:off x="3284" y="1499"/>
              <a:ext cx="102" cy="43"/>
            </a:xfrm>
            <a:custGeom>
              <a:avLst/>
              <a:gdLst/>
              <a:ahLst/>
              <a:cxnLst>
                <a:cxn ang="0">
                  <a:pos x="0" y="2"/>
                </a:cxn>
                <a:cxn ang="0">
                  <a:pos x="24" y="0"/>
                </a:cxn>
                <a:cxn ang="0">
                  <a:pos x="48" y="8"/>
                </a:cxn>
                <a:cxn ang="0">
                  <a:pos x="58" y="18"/>
                </a:cxn>
                <a:cxn ang="0">
                  <a:pos x="70" y="18"/>
                </a:cxn>
                <a:cxn ang="0">
                  <a:pos x="78" y="14"/>
                </a:cxn>
                <a:cxn ang="0">
                  <a:pos x="84" y="12"/>
                </a:cxn>
                <a:cxn ang="0">
                  <a:pos x="91" y="23"/>
                </a:cxn>
                <a:cxn ang="0">
                  <a:pos x="102" y="25"/>
                </a:cxn>
                <a:cxn ang="0">
                  <a:pos x="99" y="29"/>
                </a:cxn>
                <a:cxn ang="0">
                  <a:pos x="102" y="37"/>
                </a:cxn>
                <a:cxn ang="0">
                  <a:pos x="102" y="43"/>
                </a:cxn>
                <a:cxn ang="0">
                  <a:pos x="91" y="34"/>
                </a:cxn>
                <a:cxn ang="0">
                  <a:pos x="84" y="31"/>
                </a:cxn>
                <a:cxn ang="0">
                  <a:pos x="79" y="31"/>
                </a:cxn>
                <a:cxn ang="0">
                  <a:pos x="76" y="41"/>
                </a:cxn>
                <a:cxn ang="0">
                  <a:pos x="68" y="38"/>
                </a:cxn>
                <a:cxn ang="0">
                  <a:pos x="55" y="43"/>
                </a:cxn>
                <a:cxn ang="0">
                  <a:pos x="40" y="42"/>
                </a:cxn>
                <a:cxn ang="0">
                  <a:pos x="39" y="25"/>
                </a:cxn>
                <a:cxn ang="0">
                  <a:pos x="14" y="10"/>
                </a:cxn>
                <a:cxn ang="0">
                  <a:pos x="0" y="2"/>
                </a:cxn>
              </a:cxnLst>
              <a:rect l="0" t="0" r="r" b="b"/>
              <a:pathLst>
                <a:path w="102" h="43">
                  <a:moveTo>
                    <a:pt x="0" y="2"/>
                  </a:moveTo>
                  <a:lnTo>
                    <a:pt x="24" y="0"/>
                  </a:lnTo>
                  <a:lnTo>
                    <a:pt x="48" y="8"/>
                  </a:lnTo>
                  <a:lnTo>
                    <a:pt x="58" y="18"/>
                  </a:lnTo>
                  <a:lnTo>
                    <a:pt x="70" y="18"/>
                  </a:lnTo>
                  <a:lnTo>
                    <a:pt x="78" y="14"/>
                  </a:lnTo>
                  <a:lnTo>
                    <a:pt x="84" y="12"/>
                  </a:lnTo>
                  <a:lnTo>
                    <a:pt x="91" y="23"/>
                  </a:lnTo>
                  <a:lnTo>
                    <a:pt x="102" y="25"/>
                  </a:lnTo>
                  <a:lnTo>
                    <a:pt x="99" y="29"/>
                  </a:lnTo>
                  <a:lnTo>
                    <a:pt x="102" y="37"/>
                  </a:lnTo>
                  <a:lnTo>
                    <a:pt x="102" y="43"/>
                  </a:lnTo>
                  <a:lnTo>
                    <a:pt x="91" y="34"/>
                  </a:lnTo>
                  <a:lnTo>
                    <a:pt x="84" y="31"/>
                  </a:lnTo>
                  <a:lnTo>
                    <a:pt x="79" y="31"/>
                  </a:lnTo>
                  <a:lnTo>
                    <a:pt x="76" y="41"/>
                  </a:lnTo>
                  <a:lnTo>
                    <a:pt x="68" y="38"/>
                  </a:lnTo>
                  <a:lnTo>
                    <a:pt x="55" y="43"/>
                  </a:lnTo>
                  <a:lnTo>
                    <a:pt x="40" y="42"/>
                  </a:lnTo>
                  <a:lnTo>
                    <a:pt x="39" y="25"/>
                  </a:lnTo>
                  <a:lnTo>
                    <a:pt x="14" y="10"/>
                  </a:lnTo>
                  <a:lnTo>
                    <a:pt x="0" y="2"/>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17" name="Freeform 473"/>
            <p:cNvSpPr>
              <a:spLocks noEditPoints="1"/>
            </p:cNvSpPr>
            <p:nvPr/>
          </p:nvSpPr>
          <p:spPr bwMode="auto">
            <a:xfrm>
              <a:off x="3282" y="1497"/>
              <a:ext cx="107" cy="47"/>
            </a:xfrm>
            <a:custGeom>
              <a:avLst/>
              <a:gdLst/>
              <a:ahLst/>
              <a:cxnLst>
                <a:cxn ang="0">
                  <a:pos x="1" y="16"/>
                </a:cxn>
                <a:cxn ang="0">
                  <a:pos x="91" y="1"/>
                </a:cxn>
                <a:cxn ang="0">
                  <a:pos x="176" y="40"/>
                </a:cxn>
                <a:cxn ang="0">
                  <a:pos x="213" y="86"/>
                </a:cxn>
                <a:cxn ang="0">
                  <a:pos x="249" y="83"/>
                </a:cxn>
                <a:cxn ang="0">
                  <a:pos x="272" y="64"/>
                </a:cxn>
                <a:cxn ang="0">
                  <a:pos x="296" y="56"/>
                </a:cxn>
                <a:cxn ang="0">
                  <a:pos x="328" y="106"/>
                </a:cxn>
                <a:cxn ang="0">
                  <a:pos x="360" y="112"/>
                </a:cxn>
                <a:cxn ang="0">
                  <a:pos x="365" y="123"/>
                </a:cxn>
                <a:cxn ang="0">
                  <a:pos x="357" y="136"/>
                </a:cxn>
                <a:cxn ang="0">
                  <a:pos x="368" y="173"/>
                </a:cxn>
                <a:cxn ang="0">
                  <a:pos x="360" y="206"/>
                </a:cxn>
                <a:cxn ang="0">
                  <a:pos x="315" y="162"/>
                </a:cxn>
                <a:cxn ang="0">
                  <a:pos x="295" y="154"/>
                </a:cxn>
                <a:cxn ang="0">
                  <a:pos x="279" y="155"/>
                </a:cxn>
                <a:cxn ang="0">
                  <a:pos x="278" y="192"/>
                </a:cxn>
                <a:cxn ang="0">
                  <a:pos x="266" y="198"/>
                </a:cxn>
                <a:cxn ang="0">
                  <a:pos x="246" y="184"/>
                </a:cxn>
                <a:cxn ang="0">
                  <a:pos x="196" y="208"/>
                </a:cxn>
                <a:cxn ang="0">
                  <a:pos x="137" y="196"/>
                </a:cxn>
                <a:cxn ang="0">
                  <a:pos x="137" y="126"/>
                </a:cxn>
                <a:cxn ang="0">
                  <a:pos x="4" y="25"/>
                </a:cxn>
                <a:cxn ang="0">
                  <a:pos x="147" y="113"/>
                </a:cxn>
                <a:cxn ang="0">
                  <a:pos x="153" y="195"/>
                </a:cxn>
                <a:cxn ang="0">
                  <a:pos x="198" y="192"/>
                </a:cxn>
                <a:cxn ang="0">
                  <a:pos x="239" y="170"/>
                </a:cxn>
                <a:cxn ang="0">
                  <a:pos x="273" y="183"/>
                </a:cxn>
                <a:cxn ang="0">
                  <a:pos x="272" y="145"/>
                </a:cxn>
                <a:cxn ang="0">
                  <a:pos x="299" y="139"/>
                </a:cxn>
                <a:cxn ang="0">
                  <a:pos x="324" y="149"/>
                </a:cxn>
                <a:cxn ang="0">
                  <a:pos x="364" y="193"/>
                </a:cxn>
                <a:cxn ang="0">
                  <a:pos x="352" y="171"/>
                </a:cxn>
                <a:cxn ang="0">
                  <a:pos x="342" y="141"/>
                </a:cxn>
                <a:cxn ang="0">
                  <a:pos x="350" y="116"/>
                </a:cxn>
                <a:cxn ang="0">
                  <a:pos x="318" y="117"/>
                </a:cxn>
                <a:cxn ang="0">
                  <a:pos x="291" y="68"/>
                </a:cxn>
                <a:cxn ang="0">
                  <a:pos x="279" y="78"/>
                </a:cxn>
                <a:cxn ang="0">
                  <a:pos x="254" y="97"/>
                </a:cxn>
                <a:cxn ang="0">
                  <a:pos x="206" y="99"/>
                </a:cxn>
                <a:cxn ang="0">
                  <a:pos x="166" y="52"/>
                </a:cxn>
                <a:cxn ang="0">
                  <a:pos x="89" y="16"/>
                </a:cxn>
                <a:cxn ang="0">
                  <a:pos x="9" y="27"/>
                </a:cxn>
                <a:cxn ang="0">
                  <a:pos x="60" y="48"/>
                </a:cxn>
              </a:cxnLst>
              <a:rect l="0" t="0" r="r" b="b"/>
              <a:pathLst>
                <a:path w="369" h="209">
                  <a:moveTo>
                    <a:pt x="4" y="25"/>
                  </a:moveTo>
                  <a:cubicBezTo>
                    <a:pt x="1" y="23"/>
                    <a:pt x="0" y="20"/>
                    <a:pt x="1" y="16"/>
                  </a:cubicBezTo>
                  <a:cubicBezTo>
                    <a:pt x="2" y="13"/>
                    <a:pt x="4" y="11"/>
                    <a:pt x="8" y="11"/>
                  </a:cubicBezTo>
                  <a:lnTo>
                    <a:pt x="91" y="1"/>
                  </a:lnTo>
                  <a:cubicBezTo>
                    <a:pt x="93" y="0"/>
                    <a:pt x="94" y="1"/>
                    <a:pt x="96" y="1"/>
                  </a:cubicBezTo>
                  <a:lnTo>
                    <a:pt x="176" y="40"/>
                  </a:lnTo>
                  <a:cubicBezTo>
                    <a:pt x="177" y="41"/>
                    <a:pt x="178" y="41"/>
                    <a:pt x="178" y="42"/>
                  </a:cubicBezTo>
                  <a:lnTo>
                    <a:pt x="213" y="86"/>
                  </a:lnTo>
                  <a:lnTo>
                    <a:pt x="206" y="83"/>
                  </a:lnTo>
                  <a:lnTo>
                    <a:pt x="249" y="83"/>
                  </a:lnTo>
                  <a:lnTo>
                    <a:pt x="244" y="85"/>
                  </a:lnTo>
                  <a:lnTo>
                    <a:pt x="272" y="64"/>
                  </a:lnTo>
                  <a:cubicBezTo>
                    <a:pt x="273" y="64"/>
                    <a:pt x="273" y="63"/>
                    <a:pt x="274" y="63"/>
                  </a:cubicBezTo>
                  <a:lnTo>
                    <a:pt x="296" y="56"/>
                  </a:lnTo>
                  <a:cubicBezTo>
                    <a:pt x="300" y="55"/>
                    <a:pt x="304" y="57"/>
                    <a:pt x="306" y="61"/>
                  </a:cubicBezTo>
                  <a:lnTo>
                    <a:pt x="328" y="106"/>
                  </a:lnTo>
                  <a:lnTo>
                    <a:pt x="323" y="102"/>
                  </a:lnTo>
                  <a:lnTo>
                    <a:pt x="360" y="112"/>
                  </a:lnTo>
                  <a:cubicBezTo>
                    <a:pt x="362" y="113"/>
                    <a:pt x="364" y="114"/>
                    <a:pt x="365" y="116"/>
                  </a:cubicBezTo>
                  <a:cubicBezTo>
                    <a:pt x="366" y="118"/>
                    <a:pt x="366" y="121"/>
                    <a:pt x="365" y="123"/>
                  </a:cubicBezTo>
                  <a:lnTo>
                    <a:pt x="357" y="141"/>
                  </a:lnTo>
                  <a:lnTo>
                    <a:pt x="357" y="136"/>
                  </a:lnTo>
                  <a:lnTo>
                    <a:pt x="368" y="169"/>
                  </a:lnTo>
                  <a:cubicBezTo>
                    <a:pt x="368" y="170"/>
                    <a:pt x="369" y="172"/>
                    <a:pt x="368" y="173"/>
                  </a:cubicBezTo>
                  <a:lnTo>
                    <a:pt x="366" y="200"/>
                  </a:lnTo>
                  <a:cubicBezTo>
                    <a:pt x="365" y="203"/>
                    <a:pt x="363" y="205"/>
                    <a:pt x="360" y="206"/>
                  </a:cubicBezTo>
                  <a:cubicBezTo>
                    <a:pt x="357" y="207"/>
                    <a:pt x="354" y="206"/>
                    <a:pt x="352" y="204"/>
                  </a:cubicBezTo>
                  <a:lnTo>
                    <a:pt x="315" y="162"/>
                  </a:lnTo>
                  <a:lnTo>
                    <a:pt x="317" y="164"/>
                  </a:lnTo>
                  <a:lnTo>
                    <a:pt x="295" y="154"/>
                  </a:lnTo>
                  <a:lnTo>
                    <a:pt x="299" y="155"/>
                  </a:lnTo>
                  <a:lnTo>
                    <a:pt x="279" y="155"/>
                  </a:lnTo>
                  <a:lnTo>
                    <a:pt x="287" y="148"/>
                  </a:lnTo>
                  <a:lnTo>
                    <a:pt x="278" y="192"/>
                  </a:lnTo>
                  <a:cubicBezTo>
                    <a:pt x="277" y="194"/>
                    <a:pt x="275" y="197"/>
                    <a:pt x="273" y="198"/>
                  </a:cubicBezTo>
                  <a:cubicBezTo>
                    <a:pt x="271" y="199"/>
                    <a:pt x="268" y="199"/>
                    <a:pt x="266" y="198"/>
                  </a:cubicBezTo>
                  <a:lnTo>
                    <a:pt x="239" y="184"/>
                  </a:lnTo>
                  <a:lnTo>
                    <a:pt x="246" y="184"/>
                  </a:lnTo>
                  <a:lnTo>
                    <a:pt x="201" y="208"/>
                  </a:lnTo>
                  <a:cubicBezTo>
                    <a:pt x="199" y="208"/>
                    <a:pt x="198" y="209"/>
                    <a:pt x="196" y="208"/>
                  </a:cubicBezTo>
                  <a:lnTo>
                    <a:pt x="144" y="203"/>
                  </a:lnTo>
                  <a:cubicBezTo>
                    <a:pt x="140" y="203"/>
                    <a:pt x="137" y="200"/>
                    <a:pt x="137" y="196"/>
                  </a:cubicBezTo>
                  <a:lnTo>
                    <a:pt x="134" y="120"/>
                  </a:lnTo>
                  <a:lnTo>
                    <a:pt x="137" y="126"/>
                  </a:lnTo>
                  <a:lnTo>
                    <a:pt x="50" y="60"/>
                  </a:lnTo>
                  <a:lnTo>
                    <a:pt x="4" y="25"/>
                  </a:lnTo>
                  <a:close/>
                  <a:moveTo>
                    <a:pt x="60" y="48"/>
                  </a:moveTo>
                  <a:lnTo>
                    <a:pt x="147" y="113"/>
                  </a:lnTo>
                  <a:cubicBezTo>
                    <a:pt x="149" y="115"/>
                    <a:pt x="150" y="117"/>
                    <a:pt x="150" y="119"/>
                  </a:cubicBezTo>
                  <a:lnTo>
                    <a:pt x="153" y="195"/>
                  </a:lnTo>
                  <a:lnTo>
                    <a:pt x="145" y="187"/>
                  </a:lnTo>
                  <a:lnTo>
                    <a:pt x="198" y="192"/>
                  </a:lnTo>
                  <a:lnTo>
                    <a:pt x="193" y="193"/>
                  </a:lnTo>
                  <a:lnTo>
                    <a:pt x="239" y="170"/>
                  </a:lnTo>
                  <a:cubicBezTo>
                    <a:pt x="241" y="169"/>
                    <a:pt x="243" y="169"/>
                    <a:pt x="246" y="170"/>
                  </a:cubicBezTo>
                  <a:lnTo>
                    <a:pt x="273" y="183"/>
                  </a:lnTo>
                  <a:lnTo>
                    <a:pt x="262" y="189"/>
                  </a:lnTo>
                  <a:lnTo>
                    <a:pt x="272" y="145"/>
                  </a:lnTo>
                  <a:cubicBezTo>
                    <a:pt x="272" y="141"/>
                    <a:pt x="276" y="139"/>
                    <a:pt x="279" y="139"/>
                  </a:cubicBezTo>
                  <a:lnTo>
                    <a:pt x="299" y="139"/>
                  </a:lnTo>
                  <a:cubicBezTo>
                    <a:pt x="300" y="139"/>
                    <a:pt x="301" y="139"/>
                    <a:pt x="302" y="139"/>
                  </a:cubicBezTo>
                  <a:lnTo>
                    <a:pt x="324" y="149"/>
                  </a:lnTo>
                  <a:cubicBezTo>
                    <a:pt x="325" y="150"/>
                    <a:pt x="326" y="151"/>
                    <a:pt x="327" y="151"/>
                  </a:cubicBezTo>
                  <a:lnTo>
                    <a:pt x="364" y="193"/>
                  </a:lnTo>
                  <a:lnTo>
                    <a:pt x="350" y="198"/>
                  </a:lnTo>
                  <a:lnTo>
                    <a:pt x="352" y="171"/>
                  </a:lnTo>
                  <a:lnTo>
                    <a:pt x="353" y="174"/>
                  </a:lnTo>
                  <a:lnTo>
                    <a:pt x="342" y="141"/>
                  </a:lnTo>
                  <a:cubicBezTo>
                    <a:pt x="341" y="139"/>
                    <a:pt x="341" y="137"/>
                    <a:pt x="342" y="135"/>
                  </a:cubicBezTo>
                  <a:lnTo>
                    <a:pt x="350" y="116"/>
                  </a:lnTo>
                  <a:lnTo>
                    <a:pt x="356" y="127"/>
                  </a:lnTo>
                  <a:lnTo>
                    <a:pt x="318" y="117"/>
                  </a:lnTo>
                  <a:cubicBezTo>
                    <a:pt x="316" y="117"/>
                    <a:pt x="314" y="115"/>
                    <a:pt x="313" y="113"/>
                  </a:cubicBezTo>
                  <a:lnTo>
                    <a:pt x="291" y="68"/>
                  </a:lnTo>
                  <a:lnTo>
                    <a:pt x="301" y="72"/>
                  </a:lnTo>
                  <a:lnTo>
                    <a:pt x="279" y="78"/>
                  </a:lnTo>
                  <a:lnTo>
                    <a:pt x="281" y="77"/>
                  </a:lnTo>
                  <a:lnTo>
                    <a:pt x="254" y="97"/>
                  </a:lnTo>
                  <a:cubicBezTo>
                    <a:pt x="252" y="98"/>
                    <a:pt x="251" y="99"/>
                    <a:pt x="249" y="99"/>
                  </a:cubicBezTo>
                  <a:lnTo>
                    <a:pt x="206" y="99"/>
                  </a:lnTo>
                  <a:cubicBezTo>
                    <a:pt x="204" y="99"/>
                    <a:pt x="202" y="98"/>
                    <a:pt x="200" y="96"/>
                  </a:cubicBezTo>
                  <a:lnTo>
                    <a:pt x="166" y="52"/>
                  </a:lnTo>
                  <a:lnTo>
                    <a:pt x="169" y="54"/>
                  </a:lnTo>
                  <a:lnTo>
                    <a:pt x="89" y="16"/>
                  </a:lnTo>
                  <a:lnTo>
                    <a:pt x="93" y="16"/>
                  </a:lnTo>
                  <a:lnTo>
                    <a:pt x="9" y="27"/>
                  </a:lnTo>
                  <a:lnTo>
                    <a:pt x="13" y="12"/>
                  </a:lnTo>
                  <a:lnTo>
                    <a:pt x="60" y="48"/>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18" name="Freeform 474"/>
            <p:cNvSpPr>
              <a:spLocks/>
            </p:cNvSpPr>
            <p:nvPr/>
          </p:nvSpPr>
          <p:spPr bwMode="auto">
            <a:xfrm>
              <a:off x="3358" y="1524"/>
              <a:ext cx="89" cy="66"/>
            </a:xfrm>
            <a:custGeom>
              <a:avLst/>
              <a:gdLst/>
              <a:ahLst/>
              <a:cxnLst>
                <a:cxn ang="0">
                  <a:pos x="34" y="3"/>
                </a:cxn>
                <a:cxn ang="0">
                  <a:pos x="38" y="3"/>
                </a:cxn>
                <a:cxn ang="0">
                  <a:pos x="51" y="6"/>
                </a:cxn>
                <a:cxn ang="0">
                  <a:pos x="65" y="15"/>
                </a:cxn>
                <a:cxn ang="0">
                  <a:pos x="72" y="25"/>
                </a:cxn>
                <a:cxn ang="0">
                  <a:pos x="89" y="38"/>
                </a:cxn>
                <a:cxn ang="0">
                  <a:pos x="80" y="40"/>
                </a:cxn>
                <a:cxn ang="0">
                  <a:pos x="74" y="48"/>
                </a:cxn>
                <a:cxn ang="0">
                  <a:pos x="73" y="52"/>
                </a:cxn>
                <a:cxn ang="0">
                  <a:pos x="69" y="66"/>
                </a:cxn>
                <a:cxn ang="0">
                  <a:pos x="57" y="62"/>
                </a:cxn>
                <a:cxn ang="0">
                  <a:pos x="54" y="50"/>
                </a:cxn>
                <a:cxn ang="0">
                  <a:pos x="43" y="55"/>
                </a:cxn>
                <a:cxn ang="0">
                  <a:pos x="30" y="62"/>
                </a:cxn>
                <a:cxn ang="0">
                  <a:pos x="23" y="60"/>
                </a:cxn>
                <a:cxn ang="0">
                  <a:pos x="16" y="54"/>
                </a:cxn>
                <a:cxn ang="0">
                  <a:pos x="13" y="48"/>
                </a:cxn>
                <a:cxn ang="0">
                  <a:pos x="17" y="42"/>
                </a:cxn>
                <a:cxn ang="0">
                  <a:pos x="21" y="47"/>
                </a:cxn>
                <a:cxn ang="0">
                  <a:pos x="37" y="54"/>
                </a:cxn>
                <a:cxn ang="0">
                  <a:pos x="40" y="47"/>
                </a:cxn>
                <a:cxn ang="0">
                  <a:pos x="25" y="37"/>
                </a:cxn>
                <a:cxn ang="0">
                  <a:pos x="20" y="29"/>
                </a:cxn>
                <a:cxn ang="0">
                  <a:pos x="16" y="25"/>
                </a:cxn>
                <a:cxn ang="0">
                  <a:pos x="16" y="20"/>
                </a:cxn>
                <a:cxn ang="0">
                  <a:pos x="9" y="18"/>
                </a:cxn>
                <a:cxn ang="0">
                  <a:pos x="0" y="17"/>
                </a:cxn>
                <a:cxn ang="0">
                  <a:pos x="3" y="10"/>
                </a:cxn>
                <a:cxn ang="0">
                  <a:pos x="4" y="6"/>
                </a:cxn>
                <a:cxn ang="0">
                  <a:pos x="11" y="6"/>
                </a:cxn>
                <a:cxn ang="0">
                  <a:pos x="16" y="9"/>
                </a:cxn>
                <a:cxn ang="0">
                  <a:pos x="27" y="18"/>
                </a:cxn>
                <a:cxn ang="0">
                  <a:pos x="28" y="12"/>
                </a:cxn>
                <a:cxn ang="0">
                  <a:pos x="24" y="5"/>
                </a:cxn>
                <a:cxn ang="0">
                  <a:pos x="27" y="0"/>
                </a:cxn>
                <a:cxn ang="0">
                  <a:pos x="34" y="3"/>
                </a:cxn>
              </a:cxnLst>
              <a:rect l="0" t="0" r="r" b="b"/>
              <a:pathLst>
                <a:path w="89" h="66">
                  <a:moveTo>
                    <a:pt x="34" y="3"/>
                  </a:moveTo>
                  <a:lnTo>
                    <a:pt x="38" y="3"/>
                  </a:lnTo>
                  <a:lnTo>
                    <a:pt x="51" y="6"/>
                  </a:lnTo>
                  <a:lnTo>
                    <a:pt x="65" y="15"/>
                  </a:lnTo>
                  <a:lnTo>
                    <a:pt x="72" y="25"/>
                  </a:lnTo>
                  <a:lnTo>
                    <a:pt x="89" y="38"/>
                  </a:lnTo>
                  <a:lnTo>
                    <a:pt x="80" y="40"/>
                  </a:lnTo>
                  <a:lnTo>
                    <a:pt x="74" y="48"/>
                  </a:lnTo>
                  <a:lnTo>
                    <a:pt x="73" y="52"/>
                  </a:lnTo>
                  <a:lnTo>
                    <a:pt x="69" y="66"/>
                  </a:lnTo>
                  <a:lnTo>
                    <a:pt x="57" y="62"/>
                  </a:lnTo>
                  <a:lnTo>
                    <a:pt x="54" y="50"/>
                  </a:lnTo>
                  <a:lnTo>
                    <a:pt x="43" y="55"/>
                  </a:lnTo>
                  <a:lnTo>
                    <a:pt x="30" y="62"/>
                  </a:lnTo>
                  <a:lnTo>
                    <a:pt x="23" y="60"/>
                  </a:lnTo>
                  <a:lnTo>
                    <a:pt x="16" y="54"/>
                  </a:lnTo>
                  <a:lnTo>
                    <a:pt x="13" y="48"/>
                  </a:lnTo>
                  <a:lnTo>
                    <a:pt x="17" y="42"/>
                  </a:lnTo>
                  <a:lnTo>
                    <a:pt x="21" y="47"/>
                  </a:lnTo>
                  <a:lnTo>
                    <a:pt x="37" y="54"/>
                  </a:lnTo>
                  <a:lnTo>
                    <a:pt x="40" y="47"/>
                  </a:lnTo>
                  <a:lnTo>
                    <a:pt x="25" y="37"/>
                  </a:lnTo>
                  <a:lnTo>
                    <a:pt x="20" y="29"/>
                  </a:lnTo>
                  <a:lnTo>
                    <a:pt x="16" y="25"/>
                  </a:lnTo>
                  <a:lnTo>
                    <a:pt x="16" y="20"/>
                  </a:lnTo>
                  <a:lnTo>
                    <a:pt x="9" y="18"/>
                  </a:lnTo>
                  <a:lnTo>
                    <a:pt x="0" y="17"/>
                  </a:lnTo>
                  <a:lnTo>
                    <a:pt x="3" y="10"/>
                  </a:lnTo>
                  <a:lnTo>
                    <a:pt x="4" y="6"/>
                  </a:lnTo>
                  <a:lnTo>
                    <a:pt x="11" y="6"/>
                  </a:lnTo>
                  <a:lnTo>
                    <a:pt x="16" y="9"/>
                  </a:lnTo>
                  <a:lnTo>
                    <a:pt x="27" y="18"/>
                  </a:lnTo>
                  <a:lnTo>
                    <a:pt x="28" y="12"/>
                  </a:lnTo>
                  <a:lnTo>
                    <a:pt x="24" y="5"/>
                  </a:lnTo>
                  <a:lnTo>
                    <a:pt x="27" y="0"/>
                  </a:lnTo>
                  <a:lnTo>
                    <a:pt x="34" y="3"/>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19" name="Freeform 475"/>
            <p:cNvSpPr>
              <a:spLocks noEditPoints="1"/>
            </p:cNvSpPr>
            <p:nvPr/>
          </p:nvSpPr>
          <p:spPr bwMode="auto">
            <a:xfrm>
              <a:off x="3356" y="1522"/>
              <a:ext cx="93" cy="70"/>
            </a:xfrm>
            <a:custGeom>
              <a:avLst/>
              <a:gdLst/>
              <a:ahLst/>
              <a:cxnLst>
                <a:cxn ang="0">
                  <a:pos x="138" y="14"/>
                </a:cxn>
                <a:cxn ang="0">
                  <a:pos x="189" y="29"/>
                </a:cxn>
                <a:cxn ang="0">
                  <a:pos x="262" y="114"/>
                </a:cxn>
                <a:cxn ang="0">
                  <a:pos x="320" y="173"/>
                </a:cxn>
                <a:cxn ang="0">
                  <a:pos x="288" y="187"/>
                </a:cxn>
                <a:cxn ang="0">
                  <a:pos x="265" y="237"/>
                </a:cxn>
                <a:cxn ang="0">
                  <a:pos x="242" y="304"/>
                </a:cxn>
                <a:cxn ang="0">
                  <a:pos x="186" y="226"/>
                </a:cxn>
                <a:cxn ang="0">
                  <a:pos x="114" y="285"/>
                </a:cxn>
                <a:cxn ang="0">
                  <a:pos x="79" y="275"/>
                </a:cxn>
                <a:cxn ang="0">
                  <a:pos x="43" y="222"/>
                </a:cxn>
                <a:cxn ang="0">
                  <a:pos x="67" y="184"/>
                </a:cxn>
                <a:cxn ang="0">
                  <a:pos x="82" y="205"/>
                </a:cxn>
                <a:cxn ang="0">
                  <a:pos x="137" y="212"/>
                </a:cxn>
                <a:cxn ang="0">
                  <a:pos x="87" y="173"/>
                </a:cxn>
                <a:cxn ang="0">
                  <a:pos x="56" y="124"/>
                </a:cxn>
                <a:cxn ang="0">
                  <a:pos x="58" y="104"/>
                </a:cxn>
                <a:cxn ang="0">
                  <a:pos x="7" y="88"/>
                </a:cxn>
                <a:cxn ang="0">
                  <a:pos x="8" y="50"/>
                </a:cxn>
                <a:cxn ang="0">
                  <a:pos x="46" y="27"/>
                </a:cxn>
                <a:cxn ang="0">
                  <a:pos x="67" y="40"/>
                </a:cxn>
                <a:cxn ang="0">
                  <a:pos x="95" y="59"/>
                </a:cxn>
                <a:cxn ang="0">
                  <a:pos x="84" y="25"/>
                </a:cxn>
                <a:cxn ang="0">
                  <a:pos x="104" y="2"/>
                </a:cxn>
                <a:cxn ang="0">
                  <a:pos x="107" y="12"/>
                </a:cxn>
                <a:cxn ang="0">
                  <a:pos x="110" y="57"/>
                </a:cxn>
                <a:cxn ang="0">
                  <a:pos x="102" y="94"/>
                </a:cxn>
                <a:cxn ang="0">
                  <a:pos x="57" y="52"/>
                </a:cxn>
                <a:cxn ang="0">
                  <a:pos x="21" y="43"/>
                </a:cxn>
                <a:cxn ang="0">
                  <a:pos x="16" y="82"/>
                </a:cxn>
                <a:cxn ang="0">
                  <a:pos x="42" y="79"/>
                </a:cxn>
                <a:cxn ang="0">
                  <a:pos x="69" y="118"/>
                </a:cxn>
                <a:cxn ang="0">
                  <a:pos x="84" y="130"/>
                </a:cxn>
                <a:cxn ang="0">
                  <a:pos x="149" y="209"/>
                </a:cxn>
                <a:cxn ang="0">
                  <a:pos x="135" y="249"/>
                </a:cxn>
                <a:cxn ang="0">
                  <a:pos x="71" y="216"/>
                </a:cxn>
                <a:cxn ang="0">
                  <a:pos x="57" y="223"/>
                </a:cxn>
                <a:cxn ang="0">
                  <a:pos x="69" y="238"/>
                </a:cxn>
                <a:cxn ang="0">
                  <a:pos x="112" y="271"/>
                </a:cxn>
                <a:cxn ang="0">
                  <a:pos x="190" y="218"/>
                </a:cxn>
                <a:cxn ang="0">
                  <a:pos x="212" y="278"/>
                </a:cxn>
                <a:cxn ang="0">
                  <a:pos x="238" y="295"/>
                </a:cxn>
                <a:cxn ang="0">
                  <a:pos x="254" y="214"/>
                </a:cxn>
                <a:cxn ang="0">
                  <a:pos x="310" y="164"/>
                </a:cxn>
                <a:cxn ang="0">
                  <a:pos x="248" y="122"/>
                </a:cxn>
                <a:cxn ang="0">
                  <a:pos x="179" y="41"/>
                </a:cxn>
                <a:cxn ang="0">
                  <a:pos x="138" y="30"/>
                </a:cxn>
                <a:cxn ang="0">
                  <a:pos x="96" y="15"/>
                </a:cxn>
              </a:cxnLst>
              <a:rect l="0" t="0" r="r" b="b"/>
              <a:pathLst>
                <a:path w="321" h="305">
                  <a:moveTo>
                    <a:pt x="127" y="15"/>
                  </a:moveTo>
                  <a:lnTo>
                    <a:pt x="123" y="14"/>
                  </a:lnTo>
                  <a:lnTo>
                    <a:pt x="138" y="14"/>
                  </a:lnTo>
                  <a:cubicBezTo>
                    <a:pt x="139" y="14"/>
                    <a:pt x="140" y="14"/>
                    <a:pt x="141" y="14"/>
                  </a:cubicBezTo>
                  <a:lnTo>
                    <a:pt x="186" y="27"/>
                  </a:lnTo>
                  <a:cubicBezTo>
                    <a:pt x="187" y="28"/>
                    <a:pt x="188" y="28"/>
                    <a:pt x="189" y="29"/>
                  </a:cubicBezTo>
                  <a:lnTo>
                    <a:pt x="235" y="65"/>
                  </a:lnTo>
                  <a:cubicBezTo>
                    <a:pt x="236" y="66"/>
                    <a:pt x="236" y="67"/>
                    <a:pt x="237" y="68"/>
                  </a:cubicBezTo>
                  <a:lnTo>
                    <a:pt x="262" y="114"/>
                  </a:lnTo>
                  <a:lnTo>
                    <a:pt x="261" y="112"/>
                  </a:lnTo>
                  <a:lnTo>
                    <a:pt x="318" y="166"/>
                  </a:lnTo>
                  <a:cubicBezTo>
                    <a:pt x="320" y="168"/>
                    <a:pt x="321" y="170"/>
                    <a:pt x="320" y="173"/>
                  </a:cubicBezTo>
                  <a:cubicBezTo>
                    <a:pt x="320" y="176"/>
                    <a:pt x="318" y="178"/>
                    <a:pt x="315" y="179"/>
                  </a:cubicBezTo>
                  <a:lnTo>
                    <a:pt x="284" y="191"/>
                  </a:lnTo>
                  <a:lnTo>
                    <a:pt x="288" y="187"/>
                  </a:lnTo>
                  <a:lnTo>
                    <a:pt x="268" y="222"/>
                  </a:lnTo>
                  <a:lnTo>
                    <a:pt x="269" y="220"/>
                  </a:lnTo>
                  <a:lnTo>
                    <a:pt x="265" y="237"/>
                  </a:lnTo>
                  <a:lnTo>
                    <a:pt x="253" y="298"/>
                  </a:lnTo>
                  <a:cubicBezTo>
                    <a:pt x="253" y="300"/>
                    <a:pt x="251" y="302"/>
                    <a:pt x="249" y="303"/>
                  </a:cubicBezTo>
                  <a:cubicBezTo>
                    <a:pt x="247" y="305"/>
                    <a:pt x="245" y="305"/>
                    <a:pt x="242" y="304"/>
                  </a:cubicBezTo>
                  <a:lnTo>
                    <a:pt x="201" y="287"/>
                  </a:lnTo>
                  <a:cubicBezTo>
                    <a:pt x="198" y="286"/>
                    <a:pt x="197" y="284"/>
                    <a:pt x="196" y="281"/>
                  </a:cubicBezTo>
                  <a:lnTo>
                    <a:pt x="186" y="226"/>
                  </a:lnTo>
                  <a:lnTo>
                    <a:pt x="198" y="232"/>
                  </a:lnTo>
                  <a:lnTo>
                    <a:pt x="158" y="254"/>
                  </a:lnTo>
                  <a:lnTo>
                    <a:pt x="114" y="285"/>
                  </a:lnTo>
                  <a:cubicBezTo>
                    <a:pt x="112" y="286"/>
                    <a:pt x="110" y="287"/>
                    <a:pt x="107" y="286"/>
                  </a:cubicBezTo>
                  <a:lnTo>
                    <a:pt x="83" y="277"/>
                  </a:lnTo>
                  <a:cubicBezTo>
                    <a:pt x="82" y="277"/>
                    <a:pt x="80" y="276"/>
                    <a:pt x="79" y="275"/>
                  </a:cubicBezTo>
                  <a:lnTo>
                    <a:pt x="57" y="248"/>
                  </a:lnTo>
                  <a:cubicBezTo>
                    <a:pt x="56" y="248"/>
                    <a:pt x="56" y="247"/>
                    <a:pt x="56" y="247"/>
                  </a:cubicBezTo>
                  <a:lnTo>
                    <a:pt x="43" y="222"/>
                  </a:lnTo>
                  <a:cubicBezTo>
                    <a:pt x="41" y="219"/>
                    <a:pt x="42" y="216"/>
                    <a:pt x="43" y="214"/>
                  </a:cubicBezTo>
                  <a:lnTo>
                    <a:pt x="60" y="187"/>
                  </a:lnTo>
                  <a:cubicBezTo>
                    <a:pt x="62" y="185"/>
                    <a:pt x="64" y="184"/>
                    <a:pt x="67" y="184"/>
                  </a:cubicBezTo>
                  <a:cubicBezTo>
                    <a:pt x="70" y="184"/>
                    <a:pt x="73" y="185"/>
                    <a:pt x="74" y="188"/>
                  </a:cubicBezTo>
                  <a:lnTo>
                    <a:pt x="85" y="208"/>
                  </a:lnTo>
                  <a:lnTo>
                    <a:pt x="82" y="205"/>
                  </a:lnTo>
                  <a:lnTo>
                    <a:pt x="137" y="235"/>
                  </a:lnTo>
                  <a:lnTo>
                    <a:pt x="125" y="238"/>
                  </a:lnTo>
                  <a:lnTo>
                    <a:pt x="137" y="212"/>
                  </a:lnTo>
                  <a:lnTo>
                    <a:pt x="139" y="221"/>
                  </a:lnTo>
                  <a:lnTo>
                    <a:pt x="89" y="176"/>
                  </a:lnTo>
                  <a:cubicBezTo>
                    <a:pt x="88" y="175"/>
                    <a:pt x="87" y="174"/>
                    <a:pt x="87" y="173"/>
                  </a:cubicBezTo>
                  <a:lnTo>
                    <a:pt x="70" y="137"/>
                  </a:lnTo>
                  <a:lnTo>
                    <a:pt x="71" y="139"/>
                  </a:lnTo>
                  <a:lnTo>
                    <a:pt x="56" y="124"/>
                  </a:lnTo>
                  <a:cubicBezTo>
                    <a:pt x="54" y="123"/>
                    <a:pt x="53" y="121"/>
                    <a:pt x="53" y="118"/>
                  </a:cubicBezTo>
                  <a:lnTo>
                    <a:pt x="53" y="97"/>
                  </a:lnTo>
                  <a:lnTo>
                    <a:pt x="58" y="104"/>
                  </a:lnTo>
                  <a:lnTo>
                    <a:pt x="35" y="94"/>
                  </a:lnTo>
                  <a:lnTo>
                    <a:pt x="37" y="95"/>
                  </a:lnTo>
                  <a:lnTo>
                    <a:pt x="7" y="88"/>
                  </a:lnTo>
                  <a:cubicBezTo>
                    <a:pt x="5" y="87"/>
                    <a:pt x="3" y="86"/>
                    <a:pt x="2" y="84"/>
                  </a:cubicBezTo>
                  <a:cubicBezTo>
                    <a:pt x="1" y="82"/>
                    <a:pt x="0" y="80"/>
                    <a:pt x="1" y="78"/>
                  </a:cubicBezTo>
                  <a:lnTo>
                    <a:pt x="8" y="50"/>
                  </a:lnTo>
                  <a:lnTo>
                    <a:pt x="14" y="33"/>
                  </a:lnTo>
                  <a:cubicBezTo>
                    <a:pt x="15" y="29"/>
                    <a:pt x="18" y="27"/>
                    <a:pt x="21" y="27"/>
                  </a:cubicBezTo>
                  <a:lnTo>
                    <a:pt x="46" y="27"/>
                  </a:lnTo>
                  <a:cubicBezTo>
                    <a:pt x="47" y="27"/>
                    <a:pt x="49" y="28"/>
                    <a:pt x="50" y="28"/>
                  </a:cubicBezTo>
                  <a:lnTo>
                    <a:pt x="66" y="38"/>
                  </a:lnTo>
                  <a:cubicBezTo>
                    <a:pt x="66" y="39"/>
                    <a:pt x="67" y="39"/>
                    <a:pt x="67" y="40"/>
                  </a:cubicBezTo>
                  <a:lnTo>
                    <a:pt x="106" y="81"/>
                  </a:lnTo>
                  <a:lnTo>
                    <a:pt x="92" y="86"/>
                  </a:lnTo>
                  <a:lnTo>
                    <a:pt x="95" y="59"/>
                  </a:lnTo>
                  <a:lnTo>
                    <a:pt x="95" y="63"/>
                  </a:lnTo>
                  <a:lnTo>
                    <a:pt x="84" y="31"/>
                  </a:lnTo>
                  <a:cubicBezTo>
                    <a:pt x="83" y="29"/>
                    <a:pt x="83" y="27"/>
                    <a:pt x="84" y="25"/>
                  </a:cubicBezTo>
                  <a:lnTo>
                    <a:pt x="92" y="5"/>
                  </a:lnTo>
                  <a:cubicBezTo>
                    <a:pt x="93" y="3"/>
                    <a:pt x="95" y="2"/>
                    <a:pt x="97" y="1"/>
                  </a:cubicBezTo>
                  <a:cubicBezTo>
                    <a:pt x="99" y="0"/>
                    <a:pt x="102" y="0"/>
                    <a:pt x="104" y="2"/>
                  </a:cubicBezTo>
                  <a:lnTo>
                    <a:pt x="127" y="15"/>
                  </a:lnTo>
                  <a:close/>
                  <a:moveTo>
                    <a:pt x="96" y="15"/>
                  </a:moveTo>
                  <a:lnTo>
                    <a:pt x="107" y="12"/>
                  </a:lnTo>
                  <a:lnTo>
                    <a:pt x="99" y="32"/>
                  </a:lnTo>
                  <a:lnTo>
                    <a:pt x="99" y="26"/>
                  </a:lnTo>
                  <a:lnTo>
                    <a:pt x="110" y="57"/>
                  </a:lnTo>
                  <a:cubicBezTo>
                    <a:pt x="111" y="58"/>
                    <a:pt x="111" y="60"/>
                    <a:pt x="111" y="61"/>
                  </a:cubicBezTo>
                  <a:lnTo>
                    <a:pt x="108" y="88"/>
                  </a:lnTo>
                  <a:cubicBezTo>
                    <a:pt x="107" y="91"/>
                    <a:pt x="105" y="93"/>
                    <a:pt x="102" y="94"/>
                  </a:cubicBezTo>
                  <a:cubicBezTo>
                    <a:pt x="99" y="95"/>
                    <a:pt x="96" y="94"/>
                    <a:pt x="94" y="92"/>
                  </a:cubicBezTo>
                  <a:lnTo>
                    <a:pt x="55" y="51"/>
                  </a:lnTo>
                  <a:lnTo>
                    <a:pt x="57" y="52"/>
                  </a:lnTo>
                  <a:lnTo>
                    <a:pt x="41" y="42"/>
                  </a:lnTo>
                  <a:lnTo>
                    <a:pt x="46" y="43"/>
                  </a:lnTo>
                  <a:lnTo>
                    <a:pt x="21" y="43"/>
                  </a:lnTo>
                  <a:lnTo>
                    <a:pt x="29" y="38"/>
                  </a:lnTo>
                  <a:lnTo>
                    <a:pt x="23" y="54"/>
                  </a:lnTo>
                  <a:lnTo>
                    <a:pt x="16" y="82"/>
                  </a:lnTo>
                  <a:lnTo>
                    <a:pt x="10" y="72"/>
                  </a:lnTo>
                  <a:lnTo>
                    <a:pt x="40" y="79"/>
                  </a:lnTo>
                  <a:cubicBezTo>
                    <a:pt x="41" y="79"/>
                    <a:pt x="41" y="79"/>
                    <a:pt x="42" y="79"/>
                  </a:cubicBezTo>
                  <a:lnTo>
                    <a:pt x="64" y="89"/>
                  </a:lnTo>
                  <a:cubicBezTo>
                    <a:pt x="67" y="91"/>
                    <a:pt x="69" y="94"/>
                    <a:pt x="69" y="97"/>
                  </a:cubicBezTo>
                  <a:lnTo>
                    <a:pt x="69" y="118"/>
                  </a:lnTo>
                  <a:lnTo>
                    <a:pt x="67" y="113"/>
                  </a:lnTo>
                  <a:lnTo>
                    <a:pt x="83" y="128"/>
                  </a:lnTo>
                  <a:cubicBezTo>
                    <a:pt x="83" y="128"/>
                    <a:pt x="84" y="129"/>
                    <a:pt x="84" y="130"/>
                  </a:cubicBezTo>
                  <a:lnTo>
                    <a:pt x="101" y="167"/>
                  </a:lnTo>
                  <a:lnTo>
                    <a:pt x="99" y="164"/>
                  </a:lnTo>
                  <a:lnTo>
                    <a:pt x="149" y="209"/>
                  </a:lnTo>
                  <a:cubicBezTo>
                    <a:pt x="152" y="211"/>
                    <a:pt x="153" y="215"/>
                    <a:pt x="151" y="218"/>
                  </a:cubicBezTo>
                  <a:lnTo>
                    <a:pt x="140" y="245"/>
                  </a:lnTo>
                  <a:cubicBezTo>
                    <a:pt x="139" y="247"/>
                    <a:pt x="137" y="248"/>
                    <a:pt x="135" y="249"/>
                  </a:cubicBezTo>
                  <a:cubicBezTo>
                    <a:pt x="133" y="250"/>
                    <a:pt x="131" y="250"/>
                    <a:pt x="129" y="249"/>
                  </a:cubicBezTo>
                  <a:lnTo>
                    <a:pt x="75" y="219"/>
                  </a:lnTo>
                  <a:cubicBezTo>
                    <a:pt x="73" y="218"/>
                    <a:pt x="72" y="217"/>
                    <a:pt x="71" y="216"/>
                  </a:cubicBezTo>
                  <a:lnTo>
                    <a:pt x="60" y="196"/>
                  </a:lnTo>
                  <a:lnTo>
                    <a:pt x="74" y="196"/>
                  </a:lnTo>
                  <a:lnTo>
                    <a:pt x="57" y="223"/>
                  </a:lnTo>
                  <a:lnTo>
                    <a:pt x="57" y="215"/>
                  </a:lnTo>
                  <a:lnTo>
                    <a:pt x="70" y="240"/>
                  </a:lnTo>
                  <a:lnTo>
                    <a:pt x="69" y="238"/>
                  </a:lnTo>
                  <a:lnTo>
                    <a:pt x="92" y="265"/>
                  </a:lnTo>
                  <a:lnTo>
                    <a:pt x="88" y="262"/>
                  </a:lnTo>
                  <a:lnTo>
                    <a:pt x="112" y="271"/>
                  </a:lnTo>
                  <a:lnTo>
                    <a:pt x="105" y="272"/>
                  </a:lnTo>
                  <a:lnTo>
                    <a:pt x="150" y="239"/>
                  </a:lnTo>
                  <a:lnTo>
                    <a:pt x="190" y="218"/>
                  </a:lnTo>
                  <a:cubicBezTo>
                    <a:pt x="192" y="217"/>
                    <a:pt x="195" y="217"/>
                    <a:pt x="197" y="218"/>
                  </a:cubicBezTo>
                  <a:cubicBezTo>
                    <a:pt x="200" y="219"/>
                    <a:pt x="201" y="221"/>
                    <a:pt x="202" y="223"/>
                  </a:cubicBezTo>
                  <a:lnTo>
                    <a:pt x="212" y="278"/>
                  </a:lnTo>
                  <a:lnTo>
                    <a:pt x="207" y="272"/>
                  </a:lnTo>
                  <a:lnTo>
                    <a:pt x="248" y="289"/>
                  </a:lnTo>
                  <a:lnTo>
                    <a:pt x="238" y="295"/>
                  </a:lnTo>
                  <a:lnTo>
                    <a:pt x="249" y="233"/>
                  </a:lnTo>
                  <a:lnTo>
                    <a:pt x="253" y="216"/>
                  </a:lnTo>
                  <a:cubicBezTo>
                    <a:pt x="254" y="216"/>
                    <a:pt x="254" y="215"/>
                    <a:pt x="254" y="214"/>
                  </a:cubicBezTo>
                  <a:lnTo>
                    <a:pt x="274" y="179"/>
                  </a:lnTo>
                  <a:cubicBezTo>
                    <a:pt x="275" y="178"/>
                    <a:pt x="277" y="176"/>
                    <a:pt x="278" y="176"/>
                  </a:cubicBezTo>
                  <a:lnTo>
                    <a:pt x="310" y="164"/>
                  </a:lnTo>
                  <a:lnTo>
                    <a:pt x="307" y="177"/>
                  </a:lnTo>
                  <a:lnTo>
                    <a:pt x="250" y="124"/>
                  </a:lnTo>
                  <a:cubicBezTo>
                    <a:pt x="249" y="124"/>
                    <a:pt x="249" y="123"/>
                    <a:pt x="248" y="122"/>
                  </a:cubicBezTo>
                  <a:lnTo>
                    <a:pt x="223" y="76"/>
                  </a:lnTo>
                  <a:lnTo>
                    <a:pt x="225" y="78"/>
                  </a:lnTo>
                  <a:lnTo>
                    <a:pt x="179" y="41"/>
                  </a:lnTo>
                  <a:lnTo>
                    <a:pt x="182" y="43"/>
                  </a:lnTo>
                  <a:lnTo>
                    <a:pt x="136" y="29"/>
                  </a:lnTo>
                  <a:lnTo>
                    <a:pt x="138" y="30"/>
                  </a:lnTo>
                  <a:lnTo>
                    <a:pt x="123" y="30"/>
                  </a:lnTo>
                  <a:cubicBezTo>
                    <a:pt x="121" y="30"/>
                    <a:pt x="120" y="29"/>
                    <a:pt x="119" y="29"/>
                  </a:cubicBezTo>
                  <a:lnTo>
                    <a:pt x="96" y="15"/>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20" name="Freeform 476"/>
            <p:cNvSpPr>
              <a:spLocks/>
            </p:cNvSpPr>
            <p:nvPr/>
          </p:nvSpPr>
          <p:spPr bwMode="auto">
            <a:xfrm>
              <a:off x="3340" y="1535"/>
              <a:ext cx="60" cy="40"/>
            </a:xfrm>
            <a:custGeom>
              <a:avLst/>
              <a:gdLst/>
              <a:ahLst/>
              <a:cxnLst>
                <a:cxn ang="0">
                  <a:pos x="0" y="6"/>
                </a:cxn>
                <a:cxn ang="0">
                  <a:pos x="7" y="13"/>
                </a:cxn>
                <a:cxn ang="0">
                  <a:pos x="16" y="23"/>
                </a:cxn>
                <a:cxn ang="0">
                  <a:pos x="30" y="36"/>
                </a:cxn>
                <a:cxn ang="0">
                  <a:pos x="39" y="28"/>
                </a:cxn>
                <a:cxn ang="0">
                  <a:pos x="40" y="34"/>
                </a:cxn>
                <a:cxn ang="0">
                  <a:pos x="46" y="36"/>
                </a:cxn>
                <a:cxn ang="0">
                  <a:pos x="56" y="40"/>
                </a:cxn>
                <a:cxn ang="0">
                  <a:pos x="60" y="34"/>
                </a:cxn>
                <a:cxn ang="0">
                  <a:pos x="45" y="24"/>
                </a:cxn>
                <a:cxn ang="0">
                  <a:pos x="42" y="16"/>
                </a:cxn>
                <a:cxn ang="0">
                  <a:pos x="35" y="12"/>
                </a:cxn>
                <a:cxn ang="0">
                  <a:pos x="35" y="7"/>
                </a:cxn>
                <a:cxn ang="0">
                  <a:pos x="28" y="5"/>
                </a:cxn>
                <a:cxn ang="0">
                  <a:pos x="19" y="3"/>
                </a:cxn>
                <a:cxn ang="0">
                  <a:pos x="10" y="0"/>
                </a:cxn>
                <a:cxn ang="0">
                  <a:pos x="3" y="1"/>
                </a:cxn>
                <a:cxn ang="0">
                  <a:pos x="0" y="6"/>
                </a:cxn>
              </a:cxnLst>
              <a:rect l="0" t="0" r="r" b="b"/>
              <a:pathLst>
                <a:path w="60" h="40">
                  <a:moveTo>
                    <a:pt x="0" y="6"/>
                  </a:moveTo>
                  <a:lnTo>
                    <a:pt x="7" y="13"/>
                  </a:lnTo>
                  <a:lnTo>
                    <a:pt x="16" y="23"/>
                  </a:lnTo>
                  <a:lnTo>
                    <a:pt x="30" y="36"/>
                  </a:lnTo>
                  <a:lnTo>
                    <a:pt x="39" y="28"/>
                  </a:lnTo>
                  <a:lnTo>
                    <a:pt x="40" y="34"/>
                  </a:lnTo>
                  <a:lnTo>
                    <a:pt x="46" y="36"/>
                  </a:lnTo>
                  <a:lnTo>
                    <a:pt x="56" y="40"/>
                  </a:lnTo>
                  <a:lnTo>
                    <a:pt x="60" y="34"/>
                  </a:lnTo>
                  <a:lnTo>
                    <a:pt x="45" y="24"/>
                  </a:lnTo>
                  <a:lnTo>
                    <a:pt x="42" y="16"/>
                  </a:lnTo>
                  <a:lnTo>
                    <a:pt x="35" y="12"/>
                  </a:lnTo>
                  <a:lnTo>
                    <a:pt x="35" y="7"/>
                  </a:lnTo>
                  <a:lnTo>
                    <a:pt x="28" y="5"/>
                  </a:lnTo>
                  <a:lnTo>
                    <a:pt x="19" y="3"/>
                  </a:lnTo>
                  <a:lnTo>
                    <a:pt x="10" y="0"/>
                  </a:lnTo>
                  <a:lnTo>
                    <a:pt x="3" y="1"/>
                  </a:lnTo>
                  <a:lnTo>
                    <a:pt x="0" y="6"/>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21" name="Freeform 477"/>
            <p:cNvSpPr>
              <a:spLocks noEditPoints="1"/>
            </p:cNvSpPr>
            <p:nvPr/>
          </p:nvSpPr>
          <p:spPr bwMode="auto">
            <a:xfrm>
              <a:off x="3337" y="1533"/>
              <a:ext cx="66" cy="44"/>
            </a:xfrm>
            <a:custGeom>
              <a:avLst/>
              <a:gdLst/>
              <a:ahLst/>
              <a:cxnLst>
                <a:cxn ang="0">
                  <a:pos x="14" y="30"/>
                </a:cxn>
                <a:cxn ang="0">
                  <a:pos x="71" y="102"/>
                </a:cxn>
                <a:cxn ang="0">
                  <a:pos x="106" y="157"/>
                </a:cxn>
                <a:cxn ang="0">
                  <a:pos x="147" y="122"/>
                </a:cxn>
                <a:cxn ang="0">
                  <a:pos x="154" y="157"/>
                </a:cxn>
                <a:cxn ang="0">
                  <a:pos x="171" y="155"/>
                </a:cxn>
                <a:cxn ang="0">
                  <a:pos x="207" y="178"/>
                </a:cxn>
                <a:cxn ang="0">
                  <a:pos x="209" y="154"/>
                </a:cxn>
                <a:cxn ang="0">
                  <a:pos x="160" y="119"/>
                </a:cxn>
                <a:cxn ang="0">
                  <a:pos x="145" y="81"/>
                </a:cxn>
                <a:cxn ang="0">
                  <a:pos x="126" y="68"/>
                </a:cxn>
                <a:cxn ang="0">
                  <a:pos x="123" y="40"/>
                </a:cxn>
                <a:cxn ang="0">
                  <a:pos x="104" y="37"/>
                </a:cxn>
                <a:cxn ang="0">
                  <a:pos x="71" y="30"/>
                </a:cxn>
                <a:cxn ang="0">
                  <a:pos x="41" y="16"/>
                </a:cxn>
                <a:cxn ang="0">
                  <a:pos x="20" y="21"/>
                </a:cxn>
                <a:cxn ang="0">
                  <a:pos x="16" y="38"/>
                </a:cxn>
                <a:cxn ang="0">
                  <a:pos x="17" y="6"/>
                </a:cxn>
                <a:cxn ang="0">
                  <a:pos x="47" y="1"/>
                </a:cxn>
                <a:cxn ang="0">
                  <a:pos x="75" y="14"/>
                </a:cxn>
                <a:cxn ang="0">
                  <a:pos x="110" y="23"/>
                </a:cxn>
                <a:cxn ang="0">
                  <a:pos x="139" y="40"/>
                </a:cxn>
                <a:cxn ang="0">
                  <a:pos x="136" y="55"/>
                </a:cxn>
                <a:cxn ang="0">
                  <a:pos x="161" y="76"/>
                </a:cxn>
                <a:cxn ang="0">
                  <a:pos x="170" y="107"/>
                </a:cxn>
                <a:cxn ang="0">
                  <a:pos x="224" y="161"/>
                </a:cxn>
                <a:cxn ang="0">
                  <a:pos x="205" y="192"/>
                </a:cxn>
                <a:cxn ang="0">
                  <a:pos x="165" y="170"/>
                </a:cxn>
                <a:cxn ang="0">
                  <a:pos x="144" y="166"/>
                </a:cxn>
                <a:cxn ang="0">
                  <a:pos x="136" y="130"/>
                </a:cxn>
                <a:cxn ang="0">
                  <a:pos x="117" y="168"/>
                </a:cxn>
                <a:cxn ang="0">
                  <a:pos x="106" y="168"/>
                </a:cxn>
                <a:cxn ang="0">
                  <a:pos x="28" y="69"/>
                </a:cxn>
                <a:cxn ang="0">
                  <a:pos x="1" y="32"/>
                </a:cxn>
              </a:cxnLst>
              <a:rect l="0" t="0" r="r" b="b"/>
              <a:pathLst>
                <a:path w="225" h="193">
                  <a:moveTo>
                    <a:pt x="16" y="38"/>
                  </a:moveTo>
                  <a:lnTo>
                    <a:pt x="14" y="30"/>
                  </a:lnTo>
                  <a:lnTo>
                    <a:pt x="40" y="58"/>
                  </a:lnTo>
                  <a:lnTo>
                    <a:pt x="71" y="102"/>
                  </a:lnTo>
                  <a:lnTo>
                    <a:pt x="118" y="158"/>
                  </a:lnTo>
                  <a:lnTo>
                    <a:pt x="106" y="157"/>
                  </a:lnTo>
                  <a:lnTo>
                    <a:pt x="138" y="124"/>
                  </a:lnTo>
                  <a:cubicBezTo>
                    <a:pt x="141" y="122"/>
                    <a:pt x="144" y="121"/>
                    <a:pt x="147" y="122"/>
                  </a:cubicBezTo>
                  <a:cubicBezTo>
                    <a:pt x="150" y="123"/>
                    <a:pt x="152" y="126"/>
                    <a:pt x="152" y="129"/>
                  </a:cubicBezTo>
                  <a:lnTo>
                    <a:pt x="154" y="157"/>
                  </a:lnTo>
                  <a:lnTo>
                    <a:pt x="147" y="150"/>
                  </a:lnTo>
                  <a:lnTo>
                    <a:pt x="171" y="155"/>
                  </a:lnTo>
                  <a:cubicBezTo>
                    <a:pt x="172" y="155"/>
                    <a:pt x="173" y="156"/>
                    <a:pt x="174" y="156"/>
                  </a:cubicBezTo>
                  <a:lnTo>
                    <a:pt x="207" y="178"/>
                  </a:lnTo>
                  <a:lnTo>
                    <a:pt x="196" y="181"/>
                  </a:lnTo>
                  <a:lnTo>
                    <a:pt x="209" y="154"/>
                  </a:lnTo>
                  <a:lnTo>
                    <a:pt x="211" y="164"/>
                  </a:lnTo>
                  <a:lnTo>
                    <a:pt x="160" y="119"/>
                  </a:lnTo>
                  <a:cubicBezTo>
                    <a:pt x="159" y="118"/>
                    <a:pt x="158" y="117"/>
                    <a:pt x="157" y="116"/>
                  </a:cubicBezTo>
                  <a:lnTo>
                    <a:pt x="145" y="81"/>
                  </a:lnTo>
                  <a:lnTo>
                    <a:pt x="148" y="85"/>
                  </a:lnTo>
                  <a:lnTo>
                    <a:pt x="126" y="68"/>
                  </a:lnTo>
                  <a:cubicBezTo>
                    <a:pt x="124" y="66"/>
                    <a:pt x="123" y="64"/>
                    <a:pt x="123" y="62"/>
                  </a:cubicBezTo>
                  <a:lnTo>
                    <a:pt x="123" y="40"/>
                  </a:lnTo>
                  <a:lnTo>
                    <a:pt x="128" y="47"/>
                  </a:lnTo>
                  <a:lnTo>
                    <a:pt x="104" y="37"/>
                  </a:lnTo>
                  <a:lnTo>
                    <a:pt x="105" y="38"/>
                  </a:lnTo>
                  <a:lnTo>
                    <a:pt x="71" y="30"/>
                  </a:lnTo>
                  <a:cubicBezTo>
                    <a:pt x="71" y="29"/>
                    <a:pt x="71" y="29"/>
                    <a:pt x="70" y="29"/>
                  </a:cubicBezTo>
                  <a:lnTo>
                    <a:pt x="41" y="16"/>
                  </a:lnTo>
                  <a:lnTo>
                    <a:pt x="45" y="16"/>
                  </a:lnTo>
                  <a:lnTo>
                    <a:pt x="20" y="21"/>
                  </a:lnTo>
                  <a:lnTo>
                    <a:pt x="26" y="17"/>
                  </a:lnTo>
                  <a:lnTo>
                    <a:pt x="16" y="38"/>
                  </a:lnTo>
                  <a:close/>
                  <a:moveTo>
                    <a:pt x="12" y="10"/>
                  </a:moveTo>
                  <a:cubicBezTo>
                    <a:pt x="13" y="8"/>
                    <a:pt x="15" y="6"/>
                    <a:pt x="17" y="6"/>
                  </a:cubicBezTo>
                  <a:lnTo>
                    <a:pt x="42" y="1"/>
                  </a:lnTo>
                  <a:cubicBezTo>
                    <a:pt x="44" y="0"/>
                    <a:pt x="46" y="0"/>
                    <a:pt x="47" y="1"/>
                  </a:cubicBezTo>
                  <a:lnTo>
                    <a:pt x="77" y="14"/>
                  </a:lnTo>
                  <a:lnTo>
                    <a:pt x="75" y="14"/>
                  </a:lnTo>
                  <a:lnTo>
                    <a:pt x="109" y="22"/>
                  </a:lnTo>
                  <a:cubicBezTo>
                    <a:pt x="110" y="22"/>
                    <a:pt x="110" y="23"/>
                    <a:pt x="110" y="23"/>
                  </a:cubicBezTo>
                  <a:lnTo>
                    <a:pt x="134" y="33"/>
                  </a:lnTo>
                  <a:cubicBezTo>
                    <a:pt x="137" y="34"/>
                    <a:pt x="139" y="37"/>
                    <a:pt x="139" y="40"/>
                  </a:cubicBezTo>
                  <a:lnTo>
                    <a:pt x="139" y="62"/>
                  </a:lnTo>
                  <a:lnTo>
                    <a:pt x="136" y="55"/>
                  </a:lnTo>
                  <a:lnTo>
                    <a:pt x="158" y="72"/>
                  </a:lnTo>
                  <a:cubicBezTo>
                    <a:pt x="159" y="73"/>
                    <a:pt x="160" y="74"/>
                    <a:pt x="161" y="76"/>
                  </a:cubicBezTo>
                  <a:lnTo>
                    <a:pt x="172" y="111"/>
                  </a:lnTo>
                  <a:lnTo>
                    <a:pt x="170" y="107"/>
                  </a:lnTo>
                  <a:lnTo>
                    <a:pt x="222" y="152"/>
                  </a:lnTo>
                  <a:cubicBezTo>
                    <a:pt x="224" y="154"/>
                    <a:pt x="225" y="158"/>
                    <a:pt x="224" y="161"/>
                  </a:cubicBezTo>
                  <a:lnTo>
                    <a:pt x="210" y="188"/>
                  </a:lnTo>
                  <a:cubicBezTo>
                    <a:pt x="209" y="190"/>
                    <a:pt x="208" y="192"/>
                    <a:pt x="205" y="192"/>
                  </a:cubicBezTo>
                  <a:cubicBezTo>
                    <a:pt x="203" y="193"/>
                    <a:pt x="201" y="192"/>
                    <a:pt x="199" y="191"/>
                  </a:cubicBezTo>
                  <a:lnTo>
                    <a:pt x="165" y="170"/>
                  </a:lnTo>
                  <a:lnTo>
                    <a:pt x="168" y="171"/>
                  </a:lnTo>
                  <a:lnTo>
                    <a:pt x="144" y="166"/>
                  </a:lnTo>
                  <a:cubicBezTo>
                    <a:pt x="140" y="165"/>
                    <a:pt x="138" y="162"/>
                    <a:pt x="138" y="158"/>
                  </a:cubicBezTo>
                  <a:lnTo>
                    <a:pt x="136" y="130"/>
                  </a:lnTo>
                  <a:lnTo>
                    <a:pt x="150" y="135"/>
                  </a:lnTo>
                  <a:lnTo>
                    <a:pt x="117" y="168"/>
                  </a:lnTo>
                  <a:cubicBezTo>
                    <a:pt x="116" y="170"/>
                    <a:pt x="114" y="171"/>
                    <a:pt x="111" y="171"/>
                  </a:cubicBezTo>
                  <a:cubicBezTo>
                    <a:pt x="109" y="171"/>
                    <a:pt x="107" y="170"/>
                    <a:pt x="106" y="168"/>
                  </a:cubicBezTo>
                  <a:lnTo>
                    <a:pt x="58" y="111"/>
                  </a:lnTo>
                  <a:lnTo>
                    <a:pt x="28" y="69"/>
                  </a:lnTo>
                  <a:lnTo>
                    <a:pt x="2" y="40"/>
                  </a:lnTo>
                  <a:cubicBezTo>
                    <a:pt x="0" y="38"/>
                    <a:pt x="0" y="34"/>
                    <a:pt x="1" y="32"/>
                  </a:cubicBezTo>
                  <a:lnTo>
                    <a:pt x="12" y="10"/>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22" name="Freeform 478"/>
            <p:cNvSpPr>
              <a:spLocks/>
            </p:cNvSpPr>
            <p:nvPr/>
          </p:nvSpPr>
          <p:spPr bwMode="auto">
            <a:xfrm>
              <a:off x="3372" y="1308"/>
              <a:ext cx="585" cy="238"/>
            </a:xfrm>
            <a:custGeom>
              <a:avLst/>
              <a:gdLst/>
              <a:ahLst/>
              <a:cxnLst>
                <a:cxn ang="0">
                  <a:pos x="555" y="98"/>
                </a:cxn>
                <a:cxn ang="0">
                  <a:pos x="497" y="94"/>
                </a:cxn>
                <a:cxn ang="0">
                  <a:pos x="476" y="74"/>
                </a:cxn>
                <a:cxn ang="0">
                  <a:pos x="448" y="78"/>
                </a:cxn>
                <a:cxn ang="0">
                  <a:pos x="422" y="69"/>
                </a:cxn>
                <a:cxn ang="0">
                  <a:pos x="373" y="40"/>
                </a:cxn>
                <a:cxn ang="0">
                  <a:pos x="312" y="29"/>
                </a:cxn>
                <a:cxn ang="0">
                  <a:pos x="270" y="18"/>
                </a:cxn>
                <a:cxn ang="0">
                  <a:pos x="228" y="10"/>
                </a:cxn>
                <a:cxn ang="0">
                  <a:pos x="189" y="21"/>
                </a:cxn>
                <a:cxn ang="0">
                  <a:pos x="144" y="21"/>
                </a:cxn>
                <a:cxn ang="0">
                  <a:pos x="144" y="48"/>
                </a:cxn>
                <a:cxn ang="0">
                  <a:pos x="161" y="61"/>
                </a:cxn>
                <a:cxn ang="0">
                  <a:pos x="161" y="79"/>
                </a:cxn>
                <a:cxn ang="0">
                  <a:pos x="144" y="81"/>
                </a:cxn>
                <a:cxn ang="0">
                  <a:pos x="118" y="71"/>
                </a:cxn>
                <a:cxn ang="0">
                  <a:pos x="100" y="74"/>
                </a:cxn>
                <a:cxn ang="0">
                  <a:pos x="80" y="68"/>
                </a:cxn>
                <a:cxn ang="0">
                  <a:pos x="31" y="66"/>
                </a:cxn>
                <a:cxn ang="0">
                  <a:pos x="20" y="76"/>
                </a:cxn>
                <a:cxn ang="0">
                  <a:pos x="19" y="89"/>
                </a:cxn>
                <a:cxn ang="0">
                  <a:pos x="2" y="83"/>
                </a:cxn>
                <a:cxn ang="0">
                  <a:pos x="0" y="110"/>
                </a:cxn>
                <a:cxn ang="0">
                  <a:pos x="8" y="127"/>
                </a:cxn>
                <a:cxn ang="0">
                  <a:pos x="26" y="127"/>
                </a:cxn>
                <a:cxn ang="0">
                  <a:pos x="44" y="153"/>
                </a:cxn>
                <a:cxn ang="0">
                  <a:pos x="106" y="143"/>
                </a:cxn>
                <a:cxn ang="0">
                  <a:pos x="101" y="171"/>
                </a:cxn>
                <a:cxn ang="0">
                  <a:pos x="70" y="186"/>
                </a:cxn>
                <a:cxn ang="0">
                  <a:pos x="104" y="213"/>
                </a:cxn>
                <a:cxn ang="0">
                  <a:pos x="129" y="217"/>
                </a:cxn>
                <a:cxn ang="0">
                  <a:pos x="148" y="220"/>
                </a:cxn>
                <a:cxn ang="0">
                  <a:pos x="148" y="166"/>
                </a:cxn>
                <a:cxn ang="0">
                  <a:pos x="172" y="150"/>
                </a:cxn>
                <a:cxn ang="0">
                  <a:pos x="181" y="143"/>
                </a:cxn>
                <a:cxn ang="0">
                  <a:pos x="193" y="148"/>
                </a:cxn>
                <a:cxn ang="0">
                  <a:pos x="199" y="152"/>
                </a:cxn>
                <a:cxn ang="0">
                  <a:pos x="214" y="175"/>
                </a:cxn>
                <a:cxn ang="0">
                  <a:pos x="227" y="188"/>
                </a:cxn>
                <a:cxn ang="0">
                  <a:pos x="261" y="188"/>
                </a:cxn>
                <a:cxn ang="0">
                  <a:pos x="275" y="226"/>
                </a:cxn>
                <a:cxn ang="0">
                  <a:pos x="288" y="238"/>
                </a:cxn>
                <a:cxn ang="0">
                  <a:pos x="323" y="232"/>
                </a:cxn>
                <a:cxn ang="0">
                  <a:pos x="363" y="233"/>
                </a:cxn>
                <a:cxn ang="0">
                  <a:pos x="360" y="217"/>
                </a:cxn>
                <a:cxn ang="0">
                  <a:pos x="367" y="209"/>
                </a:cxn>
                <a:cxn ang="0">
                  <a:pos x="392" y="212"/>
                </a:cxn>
                <a:cxn ang="0">
                  <a:pos x="427" y="205"/>
                </a:cxn>
                <a:cxn ang="0">
                  <a:pos x="486" y="215"/>
                </a:cxn>
                <a:cxn ang="0">
                  <a:pos x="486" y="182"/>
                </a:cxn>
                <a:cxn ang="0">
                  <a:pos x="530" y="143"/>
                </a:cxn>
              </a:cxnLst>
              <a:rect l="0" t="0" r="r" b="b"/>
              <a:pathLst>
                <a:path w="585" h="238">
                  <a:moveTo>
                    <a:pt x="570" y="123"/>
                  </a:moveTo>
                  <a:lnTo>
                    <a:pt x="585" y="118"/>
                  </a:lnTo>
                  <a:lnTo>
                    <a:pt x="555" y="98"/>
                  </a:lnTo>
                  <a:lnTo>
                    <a:pt x="537" y="107"/>
                  </a:lnTo>
                  <a:lnTo>
                    <a:pt x="510" y="99"/>
                  </a:lnTo>
                  <a:lnTo>
                    <a:pt x="497" y="94"/>
                  </a:lnTo>
                  <a:lnTo>
                    <a:pt x="486" y="94"/>
                  </a:lnTo>
                  <a:lnTo>
                    <a:pt x="479" y="82"/>
                  </a:lnTo>
                  <a:lnTo>
                    <a:pt x="476" y="74"/>
                  </a:lnTo>
                  <a:lnTo>
                    <a:pt x="465" y="74"/>
                  </a:lnTo>
                  <a:lnTo>
                    <a:pt x="456" y="74"/>
                  </a:lnTo>
                  <a:lnTo>
                    <a:pt x="448" y="78"/>
                  </a:lnTo>
                  <a:lnTo>
                    <a:pt x="434" y="65"/>
                  </a:lnTo>
                  <a:lnTo>
                    <a:pt x="428" y="66"/>
                  </a:lnTo>
                  <a:lnTo>
                    <a:pt x="422" y="69"/>
                  </a:lnTo>
                  <a:lnTo>
                    <a:pt x="414" y="72"/>
                  </a:lnTo>
                  <a:lnTo>
                    <a:pt x="401" y="62"/>
                  </a:lnTo>
                  <a:lnTo>
                    <a:pt x="373" y="40"/>
                  </a:lnTo>
                  <a:lnTo>
                    <a:pt x="350" y="27"/>
                  </a:lnTo>
                  <a:lnTo>
                    <a:pt x="336" y="15"/>
                  </a:lnTo>
                  <a:lnTo>
                    <a:pt x="312" y="29"/>
                  </a:lnTo>
                  <a:lnTo>
                    <a:pt x="308" y="19"/>
                  </a:lnTo>
                  <a:lnTo>
                    <a:pt x="274" y="18"/>
                  </a:lnTo>
                  <a:lnTo>
                    <a:pt x="270" y="18"/>
                  </a:lnTo>
                  <a:lnTo>
                    <a:pt x="255" y="0"/>
                  </a:lnTo>
                  <a:lnTo>
                    <a:pt x="239" y="3"/>
                  </a:lnTo>
                  <a:lnTo>
                    <a:pt x="228" y="10"/>
                  </a:lnTo>
                  <a:lnTo>
                    <a:pt x="206" y="14"/>
                  </a:lnTo>
                  <a:lnTo>
                    <a:pt x="200" y="10"/>
                  </a:lnTo>
                  <a:lnTo>
                    <a:pt x="189" y="21"/>
                  </a:lnTo>
                  <a:lnTo>
                    <a:pt x="181" y="19"/>
                  </a:lnTo>
                  <a:lnTo>
                    <a:pt x="150" y="21"/>
                  </a:lnTo>
                  <a:lnTo>
                    <a:pt x="144" y="21"/>
                  </a:lnTo>
                  <a:lnTo>
                    <a:pt x="140" y="23"/>
                  </a:lnTo>
                  <a:lnTo>
                    <a:pt x="152" y="36"/>
                  </a:lnTo>
                  <a:lnTo>
                    <a:pt x="144" y="48"/>
                  </a:lnTo>
                  <a:lnTo>
                    <a:pt x="145" y="57"/>
                  </a:lnTo>
                  <a:lnTo>
                    <a:pt x="145" y="61"/>
                  </a:lnTo>
                  <a:lnTo>
                    <a:pt x="161" y="61"/>
                  </a:lnTo>
                  <a:lnTo>
                    <a:pt x="166" y="69"/>
                  </a:lnTo>
                  <a:lnTo>
                    <a:pt x="166" y="78"/>
                  </a:lnTo>
                  <a:lnTo>
                    <a:pt x="161" y="79"/>
                  </a:lnTo>
                  <a:lnTo>
                    <a:pt x="155" y="74"/>
                  </a:lnTo>
                  <a:lnTo>
                    <a:pt x="148" y="78"/>
                  </a:lnTo>
                  <a:lnTo>
                    <a:pt x="144" y="81"/>
                  </a:lnTo>
                  <a:lnTo>
                    <a:pt x="132" y="74"/>
                  </a:lnTo>
                  <a:lnTo>
                    <a:pt x="128" y="68"/>
                  </a:lnTo>
                  <a:lnTo>
                    <a:pt x="118" y="71"/>
                  </a:lnTo>
                  <a:lnTo>
                    <a:pt x="118" y="73"/>
                  </a:lnTo>
                  <a:lnTo>
                    <a:pt x="110" y="68"/>
                  </a:lnTo>
                  <a:lnTo>
                    <a:pt x="100" y="74"/>
                  </a:lnTo>
                  <a:lnTo>
                    <a:pt x="87" y="78"/>
                  </a:lnTo>
                  <a:lnTo>
                    <a:pt x="84" y="74"/>
                  </a:lnTo>
                  <a:lnTo>
                    <a:pt x="80" y="68"/>
                  </a:lnTo>
                  <a:lnTo>
                    <a:pt x="64" y="66"/>
                  </a:lnTo>
                  <a:lnTo>
                    <a:pt x="37" y="65"/>
                  </a:lnTo>
                  <a:lnTo>
                    <a:pt x="31" y="66"/>
                  </a:lnTo>
                  <a:lnTo>
                    <a:pt x="29" y="71"/>
                  </a:lnTo>
                  <a:lnTo>
                    <a:pt x="24" y="69"/>
                  </a:lnTo>
                  <a:lnTo>
                    <a:pt x="20" y="76"/>
                  </a:lnTo>
                  <a:lnTo>
                    <a:pt x="16" y="82"/>
                  </a:lnTo>
                  <a:lnTo>
                    <a:pt x="16" y="84"/>
                  </a:lnTo>
                  <a:lnTo>
                    <a:pt x="19" y="89"/>
                  </a:lnTo>
                  <a:lnTo>
                    <a:pt x="14" y="91"/>
                  </a:lnTo>
                  <a:lnTo>
                    <a:pt x="9" y="82"/>
                  </a:lnTo>
                  <a:lnTo>
                    <a:pt x="2" y="83"/>
                  </a:lnTo>
                  <a:lnTo>
                    <a:pt x="0" y="95"/>
                  </a:lnTo>
                  <a:lnTo>
                    <a:pt x="0" y="103"/>
                  </a:lnTo>
                  <a:lnTo>
                    <a:pt x="0" y="110"/>
                  </a:lnTo>
                  <a:lnTo>
                    <a:pt x="4" y="115"/>
                  </a:lnTo>
                  <a:lnTo>
                    <a:pt x="8" y="120"/>
                  </a:lnTo>
                  <a:lnTo>
                    <a:pt x="8" y="127"/>
                  </a:lnTo>
                  <a:lnTo>
                    <a:pt x="14" y="127"/>
                  </a:lnTo>
                  <a:lnTo>
                    <a:pt x="22" y="121"/>
                  </a:lnTo>
                  <a:lnTo>
                    <a:pt x="26" y="127"/>
                  </a:lnTo>
                  <a:lnTo>
                    <a:pt x="32" y="134"/>
                  </a:lnTo>
                  <a:lnTo>
                    <a:pt x="38" y="140"/>
                  </a:lnTo>
                  <a:lnTo>
                    <a:pt x="44" y="153"/>
                  </a:lnTo>
                  <a:lnTo>
                    <a:pt x="56" y="150"/>
                  </a:lnTo>
                  <a:lnTo>
                    <a:pt x="76" y="147"/>
                  </a:lnTo>
                  <a:lnTo>
                    <a:pt x="106" y="143"/>
                  </a:lnTo>
                  <a:lnTo>
                    <a:pt x="114" y="152"/>
                  </a:lnTo>
                  <a:lnTo>
                    <a:pt x="115" y="168"/>
                  </a:lnTo>
                  <a:lnTo>
                    <a:pt x="101" y="171"/>
                  </a:lnTo>
                  <a:lnTo>
                    <a:pt x="87" y="175"/>
                  </a:lnTo>
                  <a:lnTo>
                    <a:pt x="89" y="186"/>
                  </a:lnTo>
                  <a:lnTo>
                    <a:pt x="70" y="186"/>
                  </a:lnTo>
                  <a:lnTo>
                    <a:pt x="87" y="209"/>
                  </a:lnTo>
                  <a:lnTo>
                    <a:pt x="96" y="211"/>
                  </a:lnTo>
                  <a:lnTo>
                    <a:pt x="104" y="213"/>
                  </a:lnTo>
                  <a:lnTo>
                    <a:pt x="108" y="222"/>
                  </a:lnTo>
                  <a:lnTo>
                    <a:pt x="113" y="218"/>
                  </a:lnTo>
                  <a:lnTo>
                    <a:pt x="129" y="217"/>
                  </a:lnTo>
                  <a:lnTo>
                    <a:pt x="138" y="220"/>
                  </a:lnTo>
                  <a:lnTo>
                    <a:pt x="144" y="225"/>
                  </a:lnTo>
                  <a:lnTo>
                    <a:pt x="148" y="220"/>
                  </a:lnTo>
                  <a:lnTo>
                    <a:pt x="158" y="221"/>
                  </a:lnTo>
                  <a:lnTo>
                    <a:pt x="141" y="169"/>
                  </a:lnTo>
                  <a:lnTo>
                    <a:pt x="148" y="166"/>
                  </a:lnTo>
                  <a:lnTo>
                    <a:pt x="171" y="155"/>
                  </a:lnTo>
                  <a:lnTo>
                    <a:pt x="175" y="154"/>
                  </a:lnTo>
                  <a:lnTo>
                    <a:pt x="172" y="150"/>
                  </a:lnTo>
                  <a:lnTo>
                    <a:pt x="177" y="152"/>
                  </a:lnTo>
                  <a:lnTo>
                    <a:pt x="177" y="147"/>
                  </a:lnTo>
                  <a:lnTo>
                    <a:pt x="181" y="143"/>
                  </a:lnTo>
                  <a:lnTo>
                    <a:pt x="182" y="144"/>
                  </a:lnTo>
                  <a:lnTo>
                    <a:pt x="188" y="144"/>
                  </a:lnTo>
                  <a:lnTo>
                    <a:pt x="193" y="148"/>
                  </a:lnTo>
                  <a:lnTo>
                    <a:pt x="199" y="141"/>
                  </a:lnTo>
                  <a:lnTo>
                    <a:pt x="203" y="143"/>
                  </a:lnTo>
                  <a:lnTo>
                    <a:pt x="199" y="152"/>
                  </a:lnTo>
                  <a:lnTo>
                    <a:pt x="202" y="165"/>
                  </a:lnTo>
                  <a:lnTo>
                    <a:pt x="214" y="172"/>
                  </a:lnTo>
                  <a:lnTo>
                    <a:pt x="214" y="175"/>
                  </a:lnTo>
                  <a:lnTo>
                    <a:pt x="210" y="180"/>
                  </a:lnTo>
                  <a:lnTo>
                    <a:pt x="212" y="183"/>
                  </a:lnTo>
                  <a:lnTo>
                    <a:pt x="227" y="188"/>
                  </a:lnTo>
                  <a:lnTo>
                    <a:pt x="232" y="196"/>
                  </a:lnTo>
                  <a:lnTo>
                    <a:pt x="246" y="192"/>
                  </a:lnTo>
                  <a:lnTo>
                    <a:pt x="261" y="188"/>
                  </a:lnTo>
                  <a:lnTo>
                    <a:pt x="274" y="212"/>
                  </a:lnTo>
                  <a:lnTo>
                    <a:pt x="279" y="223"/>
                  </a:lnTo>
                  <a:lnTo>
                    <a:pt x="275" y="226"/>
                  </a:lnTo>
                  <a:lnTo>
                    <a:pt x="272" y="230"/>
                  </a:lnTo>
                  <a:lnTo>
                    <a:pt x="285" y="234"/>
                  </a:lnTo>
                  <a:lnTo>
                    <a:pt x="288" y="238"/>
                  </a:lnTo>
                  <a:lnTo>
                    <a:pt x="305" y="234"/>
                  </a:lnTo>
                  <a:lnTo>
                    <a:pt x="311" y="238"/>
                  </a:lnTo>
                  <a:lnTo>
                    <a:pt x="323" y="232"/>
                  </a:lnTo>
                  <a:lnTo>
                    <a:pt x="330" y="231"/>
                  </a:lnTo>
                  <a:lnTo>
                    <a:pt x="341" y="233"/>
                  </a:lnTo>
                  <a:lnTo>
                    <a:pt x="363" y="233"/>
                  </a:lnTo>
                  <a:lnTo>
                    <a:pt x="357" y="228"/>
                  </a:lnTo>
                  <a:lnTo>
                    <a:pt x="357" y="221"/>
                  </a:lnTo>
                  <a:lnTo>
                    <a:pt x="360" y="217"/>
                  </a:lnTo>
                  <a:lnTo>
                    <a:pt x="360" y="213"/>
                  </a:lnTo>
                  <a:lnTo>
                    <a:pt x="354" y="210"/>
                  </a:lnTo>
                  <a:lnTo>
                    <a:pt x="367" y="209"/>
                  </a:lnTo>
                  <a:lnTo>
                    <a:pt x="380" y="210"/>
                  </a:lnTo>
                  <a:lnTo>
                    <a:pt x="383" y="213"/>
                  </a:lnTo>
                  <a:lnTo>
                    <a:pt x="392" y="212"/>
                  </a:lnTo>
                  <a:lnTo>
                    <a:pt x="385" y="201"/>
                  </a:lnTo>
                  <a:lnTo>
                    <a:pt x="393" y="200"/>
                  </a:lnTo>
                  <a:lnTo>
                    <a:pt x="427" y="205"/>
                  </a:lnTo>
                  <a:lnTo>
                    <a:pt x="455" y="207"/>
                  </a:lnTo>
                  <a:lnTo>
                    <a:pt x="476" y="215"/>
                  </a:lnTo>
                  <a:lnTo>
                    <a:pt x="486" y="215"/>
                  </a:lnTo>
                  <a:lnTo>
                    <a:pt x="489" y="225"/>
                  </a:lnTo>
                  <a:lnTo>
                    <a:pt x="497" y="205"/>
                  </a:lnTo>
                  <a:lnTo>
                    <a:pt x="486" y="182"/>
                  </a:lnTo>
                  <a:lnTo>
                    <a:pt x="520" y="174"/>
                  </a:lnTo>
                  <a:lnTo>
                    <a:pt x="524" y="161"/>
                  </a:lnTo>
                  <a:lnTo>
                    <a:pt x="530" y="143"/>
                  </a:lnTo>
                  <a:lnTo>
                    <a:pt x="565" y="144"/>
                  </a:lnTo>
                  <a:lnTo>
                    <a:pt x="570" y="123"/>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23" name="Freeform 479"/>
            <p:cNvSpPr>
              <a:spLocks noEditPoints="1"/>
            </p:cNvSpPr>
            <p:nvPr/>
          </p:nvSpPr>
          <p:spPr bwMode="auto">
            <a:xfrm>
              <a:off x="3370" y="1306"/>
              <a:ext cx="590" cy="242"/>
            </a:xfrm>
            <a:custGeom>
              <a:avLst/>
              <a:gdLst/>
              <a:ahLst/>
              <a:cxnLst>
                <a:cxn ang="0">
                  <a:pos x="1761" y="446"/>
                </a:cxn>
                <a:cxn ang="0">
                  <a:pos x="1584" y="340"/>
                </a:cxn>
                <a:cxn ang="0">
                  <a:pos x="1287" y="188"/>
                </a:cxn>
                <a:cxn ang="0">
                  <a:pos x="1069" y="98"/>
                </a:cxn>
                <a:cxn ang="0">
                  <a:pos x="721" y="76"/>
                </a:cxn>
                <a:cxn ang="0">
                  <a:pos x="502" y="105"/>
                </a:cxn>
                <a:cxn ang="0">
                  <a:pos x="506" y="266"/>
                </a:cxn>
                <a:cxn ang="0">
                  <a:pos x="544" y="339"/>
                </a:cxn>
                <a:cxn ang="0">
                  <a:pos x="421" y="317"/>
                </a:cxn>
                <a:cxn ang="0">
                  <a:pos x="290" y="338"/>
                </a:cxn>
                <a:cxn ang="0">
                  <a:pos x="108" y="325"/>
                </a:cxn>
                <a:cxn ang="0">
                  <a:pos x="75" y="404"/>
                </a:cxn>
                <a:cxn ang="0">
                  <a:pos x="16" y="486"/>
                </a:cxn>
                <a:cxn ang="0">
                  <a:pos x="78" y="530"/>
                </a:cxn>
                <a:cxn ang="0">
                  <a:pos x="198" y="655"/>
                </a:cxn>
                <a:cxn ang="0">
                  <a:pos x="316" y="769"/>
                </a:cxn>
                <a:cxn ang="0">
                  <a:pos x="374" y="934"/>
                </a:cxn>
                <a:cxn ang="0">
                  <a:pos x="496" y="987"/>
                </a:cxn>
                <a:cxn ang="0">
                  <a:pos x="609" y="673"/>
                </a:cxn>
                <a:cxn ang="0">
                  <a:pos x="631" y="623"/>
                </a:cxn>
                <a:cxn ang="0">
                  <a:pos x="712" y="624"/>
                </a:cxn>
                <a:cxn ang="0">
                  <a:pos x="739" y="799"/>
                </a:cxn>
                <a:cxn ang="0">
                  <a:pos x="916" y="828"/>
                </a:cxn>
                <a:cxn ang="0">
                  <a:pos x="1008" y="1044"/>
                </a:cxn>
                <a:cxn ang="0">
                  <a:pos x="1185" y="1017"/>
                </a:cxn>
                <a:cxn ang="0">
                  <a:pos x="1242" y="940"/>
                </a:cxn>
                <a:cxn ang="0">
                  <a:pos x="1325" y="932"/>
                </a:cxn>
                <a:cxn ang="0">
                  <a:pos x="1580" y="904"/>
                </a:cxn>
                <a:cxn ang="0">
                  <a:pos x="1676" y="798"/>
                </a:cxn>
                <a:cxn ang="0">
                  <a:pos x="1964" y="639"/>
                </a:cxn>
                <a:cxn ang="0">
                  <a:pos x="1729" y="904"/>
                </a:cxn>
                <a:cxn ang="0">
                  <a:pos x="1478" y="909"/>
                </a:cxn>
                <a:cxn ang="0">
                  <a:pos x="1310" y="929"/>
                </a:cxn>
                <a:cxn ang="0">
                  <a:pos x="1244" y="980"/>
                </a:cxn>
                <a:cxn ang="0">
                  <a:pos x="1147" y="1025"/>
                </a:cxn>
                <a:cxn ang="0">
                  <a:pos x="986" y="1036"/>
                </a:cxn>
                <a:cxn ang="0">
                  <a:pos x="910" y="839"/>
                </a:cxn>
                <a:cxn ang="0">
                  <a:pos x="739" y="766"/>
                </a:cxn>
                <a:cxn ang="0">
                  <a:pos x="690" y="630"/>
                </a:cxn>
                <a:cxn ang="0">
                  <a:pos x="637" y="636"/>
                </a:cxn>
                <a:cxn ang="0">
                  <a:pos x="613" y="689"/>
                </a:cxn>
                <a:cxn ang="0">
                  <a:pos x="525" y="975"/>
                </a:cxn>
                <a:cxn ang="0">
                  <a:pos x="386" y="984"/>
                </a:cxn>
                <a:cxn ang="0">
                  <a:pos x="247" y="812"/>
                </a:cxn>
                <a:cxn ang="0">
                  <a:pos x="367" y="635"/>
                </a:cxn>
                <a:cxn ang="0">
                  <a:pos x="89" y="565"/>
                </a:cxn>
                <a:cxn ang="0">
                  <a:pos x="13" y="515"/>
                </a:cxn>
                <a:cxn ang="0">
                  <a:pos x="63" y="403"/>
                </a:cxn>
                <a:cxn ang="0">
                  <a:pos x="88" y="301"/>
                </a:cxn>
                <a:cxn ang="0">
                  <a:pos x="291" y="299"/>
                </a:cxn>
                <a:cxn ang="0">
                  <a:pos x="404" y="326"/>
                </a:cxn>
                <a:cxn ang="0">
                  <a:pos x="511" y="340"/>
                </a:cxn>
                <a:cxn ang="0">
                  <a:pos x="555" y="277"/>
                </a:cxn>
                <a:cxn ang="0">
                  <a:pos x="481" y="106"/>
                </a:cxn>
                <a:cxn ang="0">
                  <a:pos x="690" y="47"/>
                </a:cxn>
                <a:cxn ang="0">
                  <a:pos x="945" y="81"/>
                </a:cxn>
                <a:cxn ang="0">
                  <a:pos x="1218" y="119"/>
                </a:cxn>
                <a:cxn ang="0">
                  <a:pos x="1558" y="340"/>
                </a:cxn>
                <a:cxn ang="0">
                  <a:pos x="1722" y="408"/>
                </a:cxn>
                <a:cxn ang="0">
                  <a:pos x="2028" y="528"/>
                </a:cxn>
              </a:cxnLst>
              <a:rect l="0" t="0" r="r" b="b"/>
              <a:pathLst>
                <a:path w="2033" h="1057">
                  <a:moveTo>
                    <a:pt x="1967" y="543"/>
                  </a:moveTo>
                  <a:cubicBezTo>
                    <a:pt x="1967" y="540"/>
                    <a:pt x="1969" y="538"/>
                    <a:pt x="1971" y="537"/>
                  </a:cubicBezTo>
                  <a:lnTo>
                    <a:pt x="2021" y="514"/>
                  </a:lnTo>
                  <a:lnTo>
                    <a:pt x="2019" y="527"/>
                  </a:lnTo>
                  <a:lnTo>
                    <a:pt x="1917" y="444"/>
                  </a:lnTo>
                  <a:lnTo>
                    <a:pt x="1926" y="445"/>
                  </a:lnTo>
                  <a:lnTo>
                    <a:pt x="1862" y="480"/>
                  </a:lnTo>
                  <a:cubicBezTo>
                    <a:pt x="1860" y="481"/>
                    <a:pt x="1857" y="481"/>
                    <a:pt x="1855" y="480"/>
                  </a:cubicBezTo>
                  <a:lnTo>
                    <a:pt x="1762" y="447"/>
                  </a:lnTo>
                  <a:cubicBezTo>
                    <a:pt x="1762" y="447"/>
                    <a:pt x="1761" y="446"/>
                    <a:pt x="1761" y="446"/>
                  </a:cubicBezTo>
                  <a:lnTo>
                    <a:pt x="1718" y="423"/>
                  </a:lnTo>
                  <a:lnTo>
                    <a:pt x="1722" y="424"/>
                  </a:lnTo>
                  <a:lnTo>
                    <a:pt x="1683" y="424"/>
                  </a:lnTo>
                  <a:cubicBezTo>
                    <a:pt x="1680" y="424"/>
                    <a:pt x="1677" y="422"/>
                    <a:pt x="1676" y="419"/>
                  </a:cubicBezTo>
                  <a:lnTo>
                    <a:pt x="1652" y="367"/>
                  </a:lnTo>
                  <a:lnTo>
                    <a:pt x="1639" y="335"/>
                  </a:lnTo>
                  <a:lnTo>
                    <a:pt x="1647" y="340"/>
                  </a:lnTo>
                  <a:lnTo>
                    <a:pt x="1611" y="340"/>
                  </a:lnTo>
                  <a:lnTo>
                    <a:pt x="1580" y="340"/>
                  </a:lnTo>
                  <a:lnTo>
                    <a:pt x="1584" y="340"/>
                  </a:lnTo>
                  <a:lnTo>
                    <a:pt x="1556" y="353"/>
                  </a:lnTo>
                  <a:cubicBezTo>
                    <a:pt x="1553" y="354"/>
                    <a:pt x="1549" y="354"/>
                    <a:pt x="1546" y="351"/>
                  </a:cubicBezTo>
                  <a:lnTo>
                    <a:pt x="1498" y="294"/>
                  </a:lnTo>
                  <a:lnTo>
                    <a:pt x="1507" y="296"/>
                  </a:lnTo>
                  <a:lnTo>
                    <a:pt x="1486" y="305"/>
                  </a:lnTo>
                  <a:lnTo>
                    <a:pt x="1464" y="316"/>
                  </a:lnTo>
                  <a:lnTo>
                    <a:pt x="1436" y="328"/>
                  </a:lnTo>
                  <a:cubicBezTo>
                    <a:pt x="1433" y="329"/>
                    <a:pt x="1430" y="329"/>
                    <a:pt x="1427" y="326"/>
                  </a:cubicBezTo>
                  <a:lnTo>
                    <a:pt x="1384" y="285"/>
                  </a:lnTo>
                  <a:lnTo>
                    <a:pt x="1287" y="188"/>
                  </a:lnTo>
                  <a:lnTo>
                    <a:pt x="1288" y="189"/>
                  </a:lnTo>
                  <a:lnTo>
                    <a:pt x="1209" y="132"/>
                  </a:lnTo>
                  <a:cubicBezTo>
                    <a:pt x="1208" y="131"/>
                    <a:pt x="1208" y="131"/>
                    <a:pt x="1208" y="131"/>
                  </a:cubicBezTo>
                  <a:lnTo>
                    <a:pt x="1160" y="77"/>
                  </a:lnTo>
                  <a:lnTo>
                    <a:pt x="1171" y="78"/>
                  </a:lnTo>
                  <a:lnTo>
                    <a:pt x="1088" y="142"/>
                  </a:lnTo>
                  <a:cubicBezTo>
                    <a:pt x="1086" y="143"/>
                    <a:pt x="1083" y="144"/>
                    <a:pt x="1081" y="143"/>
                  </a:cubicBezTo>
                  <a:cubicBezTo>
                    <a:pt x="1078" y="142"/>
                    <a:pt x="1076" y="140"/>
                    <a:pt x="1075" y="138"/>
                  </a:cubicBezTo>
                  <a:lnTo>
                    <a:pt x="1062" y="93"/>
                  </a:lnTo>
                  <a:lnTo>
                    <a:pt x="1069" y="98"/>
                  </a:lnTo>
                  <a:lnTo>
                    <a:pt x="952" y="93"/>
                  </a:lnTo>
                  <a:lnTo>
                    <a:pt x="939" y="93"/>
                  </a:lnTo>
                  <a:cubicBezTo>
                    <a:pt x="936" y="93"/>
                    <a:pt x="934" y="92"/>
                    <a:pt x="932" y="90"/>
                  </a:cubicBezTo>
                  <a:lnTo>
                    <a:pt x="879" y="13"/>
                  </a:lnTo>
                  <a:lnTo>
                    <a:pt x="887" y="16"/>
                  </a:lnTo>
                  <a:lnTo>
                    <a:pt x="832" y="26"/>
                  </a:lnTo>
                  <a:lnTo>
                    <a:pt x="836" y="25"/>
                  </a:lnTo>
                  <a:lnTo>
                    <a:pt x="798" y="56"/>
                  </a:lnTo>
                  <a:cubicBezTo>
                    <a:pt x="797" y="57"/>
                    <a:pt x="796" y="58"/>
                    <a:pt x="795" y="58"/>
                  </a:cubicBezTo>
                  <a:lnTo>
                    <a:pt x="721" y="76"/>
                  </a:lnTo>
                  <a:cubicBezTo>
                    <a:pt x="719" y="77"/>
                    <a:pt x="717" y="76"/>
                    <a:pt x="715" y="75"/>
                  </a:cubicBezTo>
                  <a:lnTo>
                    <a:pt x="691" y="58"/>
                  </a:lnTo>
                  <a:lnTo>
                    <a:pt x="702" y="57"/>
                  </a:lnTo>
                  <a:lnTo>
                    <a:pt x="663" y="102"/>
                  </a:lnTo>
                  <a:cubicBezTo>
                    <a:pt x="661" y="104"/>
                    <a:pt x="658" y="105"/>
                    <a:pt x="655" y="105"/>
                  </a:cubicBezTo>
                  <a:lnTo>
                    <a:pt x="629" y="98"/>
                  </a:lnTo>
                  <a:lnTo>
                    <a:pt x="631" y="98"/>
                  </a:lnTo>
                  <a:lnTo>
                    <a:pt x="526" y="108"/>
                  </a:lnTo>
                  <a:cubicBezTo>
                    <a:pt x="525" y="108"/>
                    <a:pt x="524" y="108"/>
                    <a:pt x="524" y="108"/>
                  </a:cubicBezTo>
                  <a:lnTo>
                    <a:pt x="502" y="105"/>
                  </a:lnTo>
                  <a:lnTo>
                    <a:pt x="507" y="103"/>
                  </a:lnTo>
                  <a:lnTo>
                    <a:pt x="494" y="113"/>
                  </a:lnTo>
                  <a:lnTo>
                    <a:pt x="495" y="102"/>
                  </a:lnTo>
                  <a:lnTo>
                    <a:pt x="538" y="159"/>
                  </a:lnTo>
                  <a:cubicBezTo>
                    <a:pt x="540" y="161"/>
                    <a:pt x="540" y="165"/>
                    <a:pt x="539" y="168"/>
                  </a:cubicBezTo>
                  <a:lnTo>
                    <a:pt x="510" y="221"/>
                  </a:lnTo>
                  <a:lnTo>
                    <a:pt x="511" y="217"/>
                  </a:lnTo>
                  <a:lnTo>
                    <a:pt x="514" y="253"/>
                  </a:lnTo>
                  <a:lnTo>
                    <a:pt x="514" y="274"/>
                  </a:lnTo>
                  <a:lnTo>
                    <a:pt x="506" y="266"/>
                  </a:lnTo>
                  <a:lnTo>
                    <a:pt x="562" y="266"/>
                  </a:lnTo>
                  <a:cubicBezTo>
                    <a:pt x="566" y="266"/>
                    <a:pt x="568" y="268"/>
                    <a:pt x="570" y="270"/>
                  </a:cubicBezTo>
                  <a:lnTo>
                    <a:pt x="586" y="306"/>
                  </a:lnTo>
                  <a:cubicBezTo>
                    <a:pt x="587" y="307"/>
                    <a:pt x="587" y="308"/>
                    <a:pt x="587" y="309"/>
                  </a:cubicBezTo>
                  <a:lnTo>
                    <a:pt x="587" y="346"/>
                  </a:lnTo>
                  <a:cubicBezTo>
                    <a:pt x="587" y="349"/>
                    <a:pt x="585" y="352"/>
                    <a:pt x="582" y="353"/>
                  </a:cubicBezTo>
                  <a:lnTo>
                    <a:pt x="565" y="360"/>
                  </a:lnTo>
                  <a:cubicBezTo>
                    <a:pt x="563" y="361"/>
                    <a:pt x="559" y="360"/>
                    <a:pt x="557" y="358"/>
                  </a:cubicBezTo>
                  <a:lnTo>
                    <a:pt x="535" y="338"/>
                  </a:lnTo>
                  <a:lnTo>
                    <a:pt x="544" y="339"/>
                  </a:lnTo>
                  <a:lnTo>
                    <a:pt x="521" y="353"/>
                  </a:lnTo>
                  <a:lnTo>
                    <a:pt x="523" y="351"/>
                  </a:lnTo>
                  <a:lnTo>
                    <a:pt x="509" y="366"/>
                  </a:lnTo>
                  <a:cubicBezTo>
                    <a:pt x="506" y="369"/>
                    <a:pt x="502" y="370"/>
                    <a:pt x="498" y="367"/>
                  </a:cubicBezTo>
                  <a:lnTo>
                    <a:pt x="457" y="339"/>
                  </a:lnTo>
                  <a:cubicBezTo>
                    <a:pt x="455" y="338"/>
                    <a:pt x="454" y="337"/>
                    <a:pt x="454" y="335"/>
                  </a:cubicBezTo>
                  <a:lnTo>
                    <a:pt x="442" y="305"/>
                  </a:lnTo>
                  <a:lnTo>
                    <a:pt x="453" y="310"/>
                  </a:lnTo>
                  <a:lnTo>
                    <a:pt x="415" y="325"/>
                  </a:lnTo>
                  <a:lnTo>
                    <a:pt x="421" y="317"/>
                  </a:lnTo>
                  <a:lnTo>
                    <a:pt x="421" y="326"/>
                  </a:lnTo>
                  <a:cubicBezTo>
                    <a:pt x="421" y="329"/>
                    <a:pt x="419" y="332"/>
                    <a:pt x="416" y="333"/>
                  </a:cubicBezTo>
                  <a:cubicBezTo>
                    <a:pt x="413" y="334"/>
                    <a:pt x="409" y="334"/>
                    <a:pt x="407" y="331"/>
                  </a:cubicBezTo>
                  <a:lnTo>
                    <a:pt x="382" y="308"/>
                  </a:lnTo>
                  <a:lnTo>
                    <a:pt x="393" y="308"/>
                  </a:lnTo>
                  <a:lnTo>
                    <a:pt x="358" y="338"/>
                  </a:lnTo>
                  <a:cubicBezTo>
                    <a:pt x="357" y="339"/>
                    <a:pt x="356" y="340"/>
                    <a:pt x="355" y="340"/>
                  </a:cubicBezTo>
                  <a:lnTo>
                    <a:pt x="311" y="353"/>
                  </a:lnTo>
                  <a:cubicBezTo>
                    <a:pt x="308" y="354"/>
                    <a:pt x="305" y="353"/>
                    <a:pt x="303" y="351"/>
                  </a:cubicBezTo>
                  <a:lnTo>
                    <a:pt x="290" y="338"/>
                  </a:lnTo>
                  <a:cubicBezTo>
                    <a:pt x="289" y="337"/>
                    <a:pt x="289" y="336"/>
                    <a:pt x="288" y="335"/>
                  </a:cubicBezTo>
                  <a:lnTo>
                    <a:pt x="276" y="305"/>
                  </a:lnTo>
                  <a:lnTo>
                    <a:pt x="283" y="310"/>
                  </a:lnTo>
                  <a:lnTo>
                    <a:pt x="227" y="305"/>
                  </a:lnTo>
                  <a:lnTo>
                    <a:pt x="136" y="299"/>
                  </a:lnTo>
                  <a:lnTo>
                    <a:pt x="139" y="298"/>
                  </a:lnTo>
                  <a:lnTo>
                    <a:pt x="116" y="305"/>
                  </a:lnTo>
                  <a:lnTo>
                    <a:pt x="121" y="300"/>
                  </a:lnTo>
                  <a:lnTo>
                    <a:pt x="113" y="320"/>
                  </a:lnTo>
                  <a:cubicBezTo>
                    <a:pt x="112" y="322"/>
                    <a:pt x="110" y="324"/>
                    <a:pt x="108" y="325"/>
                  </a:cubicBezTo>
                  <a:cubicBezTo>
                    <a:pt x="106" y="326"/>
                    <a:pt x="104" y="325"/>
                    <a:pt x="102" y="324"/>
                  </a:cubicBezTo>
                  <a:lnTo>
                    <a:pt x="87" y="316"/>
                  </a:lnTo>
                  <a:lnTo>
                    <a:pt x="98" y="312"/>
                  </a:lnTo>
                  <a:lnTo>
                    <a:pt x="84" y="342"/>
                  </a:lnTo>
                  <a:lnTo>
                    <a:pt x="68" y="368"/>
                  </a:lnTo>
                  <a:lnTo>
                    <a:pt x="69" y="364"/>
                  </a:lnTo>
                  <a:lnTo>
                    <a:pt x="69" y="376"/>
                  </a:lnTo>
                  <a:lnTo>
                    <a:pt x="69" y="372"/>
                  </a:lnTo>
                  <a:lnTo>
                    <a:pt x="78" y="394"/>
                  </a:lnTo>
                  <a:cubicBezTo>
                    <a:pt x="80" y="398"/>
                    <a:pt x="78" y="402"/>
                    <a:pt x="75" y="404"/>
                  </a:cubicBezTo>
                  <a:lnTo>
                    <a:pt x="60" y="413"/>
                  </a:lnTo>
                  <a:cubicBezTo>
                    <a:pt x="57" y="414"/>
                    <a:pt x="55" y="414"/>
                    <a:pt x="53" y="413"/>
                  </a:cubicBezTo>
                  <a:cubicBezTo>
                    <a:pt x="51" y="413"/>
                    <a:pt x="49" y="411"/>
                    <a:pt x="48" y="409"/>
                  </a:cubicBezTo>
                  <a:lnTo>
                    <a:pt x="32" y="367"/>
                  </a:lnTo>
                  <a:lnTo>
                    <a:pt x="41" y="372"/>
                  </a:lnTo>
                  <a:lnTo>
                    <a:pt x="17" y="377"/>
                  </a:lnTo>
                  <a:lnTo>
                    <a:pt x="23" y="370"/>
                  </a:lnTo>
                  <a:lnTo>
                    <a:pt x="16" y="425"/>
                  </a:lnTo>
                  <a:lnTo>
                    <a:pt x="16" y="458"/>
                  </a:lnTo>
                  <a:lnTo>
                    <a:pt x="16" y="486"/>
                  </a:lnTo>
                  <a:lnTo>
                    <a:pt x="16" y="483"/>
                  </a:lnTo>
                  <a:lnTo>
                    <a:pt x="27" y="508"/>
                  </a:lnTo>
                  <a:lnTo>
                    <a:pt x="26" y="506"/>
                  </a:lnTo>
                  <a:lnTo>
                    <a:pt x="40" y="526"/>
                  </a:lnTo>
                  <a:cubicBezTo>
                    <a:pt x="41" y="528"/>
                    <a:pt x="41" y="529"/>
                    <a:pt x="41" y="531"/>
                  </a:cubicBezTo>
                  <a:lnTo>
                    <a:pt x="41" y="564"/>
                  </a:lnTo>
                  <a:lnTo>
                    <a:pt x="32" y="556"/>
                  </a:lnTo>
                  <a:lnTo>
                    <a:pt x="54" y="553"/>
                  </a:lnTo>
                  <a:lnTo>
                    <a:pt x="50" y="555"/>
                  </a:lnTo>
                  <a:lnTo>
                    <a:pt x="78" y="530"/>
                  </a:lnTo>
                  <a:cubicBezTo>
                    <a:pt x="80" y="528"/>
                    <a:pt x="82" y="528"/>
                    <a:pt x="85" y="528"/>
                  </a:cubicBezTo>
                  <a:cubicBezTo>
                    <a:pt x="87" y="529"/>
                    <a:pt x="89" y="530"/>
                    <a:pt x="91" y="532"/>
                  </a:cubicBezTo>
                  <a:lnTo>
                    <a:pt x="103" y="557"/>
                  </a:lnTo>
                  <a:lnTo>
                    <a:pt x="102" y="556"/>
                  </a:lnTo>
                  <a:lnTo>
                    <a:pt x="125" y="586"/>
                  </a:lnTo>
                  <a:lnTo>
                    <a:pt x="144" y="615"/>
                  </a:lnTo>
                  <a:cubicBezTo>
                    <a:pt x="145" y="615"/>
                    <a:pt x="145" y="616"/>
                    <a:pt x="145" y="617"/>
                  </a:cubicBezTo>
                  <a:lnTo>
                    <a:pt x="167" y="673"/>
                  </a:lnTo>
                  <a:lnTo>
                    <a:pt x="157" y="669"/>
                  </a:lnTo>
                  <a:lnTo>
                    <a:pt x="198" y="655"/>
                  </a:lnTo>
                  <a:lnTo>
                    <a:pt x="266" y="640"/>
                  </a:lnTo>
                  <a:lnTo>
                    <a:pt x="372" y="623"/>
                  </a:lnTo>
                  <a:cubicBezTo>
                    <a:pt x="376" y="623"/>
                    <a:pt x="379" y="624"/>
                    <a:pt x="380" y="627"/>
                  </a:cubicBezTo>
                  <a:lnTo>
                    <a:pt x="405" y="667"/>
                  </a:lnTo>
                  <a:cubicBezTo>
                    <a:pt x="406" y="668"/>
                    <a:pt x="407" y="669"/>
                    <a:pt x="407" y="671"/>
                  </a:cubicBezTo>
                  <a:lnTo>
                    <a:pt x="411" y="741"/>
                  </a:lnTo>
                  <a:cubicBezTo>
                    <a:pt x="411" y="745"/>
                    <a:pt x="409" y="748"/>
                    <a:pt x="405" y="749"/>
                  </a:cubicBezTo>
                  <a:lnTo>
                    <a:pt x="357" y="764"/>
                  </a:lnTo>
                  <a:lnTo>
                    <a:pt x="311" y="777"/>
                  </a:lnTo>
                  <a:lnTo>
                    <a:pt x="316" y="769"/>
                  </a:lnTo>
                  <a:lnTo>
                    <a:pt x="323" y="819"/>
                  </a:lnTo>
                  <a:cubicBezTo>
                    <a:pt x="324" y="821"/>
                    <a:pt x="323" y="823"/>
                    <a:pt x="321" y="825"/>
                  </a:cubicBezTo>
                  <a:cubicBezTo>
                    <a:pt x="320" y="827"/>
                    <a:pt x="318" y="828"/>
                    <a:pt x="315" y="828"/>
                  </a:cubicBezTo>
                  <a:lnTo>
                    <a:pt x="247" y="828"/>
                  </a:lnTo>
                  <a:lnTo>
                    <a:pt x="254" y="816"/>
                  </a:lnTo>
                  <a:lnTo>
                    <a:pt x="315" y="917"/>
                  </a:lnTo>
                  <a:lnTo>
                    <a:pt x="311" y="914"/>
                  </a:lnTo>
                  <a:lnTo>
                    <a:pt x="340" y="922"/>
                  </a:lnTo>
                  <a:lnTo>
                    <a:pt x="368" y="929"/>
                  </a:lnTo>
                  <a:cubicBezTo>
                    <a:pt x="371" y="929"/>
                    <a:pt x="373" y="931"/>
                    <a:pt x="374" y="934"/>
                  </a:cubicBezTo>
                  <a:lnTo>
                    <a:pt x="388" y="976"/>
                  </a:lnTo>
                  <a:lnTo>
                    <a:pt x="375" y="973"/>
                  </a:lnTo>
                  <a:lnTo>
                    <a:pt x="392" y="956"/>
                  </a:lnTo>
                  <a:cubicBezTo>
                    <a:pt x="393" y="955"/>
                    <a:pt x="394" y="954"/>
                    <a:pt x="396" y="954"/>
                  </a:cubicBezTo>
                  <a:lnTo>
                    <a:pt x="452" y="947"/>
                  </a:lnTo>
                  <a:cubicBezTo>
                    <a:pt x="453" y="947"/>
                    <a:pt x="455" y="947"/>
                    <a:pt x="456" y="948"/>
                  </a:cubicBezTo>
                  <a:lnTo>
                    <a:pt x="486" y="963"/>
                  </a:lnTo>
                  <a:cubicBezTo>
                    <a:pt x="486" y="963"/>
                    <a:pt x="487" y="964"/>
                    <a:pt x="488" y="964"/>
                  </a:cubicBezTo>
                  <a:lnTo>
                    <a:pt x="509" y="986"/>
                  </a:lnTo>
                  <a:lnTo>
                    <a:pt x="496" y="987"/>
                  </a:lnTo>
                  <a:lnTo>
                    <a:pt x="511" y="965"/>
                  </a:lnTo>
                  <a:cubicBezTo>
                    <a:pt x="513" y="963"/>
                    <a:pt x="516" y="962"/>
                    <a:pt x="519" y="962"/>
                  </a:cubicBezTo>
                  <a:lnTo>
                    <a:pt x="554" y="967"/>
                  </a:lnTo>
                  <a:lnTo>
                    <a:pt x="545" y="977"/>
                  </a:lnTo>
                  <a:lnTo>
                    <a:pt x="484" y="748"/>
                  </a:lnTo>
                  <a:cubicBezTo>
                    <a:pt x="483" y="745"/>
                    <a:pt x="485" y="741"/>
                    <a:pt x="488" y="739"/>
                  </a:cubicBezTo>
                  <a:lnTo>
                    <a:pt x="513" y="726"/>
                  </a:lnTo>
                  <a:lnTo>
                    <a:pt x="593" y="678"/>
                  </a:lnTo>
                  <a:cubicBezTo>
                    <a:pt x="594" y="677"/>
                    <a:pt x="594" y="677"/>
                    <a:pt x="595" y="677"/>
                  </a:cubicBezTo>
                  <a:lnTo>
                    <a:pt x="609" y="673"/>
                  </a:lnTo>
                  <a:lnTo>
                    <a:pt x="604" y="685"/>
                  </a:lnTo>
                  <a:lnTo>
                    <a:pt x="593" y="667"/>
                  </a:lnTo>
                  <a:cubicBezTo>
                    <a:pt x="591" y="664"/>
                    <a:pt x="592" y="660"/>
                    <a:pt x="594" y="657"/>
                  </a:cubicBezTo>
                  <a:cubicBezTo>
                    <a:pt x="597" y="655"/>
                    <a:pt x="601" y="654"/>
                    <a:pt x="604" y="656"/>
                  </a:cubicBezTo>
                  <a:lnTo>
                    <a:pt x="622" y="666"/>
                  </a:lnTo>
                  <a:lnTo>
                    <a:pt x="610" y="673"/>
                  </a:lnTo>
                  <a:lnTo>
                    <a:pt x="610" y="648"/>
                  </a:lnTo>
                  <a:cubicBezTo>
                    <a:pt x="610" y="646"/>
                    <a:pt x="611" y="644"/>
                    <a:pt x="612" y="643"/>
                  </a:cubicBezTo>
                  <a:lnTo>
                    <a:pt x="624" y="626"/>
                  </a:lnTo>
                  <a:cubicBezTo>
                    <a:pt x="626" y="624"/>
                    <a:pt x="628" y="623"/>
                    <a:pt x="631" y="623"/>
                  </a:cubicBezTo>
                  <a:cubicBezTo>
                    <a:pt x="633" y="623"/>
                    <a:pt x="636" y="625"/>
                    <a:pt x="637" y="627"/>
                  </a:cubicBezTo>
                  <a:lnTo>
                    <a:pt x="641" y="634"/>
                  </a:lnTo>
                  <a:lnTo>
                    <a:pt x="635" y="630"/>
                  </a:lnTo>
                  <a:lnTo>
                    <a:pt x="654" y="630"/>
                  </a:lnTo>
                  <a:cubicBezTo>
                    <a:pt x="656" y="630"/>
                    <a:pt x="658" y="631"/>
                    <a:pt x="659" y="632"/>
                  </a:cubicBezTo>
                  <a:lnTo>
                    <a:pt x="676" y="647"/>
                  </a:lnTo>
                  <a:lnTo>
                    <a:pt x="664" y="648"/>
                  </a:lnTo>
                  <a:lnTo>
                    <a:pt x="688" y="618"/>
                  </a:lnTo>
                  <a:cubicBezTo>
                    <a:pt x="691" y="615"/>
                    <a:pt x="695" y="614"/>
                    <a:pt x="698" y="616"/>
                  </a:cubicBezTo>
                  <a:lnTo>
                    <a:pt x="712" y="624"/>
                  </a:lnTo>
                  <a:cubicBezTo>
                    <a:pt x="716" y="626"/>
                    <a:pt x="717" y="630"/>
                    <a:pt x="716" y="634"/>
                  </a:cubicBezTo>
                  <a:lnTo>
                    <a:pt x="700" y="676"/>
                  </a:lnTo>
                  <a:lnTo>
                    <a:pt x="701" y="671"/>
                  </a:lnTo>
                  <a:lnTo>
                    <a:pt x="712" y="726"/>
                  </a:lnTo>
                  <a:lnTo>
                    <a:pt x="709" y="721"/>
                  </a:lnTo>
                  <a:lnTo>
                    <a:pt x="750" y="752"/>
                  </a:lnTo>
                  <a:cubicBezTo>
                    <a:pt x="752" y="753"/>
                    <a:pt x="754" y="755"/>
                    <a:pt x="754" y="758"/>
                  </a:cubicBezTo>
                  <a:lnTo>
                    <a:pt x="754" y="770"/>
                  </a:lnTo>
                  <a:cubicBezTo>
                    <a:pt x="754" y="771"/>
                    <a:pt x="753" y="772"/>
                    <a:pt x="753" y="774"/>
                  </a:cubicBezTo>
                  <a:lnTo>
                    <a:pt x="739" y="799"/>
                  </a:lnTo>
                  <a:lnTo>
                    <a:pt x="739" y="791"/>
                  </a:lnTo>
                  <a:lnTo>
                    <a:pt x="746" y="802"/>
                  </a:lnTo>
                  <a:lnTo>
                    <a:pt x="742" y="799"/>
                  </a:lnTo>
                  <a:lnTo>
                    <a:pt x="792" y="824"/>
                  </a:lnTo>
                  <a:cubicBezTo>
                    <a:pt x="794" y="825"/>
                    <a:pt x="795" y="826"/>
                    <a:pt x="796" y="828"/>
                  </a:cubicBezTo>
                  <a:lnTo>
                    <a:pt x="814" y="861"/>
                  </a:lnTo>
                  <a:lnTo>
                    <a:pt x="804" y="857"/>
                  </a:lnTo>
                  <a:lnTo>
                    <a:pt x="853" y="839"/>
                  </a:lnTo>
                  <a:lnTo>
                    <a:pt x="906" y="824"/>
                  </a:lnTo>
                  <a:cubicBezTo>
                    <a:pt x="910" y="823"/>
                    <a:pt x="914" y="825"/>
                    <a:pt x="916" y="828"/>
                  </a:cubicBezTo>
                  <a:lnTo>
                    <a:pt x="960" y="930"/>
                  </a:lnTo>
                  <a:lnTo>
                    <a:pt x="976" y="981"/>
                  </a:lnTo>
                  <a:cubicBezTo>
                    <a:pt x="977" y="984"/>
                    <a:pt x="975" y="988"/>
                    <a:pt x="973" y="990"/>
                  </a:cubicBezTo>
                  <a:lnTo>
                    <a:pt x="959" y="1000"/>
                  </a:lnTo>
                  <a:lnTo>
                    <a:pt x="961" y="997"/>
                  </a:lnTo>
                  <a:lnTo>
                    <a:pt x="953" y="1015"/>
                  </a:lnTo>
                  <a:lnTo>
                    <a:pt x="949" y="1004"/>
                  </a:lnTo>
                  <a:lnTo>
                    <a:pt x="992" y="1021"/>
                  </a:lnTo>
                  <a:cubicBezTo>
                    <a:pt x="993" y="1022"/>
                    <a:pt x="995" y="1023"/>
                    <a:pt x="995" y="1024"/>
                  </a:cubicBezTo>
                  <a:lnTo>
                    <a:pt x="1008" y="1044"/>
                  </a:lnTo>
                  <a:lnTo>
                    <a:pt x="999" y="1041"/>
                  </a:lnTo>
                  <a:lnTo>
                    <a:pt x="1057" y="1021"/>
                  </a:lnTo>
                  <a:cubicBezTo>
                    <a:pt x="1060" y="1020"/>
                    <a:pt x="1063" y="1021"/>
                    <a:pt x="1065" y="1023"/>
                  </a:cubicBezTo>
                  <a:lnTo>
                    <a:pt x="1086" y="1043"/>
                  </a:lnTo>
                  <a:lnTo>
                    <a:pt x="1076" y="1042"/>
                  </a:lnTo>
                  <a:lnTo>
                    <a:pt x="1115" y="1015"/>
                  </a:lnTo>
                  <a:cubicBezTo>
                    <a:pt x="1116" y="1015"/>
                    <a:pt x="1117" y="1014"/>
                    <a:pt x="1118" y="1014"/>
                  </a:cubicBezTo>
                  <a:lnTo>
                    <a:pt x="1144" y="1009"/>
                  </a:lnTo>
                  <a:cubicBezTo>
                    <a:pt x="1145" y="1009"/>
                    <a:pt x="1146" y="1009"/>
                    <a:pt x="1147" y="1009"/>
                  </a:cubicBezTo>
                  <a:lnTo>
                    <a:pt x="1185" y="1017"/>
                  </a:lnTo>
                  <a:lnTo>
                    <a:pt x="1183" y="1017"/>
                  </a:lnTo>
                  <a:lnTo>
                    <a:pt x="1258" y="1017"/>
                  </a:lnTo>
                  <a:lnTo>
                    <a:pt x="1252" y="1031"/>
                  </a:lnTo>
                  <a:lnTo>
                    <a:pt x="1232" y="1011"/>
                  </a:lnTo>
                  <a:cubicBezTo>
                    <a:pt x="1230" y="1009"/>
                    <a:pt x="1229" y="1007"/>
                    <a:pt x="1229" y="1005"/>
                  </a:cubicBezTo>
                  <a:lnTo>
                    <a:pt x="1229" y="975"/>
                  </a:lnTo>
                  <a:cubicBezTo>
                    <a:pt x="1229" y="973"/>
                    <a:pt x="1230" y="972"/>
                    <a:pt x="1231" y="971"/>
                  </a:cubicBezTo>
                  <a:lnTo>
                    <a:pt x="1243" y="952"/>
                  </a:lnTo>
                  <a:lnTo>
                    <a:pt x="1242" y="957"/>
                  </a:lnTo>
                  <a:lnTo>
                    <a:pt x="1242" y="940"/>
                  </a:lnTo>
                  <a:lnTo>
                    <a:pt x="1245" y="947"/>
                  </a:lnTo>
                  <a:lnTo>
                    <a:pt x="1222" y="932"/>
                  </a:lnTo>
                  <a:cubicBezTo>
                    <a:pt x="1219" y="930"/>
                    <a:pt x="1218" y="926"/>
                    <a:pt x="1218" y="923"/>
                  </a:cubicBezTo>
                  <a:cubicBezTo>
                    <a:pt x="1219" y="920"/>
                    <a:pt x="1222" y="917"/>
                    <a:pt x="1225" y="917"/>
                  </a:cubicBezTo>
                  <a:lnTo>
                    <a:pt x="1272" y="912"/>
                  </a:lnTo>
                  <a:cubicBezTo>
                    <a:pt x="1273" y="912"/>
                    <a:pt x="1274" y="912"/>
                    <a:pt x="1274" y="912"/>
                  </a:cubicBezTo>
                  <a:lnTo>
                    <a:pt x="1317" y="917"/>
                  </a:lnTo>
                  <a:cubicBezTo>
                    <a:pt x="1320" y="917"/>
                    <a:pt x="1322" y="919"/>
                    <a:pt x="1323" y="921"/>
                  </a:cubicBezTo>
                  <a:lnTo>
                    <a:pt x="1333" y="936"/>
                  </a:lnTo>
                  <a:lnTo>
                    <a:pt x="1325" y="932"/>
                  </a:lnTo>
                  <a:lnTo>
                    <a:pt x="1358" y="925"/>
                  </a:lnTo>
                  <a:lnTo>
                    <a:pt x="1352" y="937"/>
                  </a:lnTo>
                  <a:lnTo>
                    <a:pt x="1327" y="892"/>
                  </a:lnTo>
                  <a:cubicBezTo>
                    <a:pt x="1326" y="890"/>
                    <a:pt x="1326" y="887"/>
                    <a:pt x="1327" y="885"/>
                  </a:cubicBezTo>
                  <a:cubicBezTo>
                    <a:pt x="1328" y="882"/>
                    <a:pt x="1330" y="881"/>
                    <a:pt x="1333" y="880"/>
                  </a:cubicBezTo>
                  <a:lnTo>
                    <a:pt x="1361" y="875"/>
                  </a:lnTo>
                  <a:cubicBezTo>
                    <a:pt x="1362" y="875"/>
                    <a:pt x="1363" y="875"/>
                    <a:pt x="1363" y="875"/>
                  </a:cubicBezTo>
                  <a:lnTo>
                    <a:pt x="1480" y="894"/>
                  </a:lnTo>
                  <a:lnTo>
                    <a:pt x="1577" y="904"/>
                  </a:lnTo>
                  <a:cubicBezTo>
                    <a:pt x="1578" y="904"/>
                    <a:pt x="1579" y="904"/>
                    <a:pt x="1580" y="904"/>
                  </a:cubicBezTo>
                  <a:lnTo>
                    <a:pt x="1650" y="941"/>
                  </a:lnTo>
                  <a:lnTo>
                    <a:pt x="1647" y="940"/>
                  </a:lnTo>
                  <a:lnTo>
                    <a:pt x="1683" y="940"/>
                  </a:lnTo>
                  <a:cubicBezTo>
                    <a:pt x="1687" y="940"/>
                    <a:pt x="1690" y="943"/>
                    <a:pt x="1691" y="946"/>
                  </a:cubicBezTo>
                  <a:lnTo>
                    <a:pt x="1702" y="990"/>
                  </a:lnTo>
                  <a:lnTo>
                    <a:pt x="1686" y="989"/>
                  </a:lnTo>
                  <a:lnTo>
                    <a:pt x="1714" y="899"/>
                  </a:lnTo>
                  <a:lnTo>
                    <a:pt x="1714" y="904"/>
                  </a:lnTo>
                  <a:lnTo>
                    <a:pt x="1675" y="804"/>
                  </a:lnTo>
                  <a:cubicBezTo>
                    <a:pt x="1675" y="802"/>
                    <a:pt x="1675" y="800"/>
                    <a:pt x="1676" y="798"/>
                  </a:cubicBezTo>
                  <a:cubicBezTo>
                    <a:pt x="1677" y="796"/>
                    <a:pt x="1678" y="794"/>
                    <a:pt x="1681" y="794"/>
                  </a:cubicBezTo>
                  <a:lnTo>
                    <a:pt x="1799" y="759"/>
                  </a:lnTo>
                  <a:lnTo>
                    <a:pt x="1793" y="764"/>
                  </a:lnTo>
                  <a:lnTo>
                    <a:pt x="1807" y="711"/>
                  </a:lnTo>
                  <a:lnTo>
                    <a:pt x="1826" y="629"/>
                  </a:lnTo>
                  <a:cubicBezTo>
                    <a:pt x="1827" y="626"/>
                    <a:pt x="1831" y="623"/>
                    <a:pt x="1835" y="623"/>
                  </a:cubicBezTo>
                  <a:lnTo>
                    <a:pt x="1957" y="630"/>
                  </a:lnTo>
                  <a:lnTo>
                    <a:pt x="1949" y="636"/>
                  </a:lnTo>
                  <a:lnTo>
                    <a:pt x="1967" y="543"/>
                  </a:lnTo>
                  <a:close/>
                  <a:moveTo>
                    <a:pt x="1964" y="639"/>
                  </a:moveTo>
                  <a:cubicBezTo>
                    <a:pt x="1964" y="643"/>
                    <a:pt x="1960" y="646"/>
                    <a:pt x="1956" y="646"/>
                  </a:cubicBezTo>
                  <a:lnTo>
                    <a:pt x="1834" y="639"/>
                  </a:lnTo>
                  <a:lnTo>
                    <a:pt x="1842" y="633"/>
                  </a:lnTo>
                  <a:lnTo>
                    <a:pt x="1823" y="715"/>
                  </a:lnTo>
                  <a:lnTo>
                    <a:pt x="1809" y="768"/>
                  </a:lnTo>
                  <a:cubicBezTo>
                    <a:pt x="1808" y="771"/>
                    <a:pt x="1806" y="773"/>
                    <a:pt x="1803" y="774"/>
                  </a:cubicBezTo>
                  <a:lnTo>
                    <a:pt x="1685" y="809"/>
                  </a:lnTo>
                  <a:lnTo>
                    <a:pt x="1690" y="799"/>
                  </a:lnTo>
                  <a:lnTo>
                    <a:pt x="1729" y="899"/>
                  </a:lnTo>
                  <a:cubicBezTo>
                    <a:pt x="1730" y="900"/>
                    <a:pt x="1730" y="902"/>
                    <a:pt x="1729" y="904"/>
                  </a:cubicBezTo>
                  <a:lnTo>
                    <a:pt x="1702" y="994"/>
                  </a:lnTo>
                  <a:cubicBezTo>
                    <a:pt x="1701" y="997"/>
                    <a:pt x="1697" y="1000"/>
                    <a:pt x="1694" y="1000"/>
                  </a:cubicBezTo>
                  <a:cubicBezTo>
                    <a:pt x="1690" y="1000"/>
                    <a:pt x="1687" y="997"/>
                    <a:pt x="1686" y="994"/>
                  </a:cubicBezTo>
                  <a:lnTo>
                    <a:pt x="1675" y="950"/>
                  </a:lnTo>
                  <a:lnTo>
                    <a:pt x="1683" y="956"/>
                  </a:lnTo>
                  <a:lnTo>
                    <a:pt x="1647" y="956"/>
                  </a:lnTo>
                  <a:cubicBezTo>
                    <a:pt x="1646" y="956"/>
                    <a:pt x="1644" y="956"/>
                    <a:pt x="1643" y="955"/>
                  </a:cubicBezTo>
                  <a:lnTo>
                    <a:pt x="1572" y="919"/>
                  </a:lnTo>
                  <a:lnTo>
                    <a:pt x="1575" y="920"/>
                  </a:lnTo>
                  <a:lnTo>
                    <a:pt x="1478" y="909"/>
                  </a:lnTo>
                  <a:lnTo>
                    <a:pt x="1361" y="891"/>
                  </a:lnTo>
                  <a:lnTo>
                    <a:pt x="1364" y="891"/>
                  </a:lnTo>
                  <a:lnTo>
                    <a:pt x="1336" y="896"/>
                  </a:lnTo>
                  <a:lnTo>
                    <a:pt x="1341" y="884"/>
                  </a:lnTo>
                  <a:lnTo>
                    <a:pt x="1366" y="929"/>
                  </a:lnTo>
                  <a:cubicBezTo>
                    <a:pt x="1368" y="932"/>
                    <a:pt x="1368" y="934"/>
                    <a:pt x="1367" y="937"/>
                  </a:cubicBezTo>
                  <a:cubicBezTo>
                    <a:pt x="1366" y="939"/>
                    <a:pt x="1363" y="941"/>
                    <a:pt x="1361" y="941"/>
                  </a:cubicBezTo>
                  <a:lnTo>
                    <a:pt x="1328" y="948"/>
                  </a:lnTo>
                  <a:cubicBezTo>
                    <a:pt x="1324" y="948"/>
                    <a:pt x="1321" y="947"/>
                    <a:pt x="1319" y="944"/>
                  </a:cubicBezTo>
                  <a:lnTo>
                    <a:pt x="1310" y="929"/>
                  </a:lnTo>
                  <a:lnTo>
                    <a:pt x="1315" y="933"/>
                  </a:lnTo>
                  <a:lnTo>
                    <a:pt x="1272" y="928"/>
                  </a:lnTo>
                  <a:lnTo>
                    <a:pt x="1274" y="928"/>
                  </a:lnTo>
                  <a:lnTo>
                    <a:pt x="1227" y="933"/>
                  </a:lnTo>
                  <a:lnTo>
                    <a:pt x="1230" y="918"/>
                  </a:lnTo>
                  <a:lnTo>
                    <a:pt x="1254" y="933"/>
                  </a:lnTo>
                  <a:cubicBezTo>
                    <a:pt x="1256" y="935"/>
                    <a:pt x="1258" y="937"/>
                    <a:pt x="1258" y="940"/>
                  </a:cubicBezTo>
                  <a:lnTo>
                    <a:pt x="1258" y="957"/>
                  </a:lnTo>
                  <a:cubicBezTo>
                    <a:pt x="1258" y="958"/>
                    <a:pt x="1257" y="960"/>
                    <a:pt x="1256" y="961"/>
                  </a:cubicBezTo>
                  <a:lnTo>
                    <a:pt x="1244" y="980"/>
                  </a:lnTo>
                  <a:lnTo>
                    <a:pt x="1245" y="975"/>
                  </a:lnTo>
                  <a:lnTo>
                    <a:pt x="1245" y="1005"/>
                  </a:lnTo>
                  <a:lnTo>
                    <a:pt x="1243" y="999"/>
                  </a:lnTo>
                  <a:lnTo>
                    <a:pt x="1264" y="1019"/>
                  </a:lnTo>
                  <a:cubicBezTo>
                    <a:pt x="1266" y="1022"/>
                    <a:pt x="1267" y="1025"/>
                    <a:pt x="1265" y="1028"/>
                  </a:cubicBezTo>
                  <a:cubicBezTo>
                    <a:pt x="1264" y="1031"/>
                    <a:pt x="1261" y="1033"/>
                    <a:pt x="1258" y="1033"/>
                  </a:cubicBezTo>
                  <a:lnTo>
                    <a:pt x="1183" y="1033"/>
                  </a:lnTo>
                  <a:cubicBezTo>
                    <a:pt x="1182" y="1033"/>
                    <a:pt x="1182" y="1033"/>
                    <a:pt x="1181" y="1033"/>
                  </a:cubicBezTo>
                  <a:lnTo>
                    <a:pt x="1144" y="1025"/>
                  </a:lnTo>
                  <a:lnTo>
                    <a:pt x="1147" y="1025"/>
                  </a:lnTo>
                  <a:lnTo>
                    <a:pt x="1121" y="1030"/>
                  </a:lnTo>
                  <a:lnTo>
                    <a:pt x="1124" y="1028"/>
                  </a:lnTo>
                  <a:lnTo>
                    <a:pt x="1085" y="1055"/>
                  </a:lnTo>
                  <a:cubicBezTo>
                    <a:pt x="1082" y="1057"/>
                    <a:pt x="1078" y="1057"/>
                    <a:pt x="1075" y="1054"/>
                  </a:cubicBezTo>
                  <a:lnTo>
                    <a:pt x="1054" y="1034"/>
                  </a:lnTo>
                  <a:lnTo>
                    <a:pt x="1062" y="1036"/>
                  </a:lnTo>
                  <a:lnTo>
                    <a:pt x="1004" y="1056"/>
                  </a:lnTo>
                  <a:cubicBezTo>
                    <a:pt x="1000" y="1057"/>
                    <a:pt x="996" y="1056"/>
                    <a:pt x="994" y="1053"/>
                  </a:cubicBezTo>
                  <a:lnTo>
                    <a:pt x="982" y="1033"/>
                  </a:lnTo>
                  <a:lnTo>
                    <a:pt x="986" y="1036"/>
                  </a:lnTo>
                  <a:lnTo>
                    <a:pt x="943" y="1019"/>
                  </a:lnTo>
                  <a:cubicBezTo>
                    <a:pt x="941" y="1018"/>
                    <a:pt x="939" y="1017"/>
                    <a:pt x="938" y="1015"/>
                  </a:cubicBezTo>
                  <a:cubicBezTo>
                    <a:pt x="937" y="1013"/>
                    <a:pt x="937" y="1010"/>
                    <a:pt x="938" y="1008"/>
                  </a:cubicBezTo>
                  <a:lnTo>
                    <a:pt x="947" y="990"/>
                  </a:lnTo>
                  <a:cubicBezTo>
                    <a:pt x="947" y="989"/>
                    <a:pt x="948" y="988"/>
                    <a:pt x="949" y="987"/>
                  </a:cubicBezTo>
                  <a:lnTo>
                    <a:pt x="963" y="977"/>
                  </a:lnTo>
                  <a:lnTo>
                    <a:pt x="960" y="986"/>
                  </a:lnTo>
                  <a:lnTo>
                    <a:pt x="945" y="936"/>
                  </a:lnTo>
                  <a:lnTo>
                    <a:pt x="901" y="835"/>
                  </a:lnTo>
                  <a:lnTo>
                    <a:pt x="910" y="839"/>
                  </a:lnTo>
                  <a:lnTo>
                    <a:pt x="858" y="854"/>
                  </a:lnTo>
                  <a:lnTo>
                    <a:pt x="810" y="872"/>
                  </a:lnTo>
                  <a:cubicBezTo>
                    <a:pt x="806" y="874"/>
                    <a:pt x="802" y="872"/>
                    <a:pt x="800" y="869"/>
                  </a:cubicBezTo>
                  <a:lnTo>
                    <a:pt x="782" y="835"/>
                  </a:lnTo>
                  <a:lnTo>
                    <a:pt x="785" y="839"/>
                  </a:lnTo>
                  <a:lnTo>
                    <a:pt x="735" y="814"/>
                  </a:lnTo>
                  <a:cubicBezTo>
                    <a:pt x="734" y="813"/>
                    <a:pt x="733" y="812"/>
                    <a:pt x="732" y="811"/>
                  </a:cubicBezTo>
                  <a:lnTo>
                    <a:pt x="725" y="799"/>
                  </a:lnTo>
                  <a:cubicBezTo>
                    <a:pt x="723" y="796"/>
                    <a:pt x="723" y="793"/>
                    <a:pt x="725" y="791"/>
                  </a:cubicBezTo>
                  <a:lnTo>
                    <a:pt x="739" y="766"/>
                  </a:lnTo>
                  <a:lnTo>
                    <a:pt x="738" y="770"/>
                  </a:lnTo>
                  <a:lnTo>
                    <a:pt x="738" y="758"/>
                  </a:lnTo>
                  <a:lnTo>
                    <a:pt x="741" y="764"/>
                  </a:lnTo>
                  <a:lnTo>
                    <a:pt x="699" y="734"/>
                  </a:lnTo>
                  <a:cubicBezTo>
                    <a:pt x="698" y="733"/>
                    <a:pt x="697" y="732"/>
                    <a:pt x="696" y="730"/>
                  </a:cubicBezTo>
                  <a:lnTo>
                    <a:pt x="685" y="674"/>
                  </a:lnTo>
                  <a:cubicBezTo>
                    <a:pt x="685" y="673"/>
                    <a:pt x="685" y="671"/>
                    <a:pt x="685" y="670"/>
                  </a:cubicBezTo>
                  <a:lnTo>
                    <a:pt x="701" y="628"/>
                  </a:lnTo>
                  <a:lnTo>
                    <a:pt x="704" y="638"/>
                  </a:lnTo>
                  <a:lnTo>
                    <a:pt x="690" y="630"/>
                  </a:lnTo>
                  <a:lnTo>
                    <a:pt x="701" y="628"/>
                  </a:lnTo>
                  <a:lnTo>
                    <a:pt x="677" y="658"/>
                  </a:lnTo>
                  <a:cubicBezTo>
                    <a:pt x="676" y="660"/>
                    <a:pt x="674" y="661"/>
                    <a:pt x="671" y="661"/>
                  </a:cubicBezTo>
                  <a:cubicBezTo>
                    <a:pt x="669" y="661"/>
                    <a:pt x="667" y="660"/>
                    <a:pt x="665" y="659"/>
                  </a:cubicBezTo>
                  <a:lnTo>
                    <a:pt x="649" y="644"/>
                  </a:lnTo>
                  <a:lnTo>
                    <a:pt x="654" y="646"/>
                  </a:lnTo>
                  <a:lnTo>
                    <a:pt x="635" y="646"/>
                  </a:lnTo>
                  <a:cubicBezTo>
                    <a:pt x="632" y="646"/>
                    <a:pt x="629" y="644"/>
                    <a:pt x="628" y="642"/>
                  </a:cubicBezTo>
                  <a:lnTo>
                    <a:pt x="624" y="635"/>
                  </a:lnTo>
                  <a:lnTo>
                    <a:pt x="637" y="636"/>
                  </a:lnTo>
                  <a:lnTo>
                    <a:pt x="624" y="653"/>
                  </a:lnTo>
                  <a:lnTo>
                    <a:pt x="626" y="648"/>
                  </a:lnTo>
                  <a:lnTo>
                    <a:pt x="626" y="673"/>
                  </a:lnTo>
                  <a:cubicBezTo>
                    <a:pt x="626" y="676"/>
                    <a:pt x="624" y="678"/>
                    <a:pt x="622" y="680"/>
                  </a:cubicBezTo>
                  <a:cubicBezTo>
                    <a:pt x="620" y="681"/>
                    <a:pt x="617" y="681"/>
                    <a:pt x="614" y="680"/>
                  </a:cubicBezTo>
                  <a:lnTo>
                    <a:pt x="596" y="670"/>
                  </a:lnTo>
                  <a:lnTo>
                    <a:pt x="607" y="659"/>
                  </a:lnTo>
                  <a:lnTo>
                    <a:pt x="618" y="677"/>
                  </a:lnTo>
                  <a:cubicBezTo>
                    <a:pt x="619" y="679"/>
                    <a:pt x="619" y="682"/>
                    <a:pt x="618" y="684"/>
                  </a:cubicBezTo>
                  <a:cubicBezTo>
                    <a:pt x="617" y="687"/>
                    <a:pt x="615" y="688"/>
                    <a:pt x="613" y="689"/>
                  </a:cubicBezTo>
                  <a:lnTo>
                    <a:pt x="599" y="692"/>
                  </a:lnTo>
                  <a:lnTo>
                    <a:pt x="601" y="691"/>
                  </a:lnTo>
                  <a:lnTo>
                    <a:pt x="520" y="740"/>
                  </a:lnTo>
                  <a:lnTo>
                    <a:pt x="495" y="753"/>
                  </a:lnTo>
                  <a:lnTo>
                    <a:pt x="499" y="744"/>
                  </a:lnTo>
                  <a:lnTo>
                    <a:pt x="560" y="973"/>
                  </a:lnTo>
                  <a:cubicBezTo>
                    <a:pt x="561" y="976"/>
                    <a:pt x="561" y="978"/>
                    <a:pt x="559" y="980"/>
                  </a:cubicBezTo>
                  <a:cubicBezTo>
                    <a:pt x="557" y="982"/>
                    <a:pt x="554" y="983"/>
                    <a:pt x="552" y="983"/>
                  </a:cubicBezTo>
                  <a:lnTo>
                    <a:pt x="517" y="978"/>
                  </a:lnTo>
                  <a:lnTo>
                    <a:pt x="525" y="975"/>
                  </a:lnTo>
                  <a:lnTo>
                    <a:pt x="509" y="996"/>
                  </a:lnTo>
                  <a:cubicBezTo>
                    <a:pt x="508" y="998"/>
                    <a:pt x="506" y="1000"/>
                    <a:pt x="503" y="1000"/>
                  </a:cubicBezTo>
                  <a:cubicBezTo>
                    <a:pt x="501" y="1000"/>
                    <a:pt x="499" y="999"/>
                    <a:pt x="497" y="997"/>
                  </a:cubicBezTo>
                  <a:lnTo>
                    <a:pt x="476" y="976"/>
                  </a:lnTo>
                  <a:lnTo>
                    <a:pt x="478" y="977"/>
                  </a:lnTo>
                  <a:lnTo>
                    <a:pt x="449" y="962"/>
                  </a:lnTo>
                  <a:lnTo>
                    <a:pt x="454" y="963"/>
                  </a:lnTo>
                  <a:lnTo>
                    <a:pt x="398" y="970"/>
                  </a:lnTo>
                  <a:lnTo>
                    <a:pt x="403" y="967"/>
                  </a:lnTo>
                  <a:lnTo>
                    <a:pt x="386" y="984"/>
                  </a:lnTo>
                  <a:cubicBezTo>
                    <a:pt x="384" y="986"/>
                    <a:pt x="381" y="987"/>
                    <a:pt x="379" y="986"/>
                  </a:cubicBezTo>
                  <a:cubicBezTo>
                    <a:pt x="376" y="986"/>
                    <a:pt x="374" y="984"/>
                    <a:pt x="373" y="981"/>
                  </a:cubicBezTo>
                  <a:lnTo>
                    <a:pt x="359" y="939"/>
                  </a:lnTo>
                  <a:lnTo>
                    <a:pt x="365" y="944"/>
                  </a:lnTo>
                  <a:lnTo>
                    <a:pt x="335" y="938"/>
                  </a:lnTo>
                  <a:lnTo>
                    <a:pt x="306" y="929"/>
                  </a:lnTo>
                  <a:cubicBezTo>
                    <a:pt x="304" y="929"/>
                    <a:pt x="303" y="927"/>
                    <a:pt x="301" y="926"/>
                  </a:cubicBezTo>
                  <a:lnTo>
                    <a:pt x="240" y="824"/>
                  </a:lnTo>
                  <a:cubicBezTo>
                    <a:pt x="239" y="821"/>
                    <a:pt x="239" y="818"/>
                    <a:pt x="240" y="816"/>
                  </a:cubicBezTo>
                  <a:cubicBezTo>
                    <a:pt x="242" y="813"/>
                    <a:pt x="244" y="812"/>
                    <a:pt x="247" y="812"/>
                  </a:cubicBezTo>
                  <a:lnTo>
                    <a:pt x="315" y="812"/>
                  </a:lnTo>
                  <a:lnTo>
                    <a:pt x="307" y="821"/>
                  </a:lnTo>
                  <a:lnTo>
                    <a:pt x="300" y="771"/>
                  </a:lnTo>
                  <a:cubicBezTo>
                    <a:pt x="300" y="767"/>
                    <a:pt x="302" y="763"/>
                    <a:pt x="306" y="762"/>
                  </a:cubicBezTo>
                  <a:lnTo>
                    <a:pt x="352" y="749"/>
                  </a:lnTo>
                  <a:lnTo>
                    <a:pt x="400" y="734"/>
                  </a:lnTo>
                  <a:lnTo>
                    <a:pt x="395" y="742"/>
                  </a:lnTo>
                  <a:lnTo>
                    <a:pt x="391" y="672"/>
                  </a:lnTo>
                  <a:lnTo>
                    <a:pt x="392" y="675"/>
                  </a:lnTo>
                  <a:lnTo>
                    <a:pt x="367" y="635"/>
                  </a:lnTo>
                  <a:lnTo>
                    <a:pt x="375" y="639"/>
                  </a:lnTo>
                  <a:lnTo>
                    <a:pt x="270" y="656"/>
                  </a:lnTo>
                  <a:lnTo>
                    <a:pt x="203" y="670"/>
                  </a:lnTo>
                  <a:lnTo>
                    <a:pt x="162" y="684"/>
                  </a:lnTo>
                  <a:cubicBezTo>
                    <a:pt x="158" y="685"/>
                    <a:pt x="154" y="683"/>
                    <a:pt x="152" y="679"/>
                  </a:cubicBezTo>
                  <a:lnTo>
                    <a:pt x="130" y="622"/>
                  </a:lnTo>
                  <a:lnTo>
                    <a:pt x="131" y="624"/>
                  </a:lnTo>
                  <a:lnTo>
                    <a:pt x="112" y="596"/>
                  </a:lnTo>
                  <a:lnTo>
                    <a:pt x="89" y="566"/>
                  </a:lnTo>
                  <a:cubicBezTo>
                    <a:pt x="89" y="565"/>
                    <a:pt x="89" y="565"/>
                    <a:pt x="89" y="565"/>
                  </a:cubicBezTo>
                  <a:lnTo>
                    <a:pt x="76" y="540"/>
                  </a:lnTo>
                  <a:lnTo>
                    <a:pt x="89" y="542"/>
                  </a:lnTo>
                  <a:lnTo>
                    <a:pt x="61" y="567"/>
                  </a:lnTo>
                  <a:cubicBezTo>
                    <a:pt x="60" y="568"/>
                    <a:pt x="58" y="569"/>
                    <a:pt x="57" y="569"/>
                  </a:cubicBezTo>
                  <a:lnTo>
                    <a:pt x="35" y="572"/>
                  </a:lnTo>
                  <a:cubicBezTo>
                    <a:pt x="32" y="573"/>
                    <a:pt x="30" y="572"/>
                    <a:pt x="28" y="570"/>
                  </a:cubicBezTo>
                  <a:cubicBezTo>
                    <a:pt x="26" y="569"/>
                    <a:pt x="25" y="567"/>
                    <a:pt x="25" y="564"/>
                  </a:cubicBezTo>
                  <a:lnTo>
                    <a:pt x="25" y="531"/>
                  </a:lnTo>
                  <a:lnTo>
                    <a:pt x="27" y="536"/>
                  </a:lnTo>
                  <a:lnTo>
                    <a:pt x="13" y="515"/>
                  </a:lnTo>
                  <a:cubicBezTo>
                    <a:pt x="13" y="515"/>
                    <a:pt x="12" y="515"/>
                    <a:pt x="12" y="514"/>
                  </a:cubicBezTo>
                  <a:lnTo>
                    <a:pt x="1" y="489"/>
                  </a:lnTo>
                  <a:cubicBezTo>
                    <a:pt x="1" y="488"/>
                    <a:pt x="0" y="487"/>
                    <a:pt x="0" y="486"/>
                  </a:cubicBezTo>
                  <a:lnTo>
                    <a:pt x="0" y="458"/>
                  </a:lnTo>
                  <a:lnTo>
                    <a:pt x="1" y="423"/>
                  </a:lnTo>
                  <a:lnTo>
                    <a:pt x="7" y="368"/>
                  </a:lnTo>
                  <a:cubicBezTo>
                    <a:pt x="8" y="365"/>
                    <a:pt x="10" y="362"/>
                    <a:pt x="14" y="361"/>
                  </a:cubicBezTo>
                  <a:lnTo>
                    <a:pt x="37" y="356"/>
                  </a:lnTo>
                  <a:cubicBezTo>
                    <a:pt x="41" y="355"/>
                    <a:pt x="45" y="357"/>
                    <a:pt x="46" y="361"/>
                  </a:cubicBezTo>
                  <a:lnTo>
                    <a:pt x="63" y="403"/>
                  </a:lnTo>
                  <a:lnTo>
                    <a:pt x="52" y="399"/>
                  </a:lnTo>
                  <a:lnTo>
                    <a:pt x="67" y="390"/>
                  </a:lnTo>
                  <a:lnTo>
                    <a:pt x="64" y="401"/>
                  </a:lnTo>
                  <a:lnTo>
                    <a:pt x="54" y="379"/>
                  </a:lnTo>
                  <a:cubicBezTo>
                    <a:pt x="53" y="378"/>
                    <a:pt x="53" y="377"/>
                    <a:pt x="53" y="376"/>
                  </a:cubicBezTo>
                  <a:lnTo>
                    <a:pt x="53" y="364"/>
                  </a:lnTo>
                  <a:cubicBezTo>
                    <a:pt x="53" y="363"/>
                    <a:pt x="54" y="361"/>
                    <a:pt x="54" y="360"/>
                  </a:cubicBezTo>
                  <a:lnTo>
                    <a:pt x="69" y="336"/>
                  </a:lnTo>
                  <a:lnTo>
                    <a:pt x="83" y="306"/>
                  </a:lnTo>
                  <a:cubicBezTo>
                    <a:pt x="84" y="304"/>
                    <a:pt x="86" y="302"/>
                    <a:pt x="88" y="301"/>
                  </a:cubicBezTo>
                  <a:cubicBezTo>
                    <a:pt x="90" y="301"/>
                    <a:pt x="92" y="301"/>
                    <a:pt x="94" y="302"/>
                  </a:cubicBezTo>
                  <a:lnTo>
                    <a:pt x="109" y="310"/>
                  </a:lnTo>
                  <a:lnTo>
                    <a:pt x="98" y="314"/>
                  </a:lnTo>
                  <a:lnTo>
                    <a:pt x="107" y="294"/>
                  </a:lnTo>
                  <a:cubicBezTo>
                    <a:pt x="108" y="292"/>
                    <a:pt x="109" y="290"/>
                    <a:pt x="112" y="290"/>
                  </a:cubicBezTo>
                  <a:lnTo>
                    <a:pt x="134" y="283"/>
                  </a:lnTo>
                  <a:cubicBezTo>
                    <a:pt x="135" y="283"/>
                    <a:pt x="136" y="283"/>
                    <a:pt x="137" y="283"/>
                  </a:cubicBezTo>
                  <a:lnTo>
                    <a:pt x="229" y="289"/>
                  </a:lnTo>
                  <a:lnTo>
                    <a:pt x="284" y="294"/>
                  </a:lnTo>
                  <a:cubicBezTo>
                    <a:pt x="287" y="295"/>
                    <a:pt x="290" y="296"/>
                    <a:pt x="291" y="299"/>
                  </a:cubicBezTo>
                  <a:lnTo>
                    <a:pt x="303" y="329"/>
                  </a:lnTo>
                  <a:lnTo>
                    <a:pt x="302" y="327"/>
                  </a:lnTo>
                  <a:lnTo>
                    <a:pt x="314" y="340"/>
                  </a:lnTo>
                  <a:lnTo>
                    <a:pt x="306" y="338"/>
                  </a:lnTo>
                  <a:lnTo>
                    <a:pt x="350" y="325"/>
                  </a:lnTo>
                  <a:lnTo>
                    <a:pt x="348" y="326"/>
                  </a:lnTo>
                  <a:lnTo>
                    <a:pt x="382" y="296"/>
                  </a:lnTo>
                  <a:cubicBezTo>
                    <a:pt x="385" y="294"/>
                    <a:pt x="390" y="294"/>
                    <a:pt x="393" y="296"/>
                  </a:cubicBezTo>
                  <a:lnTo>
                    <a:pt x="418" y="320"/>
                  </a:lnTo>
                  <a:lnTo>
                    <a:pt x="404" y="326"/>
                  </a:lnTo>
                  <a:lnTo>
                    <a:pt x="404" y="317"/>
                  </a:lnTo>
                  <a:cubicBezTo>
                    <a:pt x="404" y="314"/>
                    <a:pt x="406" y="311"/>
                    <a:pt x="410" y="310"/>
                  </a:cubicBezTo>
                  <a:lnTo>
                    <a:pt x="447" y="295"/>
                  </a:lnTo>
                  <a:cubicBezTo>
                    <a:pt x="449" y="294"/>
                    <a:pt x="451" y="294"/>
                    <a:pt x="453" y="295"/>
                  </a:cubicBezTo>
                  <a:cubicBezTo>
                    <a:pt x="455" y="296"/>
                    <a:pt x="457" y="297"/>
                    <a:pt x="457" y="299"/>
                  </a:cubicBezTo>
                  <a:lnTo>
                    <a:pt x="469" y="330"/>
                  </a:lnTo>
                  <a:lnTo>
                    <a:pt x="466" y="326"/>
                  </a:lnTo>
                  <a:lnTo>
                    <a:pt x="507" y="354"/>
                  </a:lnTo>
                  <a:lnTo>
                    <a:pt x="497" y="355"/>
                  </a:lnTo>
                  <a:lnTo>
                    <a:pt x="511" y="340"/>
                  </a:lnTo>
                  <a:cubicBezTo>
                    <a:pt x="511" y="340"/>
                    <a:pt x="512" y="339"/>
                    <a:pt x="513" y="339"/>
                  </a:cubicBezTo>
                  <a:lnTo>
                    <a:pt x="536" y="325"/>
                  </a:lnTo>
                  <a:cubicBezTo>
                    <a:pt x="539" y="324"/>
                    <a:pt x="543" y="324"/>
                    <a:pt x="546" y="326"/>
                  </a:cubicBezTo>
                  <a:lnTo>
                    <a:pt x="568" y="346"/>
                  </a:lnTo>
                  <a:lnTo>
                    <a:pt x="559" y="345"/>
                  </a:lnTo>
                  <a:lnTo>
                    <a:pt x="576" y="338"/>
                  </a:lnTo>
                  <a:lnTo>
                    <a:pt x="571" y="346"/>
                  </a:lnTo>
                  <a:lnTo>
                    <a:pt x="571" y="309"/>
                  </a:lnTo>
                  <a:lnTo>
                    <a:pt x="572" y="312"/>
                  </a:lnTo>
                  <a:lnTo>
                    <a:pt x="555" y="277"/>
                  </a:lnTo>
                  <a:lnTo>
                    <a:pt x="562" y="282"/>
                  </a:lnTo>
                  <a:lnTo>
                    <a:pt x="506" y="282"/>
                  </a:lnTo>
                  <a:cubicBezTo>
                    <a:pt x="501" y="282"/>
                    <a:pt x="498" y="278"/>
                    <a:pt x="498" y="274"/>
                  </a:cubicBezTo>
                  <a:lnTo>
                    <a:pt x="498" y="254"/>
                  </a:lnTo>
                  <a:lnTo>
                    <a:pt x="495" y="218"/>
                  </a:lnTo>
                  <a:cubicBezTo>
                    <a:pt x="495" y="216"/>
                    <a:pt x="495" y="215"/>
                    <a:pt x="496" y="213"/>
                  </a:cubicBezTo>
                  <a:lnTo>
                    <a:pt x="525" y="160"/>
                  </a:lnTo>
                  <a:lnTo>
                    <a:pt x="526" y="169"/>
                  </a:lnTo>
                  <a:lnTo>
                    <a:pt x="482" y="112"/>
                  </a:lnTo>
                  <a:cubicBezTo>
                    <a:pt x="481" y="110"/>
                    <a:pt x="481" y="108"/>
                    <a:pt x="481" y="106"/>
                  </a:cubicBezTo>
                  <a:cubicBezTo>
                    <a:pt x="481" y="104"/>
                    <a:pt x="482" y="102"/>
                    <a:pt x="484" y="100"/>
                  </a:cubicBezTo>
                  <a:lnTo>
                    <a:pt x="498" y="90"/>
                  </a:lnTo>
                  <a:cubicBezTo>
                    <a:pt x="500" y="89"/>
                    <a:pt x="502" y="89"/>
                    <a:pt x="504" y="89"/>
                  </a:cubicBezTo>
                  <a:lnTo>
                    <a:pt x="526" y="92"/>
                  </a:lnTo>
                  <a:lnTo>
                    <a:pt x="524" y="92"/>
                  </a:lnTo>
                  <a:lnTo>
                    <a:pt x="630" y="82"/>
                  </a:lnTo>
                  <a:cubicBezTo>
                    <a:pt x="631" y="82"/>
                    <a:pt x="632" y="82"/>
                    <a:pt x="632" y="83"/>
                  </a:cubicBezTo>
                  <a:lnTo>
                    <a:pt x="659" y="89"/>
                  </a:lnTo>
                  <a:lnTo>
                    <a:pt x="651" y="92"/>
                  </a:lnTo>
                  <a:lnTo>
                    <a:pt x="690" y="47"/>
                  </a:lnTo>
                  <a:cubicBezTo>
                    <a:pt x="692" y="44"/>
                    <a:pt x="697" y="43"/>
                    <a:pt x="700" y="45"/>
                  </a:cubicBezTo>
                  <a:lnTo>
                    <a:pt x="724" y="62"/>
                  </a:lnTo>
                  <a:lnTo>
                    <a:pt x="717" y="61"/>
                  </a:lnTo>
                  <a:lnTo>
                    <a:pt x="791" y="42"/>
                  </a:lnTo>
                  <a:lnTo>
                    <a:pt x="788" y="44"/>
                  </a:lnTo>
                  <a:lnTo>
                    <a:pt x="825" y="12"/>
                  </a:lnTo>
                  <a:cubicBezTo>
                    <a:pt x="826" y="11"/>
                    <a:pt x="828" y="11"/>
                    <a:pt x="829" y="11"/>
                  </a:cubicBezTo>
                  <a:lnTo>
                    <a:pt x="885" y="1"/>
                  </a:lnTo>
                  <a:cubicBezTo>
                    <a:pt x="888" y="0"/>
                    <a:pt x="891" y="1"/>
                    <a:pt x="893" y="4"/>
                  </a:cubicBezTo>
                  <a:lnTo>
                    <a:pt x="945" y="81"/>
                  </a:lnTo>
                  <a:lnTo>
                    <a:pt x="939" y="77"/>
                  </a:lnTo>
                  <a:lnTo>
                    <a:pt x="953" y="77"/>
                  </a:lnTo>
                  <a:lnTo>
                    <a:pt x="1070" y="82"/>
                  </a:lnTo>
                  <a:cubicBezTo>
                    <a:pt x="1073" y="82"/>
                    <a:pt x="1076" y="85"/>
                    <a:pt x="1077" y="88"/>
                  </a:cubicBezTo>
                  <a:lnTo>
                    <a:pt x="1091" y="133"/>
                  </a:lnTo>
                  <a:lnTo>
                    <a:pt x="1078" y="129"/>
                  </a:lnTo>
                  <a:lnTo>
                    <a:pt x="1162" y="66"/>
                  </a:lnTo>
                  <a:cubicBezTo>
                    <a:pt x="1165" y="63"/>
                    <a:pt x="1170" y="63"/>
                    <a:pt x="1172" y="67"/>
                  </a:cubicBezTo>
                  <a:lnTo>
                    <a:pt x="1220" y="120"/>
                  </a:lnTo>
                  <a:lnTo>
                    <a:pt x="1218" y="119"/>
                  </a:lnTo>
                  <a:lnTo>
                    <a:pt x="1297" y="176"/>
                  </a:lnTo>
                  <a:cubicBezTo>
                    <a:pt x="1298" y="176"/>
                    <a:pt x="1298" y="176"/>
                    <a:pt x="1298" y="176"/>
                  </a:cubicBezTo>
                  <a:lnTo>
                    <a:pt x="1396" y="273"/>
                  </a:lnTo>
                  <a:lnTo>
                    <a:pt x="1439" y="315"/>
                  </a:lnTo>
                  <a:lnTo>
                    <a:pt x="1430" y="313"/>
                  </a:lnTo>
                  <a:lnTo>
                    <a:pt x="1457" y="302"/>
                  </a:lnTo>
                  <a:lnTo>
                    <a:pt x="1480" y="290"/>
                  </a:lnTo>
                  <a:lnTo>
                    <a:pt x="1501" y="281"/>
                  </a:lnTo>
                  <a:cubicBezTo>
                    <a:pt x="1504" y="280"/>
                    <a:pt x="1508" y="281"/>
                    <a:pt x="1510" y="284"/>
                  </a:cubicBezTo>
                  <a:lnTo>
                    <a:pt x="1558" y="340"/>
                  </a:lnTo>
                  <a:lnTo>
                    <a:pt x="1549" y="338"/>
                  </a:lnTo>
                  <a:lnTo>
                    <a:pt x="1577" y="325"/>
                  </a:lnTo>
                  <a:cubicBezTo>
                    <a:pt x="1578" y="325"/>
                    <a:pt x="1579" y="324"/>
                    <a:pt x="1580" y="324"/>
                  </a:cubicBezTo>
                  <a:lnTo>
                    <a:pt x="1611" y="324"/>
                  </a:lnTo>
                  <a:lnTo>
                    <a:pt x="1647" y="324"/>
                  </a:lnTo>
                  <a:cubicBezTo>
                    <a:pt x="1650" y="324"/>
                    <a:pt x="1653" y="326"/>
                    <a:pt x="1654" y="329"/>
                  </a:cubicBezTo>
                  <a:lnTo>
                    <a:pt x="1667" y="361"/>
                  </a:lnTo>
                  <a:lnTo>
                    <a:pt x="1690" y="412"/>
                  </a:lnTo>
                  <a:lnTo>
                    <a:pt x="1683" y="408"/>
                  </a:lnTo>
                  <a:lnTo>
                    <a:pt x="1722" y="408"/>
                  </a:lnTo>
                  <a:cubicBezTo>
                    <a:pt x="1723" y="408"/>
                    <a:pt x="1724" y="408"/>
                    <a:pt x="1726" y="409"/>
                  </a:cubicBezTo>
                  <a:lnTo>
                    <a:pt x="1769" y="432"/>
                  </a:lnTo>
                  <a:lnTo>
                    <a:pt x="1768" y="432"/>
                  </a:lnTo>
                  <a:lnTo>
                    <a:pt x="1861" y="465"/>
                  </a:lnTo>
                  <a:lnTo>
                    <a:pt x="1854" y="466"/>
                  </a:lnTo>
                  <a:lnTo>
                    <a:pt x="1918" y="430"/>
                  </a:lnTo>
                  <a:cubicBezTo>
                    <a:pt x="1921" y="429"/>
                    <a:pt x="1924" y="429"/>
                    <a:pt x="1927" y="431"/>
                  </a:cubicBezTo>
                  <a:lnTo>
                    <a:pt x="2030" y="515"/>
                  </a:lnTo>
                  <a:cubicBezTo>
                    <a:pt x="2032" y="516"/>
                    <a:pt x="2033" y="519"/>
                    <a:pt x="2032" y="522"/>
                  </a:cubicBezTo>
                  <a:cubicBezTo>
                    <a:pt x="2032" y="525"/>
                    <a:pt x="2030" y="527"/>
                    <a:pt x="2028" y="528"/>
                  </a:cubicBezTo>
                  <a:lnTo>
                    <a:pt x="1978" y="552"/>
                  </a:lnTo>
                  <a:lnTo>
                    <a:pt x="1982" y="546"/>
                  </a:lnTo>
                  <a:lnTo>
                    <a:pt x="1964" y="639"/>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24" name="Freeform 480"/>
            <p:cNvSpPr>
              <a:spLocks/>
            </p:cNvSpPr>
            <p:nvPr/>
          </p:nvSpPr>
          <p:spPr bwMode="auto">
            <a:xfrm>
              <a:off x="3511" y="1466"/>
              <a:ext cx="260" cy="146"/>
            </a:xfrm>
            <a:custGeom>
              <a:avLst/>
              <a:gdLst/>
              <a:ahLst/>
              <a:cxnLst>
                <a:cxn ang="0">
                  <a:pos x="25" y="65"/>
                </a:cxn>
                <a:cxn ang="0">
                  <a:pos x="30" y="54"/>
                </a:cxn>
                <a:cxn ang="0">
                  <a:pos x="36" y="50"/>
                </a:cxn>
                <a:cxn ang="0">
                  <a:pos x="47" y="52"/>
                </a:cxn>
                <a:cxn ang="0">
                  <a:pos x="60" y="55"/>
                </a:cxn>
                <a:cxn ang="0">
                  <a:pos x="63" y="58"/>
                </a:cxn>
                <a:cxn ang="0">
                  <a:pos x="72" y="65"/>
                </a:cxn>
                <a:cxn ang="0">
                  <a:pos x="78" y="82"/>
                </a:cxn>
                <a:cxn ang="0">
                  <a:pos x="87" y="80"/>
                </a:cxn>
                <a:cxn ang="0">
                  <a:pos x="101" y="82"/>
                </a:cxn>
                <a:cxn ang="0">
                  <a:pos x="122" y="102"/>
                </a:cxn>
                <a:cxn ang="0">
                  <a:pos x="144" y="114"/>
                </a:cxn>
                <a:cxn ang="0">
                  <a:pos x="165" y="125"/>
                </a:cxn>
                <a:cxn ang="0">
                  <a:pos x="173" y="146"/>
                </a:cxn>
                <a:cxn ang="0">
                  <a:pos x="186" y="130"/>
                </a:cxn>
                <a:cxn ang="0">
                  <a:pos x="188" y="115"/>
                </a:cxn>
                <a:cxn ang="0">
                  <a:pos x="180" y="93"/>
                </a:cxn>
                <a:cxn ang="0">
                  <a:pos x="197" y="88"/>
                </a:cxn>
                <a:cxn ang="0">
                  <a:pos x="219" y="92"/>
                </a:cxn>
                <a:cxn ang="0">
                  <a:pos x="254" y="90"/>
                </a:cxn>
                <a:cxn ang="0">
                  <a:pos x="254" y="77"/>
                </a:cxn>
                <a:cxn ang="0">
                  <a:pos x="213" y="77"/>
                </a:cxn>
                <a:cxn ang="0">
                  <a:pos x="191" y="76"/>
                </a:cxn>
                <a:cxn ang="0">
                  <a:pos x="172" y="82"/>
                </a:cxn>
                <a:cxn ang="0">
                  <a:pos x="160" y="80"/>
                </a:cxn>
                <a:cxn ang="0">
                  <a:pos x="150" y="82"/>
                </a:cxn>
                <a:cxn ang="0">
                  <a:pos x="137" y="76"/>
                </a:cxn>
                <a:cxn ang="0">
                  <a:pos x="137" y="71"/>
                </a:cxn>
                <a:cxn ang="0">
                  <a:pos x="135" y="54"/>
                </a:cxn>
                <a:cxn ang="0">
                  <a:pos x="94" y="40"/>
                </a:cxn>
                <a:cxn ang="0">
                  <a:pos x="74" y="28"/>
                </a:cxn>
                <a:cxn ang="0">
                  <a:pos x="47" y="34"/>
                </a:cxn>
                <a:cxn ang="0">
                  <a:pos x="31" y="15"/>
                </a:cxn>
                <a:cxn ang="0">
                  <a:pos x="32" y="0"/>
                </a:cxn>
                <a:cxn ang="0">
                  <a:pos x="19" y="66"/>
                </a:cxn>
              </a:cxnLst>
              <a:rect l="0" t="0" r="r" b="b"/>
              <a:pathLst>
                <a:path w="260" h="146">
                  <a:moveTo>
                    <a:pt x="19" y="66"/>
                  </a:moveTo>
                  <a:lnTo>
                    <a:pt x="25" y="65"/>
                  </a:lnTo>
                  <a:lnTo>
                    <a:pt x="28" y="59"/>
                  </a:lnTo>
                  <a:lnTo>
                    <a:pt x="30" y="54"/>
                  </a:lnTo>
                  <a:lnTo>
                    <a:pt x="38" y="57"/>
                  </a:lnTo>
                  <a:lnTo>
                    <a:pt x="36" y="50"/>
                  </a:lnTo>
                  <a:lnTo>
                    <a:pt x="43" y="47"/>
                  </a:lnTo>
                  <a:lnTo>
                    <a:pt x="47" y="52"/>
                  </a:lnTo>
                  <a:lnTo>
                    <a:pt x="54" y="52"/>
                  </a:lnTo>
                  <a:lnTo>
                    <a:pt x="60" y="55"/>
                  </a:lnTo>
                  <a:lnTo>
                    <a:pt x="63" y="57"/>
                  </a:lnTo>
                  <a:lnTo>
                    <a:pt x="63" y="58"/>
                  </a:lnTo>
                  <a:lnTo>
                    <a:pt x="64" y="63"/>
                  </a:lnTo>
                  <a:lnTo>
                    <a:pt x="72" y="65"/>
                  </a:lnTo>
                  <a:lnTo>
                    <a:pt x="72" y="72"/>
                  </a:lnTo>
                  <a:lnTo>
                    <a:pt x="78" y="82"/>
                  </a:lnTo>
                  <a:lnTo>
                    <a:pt x="85" y="83"/>
                  </a:lnTo>
                  <a:lnTo>
                    <a:pt x="87" y="80"/>
                  </a:lnTo>
                  <a:lnTo>
                    <a:pt x="95" y="77"/>
                  </a:lnTo>
                  <a:lnTo>
                    <a:pt x="101" y="82"/>
                  </a:lnTo>
                  <a:lnTo>
                    <a:pt x="110" y="90"/>
                  </a:lnTo>
                  <a:lnTo>
                    <a:pt x="122" y="102"/>
                  </a:lnTo>
                  <a:lnTo>
                    <a:pt x="144" y="107"/>
                  </a:lnTo>
                  <a:lnTo>
                    <a:pt x="144" y="114"/>
                  </a:lnTo>
                  <a:lnTo>
                    <a:pt x="158" y="118"/>
                  </a:lnTo>
                  <a:lnTo>
                    <a:pt x="165" y="125"/>
                  </a:lnTo>
                  <a:lnTo>
                    <a:pt x="160" y="146"/>
                  </a:lnTo>
                  <a:lnTo>
                    <a:pt x="173" y="146"/>
                  </a:lnTo>
                  <a:lnTo>
                    <a:pt x="181" y="136"/>
                  </a:lnTo>
                  <a:lnTo>
                    <a:pt x="186" y="130"/>
                  </a:lnTo>
                  <a:lnTo>
                    <a:pt x="190" y="124"/>
                  </a:lnTo>
                  <a:lnTo>
                    <a:pt x="188" y="115"/>
                  </a:lnTo>
                  <a:lnTo>
                    <a:pt x="178" y="111"/>
                  </a:lnTo>
                  <a:lnTo>
                    <a:pt x="180" y="93"/>
                  </a:lnTo>
                  <a:lnTo>
                    <a:pt x="189" y="86"/>
                  </a:lnTo>
                  <a:lnTo>
                    <a:pt x="197" y="88"/>
                  </a:lnTo>
                  <a:lnTo>
                    <a:pt x="216" y="85"/>
                  </a:lnTo>
                  <a:lnTo>
                    <a:pt x="219" y="92"/>
                  </a:lnTo>
                  <a:lnTo>
                    <a:pt x="230" y="92"/>
                  </a:lnTo>
                  <a:lnTo>
                    <a:pt x="254" y="90"/>
                  </a:lnTo>
                  <a:lnTo>
                    <a:pt x="260" y="82"/>
                  </a:lnTo>
                  <a:lnTo>
                    <a:pt x="254" y="77"/>
                  </a:lnTo>
                  <a:lnTo>
                    <a:pt x="239" y="77"/>
                  </a:lnTo>
                  <a:lnTo>
                    <a:pt x="213" y="77"/>
                  </a:lnTo>
                  <a:lnTo>
                    <a:pt x="202" y="77"/>
                  </a:lnTo>
                  <a:lnTo>
                    <a:pt x="191" y="76"/>
                  </a:lnTo>
                  <a:lnTo>
                    <a:pt x="175" y="83"/>
                  </a:lnTo>
                  <a:lnTo>
                    <a:pt x="172" y="82"/>
                  </a:lnTo>
                  <a:lnTo>
                    <a:pt x="168" y="78"/>
                  </a:lnTo>
                  <a:lnTo>
                    <a:pt x="160" y="80"/>
                  </a:lnTo>
                  <a:lnTo>
                    <a:pt x="151" y="83"/>
                  </a:lnTo>
                  <a:lnTo>
                    <a:pt x="150" y="82"/>
                  </a:lnTo>
                  <a:lnTo>
                    <a:pt x="148" y="78"/>
                  </a:lnTo>
                  <a:lnTo>
                    <a:pt x="137" y="76"/>
                  </a:lnTo>
                  <a:lnTo>
                    <a:pt x="135" y="75"/>
                  </a:lnTo>
                  <a:lnTo>
                    <a:pt x="137" y="71"/>
                  </a:lnTo>
                  <a:lnTo>
                    <a:pt x="142" y="68"/>
                  </a:lnTo>
                  <a:lnTo>
                    <a:pt x="135" y="54"/>
                  </a:lnTo>
                  <a:lnTo>
                    <a:pt x="123" y="34"/>
                  </a:lnTo>
                  <a:lnTo>
                    <a:pt x="94" y="40"/>
                  </a:lnTo>
                  <a:lnTo>
                    <a:pt x="87" y="34"/>
                  </a:lnTo>
                  <a:lnTo>
                    <a:pt x="74" y="28"/>
                  </a:lnTo>
                  <a:lnTo>
                    <a:pt x="61" y="36"/>
                  </a:lnTo>
                  <a:lnTo>
                    <a:pt x="47" y="34"/>
                  </a:lnTo>
                  <a:lnTo>
                    <a:pt x="34" y="25"/>
                  </a:lnTo>
                  <a:lnTo>
                    <a:pt x="31" y="15"/>
                  </a:lnTo>
                  <a:lnTo>
                    <a:pt x="33" y="7"/>
                  </a:lnTo>
                  <a:lnTo>
                    <a:pt x="32" y="0"/>
                  </a:lnTo>
                  <a:lnTo>
                    <a:pt x="0" y="15"/>
                  </a:lnTo>
                  <a:lnTo>
                    <a:pt x="19" y="66"/>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25" name="Freeform 481"/>
            <p:cNvSpPr>
              <a:spLocks noEditPoints="1"/>
            </p:cNvSpPr>
            <p:nvPr/>
          </p:nvSpPr>
          <p:spPr bwMode="auto">
            <a:xfrm>
              <a:off x="3509" y="1464"/>
              <a:ext cx="265" cy="150"/>
            </a:xfrm>
            <a:custGeom>
              <a:avLst/>
              <a:gdLst/>
              <a:ahLst/>
              <a:cxnLst>
                <a:cxn ang="0">
                  <a:pos x="94" y="266"/>
                </a:cxn>
                <a:cxn ang="0">
                  <a:pos x="129" y="261"/>
                </a:cxn>
                <a:cxn ang="0">
                  <a:pos x="175" y="233"/>
                </a:cxn>
                <a:cxn ang="0">
                  <a:pos x="229" y="252"/>
                </a:cxn>
                <a:cxn ang="0">
                  <a:pos x="256" y="288"/>
                </a:cxn>
                <a:cxn ang="0">
                  <a:pos x="276" y="360"/>
                </a:cxn>
                <a:cxn ang="0">
                  <a:pos x="329" y="338"/>
                </a:cxn>
                <a:cxn ang="0">
                  <a:pos x="429" y="447"/>
                </a:cxn>
                <a:cxn ang="0">
                  <a:pos x="554" y="520"/>
                </a:cxn>
                <a:cxn ang="0">
                  <a:pos x="559" y="639"/>
                </a:cxn>
                <a:cxn ang="0">
                  <a:pos x="654" y="550"/>
                </a:cxn>
                <a:cxn ang="0">
                  <a:pos x="611" y="494"/>
                </a:cxn>
                <a:cxn ang="0">
                  <a:pos x="688" y="387"/>
                </a:cxn>
                <a:cxn ang="0">
                  <a:pos x="763" y="405"/>
                </a:cxn>
                <a:cxn ang="0">
                  <a:pos x="899" y="374"/>
                </a:cxn>
                <a:cxn ang="0">
                  <a:pos x="702" y="355"/>
                </a:cxn>
                <a:cxn ang="0">
                  <a:pos x="603" y="380"/>
                </a:cxn>
                <a:cxn ang="0">
                  <a:pos x="559" y="368"/>
                </a:cxn>
                <a:cxn ang="0">
                  <a:pos x="509" y="357"/>
                </a:cxn>
                <a:cxn ang="0">
                  <a:pos x="470" y="316"/>
                </a:cxn>
                <a:cxn ang="0">
                  <a:pos x="425" y="161"/>
                </a:cxn>
                <a:cxn ang="0">
                  <a:pos x="304" y="165"/>
                </a:cxn>
                <a:cxn ang="0">
                  <a:pos x="168" y="167"/>
                </a:cxn>
                <a:cxn ang="0">
                  <a:pos x="107" y="74"/>
                </a:cxn>
                <a:cxn ang="0">
                  <a:pos x="13" y="82"/>
                </a:cxn>
                <a:cxn ang="0">
                  <a:pos x="112" y="2"/>
                </a:cxn>
                <a:cxn ang="0">
                  <a:pos x="122" y="76"/>
                </a:cxn>
                <a:cxn ang="0">
                  <a:pos x="171" y="152"/>
                </a:cxn>
                <a:cxn ang="0">
                  <a:pos x="312" y="151"/>
                </a:cxn>
                <a:cxn ang="0">
                  <a:pos x="440" y="154"/>
                </a:cxn>
                <a:cxn ang="0">
                  <a:pos x="485" y="321"/>
                </a:cxn>
                <a:cxn ang="0">
                  <a:pos x="523" y="350"/>
                </a:cxn>
                <a:cxn ang="0">
                  <a:pos x="555" y="352"/>
                </a:cxn>
                <a:cxn ang="0">
                  <a:pos x="612" y="367"/>
                </a:cxn>
                <a:cxn ang="0">
                  <a:pos x="702" y="339"/>
                </a:cxn>
                <a:cxn ang="0">
                  <a:pos x="910" y="363"/>
                </a:cxn>
                <a:cxn ang="0">
                  <a:pos x="763" y="421"/>
                </a:cxn>
                <a:cxn ang="0">
                  <a:pos x="683" y="402"/>
                </a:cxn>
                <a:cxn ang="0">
                  <a:pos x="627" y="495"/>
                </a:cxn>
                <a:cxn ang="0">
                  <a:pos x="668" y="558"/>
                </a:cxn>
                <a:cxn ang="0">
                  <a:pos x="558" y="655"/>
                </a:cxn>
                <a:cxn ang="0">
                  <a:pos x="545" y="532"/>
                </a:cxn>
                <a:cxn ang="0">
                  <a:pos x="499" y="484"/>
                </a:cxn>
                <a:cxn ang="0">
                  <a:pos x="328" y="351"/>
                </a:cxn>
                <a:cxn ang="0">
                  <a:pos x="297" y="381"/>
                </a:cxn>
                <a:cxn ang="0">
                  <a:pos x="245" y="295"/>
                </a:cxn>
                <a:cxn ang="0">
                  <a:pos x="217" y="259"/>
                </a:cxn>
                <a:cxn ang="0">
                  <a:pos x="168" y="245"/>
                </a:cxn>
                <a:cxn ang="0">
                  <a:pos x="138" y="226"/>
                </a:cxn>
                <a:cxn ang="0">
                  <a:pos x="116" y="250"/>
                </a:cxn>
                <a:cxn ang="0">
                  <a:pos x="63" y="302"/>
                </a:cxn>
              </a:cxnLst>
              <a:rect l="0" t="0" r="r" b="b"/>
              <a:pathLst>
                <a:path w="913" h="657">
                  <a:moveTo>
                    <a:pt x="78" y="298"/>
                  </a:moveTo>
                  <a:lnTo>
                    <a:pt x="69" y="292"/>
                  </a:lnTo>
                  <a:lnTo>
                    <a:pt x="92" y="287"/>
                  </a:lnTo>
                  <a:lnTo>
                    <a:pt x="86" y="293"/>
                  </a:lnTo>
                  <a:lnTo>
                    <a:pt x="94" y="266"/>
                  </a:lnTo>
                  <a:lnTo>
                    <a:pt x="101" y="245"/>
                  </a:lnTo>
                  <a:cubicBezTo>
                    <a:pt x="102" y="243"/>
                    <a:pt x="103" y="241"/>
                    <a:pt x="105" y="240"/>
                  </a:cubicBezTo>
                  <a:cubicBezTo>
                    <a:pt x="107" y="239"/>
                    <a:pt x="110" y="239"/>
                    <a:pt x="112" y="240"/>
                  </a:cubicBezTo>
                  <a:lnTo>
                    <a:pt x="140" y="251"/>
                  </a:lnTo>
                  <a:lnTo>
                    <a:pt x="129" y="261"/>
                  </a:lnTo>
                  <a:lnTo>
                    <a:pt x="122" y="229"/>
                  </a:lnTo>
                  <a:cubicBezTo>
                    <a:pt x="121" y="226"/>
                    <a:pt x="123" y="222"/>
                    <a:pt x="126" y="220"/>
                  </a:cubicBezTo>
                  <a:lnTo>
                    <a:pt x="150" y="207"/>
                  </a:lnTo>
                  <a:cubicBezTo>
                    <a:pt x="154" y="205"/>
                    <a:pt x="159" y="206"/>
                    <a:pt x="161" y="210"/>
                  </a:cubicBezTo>
                  <a:lnTo>
                    <a:pt x="175" y="233"/>
                  </a:lnTo>
                  <a:lnTo>
                    <a:pt x="168" y="229"/>
                  </a:lnTo>
                  <a:lnTo>
                    <a:pt x="191" y="229"/>
                  </a:lnTo>
                  <a:cubicBezTo>
                    <a:pt x="192" y="229"/>
                    <a:pt x="194" y="230"/>
                    <a:pt x="195" y="230"/>
                  </a:cubicBezTo>
                  <a:lnTo>
                    <a:pt x="217" y="244"/>
                  </a:lnTo>
                  <a:lnTo>
                    <a:pt x="229" y="252"/>
                  </a:lnTo>
                  <a:cubicBezTo>
                    <a:pt x="231" y="254"/>
                    <a:pt x="233" y="256"/>
                    <a:pt x="233" y="259"/>
                  </a:cubicBezTo>
                  <a:lnTo>
                    <a:pt x="233" y="265"/>
                  </a:lnTo>
                  <a:lnTo>
                    <a:pt x="235" y="284"/>
                  </a:lnTo>
                  <a:lnTo>
                    <a:pt x="230" y="278"/>
                  </a:lnTo>
                  <a:lnTo>
                    <a:pt x="256" y="288"/>
                  </a:lnTo>
                  <a:cubicBezTo>
                    <a:pt x="259" y="289"/>
                    <a:pt x="261" y="292"/>
                    <a:pt x="261" y="295"/>
                  </a:cubicBezTo>
                  <a:lnTo>
                    <a:pt x="261" y="323"/>
                  </a:lnTo>
                  <a:lnTo>
                    <a:pt x="260" y="320"/>
                  </a:lnTo>
                  <a:lnTo>
                    <a:pt x="281" y="365"/>
                  </a:lnTo>
                  <a:lnTo>
                    <a:pt x="276" y="360"/>
                  </a:lnTo>
                  <a:lnTo>
                    <a:pt x="300" y="365"/>
                  </a:lnTo>
                  <a:lnTo>
                    <a:pt x="292" y="368"/>
                  </a:lnTo>
                  <a:lnTo>
                    <a:pt x="302" y="355"/>
                  </a:lnTo>
                  <a:cubicBezTo>
                    <a:pt x="302" y="354"/>
                    <a:pt x="303" y="354"/>
                    <a:pt x="304" y="353"/>
                  </a:cubicBezTo>
                  <a:lnTo>
                    <a:pt x="329" y="338"/>
                  </a:lnTo>
                  <a:cubicBezTo>
                    <a:pt x="333" y="336"/>
                    <a:pt x="337" y="337"/>
                    <a:pt x="339" y="339"/>
                  </a:cubicBezTo>
                  <a:lnTo>
                    <a:pt x="362" y="363"/>
                  </a:lnTo>
                  <a:lnTo>
                    <a:pt x="391" y="400"/>
                  </a:lnTo>
                  <a:lnTo>
                    <a:pt x="433" y="449"/>
                  </a:lnTo>
                  <a:lnTo>
                    <a:pt x="429" y="447"/>
                  </a:lnTo>
                  <a:lnTo>
                    <a:pt x="504" y="468"/>
                  </a:lnTo>
                  <a:cubicBezTo>
                    <a:pt x="507" y="469"/>
                    <a:pt x="510" y="472"/>
                    <a:pt x="510" y="476"/>
                  </a:cubicBezTo>
                  <a:lnTo>
                    <a:pt x="511" y="507"/>
                  </a:lnTo>
                  <a:lnTo>
                    <a:pt x="506" y="500"/>
                  </a:lnTo>
                  <a:lnTo>
                    <a:pt x="554" y="520"/>
                  </a:lnTo>
                  <a:cubicBezTo>
                    <a:pt x="556" y="521"/>
                    <a:pt x="557" y="521"/>
                    <a:pt x="558" y="523"/>
                  </a:cubicBezTo>
                  <a:lnTo>
                    <a:pt x="580" y="552"/>
                  </a:lnTo>
                  <a:cubicBezTo>
                    <a:pt x="581" y="554"/>
                    <a:pt x="582" y="556"/>
                    <a:pt x="582" y="559"/>
                  </a:cubicBezTo>
                  <a:lnTo>
                    <a:pt x="566" y="648"/>
                  </a:lnTo>
                  <a:lnTo>
                    <a:pt x="559" y="639"/>
                  </a:lnTo>
                  <a:lnTo>
                    <a:pt x="602" y="640"/>
                  </a:lnTo>
                  <a:lnTo>
                    <a:pt x="595" y="644"/>
                  </a:lnTo>
                  <a:lnTo>
                    <a:pt x="625" y="599"/>
                  </a:lnTo>
                  <a:lnTo>
                    <a:pt x="642" y="573"/>
                  </a:lnTo>
                  <a:lnTo>
                    <a:pt x="654" y="550"/>
                  </a:lnTo>
                  <a:lnTo>
                    <a:pt x="653" y="555"/>
                  </a:lnTo>
                  <a:lnTo>
                    <a:pt x="646" y="512"/>
                  </a:lnTo>
                  <a:lnTo>
                    <a:pt x="651" y="518"/>
                  </a:lnTo>
                  <a:lnTo>
                    <a:pt x="616" y="502"/>
                  </a:lnTo>
                  <a:cubicBezTo>
                    <a:pt x="613" y="500"/>
                    <a:pt x="611" y="497"/>
                    <a:pt x="611" y="494"/>
                  </a:cubicBezTo>
                  <a:lnTo>
                    <a:pt x="618" y="414"/>
                  </a:lnTo>
                  <a:cubicBezTo>
                    <a:pt x="618" y="412"/>
                    <a:pt x="619" y="410"/>
                    <a:pt x="621" y="409"/>
                  </a:cubicBezTo>
                  <a:lnTo>
                    <a:pt x="653" y="379"/>
                  </a:lnTo>
                  <a:cubicBezTo>
                    <a:pt x="655" y="377"/>
                    <a:pt x="659" y="376"/>
                    <a:pt x="661" y="377"/>
                  </a:cubicBezTo>
                  <a:lnTo>
                    <a:pt x="688" y="387"/>
                  </a:lnTo>
                  <a:lnTo>
                    <a:pt x="684" y="387"/>
                  </a:lnTo>
                  <a:lnTo>
                    <a:pt x="750" y="374"/>
                  </a:lnTo>
                  <a:cubicBezTo>
                    <a:pt x="754" y="373"/>
                    <a:pt x="758" y="375"/>
                    <a:pt x="759" y="379"/>
                  </a:cubicBezTo>
                  <a:lnTo>
                    <a:pt x="771" y="410"/>
                  </a:lnTo>
                  <a:lnTo>
                    <a:pt x="763" y="405"/>
                  </a:lnTo>
                  <a:lnTo>
                    <a:pt x="801" y="403"/>
                  </a:lnTo>
                  <a:lnTo>
                    <a:pt x="883" y="397"/>
                  </a:lnTo>
                  <a:lnTo>
                    <a:pt x="876" y="401"/>
                  </a:lnTo>
                  <a:lnTo>
                    <a:pt x="898" y="364"/>
                  </a:lnTo>
                  <a:lnTo>
                    <a:pt x="899" y="374"/>
                  </a:lnTo>
                  <a:lnTo>
                    <a:pt x="878" y="352"/>
                  </a:lnTo>
                  <a:lnTo>
                    <a:pt x="883" y="355"/>
                  </a:lnTo>
                  <a:lnTo>
                    <a:pt x="830" y="355"/>
                  </a:lnTo>
                  <a:lnTo>
                    <a:pt x="739" y="355"/>
                  </a:lnTo>
                  <a:lnTo>
                    <a:pt x="702" y="355"/>
                  </a:lnTo>
                  <a:cubicBezTo>
                    <a:pt x="702" y="355"/>
                    <a:pt x="701" y="355"/>
                    <a:pt x="701" y="355"/>
                  </a:cubicBezTo>
                  <a:lnTo>
                    <a:pt x="664" y="348"/>
                  </a:lnTo>
                  <a:lnTo>
                    <a:pt x="670" y="347"/>
                  </a:lnTo>
                  <a:lnTo>
                    <a:pt x="612" y="380"/>
                  </a:lnTo>
                  <a:cubicBezTo>
                    <a:pt x="609" y="382"/>
                    <a:pt x="606" y="382"/>
                    <a:pt x="603" y="380"/>
                  </a:cubicBezTo>
                  <a:lnTo>
                    <a:pt x="596" y="375"/>
                  </a:lnTo>
                  <a:cubicBezTo>
                    <a:pt x="596" y="375"/>
                    <a:pt x="595" y="374"/>
                    <a:pt x="595" y="374"/>
                  </a:cubicBezTo>
                  <a:lnTo>
                    <a:pt x="581" y="359"/>
                  </a:lnTo>
                  <a:lnTo>
                    <a:pt x="588" y="361"/>
                  </a:lnTo>
                  <a:lnTo>
                    <a:pt x="559" y="368"/>
                  </a:lnTo>
                  <a:lnTo>
                    <a:pt x="560" y="367"/>
                  </a:lnTo>
                  <a:lnTo>
                    <a:pt x="530" y="381"/>
                  </a:lnTo>
                  <a:cubicBezTo>
                    <a:pt x="527" y="382"/>
                    <a:pt x="523" y="381"/>
                    <a:pt x="520" y="378"/>
                  </a:cubicBezTo>
                  <a:lnTo>
                    <a:pt x="516" y="371"/>
                  </a:lnTo>
                  <a:lnTo>
                    <a:pt x="509" y="357"/>
                  </a:lnTo>
                  <a:lnTo>
                    <a:pt x="513" y="361"/>
                  </a:lnTo>
                  <a:lnTo>
                    <a:pt x="476" y="348"/>
                  </a:lnTo>
                  <a:lnTo>
                    <a:pt x="468" y="344"/>
                  </a:lnTo>
                  <a:cubicBezTo>
                    <a:pt x="464" y="343"/>
                    <a:pt x="462" y="338"/>
                    <a:pt x="463" y="334"/>
                  </a:cubicBezTo>
                  <a:lnTo>
                    <a:pt x="470" y="316"/>
                  </a:lnTo>
                  <a:cubicBezTo>
                    <a:pt x="471" y="314"/>
                    <a:pt x="472" y="313"/>
                    <a:pt x="474" y="312"/>
                  </a:cubicBezTo>
                  <a:lnTo>
                    <a:pt x="491" y="302"/>
                  </a:lnTo>
                  <a:lnTo>
                    <a:pt x="487" y="311"/>
                  </a:lnTo>
                  <a:lnTo>
                    <a:pt x="463" y="248"/>
                  </a:lnTo>
                  <a:lnTo>
                    <a:pt x="425" y="161"/>
                  </a:lnTo>
                  <a:lnTo>
                    <a:pt x="435" y="165"/>
                  </a:lnTo>
                  <a:lnTo>
                    <a:pt x="333" y="194"/>
                  </a:lnTo>
                  <a:cubicBezTo>
                    <a:pt x="330" y="194"/>
                    <a:pt x="326" y="193"/>
                    <a:pt x="324" y="191"/>
                  </a:cubicBezTo>
                  <a:lnTo>
                    <a:pt x="302" y="163"/>
                  </a:lnTo>
                  <a:lnTo>
                    <a:pt x="304" y="165"/>
                  </a:lnTo>
                  <a:lnTo>
                    <a:pt x="256" y="140"/>
                  </a:lnTo>
                  <a:lnTo>
                    <a:pt x="265" y="139"/>
                  </a:lnTo>
                  <a:lnTo>
                    <a:pt x="220" y="176"/>
                  </a:lnTo>
                  <a:cubicBezTo>
                    <a:pt x="218" y="177"/>
                    <a:pt x="215" y="178"/>
                    <a:pt x="213" y="177"/>
                  </a:cubicBezTo>
                  <a:lnTo>
                    <a:pt x="168" y="167"/>
                  </a:lnTo>
                  <a:cubicBezTo>
                    <a:pt x="167" y="167"/>
                    <a:pt x="166" y="166"/>
                    <a:pt x="165" y="166"/>
                  </a:cubicBezTo>
                  <a:lnTo>
                    <a:pt x="117" y="127"/>
                  </a:lnTo>
                  <a:cubicBezTo>
                    <a:pt x="115" y="126"/>
                    <a:pt x="114" y="124"/>
                    <a:pt x="114" y="122"/>
                  </a:cubicBezTo>
                  <a:lnTo>
                    <a:pt x="107" y="76"/>
                  </a:lnTo>
                  <a:cubicBezTo>
                    <a:pt x="106" y="75"/>
                    <a:pt x="106" y="75"/>
                    <a:pt x="107" y="74"/>
                  </a:cubicBezTo>
                  <a:lnTo>
                    <a:pt x="111" y="41"/>
                  </a:lnTo>
                  <a:lnTo>
                    <a:pt x="111" y="42"/>
                  </a:lnTo>
                  <a:lnTo>
                    <a:pt x="108" y="9"/>
                  </a:lnTo>
                  <a:lnTo>
                    <a:pt x="120" y="15"/>
                  </a:lnTo>
                  <a:lnTo>
                    <a:pt x="13" y="82"/>
                  </a:lnTo>
                  <a:lnTo>
                    <a:pt x="16" y="73"/>
                  </a:lnTo>
                  <a:lnTo>
                    <a:pt x="78" y="298"/>
                  </a:lnTo>
                  <a:close/>
                  <a:moveTo>
                    <a:pt x="1" y="77"/>
                  </a:moveTo>
                  <a:cubicBezTo>
                    <a:pt x="0" y="73"/>
                    <a:pt x="1" y="70"/>
                    <a:pt x="4" y="68"/>
                  </a:cubicBezTo>
                  <a:lnTo>
                    <a:pt x="112" y="2"/>
                  </a:lnTo>
                  <a:cubicBezTo>
                    <a:pt x="114" y="0"/>
                    <a:pt x="117" y="0"/>
                    <a:pt x="119" y="1"/>
                  </a:cubicBezTo>
                  <a:cubicBezTo>
                    <a:pt x="122" y="3"/>
                    <a:pt x="124" y="5"/>
                    <a:pt x="124" y="8"/>
                  </a:cubicBezTo>
                  <a:lnTo>
                    <a:pt x="127" y="41"/>
                  </a:lnTo>
                  <a:cubicBezTo>
                    <a:pt x="127" y="42"/>
                    <a:pt x="127" y="42"/>
                    <a:pt x="127" y="43"/>
                  </a:cubicBezTo>
                  <a:lnTo>
                    <a:pt x="122" y="76"/>
                  </a:lnTo>
                  <a:lnTo>
                    <a:pt x="122" y="74"/>
                  </a:lnTo>
                  <a:lnTo>
                    <a:pt x="129" y="120"/>
                  </a:lnTo>
                  <a:lnTo>
                    <a:pt x="127" y="115"/>
                  </a:lnTo>
                  <a:lnTo>
                    <a:pt x="175" y="153"/>
                  </a:lnTo>
                  <a:lnTo>
                    <a:pt x="171" y="152"/>
                  </a:lnTo>
                  <a:lnTo>
                    <a:pt x="217" y="161"/>
                  </a:lnTo>
                  <a:lnTo>
                    <a:pt x="210" y="163"/>
                  </a:lnTo>
                  <a:lnTo>
                    <a:pt x="255" y="127"/>
                  </a:lnTo>
                  <a:cubicBezTo>
                    <a:pt x="257" y="125"/>
                    <a:pt x="261" y="124"/>
                    <a:pt x="264" y="126"/>
                  </a:cubicBezTo>
                  <a:lnTo>
                    <a:pt x="312" y="151"/>
                  </a:lnTo>
                  <a:cubicBezTo>
                    <a:pt x="313" y="151"/>
                    <a:pt x="314" y="152"/>
                    <a:pt x="314" y="153"/>
                  </a:cubicBezTo>
                  <a:lnTo>
                    <a:pt x="337" y="181"/>
                  </a:lnTo>
                  <a:lnTo>
                    <a:pt x="329" y="178"/>
                  </a:lnTo>
                  <a:lnTo>
                    <a:pt x="430" y="150"/>
                  </a:lnTo>
                  <a:cubicBezTo>
                    <a:pt x="434" y="149"/>
                    <a:pt x="438" y="151"/>
                    <a:pt x="440" y="154"/>
                  </a:cubicBezTo>
                  <a:lnTo>
                    <a:pt x="478" y="243"/>
                  </a:lnTo>
                  <a:lnTo>
                    <a:pt x="502" y="306"/>
                  </a:lnTo>
                  <a:cubicBezTo>
                    <a:pt x="503" y="309"/>
                    <a:pt x="502" y="313"/>
                    <a:pt x="499" y="315"/>
                  </a:cubicBezTo>
                  <a:lnTo>
                    <a:pt x="482" y="325"/>
                  </a:lnTo>
                  <a:lnTo>
                    <a:pt x="485" y="321"/>
                  </a:lnTo>
                  <a:lnTo>
                    <a:pt x="478" y="340"/>
                  </a:lnTo>
                  <a:lnTo>
                    <a:pt x="474" y="329"/>
                  </a:lnTo>
                  <a:lnTo>
                    <a:pt x="482" y="333"/>
                  </a:lnTo>
                  <a:lnTo>
                    <a:pt x="519" y="346"/>
                  </a:lnTo>
                  <a:cubicBezTo>
                    <a:pt x="520" y="346"/>
                    <a:pt x="522" y="348"/>
                    <a:pt x="523" y="350"/>
                  </a:cubicBezTo>
                  <a:lnTo>
                    <a:pt x="530" y="362"/>
                  </a:lnTo>
                  <a:lnTo>
                    <a:pt x="534" y="369"/>
                  </a:lnTo>
                  <a:lnTo>
                    <a:pt x="524" y="366"/>
                  </a:lnTo>
                  <a:lnTo>
                    <a:pt x="554" y="353"/>
                  </a:lnTo>
                  <a:cubicBezTo>
                    <a:pt x="554" y="352"/>
                    <a:pt x="555" y="352"/>
                    <a:pt x="555" y="352"/>
                  </a:cubicBezTo>
                  <a:lnTo>
                    <a:pt x="585" y="346"/>
                  </a:lnTo>
                  <a:cubicBezTo>
                    <a:pt x="587" y="345"/>
                    <a:pt x="590" y="346"/>
                    <a:pt x="592" y="348"/>
                  </a:cubicBezTo>
                  <a:lnTo>
                    <a:pt x="606" y="363"/>
                  </a:lnTo>
                  <a:lnTo>
                    <a:pt x="605" y="362"/>
                  </a:lnTo>
                  <a:lnTo>
                    <a:pt x="612" y="367"/>
                  </a:lnTo>
                  <a:lnTo>
                    <a:pt x="604" y="366"/>
                  </a:lnTo>
                  <a:lnTo>
                    <a:pt x="662" y="333"/>
                  </a:lnTo>
                  <a:cubicBezTo>
                    <a:pt x="663" y="332"/>
                    <a:pt x="665" y="332"/>
                    <a:pt x="667" y="332"/>
                  </a:cubicBezTo>
                  <a:lnTo>
                    <a:pt x="704" y="339"/>
                  </a:lnTo>
                  <a:lnTo>
                    <a:pt x="702" y="339"/>
                  </a:lnTo>
                  <a:lnTo>
                    <a:pt x="739" y="339"/>
                  </a:lnTo>
                  <a:lnTo>
                    <a:pt x="830" y="339"/>
                  </a:lnTo>
                  <a:lnTo>
                    <a:pt x="883" y="339"/>
                  </a:lnTo>
                  <a:cubicBezTo>
                    <a:pt x="885" y="339"/>
                    <a:pt x="887" y="340"/>
                    <a:pt x="889" y="341"/>
                  </a:cubicBezTo>
                  <a:lnTo>
                    <a:pt x="910" y="363"/>
                  </a:lnTo>
                  <a:cubicBezTo>
                    <a:pt x="913" y="365"/>
                    <a:pt x="913" y="369"/>
                    <a:pt x="911" y="372"/>
                  </a:cubicBezTo>
                  <a:lnTo>
                    <a:pt x="890" y="409"/>
                  </a:lnTo>
                  <a:cubicBezTo>
                    <a:pt x="889" y="411"/>
                    <a:pt x="887" y="413"/>
                    <a:pt x="884" y="413"/>
                  </a:cubicBezTo>
                  <a:lnTo>
                    <a:pt x="802" y="419"/>
                  </a:lnTo>
                  <a:lnTo>
                    <a:pt x="763" y="421"/>
                  </a:lnTo>
                  <a:cubicBezTo>
                    <a:pt x="760" y="421"/>
                    <a:pt x="757" y="419"/>
                    <a:pt x="756" y="416"/>
                  </a:cubicBezTo>
                  <a:lnTo>
                    <a:pt x="744" y="384"/>
                  </a:lnTo>
                  <a:lnTo>
                    <a:pt x="753" y="389"/>
                  </a:lnTo>
                  <a:lnTo>
                    <a:pt x="687" y="403"/>
                  </a:lnTo>
                  <a:cubicBezTo>
                    <a:pt x="686" y="403"/>
                    <a:pt x="684" y="403"/>
                    <a:pt x="683" y="402"/>
                  </a:cubicBezTo>
                  <a:lnTo>
                    <a:pt x="656" y="392"/>
                  </a:lnTo>
                  <a:lnTo>
                    <a:pt x="664" y="391"/>
                  </a:lnTo>
                  <a:lnTo>
                    <a:pt x="631" y="421"/>
                  </a:lnTo>
                  <a:lnTo>
                    <a:pt x="634" y="415"/>
                  </a:lnTo>
                  <a:lnTo>
                    <a:pt x="627" y="495"/>
                  </a:lnTo>
                  <a:lnTo>
                    <a:pt x="622" y="487"/>
                  </a:lnTo>
                  <a:lnTo>
                    <a:pt x="658" y="504"/>
                  </a:lnTo>
                  <a:cubicBezTo>
                    <a:pt x="660" y="505"/>
                    <a:pt x="662" y="507"/>
                    <a:pt x="662" y="510"/>
                  </a:cubicBezTo>
                  <a:lnTo>
                    <a:pt x="669" y="553"/>
                  </a:lnTo>
                  <a:cubicBezTo>
                    <a:pt x="670" y="554"/>
                    <a:pt x="669" y="556"/>
                    <a:pt x="668" y="558"/>
                  </a:cubicBezTo>
                  <a:lnTo>
                    <a:pt x="655" y="581"/>
                  </a:lnTo>
                  <a:lnTo>
                    <a:pt x="638" y="608"/>
                  </a:lnTo>
                  <a:lnTo>
                    <a:pt x="609" y="653"/>
                  </a:lnTo>
                  <a:cubicBezTo>
                    <a:pt x="607" y="655"/>
                    <a:pt x="605" y="657"/>
                    <a:pt x="602" y="656"/>
                  </a:cubicBezTo>
                  <a:lnTo>
                    <a:pt x="558" y="655"/>
                  </a:lnTo>
                  <a:cubicBezTo>
                    <a:pt x="556" y="655"/>
                    <a:pt x="553" y="654"/>
                    <a:pt x="552" y="652"/>
                  </a:cubicBezTo>
                  <a:cubicBezTo>
                    <a:pt x="551" y="650"/>
                    <a:pt x="550" y="648"/>
                    <a:pt x="550" y="645"/>
                  </a:cubicBezTo>
                  <a:lnTo>
                    <a:pt x="566" y="556"/>
                  </a:lnTo>
                  <a:lnTo>
                    <a:pt x="567" y="562"/>
                  </a:lnTo>
                  <a:lnTo>
                    <a:pt x="545" y="532"/>
                  </a:lnTo>
                  <a:lnTo>
                    <a:pt x="548" y="535"/>
                  </a:lnTo>
                  <a:lnTo>
                    <a:pt x="500" y="515"/>
                  </a:lnTo>
                  <a:cubicBezTo>
                    <a:pt x="497" y="514"/>
                    <a:pt x="495" y="511"/>
                    <a:pt x="495" y="508"/>
                  </a:cubicBezTo>
                  <a:lnTo>
                    <a:pt x="494" y="476"/>
                  </a:lnTo>
                  <a:lnTo>
                    <a:pt x="499" y="484"/>
                  </a:lnTo>
                  <a:lnTo>
                    <a:pt x="425" y="462"/>
                  </a:lnTo>
                  <a:cubicBezTo>
                    <a:pt x="423" y="462"/>
                    <a:pt x="422" y="461"/>
                    <a:pt x="421" y="460"/>
                  </a:cubicBezTo>
                  <a:lnTo>
                    <a:pt x="378" y="410"/>
                  </a:lnTo>
                  <a:lnTo>
                    <a:pt x="350" y="374"/>
                  </a:lnTo>
                  <a:lnTo>
                    <a:pt x="328" y="351"/>
                  </a:lnTo>
                  <a:lnTo>
                    <a:pt x="338" y="352"/>
                  </a:lnTo>
                  <a:lnTo>
                    <a:pt x="312" y="367"/>
                  </a:lnTo>
                  <a:lnTo>
                    <a:pt x="314" y="365"/>
                  </a:lnTo>
                  <a:lnTo>
                    <a:pt x="305" y="378"/>
                  </a:lnTo>
                  <a:cubicBezTo>
                    <a:pt x="303" y="381"/>
                    <a:pt x="300" y="382"/>
                    <a:pt x="297" y="381"/>
                  </a:cubicBezTo>
                  <a:lnTo>
                    <a:pt x="273" y="376"/>
                  </a:lnTo>
                  <a:cubicBezTo>
                    <a:pt x="270" y="376"/>
                    <a:pt x="268" y="374"/>
                    <a:pt x="267" y="372"/>
                  </a:cubicBezTo>
                  <a:lnTo>
                    <a:pt x="246" y="327"/>
                  </a:lnTo>
                  <a:cubicBezTo>
                    <a:pt x="245" y="326"/>
                    <a:pt x="245" y="325"/>
                    <a:pt x="245" y="323"/>
                  </a:cubicBezTo>
                  <a:lnTo>
                    <a:pt x="245" y="295"/>
                  </a:lnTo>
                  <a:lnTo>
                    <a:pt x="250" y="303"/>
                  </a:lnTo>
                  <a:lnTo>
                    <a:pt x="225" y="293"/>
                  </a:lnTo>
                  <a:cubicBezTo>
                    <a:pt x="222" y="292"/>
                    <a:pt x="220" y="289"/>
                    <a:pt x="220" y="286"/>
                  </a:cubicBezTo>
                  <a:lnTo>
                    <a:pt x="217" y="265"/>
                  </a:lnTo>
                  <a:lnTo>
                    <a:pt x="217" y="259"/>
                  </a:lnTo>
                  <a:lnTo>
                    <a:pt x="220" y="265"/>
                  </a:lnTo>
                  <a:lnTo>
                    <a:pt x="209" y="257"/>
                  </a:lnTo>
                  <a:lnTo>
                    <a:pt x="187" y="244"/>
                  </a:lnTo>
                  <a:lnTo>
                    <a:pt x="191" y="245"/>
                  </a:lnTo>
                  <a:lnTo>
                    <a:pt x="168" y="245"/>
                  </a:lnTo>
                  <a:cubicBezTo>
                    <a:pt x="165" y="245"/>
                    <a:pt x="163" y="244"/>
                    <a:pt x="161" y="241"/>
                  </a:cubicBezTo>
                  <a:lnTo>
                    <a:pt x="147" y="218"/>
                  </a:lnTo>
                  <a:lnTo>
                    <a:pt x="158" y="221"/>
                  </a:lnTo>
                  <a:lnTo>
                    <a:pt x="134" y="234"/>
                  </a:lnTo>
                  <a:lnTo>
                    <a:pt x="138" y="226"/>
                  </a:lnTo>
                  <a:lnTo>
                    <a:pt x="145" y="257"/>
                  </a:lnTo>
                  <a:cubicBezTo>
                    <a:pt x="146" y="260"/>
                    <a:pt x="145" y="263"/>
                    <a:pt x="142" y="265"/>
                  </a:cubicBezTo>
                  <a:cubicBezTo>
                    <a:pt x="140" y="267"/>
                    <a:pt x="137" y="267"/>
                    <a:pt x="134" y="266"/>
                  </a:cubicBezTo>
                  <a:lnTo>
                    <a:pt x="106" y="255"/>
                  </a:lnTo>
                  <a:lnTo>
                    <a:pt x="116" y="250"/>
                  </a:lnTo>
                  <a:lnTo>
                    <a:pt x="109" y="271"/>
                  </a:lnTo>
                  <a:lnTo>
                    <a:pt x="101" y="298"/>
                  </a:lnTo>
                  <a:cubicBezTo>
                    <a:pt x="100" y="300"/>
                    <a:pt x="98" y="303"/>
                    <a:pt x="95" y="303"/>
                  </a:cubicBezTo>
                  <a:lnTo>
                    <a:pt x="72" y="308"/>
                  </a:lnTo>
                  <a:cubicBezTo>
                    <a:pt x="68" y="309"/>
                    <a:pt x="64" y="307"/>
                    <a:pt x="63" y="302"/>
                  </a:cubicBezTo>
                  <a:lnTo>
                    <a:pt x="1" y="77"/>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26" name="Freeform 482"/>
            <p:cNvSpPr>
              <a:spLocks/>
            </p:cNvSpPr>
            <p:nvPr/>
          </p:nvSpPr>
          <p:spPr bwMode="auto">
            <a:xfrm>
              <a:off x="3479" y="1513"/>
              <a:ext cx="195" cy="128"/>
            </a:xfrm>
            <a:custGeom>
              <a:avLst/>
              <a:gdLst/>
              <a:ahLst/>
              <a:cxnLst>
                <a:cxn ang="0">
                  <a:pos x="0" y="19"/>
                </a:cxn>
                <a:cxn ang="0">
                  <a:pos x="1" y="36"/>
                </a:cxn>
                <a:cxn ang="0">
                  <a:pos x="12" y="25"/>
                </a:cxn>
                <a:cxn ang="0">
                  <a:pos x="27" y="39"/>
                </a:cxn>
                <a:cxn ang="0">
                  <a:pos x="20" y="46"/>
                </a:cxn>
                <a:cxn ang="0">
                  <a:pos x="3" y="39"/>
                </a:cxn>
                <a:cxn ang="0">
                  <a:pos x="1" y="50"/>
                </a:cxn>
                <a:cxn ang="0">
                  <a:pos x="3" y="57"/>
                </a:cxn>
                <a:cxn ang="0">
                  <a:pos x="12" y="58"/>
                </a:cxn>
                <a:cxn ang="0">
                  <a:pos x="8" y="65"/>
                </a:cxn>
                <a:cxn ang="0">
                  <a:pos x="17" y="71"/>
                </a:cxn>
                <a:cxn ang="0">
                  <a:pos x="17" y="93"/>
                </a:cxn>
                <a:cxn ang="0">
                  <a:pos x="43" y="87"/>
                </a:cxn>
                <a:cxn ang="0">
                  <a:pos x="58" y="80"/>
                </a:cxn>
                <a:cxn ang="0">
                  <a:pos x="92" y="95"/>
                </a:cxn>
                <a:cxn ang="0">
                  <a:pos x="113" y="104"/>
                </a:cxn>
                <a:cxn ang="0">
                  <a:pos x="118" y="109"/>
                </a:cxn>
                <a:cxn ang="0">
                  <a:pos x="120" y="120"/>
                </a:cxn>
                <a:cxn ang="0">
                  <a:pos x="140" y="128"/>
                </a:cxn>
                <a:cxn ang="0">
                  <a:pos x="170" y="98"/>
                </a:cxn>
                <a:cxn ang="0">
                  <a:pos x="190" y="98"/>
                </a:cxn>
                <a:cxn ang="0">
                  <a:pos x="193" y="85"/>
                </a:cxn>
                <a:cxn ang="0">
                  <a:pos x="195" y="80"/>
                </a:cxn>
                <a:cxn ang="0">
                  <a:pos x="189" y="71"/>
                </a:cxn>
                <a:cxn ang="0">
                  <a:pos x="174" y="66"/>
                </a:cxn>
                <a:cxn ang="0">
                  <a:pos x="173" y="60"/>
                </a:cxn>
                <a:cxn ang="0">
                  <a:pos x="153" y="55"/>
                </a:cxn>
                <a:cxn ang="0">
                  <a:pos x="140" y="44"/>
                </a:cxn>
                <a:cxn ang="0">
                  <a:pos x="136" y="37"/>
                </a:cxn>
                <a:cxn ang="0">
                  <a:pos x="126" y="29"/>
                </a:cxn>
                <a:cxn ang="0">
                  <a:pos x="119" y="33"/>
                </a:cxn>
                <a:cxn ang="0">
                  <a:pos x="116" y="37"/>
                </a:cxn>
                <a:cxn ang="0">
                  <a:pos x="109" y="36"/>
                </a:cxn>
                <a:cxn ang="0">
                  <a:pos x="103" y="25"/>
                </a:cxn>
                <a:cxn ang="0">
                  <a:pos x="103" y="19"/>
                </a:cxn>
                <a:cxn ang="0">
                  <a:pos x="96" y="17"/>
                </a:cxn>
                <a:cxn ang="0">
                  <a:pos x="94" y="10"/>
                </a:cxn>
                <a:cxn ang="0">
                  <a:pos x="85" y="6"/>
                </a:cxn>
                <a:cxn ang="0">
                  <a:pos x="79" y="6"/>
                </a:cxn>
                <a:cxn ang="0">
                  <a:pos x="75" y="0"/>
                </a:cxn>
                <a:cxn ang="0">
                  <a:pos x="68" y="3"/>
                </a:cxn>
                <a:cxn ang="0">
                  <a:pos x="70" y="10"/>
                </a:cxn>
                <a:cxn ang="0">
                  <a:pos x="67" y="9"/>
                </a:cxn>
                <a:cxn ang="0">
                  <a:pos x="62" y="8"/>
                </a:cxn>
                <a:cxn ang="0">
                  <a:pos x="58" y="19"/>
                </a:cxn>
                <a:cxn ang="0">
                  <a:pos x="50" y="20"/>
                </a:cxn>
                <a:cxn ang="0">
                  <a:pos x="43" y="18"/>
                </a:cxn>
                <a:cxn ang="0">
                  <a:pos x="37" y="24"/>
                </a:cxn>
                <a:cxn ang="0">
                  <a:pos x="31" y="19"/>
                </a:cxn>
                <a:cxn ang="0">
                  <a:pos x="21" y="14"/>
                </a:cxn>
                <a:cxn ang="0">
                  <a:pos x="0" y="19"/>
                </a:cxn>
              </a:cxnLst>
              <a:rect l="0" t="0" r="r" b="b"/>
              <a:pathLst>
                <a:path w="195" h="128">
                  <a:moveTo>
                    <a:pt x="0" y="19"/>
                  </a:moveTo>
                  <a:lnTo>
                    <a:pt x="1" y="36"/>
                  </a:lnTo>
                  <a:lnTo>
                    <a:pt x="12" y="25"/>
                  </a:lnTo>
                  <a:lnTo>
                    <a:pt x="27" y="39"/>
                  </a:lnTo>
                  <a:lnTo>
                    <a:pt x="20" y="46"/>
                  </a:lnTo>
                  <a:lnTo>
                    <a:pt x="3" y="39"/>
                  </a:lnTo>
                  <a:lnTo>
                    <a:pt x="1" y="50"/>
                  </a:lnTo>
                  <a:lnTo>
                    <a:pt x="3" y="57"/>
                  </a:lnTo>
                  <a:lnTo>
                    <a:pt x="12" y="58"/>
                  </a:lnTo>
                  <a:lnTo>
                    <a:pt x="8" y="65"/>
                  </a:lnTo>
                  <a:lnTo>
                    <a:pt x="17" y="71"/>
                  </a:lnTo>
                  <a:lnTo>
                    <a:pt x="17" y="93"/>
                  </a:lnTo>
                  <a:lnTo>
                    <a:pt x="43" y="87"/>
                  </a:lnTo>
                  <a:lnTo>
                    <a:pt x="58" y="80"/>
                  </a:lnTo>
                  <a:lnTo>
                    <a:pt x="92" y="95"/>
                  </a:lnTo>
                  <a:lnTo>
                    <a:pt x="113" y="104"/>
                  </a:lnTo>
                  <a:lnTo>
                    <a:pt x="118" y="109"/>
                  </a:lnTo>
                  <a:lnTo>
                    <a:pt x="120" y="120"/>
                  </a:lnTo>
                  <a:lnTo>
                    <a:pt x="140" y="128"/>
                  </a:lnTo>
                  <a:lnTo>
                    <a:pt x="170" y="98"/>
                  </a:lnTo>
                  <a:lnTo>
                    <a:pt x="190" y="98"/>
                  </a:lnTo>
                  <a:lnTo>
                    <a:pt x="193" y="85"/>
                  </a:lnTo>
                  <a:lnTo>
                    <a:pt x="195" y="80"/>
                  </a:lnTo>
                  <a:lnTo>
                    <a:pt x="189" y="71"/>
                  </a:lnTo>
                  <a:lnTo>
                    <a:pt x="174" y="66"/>
                  </a:lnTo>
                  <a:lnTo>
                    <a:pt x="173" y="60"/>
                  </a:lnTo>
                  <a:lnTo>
                    <a:pt x="153" y="55"/>
                  </a:lnTo>
                  <a:lnTo>
                    <a:pt x="140" y="44"/>
                  </a:lnTo>
                  <a:lnTo>
                    <a:pt x="136" y="37"/>
                  </a:lnTo>
                  <a:lnTo>
                    <a:pt x="126" y="29"/>
                  </a:lnTo>
                  <a:lnTo>
                    <a:pt x="119" y="33"/>
                  </a:lnTo>
                  <a:lnTo>
                    <a:pt x="116" y="37"/>
                  </a:lnTo>
                  <a:lnTo>
                    <a:pt x="109" y="36"/>
                  </a:lnTo>
                  <a:lnTo>
                    <a:pt x="103" y="25"/>
                  </a:lnTo>
                  <a:lnTo>
                    <a:pt x="103" y="19"/>
                  </a:lnTo>
                  <a:lnTo>
                    <a:pt x="96" y="17"/>
                  </a:lnTo>
                  <a:lnTo>
                    <a:pt x="94" y="10"/>
                  </a:lnTo>
                  <a:lnTo>
                    <a:pt x="85" y="6"/>
                  </a:lnTo>
                  <a:lnTo>
                    <a:pt x="79" y="6"/>
                  </a:lnTo>
                  <a:lnTo>
                    <a:pt x="75" y="0"/>
                  </a:lnTo>
                  <a:lnTo>
                    <a:pt x="68" y="3"/>
                  </a:lnTo>
                  <a:lnTo>
                    <a:pt x="70" y="10"/>
                  </a:lnTo>
                  <a:lnTo>
                    <a:pt x="67" y="9"/>
                  </a:lnTo>
                  <a:lnTo>
                    <a:pt x="62" y="8"/>
                  </a:lnTo>
                  <a:lnTo>
                    <a:pt x="58" y="19"/>
                  </a:lnTo>
                  <a:lnTo>
                    <a:pt x="50" y="20"/>
                  </a:lnTo>
                  <a:lnTo>
                    <a:pt x="43" y="18"/>
                  </a:lnTo>
                  <a:lnTo>
                    <a:pt x="37" y="24"/>
                  </a:lnTo>
                  <a:lnTo>
                    <a:pt x="31" y="19"/>
                  </a:lnTo>
                  <a:lnTo>
                    <a:pt x="21" y="14"/>
                  </a:lnTo>
                  <a:lnTo>
                    <a:pt x="0" y="19"/>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27" name="Freeform 483"/>
            <p:cNvSpPr>
              <a:spLocks noEditPoints="1"/>
            </p:cNvSpPr>
            <p:nvPr/>
          </p:nvSpPr>
          <p:spPr bwMode="auto">
            <a:xfrm>
              <a:off x="3477" y="1511"/>
              <a:ext cx="200" cy="132"/>
            </a:xfrm>
            <a:custGeom>
              <a:avLst/>
              <a:gdLst/>
              <a:ahLst/>
              <a:cxnLst>
                <a:cxn ang="0">
                  <a:pos x="7" y="158"/>
                </a:cxn>
                <a:cxn ang="0">
                  <a:pos x="106" y="172"/>
                </a:cxn>
                <a:cxn ang="0">
                  <a:pos x="13" y="186"/>
                </a:cxn>
                <a:cxn ang="0">
                  <a:pos x="25" y="257"/>
                </a:cxn>
                <a:cxn ang="0">
                  <a:pos x="58" y="267"/>
                </a:cxn>
                <a:cxn ang="0">
                  <a:pos x="73" y="318"/>
                </a:cxn>
                <a:cxn ang="0">
                  <a:pos x="153" y="382"/>
                </a:cxn>
                <a:cxn ang="0">
                  <a:pos x="403" y="456"/>
                </a:cxn>
                <a:cxn ang="0">
                  <a:pos x="431" y="532"/>
                </a:cxn>
                <a:cxn ang="0">
                  <a:pos x="588" y="430"/>
                </a:cxn>
                <a:cxn ang="0">
                  <a:pos x="666" y="377"/>
                </a:cxn>
                <a:cxn ang="0">
                  <a:pos x="655" y="328"/>
                </a:cxn>
                <a:cxn ang="0">
                  <a:pos x="603" y="279"/>
                </a:cxn>
                <a:cxn ang="0">
                  <a:pos x="485" y="203"/>
                </a:cxn>
                <a:cxn ang="0">
                  <a:pos x="447" y="143"/>
                </a:cxn>
                <a:cxn ang="0">
                  <a:pos x="406" y="176"/>
                </a:cxn>
                <a:cxn ang="0">
                  <a:pos x="355" y="119"/>
                </a:cxn>
                <a:cxn ang="0">
                  <a:pos x="330" y="82"/>
                </a:cxn>
                <a:cxn ang="0">
                  <a:pos x="302" y="41"/>
                </a:cxn>
                <a:cxn ang="0">
                  <a:pos x="270" y="16"/>
                </a:cxn>
                <a:cxn ang="0">
                  <a:pos x="256" y="60"/>
                </a:cxn>
                <a:cxn ang="0">
                  <a:pos x="229" y="45"/>
                </a:cxn>
                <a:cxn ang="0">
                  <a:pos x="180" y="103"/>
                </a:cxn>
                <a:cxn ang="0">
                  <a:pos x="135" y="120"/>
                </a:cxn>
                <a:cxn ang="0">
                  <a:pos x="77" y="76"/>
                </a:cxn>
                <a:cxn ang="0">
                  <a:pos x="86" y="62"/>
                </a:cxn>
                <a:cxn ang="0">
                  <a:pos x="129" y="107"/>
                </a:cxn>
                <a:cxn ang="0">
                  <a:pos x="180" y="88"/>
                </a:cxn>
                <a:cxn ang="0">
                  <a:pos x="218" y="35"/>
                </a:cxn>
                <a:cxn ang="0">
                  <a:pos x="243" y="56"/>
                </a:cxn>
                <a:cxn ang="0">
                  <a:pos x="273" y="5"/>
                </a:cxn>
                <a:cxn ang="0">
                  <a:pos x="307" y="26"/>
                </a:cxn>
                <a:cxn ang="0">
                  <a:pos x="341" y="73"/>
                </a:cxn>
                <a:cxn ang="0">
                  <a:pos x="370" y="115"/>
                </a:cxn>
                <a:cxn ang="0">
                  <a:pos x="401" y="163"/>
                </a:cxn>
                <a:cxn ang="0">
                  <a:pos x="448" y="131"/>
                </a:cxn>
                <a:cxn ang="0">
                  <a:pos x="498" y="195"/>
                </a:cxn>
                <a:cxn ang="0">
                  <a:pos x="614" y="270"/>
                </a:cxn>
                <a:cxn ang="0">
                  <a:pos x="665" y="317"/>
                </a:cxn>
                <a:cxn ang="0">
                  <a:pos x="670" y="437"/>
                </a:cxn>
                <a:cxn ang="0">
                  <a:pos x="498" y="574"/>
                </a:cxn>
                <a:cxn ang="0">
                  <a:pos x="408" y="486"/>
                </a:cxn>
                <a:cxn ang="0">
                  <a:pos x="322" y="432"/>
                </a:cxn>
                <a:cxn ang="0">
                  <a:pos x="159" y="397"/>
                </a:cxn>
                <a:cxn ang="0">
                  <a:pos x="57" y="318"/>
                </a:cxn>
                <a:cxn ang="0">
                  <a:pos x="44" y="259"/>
                </a:cxn>
                <a:cxn ang="0">
                  <a:pos x="3" y="230"/>
                </a:cxn>
                <a:cxn ang="0">
                  <a:pos x="20" y="171"/>
                </a:cxn>
                <a:cxn ang="0">
                  <a:pos x="94" y="182"/>
                </a:cxn>
                <a:cxn ang="0">
                  <a:pos x="10" y="171"/>
                </a:cxn>
                <a:cxn ang="0">
                  <a:pos x="80" y="61"/>
                </a:cxn>
              </a:cxnLst>
              <a:rect l="0" t="0" r="r" b="b"/>
              <a:pathLst>
                <a:path w="689" h="578">
                  <a:moveTo>
                    <a:pt x="11" y="98"/>
                  </a:moveTo>
                  <a:lnTo>
                    <a:pt x="16" y="90"/>
                  </a:lnTo>
                  <a:lnTo>
                    <a:pt x="21" y="163"/>
                  </a:lnTo>
                  <a:lnTo>
                    <a:pt x="7" y="158"/>
                  </a:lnTo>
                  <a:lnTo>
                    <a:pt x="45" y="114"/>
                  </a:lnTo>
                  <a:cubicBezTo>
                    <a:pt x="47" y="112"/>
                    <a:pt x="49" y="111"/>
                    <a:pt x="51" y="111"/>
                  </a:cubicBezTo>
                  <a:cubicBezTo>
                    <a:pt x="54" y="111"/>
                    <a:pt x="56" y="112"/>
                    <a:pt x="58" y="114"/>
                  </a:cubicBezTo>
                  <a:lnTo>
                    <a:pt x="106" y="172"/>
                  </a:lnTo>
                  <a:cubicBezTo>
                    <a:pt x="108" y="174"/>
                    <a:pt x="109" y="178"/>
                    <a:pt x="107" y="181"/>
                  </a:cubicBezTo>
                  <a:lnTo>
                    <a:pt x="84" y="214"/>
                  </a:lnTo>
                  <a:cubicBezTo>
                    <a:pt x="82" y="218"/>
                    <a:pt x="78" y="219"/>
                    <a:pt x="74" y="217"/>
                  </a:cubicBezTo>
                  <a:lnTo>
                    <a:pt x="13" y="186"/>
                  </a:lnTo>
                  <a:lnTo>
                    <a:pt x="25" y="179"/>
                  </a:lnTo>
                  <a:lnTo>
                    <a:pt x="19" y="229"/>
                  </a:lnTo>
                  <a:lnTo>
                    <a:pt x="19" y="227"/>
                  </a:lnTo>
                  <a:lnTo>
                    <a:pt x="25" y="257"/>
                  </a:lnTo>
                  <a:lnTo>
                    <a:pt x="18" y="250"/>
                  </a:lnTo>
                  <a:lnTo>
                    <a:pt x="53" y="255"/>
                  </a:lnTo>
                  <a:cubicBezTo>
                    <a:pt x="55" y="255"/>
                    <a:pt x="57" y="257"/>
                    <a:pt x="59" y="259"/>
                  </a:cubicBezTo>
                  <a:cubicBezTo>
                    <a:pt x="60" y="262"/>
                    <a:pt x="60" y="264"/>
                    <a:pt x="58" y="267"/>
                  </a:cubicBezTo>
                  <a:lnTo>
                    <a:pt x="42" y="298"/>
                  </a:lnTo>
                  <a:lnTo>
                    <a:pt x="40" y="288"/>
                  </a:lnTo>
                  <a:lnTo>
                    <a:pt x="70" y="311"/>
                  </a:lnTo>
                  <a:cubicBezTo>
                    <a:pt x="72" y="313"/>
                    <a:pt x="73" y="315"/>
                    <a:pt x="73" y="318"/>
                  </a:cubicBezTo>
                  <a:lnTo>
                    <a:pt x="73" y="417"/>
                  </a:lnTo>
                  <a:lnTo>
                    <a:pt x="63" y="409"/>
                  </a:lnTo>
                  <a:lnTo>
                    <a:pt x="154" y="381"/>
                  </a:lnTo>
                  <a:lnTo>
                    <a:pt x="153" y="382"/>
                  </a:lnTo>
                  <a:lnTo>
                    <a:pt x="202" y="352"/>
                  </a:lnTo>
                  <a:cubicBezTo>
                    <a:pt x="205" y="351"/>
                    <a:pt x="208" y="351"/>
                    <a:pt x="210" y="352"/>
                  </a:cubicBezTo>
                  <a:lnTo>
                    <a:pt x="330" y="418"/>
                  </a:lnTo>
                  <a:lnTo>
                    <a:pt x="403" y="456"/>
                  </a:lnTo>
                  <a:cubicBezTo>
                    <a:pt x="404" y="457"/>
                    <a:pt x="405" y="458"/>
                    <a:pt x="406" y="459"/>
                  </a:cubicBezTo>
                  <a:lnTo>
                    <a:pt x="422" y="480"/>
                  </a:lnTo>
                  <a:cubicBezTo>
                    <a:pt x="423" y="481"/>
                    <a:pt x="424" y="482"/>
                    <a:pt x="424" y="484"/>
                  </a:cubicBezTo>
                  <a:lnTo>
                    <a:pt x="431" y="532"/>
                  </a:lnTo>
                  <a:lnTo>
                    <a:pt x="426" y="526"/>
                  </a:lnTo>
                  <a:lnTo>
                    <a:pt x="496" y="562"/>
                  </a:lnTo>
                  <a:lnTo>
                    <a:pt x="486" y="565"/>
                  </a:lnTo>
                  <a:lnTo>
                    <a:pt x="588" y="430"/>
                  </a:lnTo>
                  <a:cubicBezTo>
                    <a:pt x="590" y="428"/>
                    <a:pt x="592" y="427"/>
                    <a:pt x="595" y="427"/>
                  </a:cubicBezTo>
                  <a:lnTo>
                    <a:pt x="662" y="427"/>
                  </a:lnTo>
                  <a:lnTo>
                    <a:pt x="655" y="434"/>
                  </a:lnTo>
                  <a:lnTo>
                    <a:pt x="666" y="377"/>
                  </a:lnTo>
                  <a:lnTo>
                    <a:pt x="673" y="355"/>
                  </a:lnTo>
                  <a:lnTo>
                    <a:pt x="674" y="362"/>
                  </a:lnTo>
                  <a:lnTo>
                    <a:pt x="651" y="325"/>
                  </a:lnTo>
                  <a:lnTo>
                    <a:pt x="655" y="328"/>
                  </a:lnTo>
                  <a:lnTo>
                    <a:pt x="605" y="307"/>
                  </a:lnTo>
                  <a:cubicBezTo>
                    <a:pt x="603" y="306"/>
                    <a:pt x="601" y="303"/>
                    <a:pt x="600" y="300"/>
                  </a:cubicBezTo>
                  <a:lnTo>
                    <a:pt x="598" y="272"/>
                  </a:lnTo>
                  <a:lnTo>
                    <a:pt x="603" y="279"/>
                  </a:lnTo>
                  <a:lnTo>
                    <a:pt x="531" y="257"/>
                  </a:lnTo>
                  <a:cubicBezTo>
                    <a:pt x="530" y="257"/>
                    <a:pt x="528" y="256"/>
                    <a:pt x="527" y="255"/>
                  </a:cubicBezTo>
                  <a:lnTo>
                    <a:pt x="486" y="205"/>
                  </a:lnTo>
                  <a:cubicBezTo>
                    <a:pt x="485" y="205"/>
                    <a:pt x="485" y="204"/>
                    <a:pt x="485" y="203"/>
                  </a:cubicBezTo>
                  <a:lnTo>
                    <a:pt x="470" y="172"/>
                  </a:lnTo>
                  <a:lnTo>
                    <a:pt x="471" y="174"/>
                  </a:lnTo>
                  <a:lnTo>
                    <a:pt x="437" y="143"/>
                  </a:lnTo>
                  <a:lnTo>
                    <a:pt x="447" y="143"/>
                  </a:lnTo>
                  <a:lnTo>
                    <a:pt x="425" y="160"/>
                  </a:lnTo>
                  <a:lnTo>
                    <a:pt x="426" y="159"/>
                  </a:lnTo>
                  <a:lnTo>
                    <a:pt x="414" y="174"/>
                  </a:lnTo>
                  <a:cubicBezTo>
                    <a:pt x="412" y="176"/>
                    <a:pt x="409" y="177"/>
                    <a:pt x="406" y="176"/>
                  </a:cubicBezTo>
                  <a:lnTo>
                    <a:pt x="382" y="171"/>
                  </a:lnTo>
                  <a:cubicBezTo>
                    <a:pt x="380" y="171"/>
                    <a:pt x="378" y="169"/>
                    <a:pt x="377" y="167"/>
                  </a:cubicBezTo>
                  <a:lnTo>
                    <a:pt x="356" y="122"/>
                  </a:lnTo>
                  <a:cubicBezTo>
                    <a:pt x="355" y="121"/>
                    <a:pt x="355" y="120"/>
                    <a:pt x="355" y="119"/>
                  </a:cubicBezTo>
                  <a:lnTo>
                    <a:pt x="354" y="91"/>
                  </a:lnTo>
                  <a:lnTo>
                    <a:pt x="359" y="98"/>
                  </a:lnTo>
                  <a:lnTo>
                    <a:pt x="335" y="88"/>
                  </a:lnTo>
                  <a:cubicBezTo>
                    <a:pt x="333" y="87"/>
                    <a:pt x="331" y="85"/>
                    <a:pt x="330" y="82"/>
                  </a:cubicBezTo>
                  <a:lnTo>
                    <a:pt x="325" y="56"/>
                  </a:lnTo>
                  <a:lnTo>
                    <a:pt x="328" y="61"/>
                  </a:lnTo>
                  <a:lnTo>
                    <a:pt x="298" y="39"/>
                  </a:lnTo>
                  <a:lnTo>
                    <a:pt x="302" y="41"/>
                  </a:lnTo>
                  <a:lnTo>
                    <a:pt x="280" y="41"/>
                  </a:lnTo>
                  <a:cubicBezTo>
                    <a:pt x="277" y="41"/>
                    <a:pt x="275" y="39"/>
                    <a:pt x="273" y="37"/>
                  </a:cubicBezTo>
                  <a:lnTo>
                    <a:pt x="259" y="14"/>
                  </a:lnTo>
                  <a:lnTo>
                    <a:pt x="270" y="16"/>
                  </a:lnTo>
                  <a:lnTo>
                    <a:pt x="247" y="30"/>
                  </a:lnTo>
                  <a:lnTo>
                    <a:pt x="250" y="21"/>
                  </a:lnTo>
                  <a:lnTo>
                    <a:pt x="259" y="52"/>
                  </a:lnTo>
                  <a:cubicBezTo>
                    <a:pt x="259" y="55"/>
                    <a:pt x="258" y="58"/>
                    <a:pt x="256" y="60"/>
                  </a:cubicBezTo>
                  <a:cubicBezTo>
                    <a:pt x="254" y="62"/>
                    <a:pt x="250" y="63"/>
                    <a:pt x="248" y="62"/>
                  </a:cubicBezTo>
                  <a:lnTo>
                    <a:pt x="237" y="57"/>
                  </a:lnTo>
                  <a:lnTo>
                    <a:pt x="219" y="50"/>
                  </a:lnTo>
                  <a:lnTo>
                    <a:pt x="229" y="45"/>
                  </a:lnTo>
                  <a:lnTo>
                    <a:pt x="214" y="93"/>
                  </a:lnTo>
                  <a:cubicBezTo>
                    <a:pt x="213" y="96"/>
                    <a:pt x="211" y="98"/>
                    <a:pt x="208" y="99"/>
                  </a:cubicBezTo>
                  <a:lnTo>
                    <a:pt x="183" y="103"/>
                  </a:lnTo>
                  <a:cubicBezTo>
                    <a:pt x="182" y="104"/>
                    <a:pt x="181" y="104"/>
                    <a:pt x="180" y="103"/>
                  </a:cubicBezTo>
                  <a:lnTo>
                    <a:pt x="155" y="97"/>
                  </a:lnTo>
                  <a:lnTo>
                    <a:pt x="163" y="95"/>
                  </a:lnTo>
                  <a:lnTo>
                    <a:pt x="140" y="118"/>
                  </a:lnTo>
                  <a:cubicBezTo>
                    <a:pt x="139" y="119"/>
                    <a:pt x="137" y="120"/>
                    <a:pt x="135" y="120"/>
                  </a:cubicBezTo>
                  <a:cubicBezTo>
                    <a:pt x="132" y="120"/>
                    <a:pt x="130" y="119"/>
                    <a:pt x="129" y="118"/>
                  </a:cubicBezTo>
                  <a:lnTo>
                    <a:pt x="108" y="96"/>
                  </a:lnTo>
                  <a:lnTo>
                    <a:pt x="109" y="97"/>
                  </a:lnTo>
                  <a:lnTo>
                    <a:pt x="77" y="76"/>
                  </a:lnTo>
                  <a:lnTo>
                    <a:pt x="84" y="77"/>
                  </a:lnTo>
                  <a:lnTo>
                    <a:pt x="11" y="98"/>
                  </a:lnTo>
                  <a:close/>
                  <a:moveTo>
                    <a:pt x="80" y="61"/>
                  </a:moveTo>
                  <a:cubicBezTo>
                    <a:pt x="82" y="61"/>
                    <a:pt x="84" y="61"/>
                    <a:pt x="86" y="62"/>
                  </a:cubicBezTo>
                  <a:lnTo>
                    <a:pt x="118" y="84"/>
                  </a:lnTo>
                  <a:cubicBezTo>
                    <a:pt x="119" y="84"/>
                    <a:pt x="119" y="85"/>
                    <a:pt x="120" y="85"/>
                  </a:cubicBezTo>
                  <a:lnTo>
                    <a:pt x="140" y="107"/>
                  </a:lnTo>
                  <a:lnTo>
                    <a:pt x="129" y="107"/>
                  </a:lnTo>
                  <a:lnTo>
                    <a:pt x="151" y="83"/>
                  </a:lnTo>
                  <a:cubicBezTo>
                    <a:pt x="153" y="81"/>
                    <a:pt x="156" y="81"/>
                    <a:pt x="159" y="81"/>
                  </a:cubicBezTo>
                  <a:lnTo>
                    <a:pt x="184" y="88"/>
                  </a:lnTo>
                  <a:lnTo>
                    <a:pt x="180" y="88"/>
                  </a:lnTo>
                  <a:lnTo>
                    <a:pt x="205" y="83"/>
                  </a:lnTo>
                  <a:lnTo>
                    <a:pt x="199" y="88"/>
                  </a:lnTo>
                  <a:lnTo>
                    <a:pt x="214" y="40"/>
                  </a:lnTo>
                  <a:cubicBezTo>
                    <a:pt x="215" y="38"/>
                    <a:pt x="216" y="36"/>
                    <a:pt x="218" y="35"/>
                  </a:cubicBezTo>
                  <a:cubicBezTo>
                    <a:pt x="220" y="34"/>
                    <a:pt x="223" y="34"/>
                    <a:pt x="225" y="35"/>
                  </a:cubicBezTo>
                  <a:lnTo>
                    <a:pt x="243" y="42"/>
                  </a:lnTo>
                  <a:lnTo>
                    <a:pt x="254" y="47"/>
                  </a:lnTo>
                  <a:lnTo>
                    <a:pt x="243" y="56"/>
                  </a:lnTo>
                  <a:lnTo>
                    <a:pt x="235" y="25"/>
                  </a:lnTo>
                  <a:cubicBezTo>
                    <a:pt x="234" y="21"/>
                    <a:pt x="236" y="18"/>
                    <a:pt x="239" y="16"/>
                  </a:cubicBezTo>
                  <a:lnTo>
                    <a:pt x="262" y="2"/>
                  </a:lnTo>
                  <a:cubicBezTo>
                    <a:pt x="266" y="0"/>
                    <a:pt x="271" y="2"/>
                    <a:pt x="273" y="5"/>
                  </a:cubicBezTo>
                  <a:lnTo>
                    <a:pt x="287" y="29"/>
                  </a:lnTo>
                  <a:lnTo>
                    <a:pt x="280" y="25"/>
                  </a:lnTo>
                  <a:lnTo>
                    <a:pt x="302" y="25"/>
                  </a:lnTo>
                  <a:cubicBezTo>
                    <a:pt x="304" y="25"/>
                    <a:pt x="305" y="25"/>
                    <a:pt x="307" y="26"/>
                  </a:cubicBezTo>
                  <a:lnTo>
                    <a:pt x="337" y="48"/>
                  </a:lnTo>
                  <a:cubicBezTo>
                    <a:pt x="339" y="49"/>
                    <a:pt x="340" y="51"/>
                    <a:pt x="341" y="53"/>
                  </a:cubicBezTo>
                  <a:lnTo>
                    <a:pt x="346" y="79"/>
                  </a:lnTo>
                  <a:lnTo>
                    <a:pt x="341" y="73"/>
                  </a:lnTo>
                  <a:lnTo>
                    <a:pt x="365" y="83"/>
                  </a:lnTo>
                  <a:cubicBezTo>
                    <a:pt x="368" y="84"/>
                    <a:pt x="370" y="87"/>
                    <a:pt x="370" y="90"/>
                  </a:cubicBezTo>
                  <a:lnTo>
                    <a:pt x="371" y="118"/>
                  </a:lnTo>
                  <a:lnTo>
                    <a:pt x="370" y="115"/>
                  </a:lnTo>
                  <a:lnTo>
                    <a:pt x="391" y="160"/>
                  </a:lnTo>
                  <a:lnTo>
                    <a:pt x="386" y="156"/>
                  </a:lnTo>
                  <a:lnTo>
                    <a:pt x="409" y="161"/>
                  </a:lnTo>
                  <a:lnTo>
                    <a:pt x="401" y="163"/>
                  </a:lnTo>
                  <a:lnTo>
                    <a:pt x="414" y="148"/>
                  </a:lnTo>
                  <a:cubicBezTo>
                    <a:pt x="414" y="148"/>
                    <a:pt x="415" y="148"/>
                    <a:pt x="415" y="147"/>
                  </a:cubicBezTo>
                  <a:lnTo>
                    <a:pt x="437" y="131"/>
                  </a:lnTo>
                  <a:cubicBezTo>
                    <a:pt x="440" y="128"/>
                    <a:pt x="445" y="129"/>
                    <a:pt x="448" y="131"/>
                  </a:cubicBezTo>
                  <a:lnTo>
                    <a:pt x="482" y="163"/>
                  </a:lnTo>
                  <a:cubicBezTo>
                    <a:pt x="483" y="163"/>
                    <a:pt x="484" y="164"/>
                    <a:pt x="484" y="165"/>
                  </a:cubicBezTo>
                  <a:lnTo>
                    <a:pt x="499" y="197"/>
                  </a:lnTo>
                  <a:lnTo>
                    <a:pt x="498" y="195"/>
                  </a:lnTo>
                  <a:lnTo>
                    <a:pt x="540" y="245"/>
                  </a:lnTo>
                  <a:lnTo>
                    <a:pt x="536" y="242"/>
                  </a:lnTo>
                  <a:lnTo>
                    <a:pt x="608" y="264"/>
                  </a:lnTo>
                  <a:cubicBezTo>
                    <a:pt x="611" y="264"/>
                    <a:pt x="613" y="267"/>
                    <a:pt x="614" y="270"/>
                  </a:cubicBezTo>
                  <a:lnTo>
                    <a:pt x="616" y="299"/>
                  </a:lnTo>
                  <a:lnTo>
                    <a:pt x="612" y="292"/>
                  </a:lnTo>
                  <a:lnTo>
                    <a:pt x="661" y="314"/>
                  </a:lnTo>
                  <a:cubicBezTo>
                    <a:pt x="663" y="314"/>
                    <a:pt x="664" y="315"/>
                    <a:pt x="665" y="317"/>
                  </a:cubicBezTo>
                  <a:lnTo>
                    <a:pt x="687" y="353"/>
                  </a:lnTo>
                  <a:cubicBezTo>
                    <a:pt x="689" y="355"/>
                    <a:pt x="689" y="358"/>
                    <a:pt x="688" y="360"/>
                  </a:cubicBezTo>
                  <a:lnTo>
                    <a:pt x="681" y="380"/>
                  </a:lnTo>
                  <a:lnTo>
                    <a:pt x="670" y="437"/>
                  </a:lnTo>
                  <a:cubicBezTo>
                    <a:pt x="670" y="441"/>
                    <a:pt x="666" y="443"/>
                    <a:pt x="662" y="443"/>
                  </a:cubicBezTo>
                  <a:lnTo>
                    <a:pt x="595" y="443"/>
                  </a:lnTo>
                  <a:lnTo>
                    <a:pt x="601" y="440"/>
                  </a:lnTo>
                  <a:lnTo>
                    <a:pt x="498" y="574"/>
                  </a:lnTo>
                  <a:cubicBezTo>
                    <a:pt x="496" y="577"/>
                    <a:pt x="492" y="578"/>
                    <a:pt x="488" y="577"/>
                  </a:cubicBezTo>
                  <a:lnTo>
                    <a:pt x="419" y="540"/>
                  </a:lnTo>
                  <a:cubicBezTo>
                    <a:pt x="417" y="539"/>
                    <a:pt x="415" y="537"/>
                    <a:pt x="415" y="534"/>
                  </a:cubicBezTo>
                  <a:lnTo>
                    <a:pt x="408" y="486"/>
                  </a:lnTo>
                  <a:lnTo>
                    <a:pt x="409" y="490"/>
                  </a:lnTo>
                  <a:lnTo>
                    <a:pt x="393" y="468"/>
                  </a:lnTo>
                  <a:lnTo>
                    <a:pt x="396" y="471"/>
                  </a:lnTo>
                  <a:lnTo>
                    <a:pt x="322" y="432"/>
                  </a:lnTo>
                  <a:lnTo>
                    <a:pt x="203" y="366"/>
                  </a:lnTo>
                  <a:lnTo>
                    <a:pt x="211" y="366"/>
                  </a:lnTo>
                  <a:lnTo>
                    <a:pt x="161" y="396"/>
                  </a:lnTo>
                  <a:cubicBezTo>
                    <a:pt x="160" y="396"/>
                    <a:pt x="160" y="396"/>
                    <a:pt x="159" y="397"/>
                  </a:cubicBezTo>
                  <a:lnTo>
                    <a:pt x="68" y="425"/>
                  </a:lnTo>
                  <a:cubicBezTo>
                    <a:pt x="65" y="425"/>
                    <a:pt x="63" y="425"/>
                    <a:pt x="61" y="423"/>
                  </a:cubicBezTo>
                  <a:cubicBezTo>
                    <a:pt x="58" y="422"/>
                    <a:pt x="57" y="420"/>
                    <a:pt x="57" y="417"/>
                  </a:cubicBezTo>
                  <a:lnTo>
                    <a:pt x="57" y="318"/>
                  </a:lnTo>
                  <a:lnTo>
                    <a:pt x="60" y="324"/>
                  </a:lnTo>
                  <a:lnTo>
                    <a:pt x="30" y="301"/>
                  </a:lnTo>
                  <a:cubicBezTo>
                    <a:pt x="27" y="298"/>
                    <a:pt x="26" y="294"/>
                    <a:pt x="28" y="291"/>
                  </a:cubicBezTo>
                  <a:lnTo>
                    <a:pt x="44" y="259"/>
                  </a:lnTo>
                  <a:lnTo>
                    <a:pt x="50" y="271"/>
                  </a:lnTo>
                  <a:lnTo>
                    <a:pt x="16" y="266"/>
                  </a:lnTo>
                  <a:cubicBezTo>
                    <a:pt x="12" y="265"/>
                    <a:pt x="10" y="263"/>
                    <a:pt x="9" y="259"/>
                  </a:cubicBezTo>
                  <a:lnTo>
                    <a:pt x="3" y="230"/>
                  </a:lnTo>
                  <a:cubicBezTo>
                    <a:pt x="3" y="229"/>
                    <a:pt x="3" y="228"/>
                    <a:pt x="3" y="227"/>
                  </a:cubicBezTo>
                  <a:lnTo>
                    <a:pt x="9" y="178"/>
                  </a:lnTo>
                  <a:cubicBezTo>
                    <a:pt x="9" y="175"/>
                    <a:pt x="11" y="173"/>
                    <a:pt x="13" y="171"/>
                  </a:cubicBezTo>
                  <a:cubicBezTo>
                    <a:pt x="15" y="170"/>
                    <a:pt x="18" y="170"/>
                    <a:pt x="20" y="171"/>
                  </a:cubicBezTo>
                  <a:lnTo>
                    <a:pt x="81" y="203"/>
                  </a:lnTo>
                  <a:lnTo>
                    <a:pt x="71" y="205"/>
                  </a:lnTo>
                  <a:lnTo>
                    <a:pt x="93" y="172"/>
                  </a:lnTo>
                  <a:lnTo>
                    <a:pt x="94" y="182"/>
                  </a:lnTo>
                  <a:lnTo>
                    <a:pt x="45" y="124"/>
                  </a:lnTo>
                  <a:lnTo>
                    <a:pt x="57" y="124"/>
                  </a:lnTo>
                  <a:lnTo>
                    <a:pt x="19" y="169"/>
                  </a:lnTo>
                  <a:cubicBezTo>
                    <a:pt x="17" y="171"/>
                    <a:pt x="13" y="172"/>
                    <a:pt x="10" y="171"/>
                  </a:cubicBezTo>
                  <a:cubicBezTo>
                    <a:pt x="7" y="170"/>
                    <a:pt x="5" y="167"/>
                    <a:pt x="5" y="164"/>
                  </a:cubicBezTo>
                  <a:lnTo>
                    <a:pt x="0" y="91"/>
                  </a:lnTo>
                  <a:cubicBezTo>
                    <a:pt x="0" y="87"/>
                    <a:pt x="3" y="84"/>
                    <a:pt x="6" y="83"/>
                  </a:cubicBezTo>
                  <a:lnTo>
                    <a:pt x="80" y="61"/>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28" name="Freeform 484"/>
            <p:cNvSpPr>
              <a:spLocks/>
            </p:cNvSpPr>
            <p:nvPr/>
          </p:nvSpPr>
          <p:spPr bwMode="auto">
            <a:xfrm>
              <a:off x="3697" y="1509"/>
              <a:ext cx="167" cy="66"/>
            </a:xfrm>
            <a:custGeom>
              <a:avLst/>
              <a:gdLst/>
              <a:ahLst/>
              <a:cxnLst>
                <a:cxn ang="0">
                  <a:pos x="43" y="47"/>
                </a:cxn>
                <a:cxn ang="0">
                  <a:pos x="31" y="47"/>
                </a:cxn>
                <a:cxn ang="0">
                  <a:pos x="6" y="50"/>
                </a:cxn>
                <a:cxn ang="0">
                  <a:pos x="0" y="57"/>
                </a:cxn>
                <a:cxn ang="0">
                  <a:pos x="6" y="60"/>
                </a:cxn>
                <a:cxn ang="0">
                  <a:pos x="11" y="63"/>
                </a:cxn>
                <a:cxn ang="0">
                  <a:pos x="45" y="62"/>
                </a:cxn>
                <a:cxn ang="0">
                  <a:pos x="67" y="62"/>
                </a:cxn>
                <a:cxn ang="0">
                  <a:pos x="77" y="66"/>
                </a:cxn>
                <a:cxn ang="0">
                  <a:pos x="81" y="58"/>
                </a:cxn>
                <a:cxn ang="0">
                  <a:pos x="91" y="57"/>
                </a:cxn>
                <a:cxn ang="0">
                  <a:pos x="104" y="54"/>
                </a:cxn>
                <a:cxn ang="0">
                  <a:pos x="116" y="52"/>
                </a:cxn>
                <a:cxn ang="0">
                  <a:pos x="137" y="41"/>
                </a:cxn>
                <a:cxn ang="0">
                  <a:pos x="160" y="31"/>
                </a:cxn>
                <a:cxn ang="0">
                  <a:pos x="167" y="25"/>
                </a:cxn>
                <a:cxn ang="0">
                  <a:pos x="165" y="16"/>
                </a:cxn>
                <a:cxn ang="0">
                  <a:pos x="154" y="16"/>
                </a:cxn>
                <a:cxn ang="0">
                  <a:pos x="143" y="11"/>
                </a:cxn>
                <a:cxn ang="0">
                  <a:pos x="132" y="7"/>
                </a:cxn>
                <a:cxn ang="0">
                  <a:pos x="104" y="5"/>
                </a:cxn>
                <a:cxn ang="0">
                  <a:pos x="69" y="0"/>
                </a:cxn>
                <a:cxn ang="0">
                  <a:pos x="62" y="2"/>
                </a:cxn>
                <a:cxn ang="0">
                  <a:pos x="64" y="7"/>
                </a:cxn>
                <a:cxn ang="0">
                  <a:pos x="68" y="12"/>
                </a:cxn>
                <a:cxn ang="0">
                  <a:pos x="58" y="14"/>
                </a:cxn>
                <a:cxn ang="0">
                  <a:pos x="56" y="10"/>
                </a:cxn>
                <a:cxn ang="0">
                  <a:pos x="44" y="9"/>
                </a:cxn>
                <a:cxn ang="0">
                  <a:pos x="29" y="10"/>
                </a:cxn>
                <a:cxn ang="0">
                  <a:pos x="36" y="14"/>
                </a:cxn>
                <a:cxn ang="0">
                  <a:pos x="37" y="17"/>
                </a:cxn>
                <a:cxn ang="0">
                  <a:pos x="32" y="22"/>
                </a:cxn>
                <a:cxn ang="0">
                  <a:pos x="32" y="29"/>
                </a:cxn>
                <a:cxn ang="0">
                  <a:pos x="38" y="33"/>
                </a:cxn>
                <a:cxn ang="0">
                  <a:pos x="58" y="33"/>
                </a:cxn>
                <a:cxn ang="0">
                  <a:pos x="65" y="32"/>
                </a:cxn>
                <a:cxn ang="0">
                  <a:pos x="72" y="38"/>
                </a:cxn>
                <a:cxn ang="0">
                  <a:pos x="65" y="46"/>
                </a:cxn>
                <a:cxn ang="0">
                  <a:pos x="58" y="46"/>
                </a:cxn>
                <a:cxn ang="0">
                  <a:pos x="50" y="46"/>
                </a:cxn>
                <a:cxn ang="0">
                  <a:pos x="47" y="46"/>
                </a:cxn>
                <a:cxn ang="0">
                  <a:pos x="43" y="47"/>
                </a:cxn>
              </a:cxnLst>
              <a:rect l="0" t="0" r="r" b="b"/>
              <a:pathLst>
                <a:path w="167" h="66">
                  <a:moveTo>
                    <a:pt x="43" y="47"/>
                  </a:moveTo>
                  <a:lnTo>
                    <a:pt x="31" y="47"/>
                  </a:lnTo>
                  <a:lnTo>
                    <a:pt x="6" y="50"/>
                  </a:lnTo>
                  <a:lnTo>
                    <a:pt x="0" y="57"/>
                  </a:lnTo>
                  <a:lnTo>
                    <a:pt x="6" y="60"/>
                  </a:lnTo>
                  <a:lnTo>
                    <a:pt x="11" y="63"/>
                  </a:lnTo>
                  <a:lnTo>
                    <a:pt x="45" y="62"/>
                  </a:lnTo>
                  <a:lnTo>
                    <a:pt x="67" y="62"/>
                  </a:lnTo>
                  <a:lnTo>
                    <a:pt x="77" y="66"/>
                  </a:lnTo>
                  <a:lnTo>
                    <a:pt x="81" y="58"/>
                  </a:lnTo>
                  <a:lnTo>
                    <a:pt x="91" y="57"/>
                  </a:lnTo>
                  <a:lnTo>
                    <a:pt x="104" y="54"/>
                  </a:lnTo>
                  <a:lnTo>
                    <a:pt x="116" y="52"/>
                  </a:lnTo>
                  <a:lnTo>
                    <a:pt x="137" y="41"/>
                  </a:lnTo>
                  <a:lnTo>
                    <a:pt x="160" y="31"/>
                  </a:lnTo>
                  <a:lnTo>
                    <a:pt x="167" y="25"/>
                  </a:lnTo>
                  <a:lnTo>
                    <a:pt x="165" y="16"/>
                  </a:lnTo>
                  <a:lnTo>
                    <a:pt x="154" y="16"/>
                  </a:lnTo>
                  <a:lnTo>
                    <a:pt x="143" y="11"/>
                  </a:lnTo>
                  <a:lnTo>
                    <a:pt x="132" y="7"/>
                  </a:lnTo>
                  <a:lnTo>
                    <a:pt x="104" y="5"/>
                  </a:lnTo>
                  <a:lnTo>
                    <a:pt x="69" y="0"/>
                  </a:lnTo>
                  <a:lnTo>
                    <a:pt x="62" y="2"/>
                  </a:lnTo>
                  <a:lnTo>
                    <a:pt x="64" y="7"/>
                  </a:lnTo>
                  <a:lnTo>
                    <a:pt x="68" y="12"/>
                  </a:lnTo>
                  <a:lnTo>
                    <a:pt x="58" y="14"/>
                  </a:lnTo>
                  <a:lnTo>
                    <a:pt x="56" y="10"/>
                  </a:lnTo>
                  <a:lnTo>
                    <a:pt x="44" y="9"/>
                  </a:lnTo>
                  <a:lnTo>
                    <a:pt x="29" y="10"/>
                  </a:lnTo>
                  <a:lnTo>
                    <a:pt x="36" y="14"/>
                  </a:lnTo>
                  <a:lnTo>
                    <a:pt x="37" y="17"/>
                  </a:lnTo>
                  <a:lnTo>
                    <a:pt x="32" y="22"/>
                  </a:lnTo>
                  <a:lnTo>
                    <a:pt x="32" y="29"/>
                  </a:lnTo>
                  <a:lnTo>
                    <a:pt x="38" y="33"/>
                  </a:lnTo>
                  <a:lnTo>
                    <a:pt x="58" y="33"/>
                  </a:lnTo>
                  <a:lnTo>
                    <a:pt x="65" y="32"/>
                  </a:lnTo>
                  <a:lnTo>
                    <a:pt x="72" y="38"/>
                  </a:lnTo>
                  <a:lnTo>
                    <a:pt x="65" y="46"/>
                  </a:lnTo>
                  <a:lnTo>
                    <a:pt x="58" y="46"/>
                  </a:lnTo>
                  <a:lnTo>
                    <a:pt x="50" y="46"/>
                  </a:lnTo>
                  <a:lnTo>
                    <a:pt x="47" y="46"/>
                  </a:lnTo>
                  <a:lnTo>
                    <a:pt x="43" y="47"/>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29" name="Freeform 485"/>
            <p:cNvSpPr>
              <a:spLocks noEditPoints="1"/>
            </p:cNvSpPr>
            <p:nvPr/>
          </p:nvSpPr>
          <p:spPr bwMode="auto">
            <a:xfrm>
              <a:off x="3695" y="1508"/>
              <a:ext cx="172" cy="69"/>
            </a:xfrm>
            <a:custGeom>
              <a:avLst/>
              <a:gdLst/>
              <a:ahLst/>
              <a:cxnLst>
                <a:cxn ang="0">
                  <a:pos x="114" y="221"/>
                </a:cxn>
                <a:cxn ang="0">
                  <a:pos x="15" y="261"/>
                </a:cxn>
                <a:cxn ang="0">
                  <a:pos x="51" y="273"/>
                </a:cxn>
                <a:cxn ang="0">
                  <a:pos x="240" y="270"/>
                </a:cxn>
                <a:cxn ang="0">
                  <a:pos x="267" y="294"/>
                </a:cxn>
                <a:cxn ang="0">
                  <a:pos x="319" y="248"/>
                </a:cxn>
                <a:cxn ang="0">
                  <a:pos x="405" y="227"/>
                </a:cxn>
                <a:cxn ang="0">
                  <a:pos x="555" y="134"/>
                </a:cxn>
                <a:cxn ang="0">
                  <a:pos x="577" y="119"/>
                </a:cxn>
                <a:cxn ang="0">
                  <a:pos x="538" y="82"/>
                </a:cxn>
                <a:cxn ang="0">
                  <a:pos x="460" y="44"/>
                </a:cxn>
                <a:cxn ang="0">
                  <a:pos x="245" y="16"/>
                </a:cxn>
                <a:cxn ang="0">
                  <a:pos x="230" y="12"/>
                </a:cxn>
                <a:cxn ang="0">
                  <a:pos x="250" y="54"/>
                </a:cxn>
                <a:cxn ang="0">
                  <a:pos x="211" y="73"/>
                </a:cxn>
                <a:cxn ang="0">
                  <a:pos x="198" y="58"/>
                </a:cxn>
                <a:cxn ang="0">
                  <a:pos x="107" y="58"/>
                </a:cxn>
                <a:cxn ang="0">
                  <a:pos x="138" y="63"/>
                </a:cxn>
                <a:cxn ang="0">
                  <a:pos x="124" y="106"/>
                </a:cxn>
                <a:cxn ang="0">
                  <a:pos x="123" y="125"/>
                </a:cxn>
                <a:cxn ang="0">
                  <a:pos x="209" y="143"/>
                </a:cxn>
                <a:cxn ang="0">
                  <a:pos x="262" y="169"/>
                </a:cxn>
                <a:cxn ang="0">
                  <a:pos x="230" y="217"/>
                </a:cxn>
                <a:cxn ang="0">
                  <a:pos x="183" y="214"/>
                </a:cxn>
                <a:cxn ang="0">
                  <a:pos x="167" y="202"/>
                </a:cxn>
                <a:cxn ang="0">
                  <a:pos x="206" y="201"/>
                </a:cxn>
                <a:cxn ang="0">
                  <a:pos x="249" y="170"/>
                </a:cxn>
                <a:cxn ang="0">
                  <a:pos x="234" y="155"/>
                </a:cxn>
                <a:cxn ang="0">
                  <a:pos x="134" y="157"/>
                </a:cxn>
                <a:cxn ang="0">
                  <a:pos x="110" y="101"/>
                </a:cxn>
                <a:cxn ang="0">
                  <a:pos x="129" y="85"/>
                </a:cxn>
                <a:cxn ang="0">
                  <a:pos x="102" y="57"/>
                </a:cxn>
                <a:cxn ang="0">
                  <a:pos x="160" y="37"/>
                </a:cxn>
                <a:cxn ang="0">
                  <a:pos x="206" y="46"/>
                </a:cxn>
                <a:cxn ang="0">
                  <a:pos x="242" y="51"/>
                </a:cxn>
                <a:cxn ang="0">
                  <a:pos x="220" y="39"/>
                </a:cxn>
                <a:cxn ang="0">
                  <a:pos x="220" y="6"/>
                </a:cxn>
                <a:cxn ang="0">
                  <a:pos x="366" y="19"/>
                </a:cxn>
                <a:cxn ang="0">
                  <a:pos x="504" y="47"/>
                </a:cxn>
                <a:cxn ang="0">
                  <a:pos x="575" y="66"/>
                </a:cxn>
                <a:cxn ang="0">
                  <a:pos x="590" y="123"/>
                </a:cxn>
                <a:cxn ang="0">
                  <a:pos x="485" y="193"/>
                </a:cxn>
                <a:cxn ang="0">
                  <a:pos x="369" y="251"/>
                </a:cxn>
                <a:cxn ang="0">
                  <a:pos x="288" y="268"/>
                </a:cxn>
                <a:cxn ang="0">
                  <a:pos x="277" y="304"/>
                </a:cxn>
                <a:cxn ang="0">
                  <a:pos x="240" y="286"/>
                </a:cxn>
                <a:cxn ang="0">
                  <a:pos x="43" y="287"/>
                </a:cxn>
                <a:cxn ang="0">
                  <a:pos x="1" y="258"/>
                </a:cxn>
                <a:cxn ang="0">
                  <a:pos x="29" y="217"/>
                </a:cxn>
                <a:cxn ang="0">
                  <a:pos x="153" y="205"/>
                </a:cxn>
              </a:cxnLst>
              <a:rect l="0" t="0" r="r" b="b"/>
              <a:pathLst>
                <a:path w="593" h="305">
                  <a:moveTo>
                    <a:pt x="157" y="221"/>
                  </a:moveTo>
                  <a:cubicBezTo>
                    <a:pt x="156" y="221"/>
                    <a:pt x="156" y="221"/>
                    <a:pt x="155" y="221"/>
                  </a:cubicBezTo>
                  <a:lnTo>
                    <a:pt x="114" y="221"/>
                  </a:lnTo>
                  <a:lnTo>
                    <a:pt x="31" y="232"/>
                  </a:lnTo>
                  <a:lnTo>
                    <a:pt x="36" y="229"/>
                  </a:lnTo>
                  <a:lnTo>
                    <a:pt x="15" y="261"/>
                  </a:lnTo>
                  <a:lnTo>
                    <a:pt x="13" y="249"/>
                  </a:lnTo>
                  <a:lnTo>
                    <a:pt x="34" y="263"/>
                  </a:lnTo>
                  <a:lnTo>
                    <a:pt x="51" y="273"/>
                  </a:lnTo>
                  <a:lnTo>
                    <a:pt x="47" y="272"/>
                  </a:lnTo>
                  <a:lnTo>
                    <a:pt x="163" y="270"/>
                  </a:lnTo>
                  <a:lnTo>
                    <a:pt x="240" y="270"/>
                  </a:lnTo>
                  <a:cubicBezTo>
                    <a:pt x="242" y="270"/>
                    <a:pt x="243" y="270"/>
                    <a:pt x="244" y="271"/>
                  </a:cubicBezTo>
                  <a:lnTo>
                    <a:pt x="278" y="289"/>
                  </a:lnTo>
                  <a:lnTo>
                    <a:pt x="267" y="294"/>
                  </a:lnTo>
                  <a:lnTo>
                    <a:pt x="280" y="257"/>
                  </a:lnTo>
                  <a:cubicBezTo>
                    <a:pt x="281" y="254"/>
                    <a:pt x="283" y="252"/>
                    <a:pt x="286" y="252"/>
                  </a:cubicBezTo>
                  <a:lnTo>
                    <a:pt x="319" y="248"/>
                  </a:lnTo>
                  <a:lnTo>
                    <a:pt x="318" y="249"/>
                  </a:lnTo>
                  <a:lnTo>
                    <a:pt x="365" y="235"/>
                  </a:lnTo>
                  <a:lnTo>
                    <a:pt x="405" y="227"/>
                  </a:lnTo>
                  <a:lnTo>
                    <a:pt x="402" y="228"/>
                  </a:lnTo>
                  <a:lnTo>
                    <a:pt x="476" y="179"/>
                  </a:lnTo>
                  <a:lnTo>
                    <a:pt x="555" y="134"/>
                  </a:lnTo>
                  <a:lnTo>
                    <a:pt x="553" y="135"/>
                  </a:lnTo>
                  <a:lnTo>
                    <a:pt x="579" y="111"/>
                  </a:lnTo>
                  <a:lnTo>
                    <a:pt x="577" y="119"/>
                  </a:lnTo>
                  <a:lnTo>
                    <a:pt x="567" y="76"/>
                  </a:lnTo>
                  <a:lnTo>
                    <a:pt x="575" y="82"/>
                  </a:lnTo>
                  <a:lnTo>
                    <a:pt x="538" y="82"/>
                  </a:lnTo>
                  <a:cubicBezTo>
                    <a:pt x="536" y="82"/>
                    <a:pt x="535" y="81"/>
                    <a:pt x="534" y="81"/>
                  </a:cubicBezTo>
                  <a:lnTo>
                    <a:pt x="497" y="61"/>
                  </a:lnTo>
                  <a:lnTo>
                    <a:pt x="460" y="44"/>
                  </a:lnTo>
                  <a:lnTo>
                    <a:pt x="463" y="45"/>
                  </a:lnTo>
                  <a:lnTo>
                    <a:pt x="365" y="35"/>
                  </a:lnTo>
                  <a:lnTo>
                    <a:pt x="245" y="16"/>
                  </a:lnTo>
                  <a:lnTo>
                    <a:pt x="248" y="16"/>
                  </a:lnTo>
                  <a:lnTo>
                    <a:pt x="223" y="21"/>
                  </a:lnTo>
                  <a:lnTo>
                    <a:pt x="230" y="12"/>
                  </a:lnTo>
                  <a:lnTo>
                    <a:pt x="235" y="35"/>
                  </a:lnTo>
                  <a:lnTo>
                    <a:pt x="234" y="32"/>
                  </a:lnTo>
                  <a:lnTo>
                    <a:pt x="250" y="54"/>
                  </a:lnTo>
                  <a:cubicBezTo>
                    <a:pt x="251" y="56"/>
                    <a:pt x="252" y="59"/>
                    <a:pt x="251" y="62"/>
                  </a:cubicBezTo>
                  <a:cubicBezTo>
                    <a:pt x="250" y="64"/>
                    <a:pt x="247" y="66"/>
                    <a:pt x="245" y="67"/>
                  </a:cubicBezTo>
                  <a:lnTo>
                    <a:pt x="211" y="73"/>
                  </a:lnTo>
                  <a:cubicBezTo>
                    <a:pt x="207" y="74"/>
                    <a:pt x="204" y="73"/>
                    <a:pt x="202" y="70"/>
                  </a:cubicBezTo>
                  <a:lnTo>
                    <a:pt x="192" y="55"/>
                  </a:lnTo>
                  <a:lnTo>
                    <a:pt x="198" y="58"/>
                  </a:lnTo>
                  <a:lnTo>
                    <a:pt x="160" y="53"/>
                  </a:lnTo>
                  <a:lnTo>
                    <a:pt x="161" y="53"/>
                  </a:lnTo>
                  <a:lnTo>
                    <a:pt x="107" y="58"/>
                  </a:lnTo>
                  <a:lnTo>
                    <a:pt x="111" y="44"/>
                  </a:lnTo>
                  <a:lnTo>
                    <a:pt x="135" y="59"/>
                  </a:lnTo>
                  <a:cubicBezTo>
                    <a:pt x="137" y="60"/>
                    <a:pt x="138" y="61"/>
                    <a:pt x="138" y="63"/>
                  </a:cubicBezTo>
                  <a:lnTo>
                    <a:pt x="144" y="80"/>
                  </a:lnTo>
                  <a:cubicBezTo>
                    <a:pt x="145" y="82"/>
                    <a:pt x="144" y="86"/>
                    <a:pt x="142" y="88"/>
                  </a:cubicBezTo>
                  <a:lnTo>
                    <a:pt x="124" y="106"/>
                  </a:lnTo>
                  <a:lnTo>
                    <a:pt x="126" y="101"/>
                  </a:lnTo>
                  <a:lnTo>
                    <a:pt x="126" y="131"/>
                  </a:lnTo>
                  <a:lnTo>
                    <a:pt x="123" y="125"/>
                  </a:lnTo>
                  <a:lnTo>
                    <a:pt x="145" y="145"/>
                  </a:lnTo>
                  <a:lnTo>
                    <a:pt x="139" y="143"/>
                  </a:lnTo>
                  <a:lnTo>
                    <a:pt x="209" y="143"/>
                  </a:lnTo>
                  <a:lnTo>
                    <a:pt x="232" y="140"/>
                  </a:lnTo>
                  <a:cubicBezTo>
                    <a:pt x="235" y="139"/>
                    <a:pt x="238" y="140"/>
                    <a:pt x="239" y="142"/>
                  </a:cubicBezTo>
                  <a:lnTo>
                    <a:pt x="262" y="169"/>
                  </a:lnTo>
                  <a:cubicBezTo>
                    <a:pt x="264" y="172"/>
                    <a:pt x="265" y="176"/>
                    <a:pt x="262" y="179"/>
                  </a:cubicBezTo>
                  <a:lnTo>
                    <a:pt x="237" y="214"/>
                  </a:lnTo>
                  <a:cubicBezTo>
                    <a:pt x="235" y="216"/>
                    <a:pt x="233" y="217"/>
                    <a:pt x="230" y="217"/>
                  </a:cubicBezTo>
                  <a:lnTo>
                    <a:pt x="206" y="217"/>
                  </a:lnTo>
                  <a:lnTo>
                    <a:pt x="180" y="214"/>
                  </a:lnTo>
                  <a:lnTo>
                    <a:pt x="183" y="214"/>
                  </a:lnTo>
                  <a:lnTo>
                    <a:pt x="171" y="217"/>
                  </a:lnTo>
                  <a:lnTo>
                    <a:pt x="157" y="221"/>
                  </a:lnTo>
                  <a:close/>
                  <a:moveTo>
                    <a:pt x="167" y="202"/>
                  </a:moveTo>
                  <a:lnTo>
                    <a:pt x="178" y="198"/>
                  </a:lnTo>
                  <a:cubicBezTo>
                    <a:pt x="179" y="198"/>
                    <a:pt x="180" y="198"/>
                    <a:pt x="182" y="198"/>
                  </a:cubicBezTo>
                  <a:lnTo>
                    <a:pt x="206" y="201"/>
                  </a:lnTo>
                  <a:lnTo>
                    <a:pt x="230" y="201"/>
                  </a:lnTo>
                  <a:lnTo>
                    <a:pt x="224" y="205"/>
                  </a:lnTo>
                  <a:lnTo>
                    <a:pt x="249" y="170"/>
                  </a:lnTo>
                  <a:lnTo>
                    <a:pt x="250" y="179"/>
                  </a:lnTo>
                  <a:lnTo>
                    <a:pt x="227" y="153"/>
                  </a:lnTo>
                  <a:lnTo>
                    <a:pt x="234" y="155"/>
                  </a:lnTo>
                  <a:lnTo>
                    <a:pt x="209" y="159"/>
                  </a:lnTo>
                  <a:lnTo>
                    <a:pt x="139" y="159"/>
                  </a:lnTo>
                  <a:cubicBezTo>
                    <a:pt x="137" y="159"/>
                    <a:pt x="135" y="158"/>
                    <a:pt x="134" y="157"/>
                  </a:cubicBezTo>
                  <a:lnTo>
                    <a:pt x="112" y="137"/>
                  </a:lnTo>
                  <a:cubicBezTo>
                    <a:pt x="111" y="135"/>
                    <a:pt x="110" y="133"/>
                    <a:pt x="110" y="131"/>
                  </a:cubicBezTo>
                  <a:lnTo>
                    <a:pt x="110" y="101"/>
                  </a:lnTo>
                  <a:cubicBezTo>
                    <a:pt x="110" y="98"/>
                    <a:pt x="111" y="96"/>
                    <a:pt x="112" y="95"/>
                  </a:cubicBezTo>
                  <a:lnTo>
                    <a:pt x="131" y="76"/>
                  </a:lnTo>
                  <a:lnTo>
                    <a:pt x="129" y="85"/>
                  </a:lnTo>
                  <a:lnTo>
                    <a:pt x="123" y="68"/>
                  </a:lnTo>
                  <a:lnTo>
                    <a:pt x="127" y="72"/>
                  </a:lnTo>
                  <a:lnTo>
                    <a:pt x="102" y="57"/>
                  </a:lnTo>
                  <a:cubicBezTo>
                    <a:pt x="99" y="55"/>
                    <a:pt x="98" y="52"/>
                    <a:pt x="99" y="48"/>
                  </a:cubicBezTo>
                  <a:cubicBezTo>
                    <a:pt x="100" y="45"/>
                    <a:pt x="102" y="43"/>
                    <a:pt x="106" y="42"/>
                  </a:cubicBezTo>
                  <a:lnTo>
                    <a:pt x="160" y="37"/>
                  </a:lnTo>
                  <a:cubicBezTo>
                    <a:pt x="160" y="37"/>
                    <a:pt x="161" y="37"/>
                    <a:pt x="162" y="37"/>
                  </a:cubicBezTo>
                  <a:lnTo>
                    <a:pt x="200" y="42"/>
                  </a:lnTo>
                  <a:cubicBezTo>
                    <a:pt x="202" y="43"/>
                    <a:pt x="204" y="44"/>
                    <a:pt x="206" y="46"/>
                  </a:cubicBezTo>
                  <a:lnTo>
                    <a:pt x="216" y="61"/>
                  </a:lnTo>
                  <a:lnTo>
                    <a:pt x="207" y="58"/>
                  </a:lnTo>
                  <a:lnTo>
                    <a:pt x="242" y="51"/>
                  </a:lnTo>
                  <a:lnTo>
                    <a:pt x="237" y="63"/>
                  </a:lnTo>
                  <a:lnTo>
                    <a:pt x="221" y="42"/>
                  </a:lnTo>
                  <a:cubicBezTo>
                    <a:pt x="220" y="41"/>
                    <a:pt x="220" y="40"/>
                    <a:pt x="220" y="39"/>
                  </a:cubicBezTo>
                  <a:lnTo>
                    <a:pt x="214" y="15"/>
                  </a:lnTo>
                  <a:cubicBezTo>
                    <a:pt x="214" y="13"/>
                    <a:pt x="214" y="11"/>
                    <a:pt x="215" y="9"/>
                  </a:cubicBezTo>
                  <a:cubicBezTo>
                    <a:pt x="216" y="7"/>
                    <a:pt x="218" y="6"/>
                    <a:pt x="220" y="6"/>
                  </a:cubicBezTo>
                  <a:lnTo>
                    <a:pt x="244" y="1"/>
                  </a:lnTo>
                  <a:cubicBezTo>
                    <a:pt x="245" y="0"/>
                    <a:pt x="246" y="0"/>
                    <a:pt x="247" y="1"/>
                  </a:cubicBezTo>
                  <a:lnTo>
                    <a:pt x="366" y="19"/>
                  </a:lnTo>
                  <a:lnTo>
                    <a:pt x="464" y="29"/>
                  </a:lnTo>
                  <a:cubicBezTo>
                    <a:pt x="465" y="29"/>
                    <a:pt x="466" y="29"/>
                    <a:pt x="467" y="30"/>
                  </a:cubicBezTo>
                  <a:lnTo>
                    <a:pt x="504" y="47"/>
                  </a:lnTo>
                  <a:lnTo>
                    <a:pt x="541" y="67"/>
                  </a:lnTo>
                  <a:lnTo>
                    <a:pt x="538" y="66"/>
                  </a:lnTo>
                  <a:lnTo>
                    <a:pt x="575" y="66"/>
                  </a:lnTo>
                  <a:cubicBezTo>
                    <a:pt x="578" y="66"/>
                    <a:pt x="581" y="68"/>
                    <a:pt x="582" y="72"/>
                  </a:cubicBezTo>
                  <a:lnTo>
                    <a:pt x="592" y="116"/>
                  </a:lnTo>
                  <a:cubicBezTo>
                    <a:pt x="593" y="118"/>
                    <a:pt x="592" y="121"/>
                    <a:pt x="590" y="123"/>
                  </a:cubicBezTo>
                  <a:lnTo>
                    <a:pt x="564" y="147"/>
                  </a:lnTo>
                  <a:cubicBezTo>
                    <a:pt x="564" y="147"/>
                    <a:pt x="563" y="147"/>
                    <a:pt x="563" y="148"/>
                  </a:cubicBezTo>
                  <a:lnTo>
                    <a:pt x="485" y="193"/>
                  </a:lnTo>
                  <a:lnTo>
                    <a:pt x="411" y="241"/>
                  </a:lnTo>
                  <a:cubicBezTo>
                    <a:pt x="410" y="242"/>
                    <a:pt x="409" y="242"/>
                    <a:pt x="408" y="242"/>
                  </a:cubicBezTo>
                  <a:lnTo>
                    <a:pt x="369" y="251"/>
                  </a:lnTo>
                  <a:lnTo>
                    <a:pt x="322" y="264"/>
                  </a:lnTo>
                  <a:cubicBezTo>
                    <a:pt x="322" y="264"/>
                    <a:pt x="321" y="264"/>
                    <a:pt x="321" y="264"/>
                  </a:cubicBezTo>
                  <a:lnTo>
                    <a:pt x="288" y="268"/>
                  </a:lnTo>
                  <a:lnTo>
                    <a:pt x="295" y="262"/>
                  </a:lnTo>
                  <a:lnTo>
                    <a:pt x="282" y="299"/>
                  </a:lnTo>
                  <a:cubicBezTo>
                    <a:pt x="281" y="301"/>
                    <a:pt x="280" y="303"/>
                    <a:pt x="277" y="304"/>
                  </a:cubicBezTo>
                  <a:cubicBezTo>
                    <a:pt x="275" y="305"/>
                    <a:pt x="273" y="305"/>
                    <a:pt x="271" y="304"/>
                  </a:cubicBezTo>
                  <a:lnTo>
                    <a:pt x="236" y="285"/>
                  </a:lnTo>
                  <a:lnTo>
                    <a:pt x="240" y="286"/>
                  </a:lnTo>
                  <a:lnTo>
                    <a:pt x="164" y="286"/>
                  </a:lnTo>
                  <a:lnTo>
                    <a:pt x="47" y="288"/>
                  </a:lnTo>
                  <a:cubicBezTo>
                    <a:pt x="46" y="288"/>
                    <a:pt x="44" y="287"/>
                    <a:pt x="43" y="287"/>
                  </a:cubicBezTo>
                  <a:lnTo>
                    <a:pt x="26" y="276"/>
                  </a:lnTo>
                  <a:lnTo>
                    <a:pt x="4" y="263"/>
                  </a:lnTo>
                  <a:cubicBezTo>
                    <a:pt x="2" y="262"/>
                    <a:pt x="1" y="260"/>
                    <a:pt x="1" y="258"/>
                  </a:cubicBezTo>
                  <a:cubicBezTo>
                    <a:pt x="0" y="256"/>
                    <a:pt x="1" y="254"/>
                    <a:pt x="2" y="252"/>
                  </a:cubicBezTo>
                  <a:lnTo>
                    <a:pt x="23" y="220"/>
                  </a:lnTo>
                  <a:cubicBezTo>
                    <a:pt x="24" y="218"/>
                    <a:pt x="26" y="217"/>
                    <a:pt x="29" y="217"/>
                  </a:cubicBezTo>
                  <a:lnTo>
                    <a:pt x="114" y="205"/>
                  </a:lnTo>
                  <a:lnTo>
                    <a:pt x="155" y="205"/>
                  </a:lnTo>
                  <a:lnTo>
                    <a:pt x="153" y="205"/>
                  </a:lnTo>
                  <a:lnTo>
                    <a:pt x="167" y="202"/>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30" name="Freeform 486"/>
            <p:cNvSpPr>
              <a:spLocks/>
            </p:cNvSpPr>
            <p:nvPr/>
          </p:nvSpPr>
          <p:spPr bwMode="auto">
            <a:xfrm>
              <a:off x="3679" y="1542"/>
              <a:ext cx="102" cy="70"/>
            </a:xfrm>
            <a:custGeom>
              <a:avLst/>
              <a:gdLst/>
              <a:ahLst/>
              <a:cxnLst>
                <a:cxn ang="0">
                  <a:pos x="0" y="59"/>
                </a:cxn>
                <a:cxn ang="0">
                  <a:pos x="0" y="63"/>
                </a:cxn>
                <a:cxn ang="0">
                  <a:pos x="8" y="63"/>
                </a:cxn>
                <a:cxn ang="0">
                  <a:pos x="27" y="64"/>
                </a:cxn>
                <a:cxn ang="0">
                  <a:pos x="48" y="42"/>
                </a:cxn>
                <a:cxn ang="0">
                  <a:pos x="53" y="56"/>
                </a:cxn>
                <a:cxn ang="0">
                  <a:pos x="59" y="70"/>
                </a:cxn>
                <a:cxn ang="0">
                  <a:pos x="72" y="65"/>
                </a:cxn>
                <a:cxn ang="0">
                  <a:pos x="87" y="59"/>
                </a:cxn>
                <a:cxn ang="0">
                  <a:pos x="101" y="63"/>
                </a:cxn>
                <a:cxn ang="0">
                  <a:pos x="102" y="43"/>
                </a:cxn>
                <a:cxn ang="0">
                  <a:pos x="92" y="39"/>
                </a:cxn>
                <a:cxn ang="0">
                  <a:pos x="86" y="40"/>
                </a:cxn>
                <a:cxn ang="0">
                  <a:pos x="90" y="27"/>
                </a:cxn>
                <a:cxn ang="0">
                  <a:pos x="78" y="24"/>
                </a:cxn>
                <a:cxn ang="0">
                  <a:pos x="68" y="23"/>
                </a:cxn>
                <a:cxn ang="0">
                  <a:pos x="53" y="23"/>
                </a:cxn>
                <a:cxn ang="0">
                  <a:pos x="42" y="23"/>
                </a:cxn>
                <a:cxn ang="0">
                  <a:pos x="28" y="23"/>
                </a:cxn>
                <a:cxn ang="0">
                  <a:pos x="16" y="21"/>
                </a:cxn>
                <a:cxn ang="0">
                  <a:pos x="15" y="18"/>
                </a:cxn>
                <a:cxn ang="0">
                  <a:pos x="17" y="14"/>
                </a:cxn>
                <a:cxn ang="0">
                  <a:pos x="22" y="10"/>
                </a:cxn>
                <a:cxn ang="0">
                  <a:pos x="42" y="7"/>
                </a:cxn>
                <a:cxn ang="0">
                  <a:pos x="40" y="0"/>
                </a:cxn>
                <a:cxn ang="0">
                  <a:pos x="26" y="3"/>
                </a:cxn>
                <a:cxn ang="0">
                  <a:pos x="13" y="2"/>
                </a:cxn>
                <a:cxn ang="0">
                  <a:pos x="5" y="8"/>
                </a:cxn>
                <a:cxn ang="0">
                  <a:pos x="2" y="23"/>
                </a:cxn>
                <a:cxn ang="0">
                  <a:pos x="3" y="26"/>
                </a:cxn>
                <a:cxn ang="0">
                  <a:pos x="2" y="27"/>
                </a:cxn>
                <a:cxn ang="0">
                  <a:pos x="11" y="30"/>
                </a:cxn>
                <a:cxn ang="0">
                  <a:pos x="15" y="38"/>
                </a:cxn>
                <a:cxn ang="0">
                  <a:pos x="13" y="47"/>
                </a:cxn>
                <a:cxn ang="0">
                  <a:pos x="11" y="48"/>
                </a:cxn>
                <a:cxn ang="0">
                  <a:pos x="7" y="52"/>
                </a:cxn>
                <a:cxn ang="0">
                  <a:pos x="0" y="59"/>
                </a:cxn>
              </a:cxnLst>
              <a:rect l="0" t="0" r="r" b="b"/>
              <a:pathLst>
                <a:path w="102" h="70">
                  <a:moveTo>
                    <a:pt x="0" y="59"/>
                  </a:moveTo>
                  <a:lnTo>
                    <a:pt x="0" y="63"/>
                  </a:lnTo>
                  <a:lnTo>
                    <a:pt x="8" y="63"/>
                  </a:lnTo>
                  <a:lnTo>
                    <a:pt x="27" y="64"/>
                  </a:lnTo>
                  <a:lnTo>
                    <a:pt x="48" y="42"/>
                  </a:lnTo>
                  <a:lnTo>
                    <a:pt x="53" y="56"/>
                  </a:lnTo>
                  <a:lnTo>
                    <a:pt x="59" y="70"/>
                  </a:lnTo>
                  <a:lnTo>
                    <a:pt x="72" y="65"/>
                  </a:lnTo>
                  <a:lnTo>
                    <a:pt x="87" y="59"/>
                  </a:lnTo>
                  <a:lnTo>
                    <a:pt x="101" y="63"/>
                  </a:lnTo>
                  <a:lnTo>
                    <a:pt x="102" y="43"/>
                  </a:lnTo>
                  <a:lnTo>
                    <a:pt x="92" y="39"/>
                  </a:lnTo>
                  <a:lnTo>
                    <a:pt x="86" y="40"/>
                  </a:lnTo>
                  <a:lnTo>
                    <a:pt x="90" y="27"/>
                  </a:lnTo>
                  <a:lnTo>
                    <a:pt x="78" y="24"/>
                  </a:lnTo>
                  <a:lnTo>
                    <a:pt x="68" y="23"/>
                  </a:lnTo>
                  <a:lnTo>
                    <a:pt x="53" y="23"/>
                  </a:lnTo>
                  <a:lnTo>
                    <a:pt x="42" y="23"/>
                  </a:lnTo>
                  <a:lnTo>
                    <a:pt x="28" y="23"/>
                  </a:lnTo>
                  <a:lnTo>
                    <a:pt x="16" y="21"/>
                  </a:lnTo>
                  <a:lnTo>
                    <a:pt x="15" y="18"/>
                  </a:lnTo>
                  <a:lnTo>
                    <a:pt x="17" y="14"/>
                  </a:lnTo>
                  <a:lnTo>
                    <a:pt x="22" y="10"/>
                  </a:lnTo>
                  <a:lnTo>
                    <a:pt x="42" y="7"/>
                  </a:lnTo>
                  <a:lnTo>
                    <a:pt x="40" y="0"/>
                  </a:lnTo>
                  <a:lnTo>
                    <a:pt x="26" y="3"/>
                  </a:lnTo>
                  <a:lnTo>
                    <a:pt x="13" y="2"/>
                  </a:lnTo>
                  <a:lnTo>
                    <a:pt x="5" y="8"/>
                  </a:lnTo>
                  <a:lnTo>
                    <a:pt x="2" y="23"/>
                  </a:lnTo>
                  <a:lnTo>
                    <a:pt x="3" y="26"/>
                  </a:lnTo>
                  <a:lnTo>
                    <a:pt x="2" y="27"/>
                  </a:lnTo>
                  <a:lnTo>
                    <a:pt x="11" y="30"/>
                  </a:lnTo>
                  <a:lnTo>
                    <a:pt x="15" y="38"/>
                  </a:lnTo>
                  <a:lnTo>
                    <a:pt x="13" y="47"/>
                  </a:lnTo>
                  <a:lnTo>
                    <a:pt x="11" y="48"/>
                  </a:lnTo>
                  <a:lnTo>
                    <a:pt x="7" y="52"/>
                  </a:lnTo>
                  <a:lnTo>
                    <a:pt x="0" y="59"/>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31" name="Freeform 487"/>
            <p:cNvSpPr>
              <a:spLocks noEditPoints="1"/>
            </p:cNvSpPr>
            <p:nvPr/>
          </p:nvSpPr>
          <p:spPr bwMode="auto">
            <a:xfrm>
              <a:off x="3676" y="1541"/>
              <a:ext cx="107" cy="73"/>
            </a:xfrm>
            <a:custGeom>
              <a:avLst/>
              <a:gdLst/>
              <a:ahLst/>
              <a:cxnLst>
                <a:cxn ang="0">
                  <a:pos x="19" y="278"/>
                </a:cxn>
                <a:cxn ang="0">
                  <a:pos x="101" y="277"/>
                </a:cxn>
                <a:cxn ang="0">
                  <a:pos x="176" y="182"/>
                </a:cxn>
                <a:cxn ang="0">
                  <a:pos x="221" y="310"/>
                </a:cxn>
                <a:cxn ang="0">
                  <a:pos x="306" y="257"/>
                </a:cxn>
                <a:cxn ang="0">
                  <a:pos x="350" y="283"/>
                </a:cxn>
                <a:cxn ang="0">
                  <a:pos x="322" y="183"/>
                </a:cxn>
                <a:cxn ang="0">
                  <a:pos x="300" y="185"/>
                </a:cxn>
                <a:cxn ang="0">
                  <a:pos x="318" y="131"/>
                </a:cxn>
                <a:cxn ang="0">
                  <a:pos x="244" y="114"/>
                </a:cxn>
                <a:cxn ang="0">
                  <a:pos x="107" y="114"/>
                </a:cxn>
                <a:cxn ang="0">
                  <a:pos x="59" y="100"/>
                </a:cxn>
                <a:cxn ang="0">
                  <a:pos x="62" y="64"/>
                </a:cxn>
                <a:cxn ang="0">
                  <a:pos x="84" y="43"/>
                </a:cxn>
                <a:cxn ang="0">
                  <a:pos x="141" y="10"/>
                </a:cxn>
                <a:cxn ang="0">
                  <a:pos x="98" y="27"/>
                </a:cxn>
                <a:cxn ang="0">
                  <a:pos x="32" y="48"/>
                </a:cxn>
                <a:cxn ang="0">
                  <a:pos x="26" y="105"/>
                </a:cxn>
                <a:cxn ang="0">
                  <a:pos x="20" y="131"/>
                </a:cxn>
                <a:cxn ang="0">
                  <a:pos x="54" y="135"/>
                </a:cxn>
                <a:cxn ang="0">
                  <a:pos x="62" y="212"/>
                </a:cxn>
                <a:cxn ang="0">
                  <a:pos x="52" y="220"/>
                </a:cxn>
                <a:cxn ang="0">
                  <a:pos x="27" y="227"/>
                </a:cxn>
                <a:cxn ang="0">
                  <a:pos x="50" y="203"/>
                </a:cxn>
                <a:cxn ang="0">
                  <a:pos x="55" y="174"/>
                </a:cxn>
                <a:cxn ang="0">
                  <a:pos x="12" y="132"/>
                </a:cxn>
                <a:cxn ang="0">
                  <a:pos x="14" y="115"/>
                </a:cxn>
                <a:cxn ang="0">
                  <a:pos x="10" y="105"/>
                </a:cxn>
                <a:cxn ang="0">
                  <a:pos x="50" y="8"/>
                </a:cxn>
                <a:cxn ang="0">
                  <a:pos x="98" y="11"/>
                </a:cxn>
                <a:cxn ang="0">
                  <a:pos x="157" y="7"/>
                </a:cxn>
                <a:cxn ang="0">
                  <a:pos x="87" y="59"/>
                </a:cxn>
                <a:cxn ang="0">
                  <a:pos x="76" y="70"/>
                </a:cxn>
                <a:cxn ang="0">
                  <a:pos x="73" y="91"/>
                </a:cxn>
                <a:cxn ang="0">
                  <a:pos x="107" y="98"/>
                </a:cxn>
                <a:cxn ang="0">
                  <a:pos x="244" y="98"/>
                </a:cxn>
                <a:cxn ang="0">
                  <a:pos x="323" y="115"/>
                </a:cxn>
                <a:cxn ang="0">
                  <a:pos x="304" y="171"/>
                </a:cxn>
                <a:cxn ang="0">
                  <a:pos x="364" y="188"/>
                </a:cxn>
                <a:cxn ang="0">
                  <a:pos x="362" y="290"/>
                </a:cxn>
                <a:cxn ang="0">
                  <a:pos x="313" y="272"/>
                </a:cxn>
                <a:cxn ang="0">
                  <a:pos x="210" y="320"/>
                </a:cxn>
                <a:cxn ang="0">
                  <a:pos x="167" y="192"/>
                </a:cxn>
                <a:cxn ang="0">
                  <a:pos x="100" y="293"/>
                </a:cxn>
                <a:cxn ang="0">
                  <a:pos x="3" y="282"/>
                </a:cxn>
                <a:cxn ang="0">
                  <a:pos x="27" y="227"/>
                </a:cxn>
              </a:cxnLst>
              <a:rect l="0" t="0" r="r" b="b"/>
              <a:pathLst>
                <a:path w="369" h="321">
                  <a:moveTo>
                    <a:pt x="15" y="271"/>
                  </a:moveTo>
                  <a:lnTo>
                    <a:pt x="16" y="265"/>
                  </a:lnTo>
                  <a:lnTo>
                    <a:pt x="19" y="278"/>
                  </a:lnTo>
                  <a:lnTo>
                    <a:pt x="12" y="272"/>
                  </a:lnTo>
                  <a:lnTo>
                    <a:pt x="37" y="275"/>
                  </a:lnTo>
                  <a:lnTo>
                    <a:pt x="101" y="277"/>
                  </a:lnTo>
                  <a:lnTo>
                    <a:pt x="94" y="280"/>
                  </a:lnTo>
                  <a:lnTo>
                    <a:pt x="169" y="185"/>
                  </a:lnTo>
                  <a:cubicBezTo>
                    <a:pt x="170" y="182"/>
                    <a:pt x="173" y="181"/>
                    <a:pt x="176" y="182"/>
                  </a:cubicBezTo>
                  <a:cubicBezTo>
                    <a:pt x="179" y="182"/>
                    <a:pt x="182" y="184"/>
                    <a:pt x="183" y="187"/>
                  </a:cubicBezTo>
                  <a:lnTo>
                    <a:pt x="200" y="251"/>
                  </a:lnTo>
                  <a:lnTo>
                    <a:pt x="221" y="310"/>
                  </a:lnTo>
                  <a:lnTo>
                    <a:pt x="210" y="305"/>
                  </a:lnTo>
                  <a:lnTo>
                    <a:pt x="255" y="281"/>
                  </a:lnTo>
                  <a:lnTo>
                    <a:pt x="306" y="257"/>
                  </a:lnTo>
                  <a:cubicBezTo>
                    <a:pt x="308" y="256"/>
                    <a:pt x="310" y="256"/>
                    <a:pt x="313" y="257"/>
                  </a:cubicBezTo>
                  <a:lnTo>
                    <a:pt x="361" y="276"/>
                  </a:lnTo>
                  <a:lnTo>
                    <a:pt x="350" y="283"/>
                  </a:lnTo>
                  <a:lnTo>
                    <a:pt x="352" y="194"/>
                  </a:lnTo>
                  <a:lnTo>
                    <a:pt x="357" y="202"/>
                  </a:lnTo>
                  <a:lnTo>
                    <a:pt x="322" y="183"/>
                  </a:lnTo>
                  <a:lnTo>
                    <a:pt x="327" y="184"/>
                  </a:lnTo>
                  <a:lnTo>
                    <a:pt x="307" y="187"/>
                  </a:lnTo>
                  <a:cubicBezTo>
                    <a:pt x="304" y="188"/>
                    <a:pt x="301" y="187"/>
                    <a:pt x="300" y="185"/>
                  </a:cubicBezTo>
                  <a:cubicBezTo>
                    <a:pt x="298" y="183"/>
                    <a:pt x="297" y="180"/>
                    <a:pt x="298" y="177"/>
                  </a:cubicBezTo>
                  <a:lnTo>
                    <a:pt x="313" y="121"/>
                  </a:lnTo>
                  <a:lnTo>
                    <a:pt x="318" y="131"/>
                  </a:lnTo>
                  <a:lnTo>
                    <a:pt x="277" y="119"/>
                  </a:lnTo>
                  <a:lnTo>
                    <a:pt x="242" y="114"/>
                  </a:lnTo>
                  <a:lnTo>
                    <a:pt x="244" y="114"/>
                  </a:lnTo>
                  <a:lnTo>
                    <a:pt x="194" y="114"/>
                  </a:lnTo>
                  <a:lnTo>
                    <a:pt x="154" y="114"/>
                  </a:lnTo>
                  <a:lnTo>
                    <a:pt x="107" y="114"/>
                  </a:lnTo>
                  <a:cubicBezTo>
                    <a:pt x="107" y="114"/>
                    <a:pt x="106" y="114"/>
                    <a:pt x="106" y="114"/>
                  </a:cubicBezTo>
                  <a:lnTo>
                    <a:pt x="64" y="103"/>
                  </a:lnTo>
                  <a:cubicBezTo>
                    <a:pt x="62" y="103"/>
                    <a:pt x="61" y="102"/>
                    <a:pt x="59" y="100"/>
                  </a:cubicBezTo>
                  <a:lnTo>
                    <a:pt x="54" y="91"/>
                  </a:lnTo>
                  <a:cubicBezTo>
                    <a:pt x="53" y="89"/>
                    <a:pt x="52" y="86"/>
                    <a:pt x="53" y="84"/>
                  </a:cubicBezTo>
                  <a:lnTo>
                    <a:pt x="62" y="64"/>
                  </a:lnTo>
                  <a:cubicBezTo>
                    <a:pt x="62" y="62"/>
                    <a:pt x="63" y="61"/>
                    <a:pt x="64" y="61"/>
                  </a:cubicBezTo>
                  <a:lnTo>
                    <a:pt x="80" y="45"/>
                  </a:lnTo>
                  <a:cubicBezTo>
                    <a:pt x="81" y="44"/>
                    <a:pt x="82" y="44"/>
                    <a:pt x="84" y="43"/>
                  </a:cubicBezTo>
                  <a:lnTo>
                    <a:pt x="151" y="30"/>
                  </a:lnTo>
                  <a:lnTo>
                    <a:pt x="145" y="39"/>
                  </a:lnTo>
                  <a:lnTo>
                    <a:pt x="141" y="10"/>
                  </a:lnTo>
                  <a:lnTo>
                    <a:pt x="150" y="16"/>
                  </a:lnTo>
                  <a:lnTo>
                    <a:pt x="101" y="27"/>
                  </a:lnTo>
                  <a:cubicBezTo>
                    <a:pt x="100" y="27"/>
                    <a:pt x="99" y="27"/>
                    <a:pt x="98" y="27"/>
                  </a:cubicBezTo>
                  <a:lnTo>
                    <a:pt x="54" y="22"/>
                  </a:lnTo>
                  <a:lnTo>
                    <a:pt x="61" y="19"/>
                  </a:lnTo>
                  <a:lnTo>
                    <a:pt x="32" y="48"/>
                  </a:lnTo>
                  <a:lnTo>
                    <a:pt x="34" y="44"/>
                  </a:lnTo>
                  <a:lnTo>
                    <a:pt x="26" y="107"/>
                  </a:lnTo>
                  <a:lnTo>
                    <a:pt x="26" y="105"/>
                  </a:lnTo>
                  <a:lnTo>
                    <a:pt x="27" y="120"/>
                  </a:lnTo>
                  <a:cubicBezTo>
                    <a:pt x="28" y="123"/>
                    <a:pt x="27" y="126"/>
                    <a:pt x="25" y="127"/>
                  </a:cubicBezTo>
                  <a:lnTo>
                    <a:pt x="20" y="131"/>
                  </a:lnTo>
                  <a:lnTo>
                    <a:pt x="19" y="117"/>
                  </a:lnTo>
                  <a:lnTo>
                    <a:pt x="50" y="131"/>
                  </a:lnTo>
                  <a:cubicBezTo>
                    <a:pt x="52" y="132"/>
                    <a:pt x="53" y="133"/>
                    <a:pt x="54" y="135"/>
                  </a:cubicBezTo>
                  <a:lnTo>
                    <a:pt x="69" y="167"/>
                  </a:lnTo>
                  <a:cubicBezTo>
                    <a:pt x="70" y="169"/>
                    <a:pt x="70" y="171"/>
                    <a:pt x="70" y="172"/>
                  </a:cubicBezTo>
                  <a:lnTo>
                    <a:pt x="62" y="212"/>
                  </a:lnTo>
                  <a:cubicBezTo>
                    <a:pt x="61" y="214"/>
                    <a:pt x="60" y="216"/>
                    <a:pt x="58" y="217"/>
                  </a:cubicBezTo>
                  <a:lnTo>
                    <a:pt x="50" y="222"/>
                  </a:lnTo>
                  <a:lnTo>
                    <a:pt x="52" y="220"/>
                  </a:lnTo>
                  <a:lnTo>
                    <a:pt x="40" y="237"/>
                  </a:lnTo>
                  <a:lnTo>
                    <a:pt x="15" y="271"/>
                  </a:lnTo>
                  <a:close/>
                  <a:moveTo>
                    <a:pt x="27" y="227"/>
                  </a:moveTo>
                  <a:lnTo>
                    <a:pt x="39" y="210"/>
                  </a:lnTo>
                  <a:cubicBezTo>
                    <a:pt x="40" y="210"/>
                    <a:pt x="40" y="209"/>
                    <a:pt x="41" y="208"/>
                  </a:cubicBezTo>
                  <a:lnTo>
                    <a:pt x="50" y="203"/>
                  </a:lnTo>
                  <a:lnTo>
                    <a:pt x="46" y="208"/>
                  </a:lnTo>
                  <a:lnTo>
                    <a:pt x="54" y="169"/>
                  </a:lnTo>
                  <a:lnTo>
                    <a:pt x="55" y="174"/>
                  </a:lnTo>
                  <a:lnTo>
                    <a:pt x="40" y="142"/>
                  </a:lnTo>
                  <a:lnTo>
                    <a:pt x="44" y="146"/>
                  </a:lnTo>
                  <a:lnTo>
                    <a:pt x="12" y="132"/>
                  </a:lnTo>
                  <a:cubicBezTo>
                    <a:pt x="10" y="131"/>
                    <a:pt x="8" y="128"/>
                    <a:pt x="7" y="126"/>
                  </a:cubicBezTo>
                  <a:cubicBezTo>
                    <a:pt x="7" y="123"/>
                    <a:pt x="8" y="120"/>
                    <a:pt x="10" y="118"/>
                  </a:cubicBezTo>
                  <a:lnTo>
                    <a:pt x="14" y="115"/>
                  </a:lnTo>
                  <a:lnTo>
                    <a:pt x="11" y="122"/>
                  </a:lnTo>
                  <a:lnTo>
                    <a:pt x="10" y="107"/>
                  </a:lnTo>
                  <a:cubicBezTo>
                    <a:pt x="10" y="106"/>
                    <a:pt x="10" y="105"/>
                    <a:pt x="10" y="105"/>
                  </a:cubicBezTo>
                  <a:lnTo>
                    <a:pt x="18" y="42"/>
                  </a:lnTo>
                  <a:cubicBezTo>
                    <a:pt x="19" y="40"/>
                    <a:pt x="19" y="38"/>
                    <a:pt x="21" y="37"/>
                  </a:cubicBezTo>
                  <a:lnTo>
                    <a:pt x="50" y="8"/>
                  </a:lnTo>
                  <a:cubicBezTo>
                    <a:pt x="51" y="6"/>
                    <a:pt x="54" y="5"/>
                    <a:pt x="56" y="6"/>
                  </a:cubicBezTo>
                  <a:lnTo>
                    <a:pt x="100" y="11"/>
                  </a:lnTo>
                  <a:lnTo>
                    <a:pt x="98" y="11"/>
                  </a:lnTo>
                  <a:lnTo>
                    <a:pt x="147" y="1"/>
                  </a:lnTo>
                  <a:cubicBezTo>
                    <a:pt x="149" y="0"/>
                    <a:pt x="152" y="1"/>
                    <a:pt x="153" y="2"/>
                  </a:cubicBezTo>
                  <a:cubicBezTo>
                    <a:pt x="155" y="3"/>
                    <a:pt x="156" y="5"/>
                    <a:pt x="157" y="7"/>
                  </a:cubicBezTo>
                  <a:lnTo>
                    <a:pt x="161" y="36"/>
                  </a:lnTo>
                  <a:cubicBezTo>
                    <a:pt x="161" y="41"/>
                    <a:pt x="159" y="45"/>
                    <a:pt x="154" y="45"/>
                  </a:cubicBezTo>
                  <a:lnTo>
                    <a:pt x="87" y="59"/>
                  </a:lnTo>
                  <a:lnTo>
                    <a:pt x="91" y="57"/>
                  </a:lnTo>
                  <a:lnTo>
                    <a:pt x="74" y="72"/>
                  </a:lnTo>
                  <a:lnTo>
                    <a:pt x="76" y="70"/>
                  </a:lnTo>
                  <a:lnTo>
                    <a:pt x="68" y="90"/>
                  </a:lnTo>
                  <a:lnTo>
                    <a:pt x="67" y="83"/>
                  </a:lnTo>
                  <a:lnTo>
                    <a:pt x="73" y="91"/>
                  </a:lnTo>
                  <a:lnTo>
                    <a:pt x="68" y="88"/>
                  </a:lnTo>
                  <a:lnTo>
                    <a:pt x="109" y="98"/>
                  </a:lnTo>
                  <a:lnTo>
                    <a:pt x="107" y="98"/>
                  </a:lnTo>
                  <a:lnTo>
                    <a:pt x="154" y="98"/>
                  </a:lnTo>
                  <a:lnTo>
                    <a:pt x="194" y="98"/>
                  </a:lnTo>
                  <a:lnTo>
                    <a:pt x="244" y="98"/>
                  </a:lnTo>
                  <a:cubicBezTo>
                    <a:pt x="244" y="98"/>
                    <a:pt x="244" y="98"/>
                    <a:pt x="245" y="98"/>
                  </a:cubicBezTo>
                  <a:lnTo>
                    <a:pt x="282" y="103"/>
                  </a:lnTo>
                  <a:lnTo>
                    <a:pt x="323" y="115"/>
                  </a:lnTo>
                  <a:cubicBezTo>
                    <a:pt x="327" y="116"/>
                    <a:pt x="329" y="121"/>
                    <a:pt x="328" y="125"/>
                  </a:cubicBezTo>
                  <a:lnTo>
                    <a:pt x="313" y="181"/>
                  </a:lnTo>
                  <a:lnTo>
                    <a:pt x="304" y="171"/>
                  </a:lnTo>
                  <a:lnTo>
                    <a:pt x="325" y="168"/>
                  </a:lnTo>
                  <a:cubicBezTo>
                    <a:pt x="327" y="168"/>
                    <a:pt x="328" y="168"/>
                    <a:pt x="330" y="169"/>
                  </a:cubicBezTo>
                  <a:lnTo>
                    <a:pt x="364" y="188"/>
                  </a:lnTo>
                  <a:cubicBezTo>
                    <a:pt x="367" y="189"/>
                    <a:pt x="369" y="192"/>
                    <a:pt x="368" y="195"/>
                  </a:cubicBezTo>
                  <a:lnTo>
                    <a:pt x="366" y="284"/>
                  </a:lnTo>
                  <a:cubicBezTo>
                    <a:pt x="366" y="286"/>
                    <a:pt x="364" y="289"/>
                    <a:pt x="362" y="290"/>
                  </a:cubicBezTo>
                  <a:cubicBezTo>
                    <a:pt x="360" y="292"/>
                    <a:pt x="357" y="292"/>
                    <a:pt x="355" y="291"/>
                  </a:cubicBezTo>
                  <a:lnTo>
                    <a:pt x="307" y="272"/>
                  </a:lnTo>
                  <a:lnTo>
                    <a:pt x="313" y="272"/>
                  </a:lnTo>
                  <a:lnTo>
                    <a:pt x="262" y="296"/>
                  </a:lnTo>
                  <a:lnTo>
                    <a:pt x="217" y="320"/>
                  </a:lnTo>
                  <a:cubicBezTo>
                    <a:pt x="215" y="321"/>
                    <a:pt x="213" y="321"/>
                    <a:pt x="210" y="320"/>
                  </a:cubicBezTo>
                  <a:cubicBezTo>
                    <a:pt x="208" y="319"/>
                    <a:pt x="207" y="317"/>
                    <a:pt x="206" y="315"/>
                  </a:cubicBezTo>
                  <a:lnTo>
                    <a:pt x="185" y="255"/>
                  </a:lnTo>
                  <a:lnTo>
                    <a:pt x="167" y="192"/>
                  </a:lnTo>
                  <a:lnTo>
                    <a:pt x="181" y="194"/>
                  </a:lnTo>
                  <a:lnTo>
                    <a:pt x="107" y="290"/>
                  </a:lnTo>
                  <a:cubicBezTo>
                    <a:pt x="105" y="292"/>
                    <a:pt x="103" y="293"/>
                    <a:pt x="100" y="293"/>
                  </a:cubicBezTo>
                  <a:lnTo>
                    <a:pt x="35" y="291"/>
                  </a:lnTo>
                  <a:lnTo>
                    <a:pt x="10" y="288"/>
                  </a:lnTo>
                  <a:cubicBezTo>
                    <a:pt x="7" y="287"/>
                    <a:pt x="4" y="285"/>
                    <a:pt x="3" y="282"/>
                  </a:cubicBezTo>
                  <a:lnTo>
                    <a:pt x="1" y="268"/>
                  </a:lnTo>
                  <a:cubicBezTo>
                    <a:pt x="0" y="266"/>
                    <a:pt x="1" y="263"/>
                    <a:pt x="2" y="262"/>
                  </a:cubicBezTo>
                  <a:lnTo>
                    <a:pt x="27" y="227"/>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32" name="Freeform 488"/>
            <p:cNvSpPr>
              <a:spLocks/>
            </p:cNvSpPr>
            <p:nvPr/>
          </p:nvSpPr>
          <p:spPr bwMode="auto">
            <a:xfrm>
              <a:off x="4342" y="1817"/>
              <a:ext cx="14" cy="14"/>
            </a:xfrm>
            <a:custGeom>
              <a:avLst/>
              <a:gdLst/>
              <a:ahLst/>
              <a:cxnLst>
                <a:cxn ang="0">
                  <a:pos x="0" y="4"/>
                </a:cxn>
                <a:cxn ang="0">
                  <a:pos x="9" y="0"/>
                </a:cxn>
                <a:cxn ang="0">
                  <a:pos x="14" y="7"/>
                </a:cxn>
                <a:cxn ang="0">
                  <a:pos x="11" y="14"/>
                </a:cxn>
                <a:cxn ang="0">
                  <a:pos x="0" y="4"/>
                </a:cxn>
              </a:cxnLst>
              <a:rect l="0" t="0" r="r" b="b"/>
              <a:pathLst>
                <a:path w="14" h="14">
                  <a:moveTo>
                    <a:pt x="0" y="4"/>
                  </a:moveTo>
                  <a:lnTo>
                    <a:pt x="9" y="0"/>
                  </a:lnTo>
                  <a:lnTo>
                    <a:pt x="14" y="7"/>
                  </a:lnTo>
                  <a:lnTo>
                    <a:pt x="11" y="14"/>
                  </a:lnTo>
                  <a:lnTo>
                    <a:pt x="0" y="4"/>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33" name="Freeform 489"/>
            <p:cNvSpPr>
              <a:spLocks noEditPoints="1"/>
            </p:cNvSpPr>
            <p:nvPr/>
          </p:nvSpPr>
          <p:spPr bwMode="auto">
            <a:xfrm>
              <a:off x="4340" y="1815"/>
              <a:ext cx="19" cy="18"/>
            </a:xfrm>
            <a:custGeom>
              <a:avLst/>
              <a:gdLst/>
              <a:ahLst/>
              <a:cxnLst>
                <a:cxn ang="0">
                  <a:pos x="2" y="33"/>
                </a:cxn>
                <a:cxn ang="0">
                  <a:pos x="1" y="27"/>
                </a:cxn>
                <a:cxn ang="0">
                  <a:pos x="4" y="21"/>
                </a:cxn>
                <a:cxn ang="0">
                  <a:pos x="33" y="2"/>
                </a:cxn>
                <a:cxn ang="0">
                  <a:pos x="39" y="1"/>
                </a:cxn>
                <a:cxn ang="0">
                  <a:pos x="44" y="4"/>
                </a:cxn>
                <a:cxn ang="0">
                  <a:pos x="63" y="35"/>
                </a:cxn>
                <a:cxn ang="0">
                  <a:pos x="64" y="42"/>
                </a:cxn>
                <a:cxn ang="0">
                  <a:pos x="54" y="75"/>
                </a:cxn>
                <a:cxn ang="0">
                  <a:pos x="48" y="80"/>
                </a:cxn>
                <a:cxn ang="0">
                  <a:pos x="41" y="78"/>
                </a:cxn>
                <a:cxn ang="0">
                  <a:pos x="2" y="33"/>
                </a:cxn>
                <a:cxn ang="0">
                  <a:pos x="53" y="67"/>
                </a:cxn>
                <a:cxn ang="0">
                  <a:pos x="39" y="70"/>
                </a:cxn>
                <a:cxn ang="0">
                  <a:pos x="49" y="37"/>
                </a:cxn>
                <a:cxn ang="0">
                  <a:pos x="50" y="44"/>
                </a:cxn>
                <a:cxn ang="0">
                  <a:pos x="31" y="13"/>
                </a:cxn>
                <a:cxn ang="0">
                  <a:pos x="42" y="15"/>
                </a:cxn>
                <a:cxn ang="0">
                  <a:pos x="13" y="35"/>
                </a:cxn>
                <a:cxn ang="0">
                  <a:pos x="15" y="23"/>
                </a:cxn>
                <a:cxn ang="0">
                  <a:pos x="53" y="67"/>
                </a:cxn>
              </a:cxnLst>
              <a:rect l="0" t="0" r="r" b="b"/>
              <a:pathLst>
                <a:path w="65" h="81">
                  <a:moveTo>
                    <a:pt x="2" y="33"/>
                  </a:moveTo>
                  <a:cubicBezTo>
                    <a:pt x="1" y="31"/>
                    <a:pt x="0" y="29"/>
                    <a:pt x="1" y="27"/>
                  </a:cubicBezTo>
                  <a:cubicBezTo>
                    <a:pt x="1" y="24"/>
                    <a:pt x="2" y="22"/>
                    <a:pt x="4" y="21"/>
                  </a:cubicBezTo>
                  <a:lnTo>
                    <a:pt x="33" y="2"/>
                  </a:lnTo>
                  <a:cubicBezTo>
                    <a:pt x="35" y="1"/>
                    <a:pt x="37" y="0"/>
                    <a:pt x="39" y="1"/>
                  </a:cubicBezTo>
                  <a:cubicBezTo>
                    <a:pt x="41" y="1"/>
                    <a:pt x="43" y="2"/>
                    <a:pt x="44" y="4"/>
                  </a:cubicBezTo>
                  <a:lnTo>
                    <a:pt x="63" y="35"/>
                  </a:lnTo>
                  <a:cubicBezTo>
                    <a:pt x="64" y="37"/>
                    <a:pt x="65" y="40"/>
                    <a:pt x="64" y="42"/>
                  </a:cubicBezTo>
                  <a:lnTo>
                    <a:pt x="54" y="75"/>
                  </a:lnTo>
                  <a:cubicBezTo>
                    <a:pt x="53" y="78"/>
                    <a:pt x="51" y="80"/>
                    <a:pt x="48" y="80"/>
                  </a:cubicBezTo>
                  <a:cubicBezTo>
                    <a:pt x="45" y="81"/>
                    <a:pt x="42" y="80"/>
                    <a:pt x="41" y="78"/>
                  </a:cubicBezTo>
                  <a:lnTo>
                    <a:pt x="2" y="33"/>
                  </a:lnTo>
                  <a:close/>
                  <a:moveTo>
                    <a:pt x="53" y="67"/>
                  </a:moveTo>
                  <a:lnTo>
                    <a:pt x="39" y="70"/>
                  </a:lnTo>
                  <a:lnTo>
                    <a:pt x="49" y="37"/>
                  </a:lnTo>
                  <a:lnTo>
                    <a:pt x="50" y="44"/>
                  </a:lnTo>
                  <a:lnTo>
                    <a:pt x="31" y="13"/>
                  </a:lnTo>
                  <a:lnTo>
                    <a:pt x="42" y="15"/>
                  </a:lnTo>
                  <a:lnTo>
                    <a:pt x="13" y="35"/>
                  </a:lnTo>
                  <a:lnTo>
                    <a:pt x="15" y="23"/>
                  </a:lnTo>
                  <a:lnTo>
                    <a:pt x="53" y="67"/>
                  </a:lnTo>
                  <a:close/>
                </a:path>
              </a:pathLst>
            </a:custGeom>
            <a:solidFill>
              <a:srgbClr val="FFFFFF"/>
            </a:solidFill>
            <a:ln w="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34" name="Rectangle 490"/>
            <p:cNvSpPr>
              <a:spLocks noChangeArrowheads="1"/>
            </p:cNvSpPr>
            <p:nvPr/>
          </p:nvSpPr>
          <p:spPr bwMode="auto">
            <a:xfrm>
              <a:off x="3905" y="1906"/>
              <a:ext cx="264" cy="10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000000"/>
                  </a:solidFill>
                  <a:effectLst/>
                  <a:latin typeface="Arial" pitchFamily="34" charset="0"/>
                  <a:cs typeface="Arial" pitchFamily="34" charset="0"/>
                </a:rPr>
                <a:t>India</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83435" name="Picture 491"/>
            <p:cNvPicPr>
              <a:picLocks noChangeAspect="1" noChangeArrowheads="1"/>
            </p:cNvPicPr>
            <p:nvPr/>
          </p:nvPicPr>
          <p:blipFill>
            <a:blip r:embed="rId4" cstate="print"/>
            <a:srcRect/>
            <a:stretch>
              <a:fillRect/>
            </a:stretch>
          </p:blipFill>
          <p:spPr bwMode="auto">
            <a:xfrm>
              <a:off x="3688" y="1740"/>
              <a:ext cx="185" cy="150"/>
            </a:xfrm>
            <a:prstGeom prst="rect">
              <a:avLst/>
            </a:prstGeom>
            <a:noFill/>
            <a:ln w="9525">
              <a:noFill/>
              <a:miter lim="800000"/>
              <a:headEnd/>
              <a:tailEnd/>
            </a:ln>
          </p:spPr>
        </p:pic>
        <p:pic>
          <p:nvPicPr>
            <p:cNvPr id="83436" name="Picture 492"/>
            <p:cNvPicPr>
              <a:picLocks noChangeAspect="1" noChangeArrowheads="1"/>
            </p:cNvPicPr>
            <p:nvPr/>
          </p:nvPicPr>
          <p:blipFill>
            <a:blip r:embed="rId5" cstate="print"/>
            <a:srcRect/>
            <a:stretch>
              <a:fillRect/>
            </a:stretch>
          </p:blipFill>
          <p:spPr bwMode="auto">
            <a:xfrm>
              <a:off x="3688" y="1740"/>
              <a:ext cx="185" cy="150"/>
            </a:xfrm>
            <a:prstGeom prst="rect">
              <a:avLst/>
            </a:prstGeom>
            <a:noFill/>
            <a:ln w="9525">
              <a:noFill/>
              <a:miter lim="800000"/>
              <a:headEnd/>
              <a:tailEnd/>
            </a:ln>
          </p:spPr>
        </p:pic>
        <p:pic>
          <p:nvPicPr>
            <p:cNvPr id="83437" name="Picture 493"/>
            <p:cNvPicPr>
              <a:picLocks noChangeAspect="1" noChangeArrowheads="1"/>
            </p:cNvPicPr>
            <p:nvPr/>
          </p:nvPicPr>
          <p:blipFill>
            <a:blip r:embed="rId6" cstate="print"/>
            <a:srcRect/>
            <a:stretch>
              <a:fillRect/>
            </a:stretch>
          </p:blipFill>
          <p:spPr bwMode="auto">
            <a:xfrm>
              <a:off x="1409" y="1484"/>
              <a:ext cx="181" cy="150"/>
            </a:xfrm>
            <a:prstGeom prst="rect">
              <a:avLst/>
            </a:prstGeom>
            <a:noFill/>
            <a:ln w="9525">
              <a:noFill/>
              <a:miter lim="800000"/>
              <a:headEnd/>
              <a:tailEnd/>
            </a:ln>
          </p:spPr>
        </p:pic>
        <p:pic>
          <p:nvPicPr>
            <p:cNvPr id="83438" name="Picture 494"/>
            <p:cNvPicPr>
              <a:picLocks noChangeAspect="1" noChangeArrowheads="1"/>
            </p:cNvPicPr>
            <p:nvPr/>
          </p:nvPicPr>
          <p:blipFill>
            <a:blip r:embed="rId7" cstate="print"/>
            <a:srcRect/>
            <a:stretch>
              <a:fillRect/>
            </a:stretch>
          </p:blipFill>
          <p:spPr bwMode="auto">
            <a:xfrm>
              <a:off x="1409" y="1484"/>
              <a:ext cx="181" cy="150"/>
            </a:xfrm>
            <a:prstGeom prst="rect">
              <a:avLst/>
            </a:prstGeom>
            <a:noFill/>
            <a:ln w="9525">
              <a:noFill/>
              <a:miter lim="800000"/>
              <a:headEnd/>
              <a:tailEnd/>
            </a:ln>
          </p:spPr>
        </p:pic>
        <p:sp>
          <p:nvSpPr>
            <p:cNvPr id="83439" name="Freeform 495"/>
            <p:cNvSpPr>
              <a:spLocks/>
            </p:cNvSpPr>
            <p:nvPr/>
          </p:nvSpPr>
          <p:spPr bwMode="auto">
            <a:xfrm>
              <a:off x="414" y="2488"/>
              <a:ext cx="1276" cy="384"/>
            </a:xfrm>
            <a:custGeom>
              <a:avLst/>
              <a:gdLst/>
              <a:ahLst/>
              <a:cxnLst>
                <a:cxn ang="0">
                  <a:pos x="0" y="124"/>
                </a:cxn>
                <a:cxn ang="0">
                  <a:pos x="124" y="0"/>
                </a:cxn>
                <a:cxn ang="0">
                  <a:pos x="124" y="0"/>
                </a:cxn>
                <a:cxn ang="0">
                  <a:pos x="124" y="0"/>
                </a:cxn>
                <a:cxn ang="0">
                  <a:pos x="4277" y="0"/>
                </a:cxn>
                <a:cxn ang="0">
                  <a:pos x="4277" y="0"/>
                </a:cxn>
                <a:cxn ang="0">
                  <a:pos x="4400" y="124"/>
                </a:cxn>
                <a:cxn ang="0">
                  <a:pos x="4400" y="124"/>
                </a:cxn>
                <a:cxn ang="0">
                  <a:pos x="4400" y="124"/>
                </a:cxn>
                <a:cxn ang="0">
                  <a:pos x="4400" y="1557"/>
                </a:cxn>
                <a:cxn ang="0">
                  <a:pos x="4400" y="1557"/>
                </a:cxn>
                <a:cxn ang="0">
                  <a:pos x="4277" y="1680"/>
                </a:cxn>
                <a:cxn ang="0">
                  <a:pos x="4277" y="1680"/>
                </a:cxn>
                <a:cxn ang="0">
                  <a:pos x="4277" y="1680"/>
                </a:cxn>
                <a:cxn ang="0">
                  <a:pos x="124" y="1680"/>
                </a:cxn>
                <a:cxn ang="0">
                  <a:pos x="124" y="1680"/>
                </a:cxn>
                <a:cxn ang="0">
                  <a:pos x="0" y="1557"/>
                </a:cxn>
                <a:cxn ang="0">
                  <a:pos x="0" y="1557"/>
                </a:cxn>
                <a:cxn ang="0">
                  <a:pos x="0" y="124"/>
                </a:cxn>
              </a:cxnLst>
              <a:rect l="0" t="0" r="r" b="b"/>
              <a:pathLst>
                <a:path w="4400" h="1680">
                  <a:moveTo>
                    <a:pt x="0" y="124"/>
                  </a:moveTo>
                  <a:cubicBezTo>
                    <a:pt x="0" y="56"/>
                    <a:pt x="56" y="0"/>
                    <a:pt x="124" y="0"/>
                  </a:cubicBezTo>
                  <a:cubicBezTo>
                    <a:pt x="124" y="0"/>
                    <a:pt x="124" y="0"/>
                    <a:pt x="124" y="0"/>
                  </a:cubicBezTo>
                  <a:lnTo>
                    <a:pt x="124" y="0"/>
                  </a:lnTo>
                  <a:lnTo>
                    <a:pt x="4277" y="0"/>
                  </a:lnTo>
                  <a:lnTo>
                    <a:pt x="4277" y="0"/>
                  </a:lnTo>
                  <a:cubicBezTo>
                    <a:pt x="4345" y="0"/>
                    <a:pt x="4400" y="56"/>
                    <a:pt x="4400" y="124"/>
                  </a:cubicBezTo>
                  <a:cubicBezTo>
                    <a:pt x="4400" y="124"/>
                    <a:pt x="4400" y="124"/>
                    <a:pt x="4400" y="124"/>
                  </a:cubicBezTo>
                  <a:lnTo>
                    <a:pt x="4400" y="124"/>
                  </a:lnTo>
                  <a:lnTo>
                    <a:pt x="4400" y="1557"/>
                  </a:lnTo>
                  <a:lnTo>
                    <a:pt x="4400" y="1557"/>
                  </a:lnTo>
                  <a:cubicBezTo>
                    <a:pt x="4400" y="1625"/>
                    <a:pt x="4345" y="1680"/>
                    <a:pt x="4277" y="1680"/>
                  </a:cubicBezTo>
                  <a:cubicBezTo>
                    <a:pt x="4277" y="1680"/>
                    <a:pt x="4277" y="1680"/>
                    <a:pt x="4277" y="1680"/>
                  </a:cubicBezTo>
                  <a:lnTo>
                    <a:pt x="4277" y="1680"/>
                  </a:lnTo>
                  <a:lnTo>
                    <a:pt x="124" y="1680"/>
                  </a:lnTo>
                  <a:lnTo>
                    <a:pt x="124" y="1680"/>
                  </a:lnTo>
                  <a:cubicBezTo>
                    <a:pt x="56" y="1680"/>
                    <a:pt x="0" y="1625"/>
                    <a:pt x="0" y="1557"/>
                  </a:cubicBezTo>
                  <a:cubicBezTo>
                    <a:pt x="0" y="1557"/>
                    <a:pt x="0" y="1557"/>
                    <a:pt x="0" y="1557"/>
                  </a:cubicBezTo>
                  <a:lnTo>
                    <a:pt x="0" y="124"/>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40" name="Freeform 496"/>
            <p:cNvSpPr>
              <a:spLocks noEditPoints="1"/>
            </p:cNvSpPr>
            <p:nvPr/>
          </p:nvSpPr>
          <p:spPr bwMode="auto">
            <a:xfrm>
              <a:off x="409" y="2484"/>
              <a:ext cx="1286" cy="392"/>
            </a:xfrm>
            <a:custGeom>
              <a:avLst/>
              <a:gdLst/>
              <a:ahLst/>
              <a:cxnLst>
                <a:cxn ang="0">
                  <a:pos x="1" y="137"/>
                </a:cxn>
                <a:cxn ang="0">
                  <a:pos x="13" y="83"/>
                </a:cxn>
                <a:cxn ang="0">
                  <a:pos x="44" y="40"/>
                </a:cxn>
                <a:cxn ang="0">
                  <a:pos x="89" y="11"/>
                </a:cxn>
                <a:cxn ang="0">
                  <a:pos x="140" y="0"/>
                </a:cxn>
                <a:cxn ang="0">
                  <a:pos x="4297" y="1"/>
                </a:cxn>
                <a:cxn ang="0">
                  <a:pos x="4351" y="13"/>
                </a:cxn>
                <a:cxn ang="0">
                  <a:pos x="4394" y="45"/>
                </a:cxn>
                <a:cxn ang="0">
                  <a:pos x="4422" y="89"/>
                </a:cxn>
                <a:cxn ang="0">
                  <a:pos x="4432" y="140"/>
                </a:cxn>
                <a:cxn ang="0">
                  <a:pos x="4432" y="1577"/>
                </a:cxn>
                <a:cxn ang="0">
                  <a:pos x="4420" y="1630"/>
                </a:cxn>
                <a:cxn ang="0">
                  <a:pos x="4389" y="1674"/>
                </a:cxn>
                <a:cxn ang="0">
                  <a:pos x="4345" y="1702"/>
                </a:cxn>
                <a:cxn ang="0">
                  <a:pos x="4293" y="1712"/>
                </a:cxn>
                <a:cxn ang="0">
                  <a:pos x="137" y="1712"/>
                </a:cxn>
                <a:cxn ang="0">
                  <a:pos x="84" y="1700"/>
                </a:cxn>
                <a:cxn ang="0">
                  <a:pos x="40" y="1670"/>
                </a:cxn>
                <a:cxn ang="0">
                  <a:pos x="11" y="1625"/>
                </a:cxn>
                <a:cxn ang="0">
                  <a:pos x="0" y="1573"/>
                </a:cxn>
                <a:cxn ang="0">
                  <a:pos x="32" y="1573"/>
                </a:cxn>
                <a:cxn ang="0">
                  <a:pos x="42" y="1618"/>
                </a:cxn>
                <a:cxn ang="0">
                  <a:pos x="67" y="1651"/>
                </a:cxn>
                <a:cxn ang="0">
                  <a:pos x="101" y="1673"/>
                </a:cxn>
                <a:cxn ang="0">
                  <a:pos x="144" y="1681"/>
                </a:cxn>
                <a:cxn ang="0">
                  <a:pos x="4293" y="1680"/>
                </a:cxn>
                <a:cxn ang="0">
                  <a:pos x="4338" y="1671"/>
                </a:cxn>
                <a:cxn ang="0">
                  <a:pos x="4372" y="1647"/>
                </a:cxn>
                <a:cxn ang="0">
                  <a:pos x="4393" y="1613"/>
                </a:cxn>
                <a:cxn ang="0">
                  <a:pos x="4401" y="1570"/>
                </a:cxn>
                <a:cxn ang="0">
                  <a:pos x="4400" y="140"/>
                </a:cxn>
                <a:cxn ang="0">
                  <a:pos x="4391" y="96"/>
                </a:cxn>
                <a:cxn ang="0">
                  <a:pos x="4367" y="62"/>
                </a:cxn>
                <a:cxn ang="0">
                  <a:pos x="4332" y="40"/>
                </a:cxn>
                <a:cxn ang="0">
                  <a:pos x="4290" y="32"/>
                </a:cxn>
                <a:cxn ang="0">
                  <a:pos x="140" y="32"/>
                </a:cxn>
                <a:cxn ang="0">
                  <a:pos x="96" y="42"/>
                </a:cxn>
                <a:cxn ang="0">
                  <a:pos x="63" y="67"/>
                </a:cxn>
                <a:cxn ang="0">
                  <a:pos x="40" y="102"/>
                </a:cxn>
                <a:cxn ang="0">
                  <a:pos x="32" y="144"/>
                </a:cxn>
                <a:cxn ang="0">
                  <a:pos x="32" y="1573"/>
                </a:cxn>
              </a:cxnLst>
              <a:rect l="0" t="0" r="r" b="b"/>
              <a:pathLst>
                <a:path w="4432" h="1712">
                  <a:moveTo>
                    <a:pt x="0" y="140"/>
                  </a:moveTo>
                  <a:cubicBezTo>
                    <a:pt x="0" y="139"/>
                    <a:pt x="1" y="138"/>
                    <a:pt x="1" y="137"/>
                  </a:cubicBezTo>
                  <a:lnTo>
                    <a:pt x="11" y="89"/>
                  </a:lnTo>
                  <a:cubicBezTo>
                    <a:pt x="11" y="87"/>
                    <a:pt x="12" y="85"/>
                    <a:pt x="13" y="83"/>
                  </a:cubicBezTo>
                  <a:lnTo>
                    <a:pt x="40" y="44"/>
                  </a:lnTo>
                  <a:cubicBezTo>
                    <a:pt x="41" y="43"/>
                    <a:pt x="43" y="41"/>
                    <a:pt x="44" y="40"/>
                  </a:cubicBezTo>
                  <a:lnTo>
                    <a:pt x="83" y="13"/>
                  </a:lnTo>
                  <a:cubicBezTo>
                    <a:pt x="85" y="12"/>
                    <a:pt x="87" y="11"/>
                    <a:pt x="89" y="11"/>
                  </a:cubicBezTo>
                  <a:lnTo>
                    <a:pt x="137" y="1"/>
                  </a:lnTo>
                  <a:cubicBezTo>
                    <a:pt x="138" y="1"/>
                    <a:pt x="139" y="0"/>
                    <a:pt x="140" y="0"/>
                  </a:cubicBezTo>
                  <a:lnTo>
                    <a:pt x="4293" y="0"/>
                  </a:lnTo>
                  <a:cubicBezTo>
                    <a:pt x="4295" y="0"/>
                    <a:pt x="4296" y="1"/>
                    <a:pt x="4297" y="1"/>
                  </a:cubicBezTo>
                  <a:lnTo>
                    <a:pt x="4345" y="11"/>
                  </a:lnTo>
                  <a:cubicBezTo>
                    <a:pt x="4347" y="11"/>
                    <a:pt x="4349" y="12"/>
                    <a:pt x="4351" y="13"/>
                  </a:cubicBezTo>
                  <a:lnTo>
                    <a:pt x="4390" y="40"/>
                  </a:lnTo>
                  <a:cubicBezTo>
                    <a:pt x="4391" y="41"/>
                    <a:pt x="4393" y="43"/>
                    <a:pt x="4394" y="45"/>
                  </a:cubicBezTo>
                  <a:lnTo>
                    <a:pt x="4420" y="84"/>
                  </a:lnTo>
                  <a:cubicBezTo>
                    <a:pt x="4421" y="85"/>
                    <a:pt x="4422" y="87"/>
                    <a:pt x="4422" y="89"/>
                  </a:cubicBezTo>
                  <a:lnTo>
                    <a:pt x="4432" y="137"/>
                  </a:lnTo>
                  <a:cubicBezTo>
                    <a:pt x="4432" y="138"/>
                    <a:pt x="4432" y="139"/>
                    <a:pt x="4432" y="140"/>
                  </a:cubicBezTo>
                  <a:lnTo>
                    <a:pt x="4432" y="1573"/>
                  </a:lnTo>
                  <a:cubicBezTo>
                    <a:pt x="4432" y="1575"/>
                    <a:pt x="4432" y="1576"/>
                    <a:pt x="4432" y="1577"/>
                  </a:cubicBezTo>
                  <a:lnTo>
                    <a:pt x="4422" y="1625"/>
                  </a:lnTo>
                  <a:cubicBezTo>
                    <a:pt x="4422" y="1627"/>
                    <a:pt x="4421" y="1629"/>
                    <a:pt x="4420" y="1630"/>
                  </a:cubicBezTo>
                  <a:lnTo>
                    <a:pt x="4394" y="1669"/>
                  </a:lnTo>
                  <a:cubicBezTo>
                    <a:pt x="4393" y="1671"/>
                    <a:pt x="4391" y="1673"/>
                    <a:pt x="4389" y="1674"/>
                  </a:cubicBezTo>
                  <a:lnTo>
                    <a:pt x="4350" y="1700"/>
                  </a:lnTo>
                  <a:cubicBezTo>
                    <a:pt x="4349" y="1701"/>
                    <a:pt x="4347" y="1702"/>
                    <a:pt x="4345" y="1702"/>
                  </a:cubicBezTo>
                  <a:lnTo>
                    <a:pt x="4297" y="1712"/>
                  </a:lnTo>
                  <a:cubicBezTo>
                    <a:pt x="4296" y="1712"/>
                    <a:pt x="4295" y="1712"/>
                    <a:pt x="4293" y="1712"/>
                  </a:cubicBezTo>
                  <a:lnTo>
                    <a:pt x="140" y="1712"/>
                  </a:lnTo>
                  <a:cubicBezTo>
                    <a:pt x="139" y="1712"/>
                    <a:pt x="138" y="1712"/>
                    <a:pt x="137" y="1712"/>
                  </a:cubicBezTo>
                  <a:lnTo>
                    <a:pt x="89" y="1702"/>
                  </a:lnTo>
                  <a:cubicBezTo>
                    <a:pt x="87" y="1702"/>
                    <a:pt x="85" y="1701"/>
                    <a:pt x="84" y="1700"/>
                  </a:cubicBezTo>
                  <a:lnTo>
                    <a:pt x="45" y="1674"/>
                  </a:lnTo>
                  <a:cubicBezTo>
                    <a:pt x="43" y="1673"/>
                    <a:pt x="41" y="1671"/>
                    <a:pt x="40" y="1670"/>
                  </a:cubicBezTo>
                  <a:lnTo>
                    <a:pt x="13" y="1631"/>
                  </a:lnTo>
                  <a:cubicBezTo>
                    <a:pt x="12" y="1629"/>
                    <a:pt x="11" y="1627"/>
                    <a:pt x="11" y="1625"/>
                  </a:cubicBezTo>
                  <a:lnTo>
                    <a:pt x="1" y="1577"/>
                  </a:lnTo>
                  <a:cubicBezTo>
                    <a:pt x="1" y="1576"/>
                    <a:pt x="0" y="1575"/>
                    <a:pt x="0" y="1573"/>
                  </a:cubicBezTo>
                  <a:lnTo>
                    <a:pt x="0" y="140"/>
                  </a:lnTo>
                  <a:close/>
                  <a:moveTo>
                    <a:pt x="32" y="1573"/>
                  </a:moveTo>
                  <a:lnTo>
                    <a:pt x="32" y="1570"/>
                  </a:lnTo>
                  <a:lnTo>
                    <a:pt x="42" y="1618"/>
                  </a:lnTo>
                  <a:lnTo>
                    <a:pt x="40" y="1612"/>
                  </a:lnTo>
                  <a:lnTo>
                    <a:pt x="67" y="1651"/>
                  </a:lnTo>
                  <a:lnTo>
                    <a:pt x="62" y="1647"/>
                  </a:lnTo>
                  <a:lnTo>
                    <a:pt x="101" y="1673"/>
                  </a:lnTo>
                  <a:lnTo>
                    <a:pt x="96" y="1671"/>
                  </a:lnTo>
                  <a:lnTo>
                    <a:pt x="144" y="1681"/>
                  </a:lnTo>
                  <a:lnTo>
                    <a:pt x="140" y="1680"/>
                  </a:lnTo>
                  <a:lnTo>
                    <a:pt x="4293" y="1680"/>
                  </a:lnTo>
                  <a:lnTo>
                    <a:pt x="4290" y="1681"/>
                  </a:lnTo>
                  <a:lnTo>
                    <a:pt x="4338" y="1671"/>
                  </a:lnTo>
                  <a:lnTo>
                    <a:pt x="4333" y="1673"/>
                  </a:lnTo>
                  <a:lnTo>
                    <a:pt x="4372" y="1647"/>
                  </a:lnTo>
                  <a:lnTo>
                    <a:pt x="4367" y="1652"/>
                  </a:lnTo>
                  <a:lnTo>
                    <a:pt x="4393" y="1613"/>
                  </a:lnTo>
                  <a:lnTo>
                    <a:pt x="4391" y="1618"/>
                  </a:lnTo>
                  <a:lnTo>
                    <a:pt x="4401" y="1570"/>
                  </a:lnTo>
                  <a:lnTo>
                    <a:pt x="4400" y="1573"/>
                  </a:lnTo>
                  <a:lnTo>
                    <a:pt x="4400" y="140"/>
                  </a:lnTo>
                  <a:lnTo>
                    <a:pt x="4401" y="144"/>
                  </a:lnTo>
                  <a:lnTo>
                    <a:pt x="4391" y="96"/>
                  </a:lnTo>
                  <a:lnTo>
                    <a:pt x="4393" y="101"/>
                  </a:lnTo>
                  <a:lnTo>
                    <a:pt x="4367" y="62"/>
                  </a:lnTo>
                  <a:lnTo>
                    <a:pt x="4371" y="67"/>
                  </a:lnTo>
                  <a:lnTo>
                    <a:pt x="4332" y="40"/>
                  </a:lnTo>
                  <a:lnTo>
                    <a:pt x="4338" y="42"/>
                  </a:lnTo>
                  <a:lnTo>
                    <a:pt x="4290" y="32"/>
                  </a:lnTo>
                  <a:lnTo>
                    <a:pt x="4293" y="32"/>
                  </a:lnTo>
                  <a:lnTo>
                    <a:pt x="140" y="32"/>
                  </a:lnTo>
                  <a:lnTo>
                    <a:pt x="144" y="32"/>
                  </a:lnTo>
                  <a:lnTo>
                    <a:pt x="96" y="42"/>
                  </a:lnTo>
                  <a:lnTo>
                    <a:pt x="102" y="40"/>
                  </a:lnTo>
                  <a:lnTo>
                    <a:pt x="63" y="67"/>
                  </a:lnTo>
                  <a:lnTo>
                    <a:pt x="67" y="63"/>
                  </a:lnTo>
                  <a:lnTo>
                    <a:pt x="40" y="102"/>
                  </a:lnTo>
                  <a:lnTo>
                    <a:pt x="42" y="96"/>
                  </a:lnTo>
                  <a:lnTo>
                    <a:pt x="32" y="144"/>
                  </a:lnTo>
                  <a:lnTo>
                    <a:pt x="32" y="140"/>
                  </a:lnTo>
                  <a:lnTo>
                    <a:pt x="32" y="1573"/>
                  </a:lnTo>
                  <a:close/>
                </a:path>
              </a:pathLst>
            </a:custGeom>
            <a:solidFill>
              <a:srgbClr val="E47E1A"/>
            </a:solidFill>
            <a:ln w="0" cap="flat">
              <a:solidFill>
                <a:srgbClr val="E47E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41" name="Rectangle 497"/>
            <p:cNvSpPr>
              <a:spLocks noChangeArrowheads="1"/>
            </p:cNvSpPr>
            <p:nvPr/>
          </p:nvSpPr>
          <p:spPr bwMode="auto">
            <a:xfrm>
              <a:off x="484" y="2524"/>
              <a:ext cx="380" cy="10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smtClean="0">
                  <a:ln>
                    <a:noFill/>
                  </a:ln>
                  <a:solidFill>
                    <a:srgbClr val="ED771A"/>
                  </a:solidFill>
                  <a:effectLst/>
                  <a:latin typeface="Arial" pitchFamily="34" charset="0"/>
                  <a:cs typeface="Arial" pitchFamily="34" charset="0"/>
                </a:rPr>
                <a:t>Legend</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83442" name="Rectangle 498"/>
            <p:cNvSpPr>
              <a:spLocks noChangeArrowheads="1"/>
            </p:cNvSpPr>
            <p:nvPr/>
          </p:nvSpPr>
          <p:spPr bwMode="auto">
            <a:xfrm>
              <a:off x="781" y="2524"/>
              <a:ext cx="79" cy="10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smtClean="0">
                  <a:ln>
                    <a:noFill/>
                  </a:ln>
                  <a:solidFill>
                    <a:srgbClr val="ED771A"/>
                  </a:solidFill>
                  <a:effectLst/>
                  <a:latin typeface="Arial" pitchFamily="34" charset="0"/>
                  <a:cs typeface="Arial" pitchFamily="34" charset="0"/>
                </a:rPr>
                <a: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83443" name="Rectangle 499"/>
            <p:cNvSpPr>
              <a:spLocks noChangeArrowheads="1"/>
            </p:cNvSpPr>
            <p:nvPr/>
          </p:nvSpPr>
          <p:spPr bwMode="auto">
            <a:xfrm>
              <a:off x="549" y="2604"/>
              <a:ext cx="431" cy="10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smtClean="0">
                  <a:ln>
                    <a:noFill/>
                  </a:ln>
                  <a:solidFill>
                    <a:srgbClr val="000000"/>
                  </a:solidFill>
                  <a:effectLst/>
                  <a:latin typeface="Arial" pitchFamily="34" charset="0"/>
                  <a:cs typeface="Arial" pitchFamily="34" charset="0"/>
                </a:rPr>
                <a:t>Onshore</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83444" name="Rectangle 500"/>
            <p:cNvSpPr>
              <a:spLocks noChangeArrowheads="1"/>
            </p:cNvSpPr>
            <p:nvPr/>
          </p:nvSpPr>
          <p:spPr bwMode="auto">
            <a:xfrm>
              <a:off x="549" y="2685"/>
              <a:ext cx="436" cy="10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smtClean="0">
                  <a:ln>
                    <a:noFill/>
                  </a:ln>
                  <a:solidFill>
                    <a:srgbClr val="000000"/>
                  </a:solidFill>
                  <a:effectLst/>
                  <a:latin typeface="Arial" pitchFamily="34" charset="0"/>
                  <a:cs typeface="Arial" pitchFamily="34" charset="0"/>
                </a:rPr>
                <a:t>Offshore</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83445" name="Picture 501"/>
            <p:cNvPicPr>
              <a:picLocks noChangeAspect="1" noChangeArrowheads="1"/>
            </p:cNvPicPr>
            <p:nvPr/>
          </p:nvPicPr>
          <p:blipFill>
            <a:blip r:embed="rId8" cstate="print"/>
            <a:srcRect/>
            <a:stretch>
              <a:fillRect/>
            </a:stretch>
          </p:blipFill>
          <p:spPr bwMode="auto">
            <a:xfrm>
              <a:off x="388" y="2581"/>
              <a:ext cx="153" cy="128"/>
            </a:xfrm>
            <a:prstGeom prst="rect">
              <a:avLst/>
            </a:prstGeom>
            <a:noFill/>
            <a:ln w="9525">
              <a:noFill/>
              <a:miter lim="800000"/>
              <a:headEnd/>
              <a:tailEnd/>
            </a:ln>
          </p:spPr>
        </p:pic>
        <p:pic>
          <p:nvPicPr>
            <p:cNvPr id="83446" name="Picture 502"/>
            <p:cNvPicPr>
              <a:picLocks noChangeAspect="1" noChangeArrowheads="1"/>
            </p:cNvPicPr>
            <p:nvPr/>
          </p:nvPicPr>
          <p:blipFill>
            <a:blip r:embed="rId9" cstate="print"/>
            <a:srcRect/>
            <a:stretch>
              <a:fillRect/>
            </a:stretch>
          </p:blipFill>
          <p:spPr bwMode="auto">
            <a:xfrm>
              <a:off x="388" y="2581"/>
              <a:ext cx="153" cy="128"/>
            </a:xfrm>
            <a:prstGeom prst="rect">
              <a:avLst/>
            </a:prstGeom>
            <a:noFill/>
            <a:ln w="9525">
              <a:noFill/>
              <a:miter lim="800000"/>
              <a:headEnd/>
              <a:tailEnd/>
            </a:ln>
          </p:spPr>
        </p:pic>
        <p:pic>
          <p:nvPicPr>
            <p:cNvPr id="83447" name="Picture 503"/>
            <p:cNvPicPr>
              <a:picLocks noChangeAspect="1" noChangeArrowheads="1"/>
            </p:cNvPicPr>
            <p:nvPr/>
          </p:nvPicPr>
          <p:blipFill>
            <a:blip r:embed="rId10" cstate="print"/>
            <a:srcRect/>
            <a:stretch>
              <a:fillRect/>
            </a:stretch>
          </p:blipFill>
          <p:spPr bwMode="auto">
            <a:xfrm>
              <a:off x="384" y="2673"/>
              <a:ext cx="157" cy="128"/>
            </a:xfrm>
            <a:prstGeom prst="rect">
              <a:avLst/>
            </a:prstGeom>
            <a:noFill/>
            <a:ln w="9525">
              <a:noFill/>
              <a:miter lim="800000"/>
              <a:headEnd/>
              <a:tailEnd/>
            </a:ln>
          </p:spPr>
        </p:pic>
        <p:pic>
          <p:nvPicPr>
            <p:cNvPr id="83448" name="Picture 504"/>
            <p:cNvPicPr>
              <a:picLocks noChangeAspect="1" noChangeArrowheads="1"/>
            </p:cNvPicPr>
            <p:nvPr/>
          </p:nvPicPr>
          <p:blipFill>
            <a:blip r:embed="rId11" cstate="print"/>
            <a:srcRect/>
            <a:stretch>
              <a:fillRect/>
            </a:stretch>
          </p:blipFill>
          <p:spPr bwMode="auto">
            <a:xfrm>
              <a:off x="384" y="2673"/>
              <a:ext cx="157" cy="128"/>
            </a:xfrm>
            <a:prstGeom prst="rect">
              <a:avLst/>
            </a:prstGeom>
            <a:noFill/>
            <a:ln w="9525">
              <a:noFill/>
              <a:miter lim="800000"/>
              <a:headEnd/>
              <a:tailEnd/>
            </a:ln>
          </p:spPr>
        </p:pic>
        <p:sp>
          <p:nvSpPr>
            <p:cNvPr id="83449" name="Rectangle 505"/>
            <p:cNvSpPr>
              <a:spLocks noChangeArrowheads="1"/>
            </p:cNvSpPr>
            <p:nvPr/>
          </p:nvSpPr>
          <p:spPr bwMode="auto">
            <a:xfrm>
              <a:off x="1576" y="1507"/>
              <a:ext cx="255" cy="10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000000"/>
                  </a:solidFill>
                  <a:effectLst/>
                  <a:latin typeface="Arial" pitchFamily="34" charset="0"/>
                  <a:cs typeface="Arial" pitchFamily="34" charset="0"/>
                </a:rPr>
                <a:t>USA</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83450" name="Freeform 506"/>
            <p:cNvSpPr>
              <a:spLocks/>
            </p:cNvSpPr>
            <p:nvPr/>
          </p:nvSpPr>
          <p:spPr bwMode="auto">
            <a:xfrm>
              <a:off x="1507" y="624"/>
              <a:ext cx="1438" cy="787"/>
            </a:xfrm>
            <a:custGeom>
              <a:avLst/>
              <a:gdLst/>
              <a:ahLst/>
              <a:cxnLst>
                <a:cxn ang="0">
                  <a:pos x="0" y="574"/>
                </a:cxn>
                <a:cxn ang="0">
                  <a:pos x="574" y="0"/>
                </a:cxn>
                <a:cxn ang="0">
                  <a:pos x="574" y="0"/>
                </a:cxn>
                <a:cxn ang="0">
                  <a:pos x="574" y="0"/>
                </a:cxn>
                <a:cxn ang="0">
                  <a:pos x="4387" y="0"/>
                </a:cxn>
                <a:cxn ang="0">
                  <a:pos x="4387" y="0"/>
                </a:cxn>
                <a:cxn ang="0">
                  <a:pos x="4960" y="574"/>
                </a:cxn>
                <a:cxn ang="0">
                  <a:pos x="4960" y="574"/>
                </a:cxn>
                <a:cxn ang="0">
                  <a:pos x="4960" y="574"/>
                </a:cxn>
                <a:cxn ang="0">
                  <a:pos x="4960" y="2867"/>
                </a:cxn>
                <a:cxn ang="0">
                  <a:pos x="4960" y="2867"/>
                </a:cxn>
                <a:cxn ang="0">
                  <a:pos x="4387" y="3440"/>
                </a:cxn>
                <a:cxn ang="0">
                  <a:pos x="4387" y="3440"/>
                </a:cxn>
                <a:cxn ang="0">
                  <a:pos x="4387" y="3440"/>
                </a:cxn>
                <a:cxn ang="0">
                  <a:pos x="574" y="3440"/>
                </a:cxn>
                <a:cxn ang="0">
                  <a:pos x="574" y="3440"/>
                </a:cxn>
                <a:cxn ang="0">
                  <a:pos x="0" y="2867"/>
                </a:cxn>
                <a:cxn ang="0">
                  <a:pos x="0" y="2867"/>
                </a:cxn>
                <a:cxn ang="0">
                  <a:pos x="0" y="574"/>
                </a:cxn>
              </a:cxnLst>
              <a:rect l="0" t="0" r="r" b="b"/>
              <a:pathLst>
                <a:path w="4960" h="3440">
                  <a:moveTo>
                    <a:pt x="0" y="574"/>
                  </a:moveTo>
                  <a:cubicBezTo>
                    <a:pt x="0" y="257"/>
                    <a:pt x="257" y="0"/>
                    <a:pt x="574" y="0"/>
                  </a:cubicBezTo>
                  <a:cubicBezTo>
                    <a:pt x="574" y="0"/>
                    <a:pt x="574" y="0"/>
                    <a:pt x="574" y="0"/>
                  </a:cubicBezTo>
                  <a:lnTo>
                    <a:pt x="574" y="0"/>
                  </a:lnTo>
                  <a:lnTo>
                    <a:pt x="4387" y="0"/>
                  </a:lnTo>
                  <a:lnTo>
                    <a:pt x="4387" y="0"/>
                  </a:lnTo>
                  <a:cubicBezTo>
                    <a:pt x="4704" y="0"/>
                    <a:pt x="4960" y="257"/>
                    <a:pt x="4960" y="574"/>
                  </a:cubicBezTo>
                  <a:cubicBezTo>
                    <a:pt x="4960" y="574"/>
                    <a:pt x="4960" y="574"/>
                    <a:pt x="4960" y="574"/>
                  </a:cubicBezTo>
                  <a:lnTo>
                    <a:pt x="4960" y="574"/>
                  </a:lnTo>
                  <a:lnTo>
                    <a:pt x="4960" y="2867"/>
                  </a:lnTo>
                  <a:lnTo>
                    <a:pt x="4960" y="2867"/>
                  </a:lnTo>
                  <a:cubicBezTo>
                    <a:pt x="4960" y="3184"/>
                    <a:pt x="4704" y="3440"/>
                    <a:pt x="4387" y="3440"/>
                  </a:cubicBezTo>
                  <a:cubicBezTo>
                    <a:pt x="4387" y="3440"/>
                    <a:pt x="4387" y="3440"/>
                    <a:pt x="4387" y="3440"/>
                  </a:cubicBezTo>
                  <a:lnTo>
                    <a:pt x="4387" y="3440"/>
                  </a:lnTo>
                  <a:lnTo>
                    <a:pt x="574" y="3440"/>
                  </a:lnTo>
                  <a:lnTo>
                    <a:pt x="574" y="3440"/>
                  </a:lnTo>
                  <a:cubicBezTo>
                    <a:pt x="257" y="3440"/>
                    <a:pt x="0" y="3184"/>
                    <a:pt x="0" y="2867"/>
                  </a:cubicBezTo>
                  <a:cubicBezTo>
                    <a:pt x="0" y="2867"/>
                    <a:pt x="0" y="2867"/>
                    <a:pt x="0" y="2867"/>
                  </a:cubicBezTo>
                  <a:lnTo>
                    <a:pt x="0" y="574"/>
                  </a:lnTo>
                  <a:close/>
                </a:path>
              </a:pathLst>
            </a:custGeom>
            <a:solidFill>
              <a:srgbClr val="F2F2F2"/>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51" name="Freeform 507"/>
            <p:cNvSpPr>
              <a:spLocks noEditPoints="1"/>
            </p:cNvSpPr>
            <p:nvPr/>
          </p:nvSpPr>
          <p:spPr bwMode="auto">
            <a:xfrm>
              <a:off x="1500" y="619"/>
              <a:ext cx="1452" cy="797"/>
            </a:xfrm>
            <a:custGeom>
              <a:avLst/>
              <a:gdLst/>
              <a:ahLst/>
              <a:cxnLst>
                <a:cxn ang="0">
                  <a:pos x="13" y="479"/>
                </a:cxn>
                <a:cxn ang="0">
                  <a:pos x="48" y="364"/>
                </a:cxn>
                <a:cxn ang="0">
                  <a:pos x="174" y="177"/>
                </a:cxn>
                <a:cxn ang="0">
                  <a:pos x="266" y="101"/>
                </a:cxn>
                <a:cxn ang="0">
                  <a:pos x="475" y="14"/>
                </a:cxn>
                <a:cxn ang="0">
                  <a:pos x="597" y="0"/>
                </a:cxn>
                <a:cxn ang="0">
                  <a:pos x="4531" y="13"/>
                </a:cxn>
                <a:cxn ang="0">
                  <a:pos x="4646" y="48"/>
                </a:cxn>
                <a:cxn ang="0">
                  <a:pos x="4832" y="174"/>
                </a:cxn>
                <a:cxn ang="0">
                  <a:pos x="4908" y="266"/>
                </a:cxn>
                <a:cxn ang="0">
                  <a:pos x="4995" y="475"/>
                </a:cxn>
                <a:cxn ang="0">
                  <a:pos x="5008" y="2891"/>
                </a:cxn>
                <a:cxn ang="0">
                  <a:pos x="4962" y="3122"/>
                </a:cxn>
                <a:cxn ang="0">
                  <a:pos x="4905" y="3228"/>
                </a:cxn>
                <a:cxn ang="0">
                  <a:pos x="4748" y="3385"/>
                </a:cxn>
                <a:cxn ang="0">
                  <a:pos x="4642" y="3442"/>
                </a:cxn>
                <a:cxn ang="0">
                  <a:pos x="4414" y="3488"/>
                </a:cxn>
                <a:cxn ang="0">
                  <a:pos x="475" y="3475"/>
                </a:cxn>
                <a:cxn ang="0">
                  <a:pos x="266" y="3388"/>
                </a:cxn>
                <a:cxn ang="0">
                  <a:pos x="174" y="3312"/>
                </a:cxn>
                <a:cxn ang="0">
                  <a:pos x="48" y="3126"/>
                </a:cxn>
                <a:cxn ang="0">
                  <a:pos x="13" y="3011"/>
                </a:cxn>
                <a:cxn ang="0">
                  <a:pos x="0" y="598"/>
                </a:cxn>
                <a:cxn ang="0">
                  <a:pos x="60" y="3004"/>
                </a:cxn>
                <a:cxn ang="0">
                  <a:pos x="91" y="3103"/>
                </a:cxn>
                <a:cxn ang="0">
                  <a:pos x="211" y="3281"/>
                </a:cxn>
                <a:cxn ang="0">
                  <a:pos x="289" y="3345"/>
                </a:cxn>
                <a:cxn ang="0">
                  <a:pos x="490" y="3430"/>
                </a:cxn>
                <a:cxn ang="0">
                  <a:pos x="4409" y="3441"/>
                </a:cxn>
                <a:cxn ang="0">
                  <a:pos x="4627" y="3397"/>
                </a:cxn>
                <a:cxn ang="0">
                  <a:pos x="4717" y="3348"/>
                </a:cxn>
                <a:cxn ang="0">
                  <a:pos x="4868" y="3197"/>
                </a:cxn>
                <a:cxn ang="0">
                  <a:pos x="4917" y="3107"/>
                </a:cxn>
                <a:cxn ang="0">
                  <a:pos x="4960" y="2891"/>
                </a:cxn>
                <a:cxn ang="0">
                  <a:pos x="4950" y="490"/>
                </a:cxn>
                <a:cxn ang="0">
                  <a:pos x="4865" y="289"/>
                </a:cxn>
                <a:cxn ang="0">
                  <a:pos x="4801" y="211"/>
                </a:cxn>
                <a:cxn ang="0">
                  <a:pos x="4623" y="91"/>
                </a:cxn>
                <a:cxn ang="0">
                  <a:pos x="4524" y="60"/>
                </a:cxn>
                <a:cxn ang="0">
                  <a:pos x="600" y="48"/>
                </a:cxn>
                <a:cxn ang="0">
                  <a:pos x="490" y="59"/>
                </a:cxn>
                <a:cxn ang="0">
                  <a:pos x="289" y="144"/>
                </a:cxn>
                <a:cxn ang="0">
                  <a:pos x="211" y="208"/>
                </a:cxn>
                <a:cxn ang="0">
                  <a:pos x="91" y="387"/>
                </a:cxn>
                <a:cxn ang="0">
                  <a:pos x="60" y="486"/>
                </a:cxn>
                <a:cxn ang="0">
                  <a:pos x="48" y="2890"/>
                </a:cxn>
              </a:cxnLst>
              <a:rect l="0" t="0" r="r" b="b"/>
              <a:pathLst>
                <a:path w="5008" h="3488">
                  <a:moveTo>
                    <a:pt x="0" y="598"/>
                  </a:moveTo>
                  <a:lnTo>
                    <a:pt x="3" y="538"/>
                  </a:lnTo>
                  <a:lnTo>
                    <a:pt x="13" y="479"/>
                  </a:lnTo>
                  <a:cubicBezTo>
                    <a:pt x="13" y="478"/>
                    <a:pt x="13" y="476"/>
                    <a:pt x="14" y="475"/>
                  </a:cubicBezTo>
                  <a:lnTo>
                    <a:pt x="47" y="368"/>
                  </a:lnTo>
                  <a:cubicBezTo>
                    <a:pt x="47" y="367"/>
                    <a:pt x="48" y="365"/>
                    <a:pt x="48" y="364"/>
                  </a:cubicBezTo>
                  <a:lnTo>
                    <a:pt x="101" y="266"/>
                  </a:lnTo>
                  <a:cubicBezTo>
                    <a:pt x="102" y="265"/>
                    <a:pt x="103" y="263"/>
                    <a:pt x="104" y="262"/>
                  </a:cubicBezTo>
                  <a:lnTo>
                    <a:pt x="174" y="177"/>
                  </a:lnTo>
                  <a:cubicBezTo>
                    <a:pt x="175" y="176"/>
                    <a:pt x="176" y="175"/>
                    <a:pt x="177" y="174"/>
                  </a:cubicBezTo>
                  <a:lnTo>
                    <a:pt x="262" y="104"/>
                  </a:lnTo>
                  <a:cubicBezTo>
                    <a:pt x="263" y="103"/>
                    <a:pt x="265" y="102"/>
                    <a:pt x="266" y="101"/>
                  </a:cubicBezTo>
                  <a:lnTo>
                    <a:pt x="364" y="48"/>
                  </a:lnTo>
                  <a:cubicBezTo>
                    <a:pt x="365" y="48"/>
                    <a:pt x="367" y="47"/>
                    <a:pt x="368" y="47"/>
                  </a:cubicBezTo>
                  <a:lnTo>
                    <a:pt x="475" y="14"/>
                  </a:lnTo>
                  <a:cubicBezTo>
                    <a:pt x="476" y="13"/>
                    <a:pt x="478" y="13"/>
                    <a:pt x="479" y="13"/>
                  </a:cubicBezTo>
                  <a:lnTo>
                    <a:pt x="536" y="4"/>
                  </a:lnTo>
                  <a:lnTo>
                    <a:pt x="597" y="0"/>
                  </a:lnTo>
                  <a:lnTo>
                    <a:pt x="4411" y="0"/>
                  </a:lnTo>
                  <a:lnTo>
                    <a:pt x="4472" y="3"/>
                  </a:lnTo>
                  <a:lnTo>
                    <a:pt x="4531" y="13"/>
                  </a:lnTo>
                  <a:cubicBezTo>
                    <a:pt x="4532" y="13"/>
                    <a:pt x="4533" y="13"/>
                    <a:pt x="4535" y="14"/>
                  </a:cubicBezTo>
                  <a:lnTo>
                    <a:pt x="4642" y="47"/>
                  </a:lnTo>
                  <a:cubicBezTo>
                    <a:pt x="4643" y="47"/>
                    <a:pt x="4644" y="48"/>
                    <a:pt x="4646" y="48"/>
                  </a:cubicBezTo>
                  <a:lnTo>
                    <a:pt x="4744" y="101"/>
                  </a:lnTo>
                  <a:cubicBezTo>
                    <a:pt x="4745" y="102"/>
                    <a:pt x="4747" y="103"/>
                    <a:pt x="4748" y="104"/>
                  </a:cubicBezTo>
                  <a:lnTo>
                    <a:pt x="4832" y="174"/>
                  </a:lnTo>
                  <a:cubicBezTo>
                    <a:pt x="4833" y="175"/>
                    <a:pt x="4834" y="176"/>
                    <a:pt x="4835" y="177"/>
                  </a:cubicBezTo>
                  <a:lnTo>
                    <a:pt x="4905" y="262"/>
                  </a:lnTo>
                  <a:cubicBezTo>
                    <a:pt x="4906" y="263"/>
                    <a:pt x="4907" y="265"/>
                    <a:pt x="4908" y="266"/>
                  </a:cubicBezTo>
                  <a:lnTo>
                    <a:pt x="4961" y="364"/>
                  </a:lnTo>
                  <a:cubicBezTo>
                    <a:pt x="4961" y="365"/>
                    <a:pt x="4962" y="367"/>
                    <a:pt x="4962" y="368"/>
                  </a:cubicBezTo>
                  <a:lnTo>
                    <a:pt x="4995" y="475"/>
                  </a:lnTo>
                  <a:cubicBezTo>
                    <a:pt x="4996" y="477"/>
                    <a:pt x="4996" y="478"/>
                    <a:pt x="4996" y="480"/>
                  </a:cubicBezTo>
                  <a:lnTo>
                    <a:pt x="5008" y="596"/>
                  </a:lnTo>
                  <a:lnTo>
                    <a:pt x="5008" y="2891"/>
                  </a:lnTo>
                  <a:lnTo>
                    <a:pt x="4996" y="3010"/>
                  </a:lnTo>
                  <a:cubicBezTo>
                    <a:pt x="4996" y="3011"/>
                    <a:pt x="4996" y="3013"/>
                    <a:pt x="4995" y="3015"/>
                  </a:cubicBezTo>
                  <a:lnTo>
                    <a:pt x="4962" y="3122"/>
                  </a:lnTo>
                  <a:cubicBezTo>
                    <a:pt x="4962" y="3123"/>
                    <a:pt x="4961" y="3125"/>
                    <a:pt x="4961" y="3126"/>
                  </a:cubicBezTo>
                  <a:lnTo>
                    <a:pt x="4908" y="3224"/>
                  </a:lnTo>
                  <a:cubicBezTo>
                    <a:pt x="4907" y="3225"/>
                    <a:pt x="4906" y="3227"/>
                    <a:pt x="4905" y="3228"/>
                  </a:cubicBezTo>
                  <a:lnTo>
                    <a:pt x="4835" y="3312"/>
                  </a:lnTo>
                  <a:cubicBezTo>
                    <a:pt x="4834" y="3313"/>
                    <a:pt x="4833" y="3314"/>
                    <a:pt x="4832" y="3315"/>
                  </a:cubicBezTo>
                  <a:lnTo>
                    <a:pt x="4748" y="3385"/>
                  </a:lnTo>
                  <a:cubicBezTo>
                    <a:pt x="4747" y="3386"/>
                    <a:pt x="4745" y="3387"/>
                    <a:pt x="4744" y="3388"/>
                  </a:cubicBezTo>
                  <a:lnTo>
                    <a:pt x="4646" y="3441"/>
                  </a:lnTo>
                  <a:cubicBezTo>
                    <a:pt x="4644" y="3441"/>
                    <a:pt x="4643" y="3442"/>
                    <a:pt x="4642" y="3442"/>
                  </a:cubicBezTo>
                  <a:lnTo>
                    <a:pt x="4535" y="3475"/>
                  </a:lnTo>
                  <a:cubicBezTo>
                    <a:pt x="4533" y="3476"/>
                    <a:pt x="4531" y="3476"/>
                    <a:pt x="4530" y="3476"/>
                  </a:cubicBezTo>
                  <a:lnTo>
                    <a:pt x="4414" y="3488"/>
                  </a:lnTo>
                  <a:lnTo>
                    <a:pt x="598" y="3488"/>
                  </a:lnTo>
                  <a:lnTo>
                    <a:pt x="480" y="3476"/>
                  </a:lnTo>
                  <a:cubicBezTo>
                    <a:pt x="478" y="3476"/>
                    <a:pt x="477" y="3476"/>
                    <a:pt x="475" y="3475"/>
                  </a:cubicBezTo>
                  <a:lnTo>
                    <a:pt x="368" y="3442"/>
                  </a:lnTo>
                  <a:cubicBezTo>
                    <a:pt x="367" y="3442"/>
                    <a:pt x="365" y="3441"/>
                    <a:pt x="364" y="3441"/>
                  </a:cubicBezTo>
                  <a:lnTo>
                    <a:pt x="266" y="3388"/>
                  </a:lnTo>
                  <a:cubicBezTo>
                    <a:pt x="265" y="3387"/>
                    <a:pt x="263" y="3386"/>
                    <a:pt x="262" y="3385"/>
                  </a:cubicBezTo>
                  <a:lnTo>
                    <a:pt x="177" y="3315"/>
                  </a:lnTo>
                  <a:cubicBezTo>
                    <a:pt x="176" y="3314"/>
                    <a:pt x="175" y="3313"/>
                    <a:pt x="174" y="3312"/>
                  </a:cubicBezTo>
                  <a:lnTo>
                    <a:pt x="104" y="3228"/>
                  </a:lnTo>
                  <a:cubicBezTo>
                    <a:pt x="103" y="3227"/>
                    <a:pt x="102" y="3225"/>
                    <a:pt x="101" y="3224"/>
                  </a:cubicBezTo>
                  <a:lnTo>
                    <a:pt x="48" y="3126"/>
                  </a:lnTo>
                  <a:cubicBezTo>
                    <a:pt x="48" y="3125"/>
                    <a:pt x="47" y="3123"/>
                    <a:pt x="47" y="3122"/>
                  </a:cubicBezTo>
                  <a:lnTo>
                    <a:pt x="14" y="3015"/>
                  </a:lnTo>
                  <a:cubicBezTo>
                    <a:pt x="13" y="3013"/>
                    <a:pt x="13" y="3012"/>
                    <a:pt x="13" y="3011"/>
                  </a:cubicBezTo>
                  <a:lnTo>
                    <a:pt x="4" y="2954"/>
                  </a:lnTo>
                  <a:lnTo>
                    <a:pt x="0" y="2893"/>
                  </a:lnTo>
                  <a:lnTo>
                    <a:pt x="0" y="598"/>
                  </a:lnTo>
                  <a:close/>
                  <a:moveTo>
                    <a:pt x="48" y="2890"/>
                  </a:moveTo>
                  <a:lnTo>
                    <a:pt x="51" y="2947"/>
                  </a:lnTo>
                  <a:lnTo>
                    <a:pt x="60" y="3004"/>
                  </a:lnTo>
                  <a:lnTo>
                    <a:pt x="59" y="3000"/>
                  </a:lnTo>
                  <a:lnTo>
                    <a:pt x="92" y="3107"/>
                  </a:lnTo>
                  <a:lnTo>
                    <a:pt x="91" y="3103"/>
                  </a:lnTo>
                  <a:lnTo>
                    <a:pt x="144" y="3201"/>
                  </a:lnTo>
                  <a:lnTo>
                    <a:pt x="141" y="3197"/>
                  </a:lnTo>
                  <a:lnTo>
                    <a:pt x="211" y="3281"/>
                  </a:lnTo>
                  <a:lnTo>
                    <a:pt x="208" y="3278"/>
                  </a:lnTo>
                  <a:lnTo>
                    <a:pt x="293" y="3348"/>
                  </a:lnTo>
                  <a:lnTo>
                    <a:pt x="289" y="3345"/>
                  </a:lnTo>
                  <a:lnTo>
                    <a:pt x="387" y="3398"/>
                  </a:lnTo>
                  <a:lnTo>
                    <a:pt x="383" y="3397"/>
                  </a:lnTo>
                  <a:lnTo>
                    <a:pt x="490" y="3430"/>
                  </a:lnTo>
                  <a:lnTo>
                    <a:pt x="485" y="3429"/>
                  </a:lnTo>
                  <a:lnTo>
                    <a:pt x="598" y="3440"/>
                  </a:lnTo>
                  <a:lnTo>
                    <a:pt x="4409" y="3441"/>
                  </a:lnTo>
                  <a:lnTo>
                    <a:pt x="4525" y="3429"/>
                  </a:lnTo>
                  <a:lnTo>
                    <a:pt x="4520" y="3430"/>
                  </a:lnTo>
                  <a:lnTo>
                    <a:pt x="4627" y="3397"/>
                  </a:lnTo>
                  <a:lnTo>
                    <a:pt x="4623" y="3398"/>
                  </a:lnTo>
                  <a:lnTo>
                    <a:pt x="4721" y="3345"/>
                  </a:lnTo>
                  <a:lnTo>
                    <a:pt x="4717" y="3348"/>
                  </a:lnTo>
                  <a:lnTo>
                    <a:pt x="4801" y="3278"/>
                  </a:lnTo>
                  <a:lnTo>
                    <a:pt x="4798" y="3281"/>
                  </a:lnTo>
                  <a:lnTo>
                    <a:pt x="4868" y="3197"/>
                  </a:lnTo>
                  <a:lnTo>
                    <a:pt x="4865" y="3201"/>
                  </a:lnTo>
                  <a:lnTo>
                    <a:pt x="4918" y="3103"/>
                  </a:lnTo>
                  <a:lnTo>
                    <a:pt x="4917" y="3107"/>
                  </a:lnTo>
                  <a:lnTo>
                    <a:pt x="4950" y="3000"/>
                  </a:lnTo>
                  <a:lnTo>
                    <a:pt x="4949" y="3005"/>
                  </a:lnTo>
                  <a:lnTo>
                    <a:pt x="4960" y="2891"/>
                  </a:lnTo>
                  <a:lnTo>
                    <a:pt x="4961" y="601"/>
                  </a:lnTo>
                  <a:lnTo>
                    <a:pt x="4949" y="485"/>
                  </a:lnTo>
                  <a:lnTo>
                    <a:pt x="4950" y="490"/>
                  </a:lnTo>
                  <a:lnTo>
                    <a:pt x="4917" y="383"/>
                  </a:lnTo>
                  <a:lnTo>
                    <a:pt x="4918" y="387"/>
                  </a:lnTo>
                  <a:lnTo>
                    <a:pt x="4865" y="289"/>
                  </a:lnTo>
                  <a:lnTo>
                    <a:pt x="4868" y="293"/>
                  </a:lnTo>
                  <a:lnTo>
                    <a:pt x="4798" y="208"/>
                  </a:lnTo>
                  <a:lnTo>
                    <a:pt x="4801" y="211"/>
                  </a:lnTo>
                  <a:lnTo>
                    <a:pt x="4717" y="141"/>
                  </a:lnTo>
                  <a:lnTo>
                    <a:pt x="4721" y="144"/>
                  </a:lnTo>
                  <a:lnTo>
                    <a:pt x="4623" y="91"/>
                  </a:lnTo>
                  <a:lnTo>
                    <a:pt x="4627" y="92"/>
                  </a:lnTo>
                  <a:lnTo>
                    <a:pt x="4520" y="59"/>
                  </a:lnTo>
                  <a:lnTo>
                    <a:pt x="4524" y="60"/>
                  </a:lnTo>
                  <a:lnTo>
                    <a:pt x="4469" y="51"/>
                  </a:lnTo>
                  <a:lnTo>
                    <a:pt x="4411" y="48"/>
                  </a:lnTo>
                  <a:lnTo>
                    <a:pt x="600" y="48"/>
                  </a:lnTo>
                  <a:lnTo>
                    <a:pt x="543" y="51"/>
                  </a:lnTo>
                  <a:lnTo>
                    <a:pt x="486" y="60"/>
                  </a:lnTo>
                  <a:lnTo>
                    <a:pt x="490" y="59"/>
                  </a:lnTo>
                  <a:lnTo>
                    <a:pt x="383" y="92"/>
                  </a:lnTo>
                  <a:lnTo>
                    <a:pt x="387" y="91"/>
                  </a:lnTo>
                  <a:lnTo>
                    <a:pt x="289" y="144"/>
                  </a:lnTo>
                  <a:lnTo>
                    <a:pt x="293" y="141"/>
                  </a:lnTo>
                  <a:lnTo>
                    <a:pt x="208" y="211"/>
                  </a:lnTo>
                  <a:lnTo>
                    <a:pt x="211" y="208"/>
                  </a:lnTo>
                  <a:lnTo>
                    <a:pt x="141" y="293"/>
                  </a:lnTo>
                  <a:lnTo>
                    <a:pt x="144" y="289"/>
                  </a:lnTo>
                  <a:lnTo>
                    <a:pt x="91" y="387"/>
                  </a:lnTo>
                  <a:lnTo>
                    <a:pt x="92" y="383"/>
                  </a:lnTo>
                  <a:lnTo>
                    <a:pt x="59" y="490"/>
                  </a:lnTo>
                  <a:lnTo>
                    <a:pt x="60" y="486"/>
                  </a:lnTo>
                  <a:lnTo>
                    <a:pt x="51" y="541"/>
                  </a:lnTo>
                  <a:lnTo>
                    <a:pt x="48" y="598"/>
                  </a:lnTo>
                  <a:lnTo>
                    <a:pt x="48" y="2890"/>
                  </a:lnTo>
                  <a:close/>
                </a:path>
              </a:pathLst>
            </a:custGeom>
            <a:solidFill>
              <a:srgbClr val="969696"/>
            </a:solidFill>
            <a:ln w="0" cap="flat">
              <a:solidFill>
                <a:srgbClr val="96969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52" name="Rectangle 508"/>
            <p:cNvSpPr>
              <a:spLocks noChangeArrowheads="1"/>
            </p:cNvSpPr>
            <p:nvPr/>
          </p:nvSpPr>
          <p:spPr bwMode="auto">
            <a:xfrm>
              <a:off x="1611" y="863"/>
              <a:ext cx="74" cy="9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4B4B4B"/>
                  </a:solidFill>
                  <a:effectLst/>
                  <a:latin typeface="Arial" pitchFamily="34" charset="0"/>
                  <a:cs typeface="Arial" pitchFamily="34" charset="0"/>
                </a:rPr>
                <a: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83453" name="Rectangle 509"/>
            <p:cNvSpPr>
              <a:spLocks noChangeArrowheads="1"/>
            </p:cNvSpPr>
            <p:nvPr/>
          </p:nvSpPr>
          <p:spPr bwMode="auto">
            <a:xfrm>
              <a:off x="1639" y="863"/>
              <a:ext cx="956" cy="9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4B4B4B"/>
                  </a:solidFill>
                  <a:effectLst/>
                  <a:latin typeface="Arial" pitchFamily="34" charset="0"/>
                  <a:cs typeface="Arial" pitchFamily="34" charset="0"/>
                </a:rPr>
                <a:t>Onshore Coordination</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83454" name="Rectangle 510"/>
            <p:cNvSpPr>
              <a:spLocks noChangeArrowheads="1"/>
            </p:cNvSpPr>
            <p:nvPr/>
          </p:nvSpPr>
          <p:spPr bwMode="auto">
            <a:xfrm>
              <a:off x="1611" y="945"/>
              <a:ext cx="74" cy="9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4B4B4B"/>
                  </a:solidFill>
                  <a:effectLst/>
                  <a:latin typeface="Arial" pitchFamily="34" charset="0"/>
                  <a:cs typeface="Arial" pitchFamily="34" charset="0"/>
                </a:rPr>
                <a: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83455" name="Rectangle 511"/>
            <p:cNvSpPr>
              <a:spLocks noChangeArrowheads="1"/>
            </p:cNvSpPr>
            <p:nvPr/>
          </p:nvSpPr>
          <p:spPr bwMode="auto">
            <a:xfrm>
              <a:off x="1639" y="945"/>
              <a:ext cx="622" cy="9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rgbClr val="4B4B4B"/>
                  </a:solidFill>
                  <a:effectLst/>
                  <a:latin typeface="Arial" pitchFamily="34" charset="0"/>
                  <a:cs typeface="Arial" pitchFamily="34" charset="0"/>
                </a:rPr>
                <a:t>Interface with </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3456" name="Rectangle 512"/>
            <p:cNvSpPr>
              <a:spLocks noChangeArrowheads="1"/>
            </p:cNvSpPr>
            <p:nvPr/>
          </p:nvSpPr>
          <p:spPr bwMode="auto">
            <a:xfrm>
              <a:off x="2163" y="945"/>
              <a:ext cx="192" cy="7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Lattice</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3457" name="Rectangle 513"/>
            <p:cNvSpPr>
              <a:spLocks noChangeArrowheads="1"/>
            </p:cNvSpPr>
            <p:nvPr/>
          </p:nvSpPr>
          <p:spPr bwMode="auto">
            <a:xfrm>
              <a:off x="1611" y="1024"/>
              <a:ext cx="585" cy="9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rgbClr val="4B4B4B"/>
                  </a:solidFill>
                  <a:effectLst/>
                  <a:latin typeface="Arial" pitchFamily="34" charset="0"/>
                  <a:cs typeface="Arial" pitchFamily="34" charset="0"/>
                </a:rPr>
                <a:t>management</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3458" name="Rectangle 514"/>
            <p:cNvSpPr>
              <a:spLocks noChangeArrowheads="1"/>
            </p:cNvSpPr>
            <p:nvPr/>
          </p:nvSpPr>
          <p:spPr bwMode="auto">
            <a:xfrm>
              <a:off x="1611" y="1106"/>
              <a:ext cx="74" cy="9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4B4B4B"/>
                  </a:solidFill>
                  <a:effectLst/>
                  <a:latin typeface="Arial" pitchFamily="34" charset="0"/>
                  <a:cs typeface="Arial" pitchFamily="34" charset="0"/>
                </a:rPr>
                <a: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83459" name="Rectangle 515"/>
            <p:cNvSpPr>
              <a:spLocks noChangeArrowheads="1"/>
            </p:cNvSpPr>
            <p:nvPr/>
          </p:nvSpPr>
          <p:spPr bwMode="auto">
            <a:xfrm>
              <a:off x="1639" y="1106"/>
              <a:ext cx="1244" cy="9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4B4B4B"/>
                  </a:solidFill>
                  <a:effectLst/>
                  <a:latin typeface="Arial" pitchFamily="34" charset="0"/>
                  <a:cs typeface="Arial" pitchFamily="34" charset="0"/>
                </a:rPr>
                <a:t>Meetings, Weekly &amp; Monthly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83460" name="Rectangle 516"/>
            <p:cNvSpPr>
              <a:spLocks noChangeArrowheads="1"/>
            </p:cNvSpPr>
            <p:nvPr/>
          </p:nvSpPr>
          <p:spPr bwMode="auto">
            <a:xfrm>
              <a:off x="1611" y="1185"/>
              <a:ext cx="678" cy="9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4B4B4B"/>
                  </a:solidFill>
                  <a:effectLst/>
                  <a:latin typeface="Arial" pitchFamily="34" charset="0"/>
                  <a:cs typeface="Arial" pitchFamily="34" charset="0"/>
                </a:rPr>
                <a:t>Status Updates</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83461" name="Rectangle 517"/>
            <p:cNvSpPr>
              <a:spLocks noChangeArrowheads="1"/>
            </p:cNvSpPr>
            <p:nvPr/>
          </p:nvSpPr>
          <p:spPr bwMode="auto">
            <a:xfrm>
              <a:off x="1611" y="1267"/>
              <a:ext cx="74" cy="9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4B4B4B"/>
                  </a:solidFill>
                  <a:effectLst/>
                  <a:latin typeface="Arial" pitchFamily="34" charset="0"/>
                  <a:cs typeface="Arial" pitchFamily="34" charset="0"/>
                </a:rPr>
                <a: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83462" name="Rectangle 518"/>
            <p:cNvSpPr>
              <a:spLocks noChangeArrowheads="1"/>
            </p:cNvSpPr>
            <p:nvPr/>
          </p:nvSpPr>
          <p:spPr bwMode="auto">
            <a:xfrm>
              <a:off x="1639" y="1267"/>
              <a:ext cx="1207" cy="9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4B4B4B"/>
                  </a:solidFill>
                  <a:effectLst/>
                  <a:latin typeface="Arial" pitchFamily="34" charset="0"/>
                  <a:cs typeface="Arial" pitchFamily="34" charset="0"/>
                </a:rPr>
                <a:t>Requirements Elicitation for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83463" name="Rectangle 519"/>
            <p:cNvSpPr>
              <a:spLocks noChangeArrowheads="1"/>
            </p:cNvSpPr>
            <p:nvPr/>
          </p:nvSpPr>
          <p:spPr bwMode="auto">
            <a:xfrm>
              <a:off x="1611" y="1346"/>
              <a:ext cx="924" cy="9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rgbClr val="4B4B4B"/>
                  </a:solidFill>
                  <a:effectLst/>
                  <a:latin typeface="Arial" pitchFamily="34" charset="0"/>
                  <a:cs typeface="Arial" pitchFamily="34" charset="0"/>
                </a:rPr>
                <a:t>Minor Enhancements</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3464" name="Freeform 520"/>
            <p:cNvSpPr>
              <a:spLocks/>
            </p:cNvSpPr>
            <p:nvPr/>
          </p:nvSpPr>
          <p:spPr bwMode="auto">
            <a:xfrm>
              <a:off x="1507" y="624"/>
              <a:ext cx="1438" cy="183"/>
            </a:xfrm>
            <a:custGeom>
              <a:avLst/>
              <a:gdLst/>
              <a:ahLst/>
              <a:cxnLst>
                <a:cxn ang="0">
                  <a:pos x="0" y="134"/>
                </a:cxn>
                <a:cxn ang="0">
                  <a:pos x="134" y="0"/>
                </a:cxn>
                <a:cxn ang="0">
                  <a:pos x="134" y="0"/>
                </a:cxn>
                <a:cxn ang="0">
                  <a:pos x="134" y="0"/>
                </a:cxn>
                <a:cxn ang="0">
                  <a:pos x="4827" y="0"/>
                </a:cxn>
                <a:cxn ang="0">
                  <a:pos x="4827" y="0"/>
                </a:cxn>
                <a:cxn ang="0">
                  <a:pos x="4960" y="134"/>
                </a:cxn>
                <a:cxn ang="0">
                  <a:pos x="4960" y="134"/>
                </a:cxn>
                <a:cxn ang="0">
                  <a:pos x="4960" y="134"/>
                </a:cxn>
                <a:cxn ang="0">
                  <a:pos x="4960" y="667"/>
                </a:cxn>
                <a:cxn ang="0">
                  <a:pos x="4960" y="667"/>
                </a:cxn>
                <a:cxn ang="0">
                  <a:pos x="4827" y="800"/>
                </a:cxn>
                <a:cxn ang="0">
                  <a:pos x="4827" y="800"/>
                </a:cxn>
                <a:cxn ang="0">
                  <a:pos x="4827" y="800"/>
                </a:cxn>
                <a:cxn ang="0">
                  <a:pos x="134" y="800"/>
                </a:cxn>
                <a:cxn ang="0">
                  <a:pos x="134" y="800"/>
                </a:cxn>
                <a:cxn ang="0">
                  <a:pos x="0" y="667"/>
                </a:cxn>
                <a:cxn ang="0">
                  <a:pos x="0" y="667"/>
                </a:cxn>
                <a:cxn ang="0">
                  <a:pos x="0" y="134"/>
                </a:cxn>
              </a:cxnLst>
              <a:rect l="0" t="0" r="r" b="b"/>
              <a:pathLst>
                <a:path w="4960" h="800">
                  <a:moveTo>
                    <a:pt x="0" y="134"/>
                  </a:moveTo>
                  <a:cubicBezTo>
                    <a:pt x="0" y="60"/>
                    <a:pt x="60" y="0"/>
                    <a:pt x="134" y="0"/>
                  </a:cubicBezTo>
                  <a:cubicBezTo>
                    <a:pt x="134" y="0"/>
                    <a:pt x="134" y="0"/>
                    <a:pt x="134" y="0"/>
                  </a:cubicBezTo>
                  <a:lnTo>
                    <a:pt x="134" y="0"/>
                  </a:lnTo>
                  <a:lnTo>
                    <a:pt x="4827" y="0"/>
                  </a:lnTo>
                  <a:lnTo>
                    <a:pt x="4827" y="0"/>
                  </a:lnTo>
                  <a:cubicBezTo>
                    <a:pt x="4901" y="0"/>
                    <a:pt x="4960" y="60"/>
                    <a:pt x="4960" y="134"/>
                  </a:cubicBezTo>
                  <a:cubicBezTo>
                    <a:pt x="4960" y="134"/>
                    <a:pt x="4960" y="134"/>
                    <a:pt x="4960" y="134"/>
                  </a:cubicBezTo>
                  <a:lnTo>
                    <a:pt x="4960" y="134"/>
                  </a:lnTo>
                  <a:lnTo>
                    <a:pt x="4960" y="667"/>
                  </a:lnTo>
                  <a:lnTo>
                    <a:pt x="4960" y="667"/>
                  </a:lnTo>
                  <a:cubicBezTo>
                    <a:pt x="4960" y="741"/>
                    <a:pt x="4901" y="800"/>
                    <a:pt x="4827" y="800"/>
                  </a:cubicBezTo>
                  <a:cubicBezTo>
                    <a:pt x="4827" y="800"/>
                    <a:pt x="4827" y="800"/>
                    <a:pt x="4827" y="800"/>
                  </a:cubicBezTo>
                  <a:lnTo>
                    <a:pt x="4827" y="800"/>
                  </a:lnTo>
                  <a:lnTo>
                    <a:pt x="134" y="800"/>
                  </a:lnTo>
                  <a:lnTo>
                    <a:pt x="134" y="800"/>
                  </a:lnTo>
                  <a:cubicBezTo>
                    <a:pt x="60" y="800"/>
                    <a:pt x="0" y="741"/>
                    <a:pt x="0" y="667"/>
                  </a:cubicBezTo>
                  <a:cubicBezTo>
                    <a:pt x="0" y="667"/>
                    <a:pt x="0" y="667"/>
                    <a:pt x="0" y="667"/>
                  </a:cubicBezTo>
                  <a:lnTo>
                    <a:pt x="0" y="134"/>
                  </a:lnTo>
                  <a:close/>
                </a:path>
              </a:pathLst>
            </a:custGeom>
            <a:solidFill>
              <a:srgbClr val="F5CBA3"/>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65" name="Freeform 521"/>
            <p:cNvSpPr>
              <a:spLocks noEditPoints="1"/>
            </p:cNvSpPr>
            <p:nvPr/>
          </p:nvSpPr>
          <p:spPr bwMode="auto">
            <a:xfrm>
              <a:off x="1500" y="619"/>
              <a:ext cx="1452" cy="194"/>
            </a:xfrm>
            <a:custGeom>
              <a:avLst/>
              <a:gdLst/>
              <a:ahLst/>
              <a:cxnLst>
                <a:cxn ang="0">
                  <a:pos x="1" y="154"/>
                </a:cxn>
                <a:cxn ang="0">
                  <a:pos x="15" y="93"/>
                </a:cxn>
                <a:cxn ang="0">
                  <a:pos x="50" y="43"/>
                </a:cxn>
                <a:cxn ang="0">
                  <a:pos x="101" y="12"/>
                </a:cxn>
                <a:cxn ang="0">
                  <a:pos x="158" y="0"/>
                </a:cxn>
                <a:cxn ang="0">
                  <a:pos x="4856" y="1"/>
                </a:cxn>
                <a:cxn ang="0">
                  <a:pos x="4917" y="15"/>
                </a:cxn>
                <a:cxn ang="0">
                  <a:pos x="4965" y="50"/>
                </a:cxn>
                <a:cxn ang="0">
                  <a:pos x="4998" y="102"/>
                </a:cxn>
                <a:cxn ang="0">
                  <a:pos x="5008" y="158"/>
                </a:cxn>
                <a:cxn ang="0">
                  <a:pos x="5008" y="696"/>
                </a:cxn>
                <a:cxn ang="0">
                  <a:pos x="4994" y="757"/>
                </a:cxn>
                <a:cxn ang="0">
                  <a:pos x="4959" y="805"/>
                </a:cxn>
                <a:cxn ang="0">
                  <a:pos x="4908" y="838"/>
                </a:cxn>
                <a:cxn ang="0">
                  <a:pos x="4851" y="848"/>
                </a:cxn>
                <a:cxn ang="0">
                  <a:pos x="154" y="848"/>
                </a:cxn>
                <a:cxn ang="0">
                  <a:pos x="93" y="834"/>
                </a:cxn>
                <a:cxn ang="0">
                  <a:pos x="43" y="799"/>
                </a:cxn>
                <a:cxn ang="0">
                  <a:pos x="12" y="748"/>
                </a:cxn>
                <a:cxn ang="0">
                  <a:pos x="0" y="691"/>
                </a:cxn>
                <a:cxn ang="0">
                  <a:pos x="48" y="691"/>
                </a:cxn>
                <a:cxn ang="0">
                  <a:pos x="59" y="739"/>
                </a:cxn>
                <a:cxn ang="0">
                  <a:pos x="83" y="772"/>
                </a:cxn>
                <a:cxn ang="0">
                  <a:pos x="120" y="795"/>
                </a:cxn>
                <a:cxn ang="0">
                  <a:pos x="163" y="801"/>
                </a:cxn>
                <a:cxn ang="0">
                  <a:pos x="4851" y="800"/>
                </a:cxn>
                <a:cxn ang="0">
                  <a:pos x="4899" y="791"/>
                </a:cxn>
                <a:cxn ang="0">
                  <a:pos x="4932" y="766"/>
                </a:cxn>
                <a:cxn ang="0">
                  <a:pos x="4955" y="730"/>
                </a:cxn>
                <a:cxn ang="0">
                  <a:pos x="4961" y="687"/>
                </a:cxn>
                <a:cxn ang="0">
                  <a:pos x="4960" y="158"/>
                </a:cxn>
                <a:cxn ang="0">
                  <a:pos x="4951" y="111"/>
                </a:cxn>
                <a:cxn ang="0">
                  <a:pos x="4926" y="77"/>
                </a:cxn>
                <a:cxn ang="0">
                  <a:pos x="4890" y="55"/>
                </a:cxn>
                <a:cxn ang="0">
                  <a:pos x="4846" y="48"/>
                </a:cxn>
                <a:cxn ang="0">
                  <a:pos x="158" y="48"/>
                </a:cxn>
                <a:cxn ang="0">
                  <a:pos x="111" y="59"/>
                </a:cxn>
                <a:cxn ang="0">
                  <a:pos x="77" y="84"/>
                </a:cxn>
                <a:cxn ang="0">
                  <a:pos x="56" y="120"/>
                </a:cxn>
                <a:cxn ang="0">
                  <a:pos x="48" y="163"/>
                </a:cxn>
                <a:cxn ang="0">
                  <a:pos x="48" y="691"/>
                </a:cxn>
              </a:cxnLst>
              <a:rect l="0" t="0" r="r" b="b"/>
              <a:pathLst>
                <a:path w="5008" h="848">
                  <a:moveTo>
                    <a:pt x="0" y="158"/>
                  </a:moveTo>
                  <a:cubicBezTo>
                    <a:pt x="0" y="157"/>
                    <a:pt x="1" y="155"/>
                    <a:pt x="1" y="154"/>
                  </a:cubicBezTo>
                  <a:lnTo>
                    <a:pt x="12" y="102"/>
                  </a:lnTo>
                  <a:cubicBezTo>
                    <a:pt x="13" y="99"/>
                    <a:pt x="14" y="96"/>
                    <a:pt x="15" y="93"/>
                  </a:cubicBezTo>
                  <a:lnTo>
                    <a:pt x="43" y="50"/>
                  </a:lnTo>
                  <a:cubicBezTo>
                    <a:pt x="45" y="48"/>
                    <a:pt x="48" y="45"/>
                    <a:pt x="50" y="43"/>
                  </a:cubicBezTo>
                  <a:lnTo>
                    <a:pt x="93" y="15"/>
                  </a:lnTo>
                  <a:cubicBezTo>
                    <a:pt x="96" y="14"/>
                    <a:pt x="99" y="13"/>
                    <a:pt x="101" y="12"/>
                  </a:cubicBezTo>
                  <a:lnTo>
                    <a:pt x="153" y="1"/>
                  </a:lnTo>
                  <a:cubicBezTo>
                    <a:pt x="155" y="1"/>
                    <a:pt x="157" y="0"/>
                    <a:pt x="158" y="0"/>
                  </a:cubicBezTo>
                  <a:lnTo>
                    <a:pt x="4851" y="0"/>
                  </a:lnTo>
                  <a:cubicBezTo>
                    <a:pt x="4853" y="0"/>
                    <a:pt x="4855" y="1"/>
                    <a:pt x="4856" y="1"/>
                  </a:cubicBezTo>
                  <a:lnTo>
                    <a:pt x="4908" y="12"/>
                  </a:lnTo>
                  <a:cubicBezTo>
                    <a:pt x="4911" y="13"/>
                    <a:pt x="4914" y="14"/>
                    <a:pt x="4917" y="15"/>
                  </a:cubicBezTo>
                  <a:lnTo>
                    <a:pt x="4959" y="43"/>
                  </a:lnTo>
                  <a:cubicBezTo>
                    <a:pt x="4961" y="45"/>
                    <a:pt x="4964" y="47"/>
                    <a:pt x="4965" y="50"/>
                  </a:cubicBezTo>
                  <a:lnTo>
                    <a:pt x="4994" y="93"/>
                  </a:lnTo>
                  <a:cubicBezTo>
                    <a:pt x="4996" y="96"/>
                    <a:pt x="4997" y="99"/>
                    <a:pt x="4998" y="102"/>
                  </a:cubicBezTo>
                  <a:lnTo>
                    <a:pt x="5008" y="154"/>
                  </a:lnTo>
                  <a:cubicBezTo>
                    <a:pt x="5008" y="155"/>
                    <a:pt x="5008" y="157"/>
                    <a:pt x="5008" y="158"/>
                  </a:cubicBezTo>
                  <a:lnTo>
                    <a:pt x="5008" y="691"/>
                  </a:lnTo>
                  <a:cubicBezTo>
                    <a:pt x="5008" y="693"/>
                    <a:pt x="5008" y="695"/>
                    <a:pt x="5008" y="696"/>
                  </a:cubicBezTo>
                  <a:lnTo>
                    <a:pt x="4998" y="748"/>
                  </a:lnTo>
                  <a:cubicBezTo>
                    <a:pt x="4997" y="751"/>
                    <a:pt x="4996" y="754"/>
                    <a:pt x="4994" y="757"/>
                  </a:cubicBezTo>
                  <a:lnTo>
                    <a:pt x="4965" y="799"/>
                  </a:lnTo>
                  <a:cubicBezTo>
                    <a:pt x="4964" y="801"/>
                    <a:pt x="4961" y="804"/>
                    <a:pt x="4959" y="805"/>
                  </a:cubicBezTo>
                  <a:lnTo>
                    <a:pt x="4917" y="834"/>
                  </a:lnTo>
                  <a:cubicBezTo>
                    <a:pt x="4914" y="836"/>
                    <a:pt x="4911" y="837"/>
                    <a:pt x="4908" y="838"/>
                  </a:cubicBezTo>
                  <a:lnTo>
                    <a:pt x="4856" y="848"/>
                  </a:lnTo>
                  <a:cubicBezTo>
                    <a:pt x="4855" y="848"/>
                    <a:pt x="4853" y="848"/>
                    <a:pt x="4851" y="848"/>
                  </a:cubicBezTo>
                  <a:lnTo>
                    <a:pt x="158" y="848"/>
                  </a:lnTo>
                  <a:cubicBezTo>
                    <a:pt x="157" y="848"/>
                    <a:pt x="155" y="848"/>
                    <a:pt x="154" y="848"/>
                  </a:cubicBezTo>
                  <a:lnTo>
                    <a:pt x="102" y="838"/>
                  </a:lnTo>
                  <a:cubicBezTo>
                    <a:pt x="99" y="837"/>
                    <a:pt x="96" y="836"/>
                    <a:pt x="93" y="834"/>
                  </a:cubicBezTo>
                  <a:lnTo>
                    <a:pt x="50" y="805"/>
                  </a:lnTo>
                  <a:cubicBezTo>
                    <a:pt x="47" y="804"/>
                    <a:pt x="45" y="801"/>
                    <a:pt x="43" y="799"/>
                  </a:cubicBezTo>
                  <a:lnTo>
                    <a:pt x="15" y="757"/>
                  </a:lnTo>
                  <a:cubicBezTo>
                    <a:pt x="14" y="754"/>
                    <a:pt x="13" y="751"/>
                    <a:pt x="12" y="748"/>
                  </a:cubicBezTo>
                  <a:lnTo>
                    <a:pt x="1" y="696"/>
                  </a:lnTo>
                  <a:cubicBezTo>
                    <a:pt x="1" y="695"/>
                    <a:pt x="0" y="693"/>
                    <a:pt x="0" y="691"/>
                  </a:cubicBezTo>
                  <a:lnTo>
                    <a:pt x="0" y="158"/>
                  </a:lnTo>
                  <a:close/>
                  <a:moveTo>
                    <a:pt x="48" y="691"/>
                  </a:moveTo>
                  <a:lnTo>
                    <a:pt x="48" y="687"/>
                  </a:lnTo>
                  <a:lnTo>
                    <a:pt x="59" y="739"/>
                  </a:lnTo>
                  <a:lnTo>
                    <a:pt x="55" y="730"/>
                  </a:lnTo>
                  <a:lnTo>
                    <a:pt x="83" y="772"/>
                  </a:lnTo>
                  <a:lnTo>
                    <a:pt x="77" y="766"/>
                  </a:lnTo>
                  <a:lnTo>
                    <a:pt x="120" y="795"/>
                  </a:lnTo>
                  <a:lnTo>
                    <a:pt x="111" y="791"/>
                  </a:lnTo>
                  <a:lnTo>
                    <a:pt x="163" y="801"/>
                  </a:lnTo>
                  <a:lnTo>
                    <a:pt x="158" y="800"/>
                  </a:lnTo>
                  <a:lnTo>
                    <a:pt x="4851" y="800"/>
                  </a:lnTo>
                  <a:lnTo>
                    <a:pt x="4847" y="801"/>
                  </a:lnTo>
                  <a:lnTo>
                    <a:pt x="4899" y="791"/>
                  </a:lnTo>
                  <a:lnTo>
                    <a:pt x="4890" y="795"/>
                  </a:lnTo>
                  <a:lnTo>
                    <a:pt x="4932" y="766"/>
                  </a:lnTo>
                  <a:lnTo>
                    <a:pt x="4926" y="772"/>
                  </a:lnTo>
                  <a:lnTo>
                    <a:pt x="4955" y="730"/>
                  </a:lnTo>
                  <a:lnTo>
                    <a:pt x="4951" y="739"/>
                  </a:lnTo>
                  <a:lnTo>
                    <a:pt x="4961" y="687"/>
                  </a:lnTo>
                  <a:lnTo>
                    <a:pt x="4960" y="691"/>
                  </a:lnTo>
                  <a:lnTo>
                    <a:pt x="4960" y="158"/>
                  </a:lnTo>
                  <a:lnTo>
                    <a:pt x="4961" y="163"/>
                  </a:lnTo>
                  <a:lnTo>
                    <a:pt x="4951" y="111"/>
                  </a:lnTo>
                  <a:lnTo>
                    <a:pt x="4955" y="120"/>
                  </a:lnTo>
                  <a:lnTo>
                    <a:pt x="4926" y="77"/>
                  </a:lnTo>
                  <a:lnTo>
                    <a:pt x="4932" y="83"/>
                  </a:lnTo>
                  <a:lnTo>
                    <a:pt x="4890" y="55"/>
                  </a:lnTo>
                  <a:lnTo>
                    <a:pt x="4898" y="59"/>
                  </a:lnTo>
                  <a:lnTo>
                    <a:pt x="4846" y="48"/>
                  </a:lnTo>
                  <a:lnTo>
                    <a:pt x="4851" y="48"/>
                  </a:lnTo>
                  <a:lnTo>
                    <a:pt x="158" y="48"/>
                  </a:lnTo>
                  <a:lnTo>
                    <a:pt x="163" y="48"/>
                  </a:lnTo>
                  <a:lnTo>
                    <a:pt x="111" y="59"/>
                  </a:lnTo>
                  <a:lnTo>
                    <a:pt x="120" y="56"/>
                  </a:lnTo>
                  <a:lnTo>
                    <a:pt x="77" y="84"/>
                  </a:lnTo>
                  <a:lnTo>
                    <a:pt x="84" y="77"/>
                  </a:lnTo>
                  <a:lnTo>
                    <a:pt x="56" y="120"/>
                  </a:lnTo>
                  <a:lnTo>
                    <a:pt x="59" y="111"/>
                  </a:lnTo>
                  <a:lnTo>
                    <a:pt x="48" y="163"/>
                  </a:lnTo>
                  <a:lnTo>
                    <a:pt x="48" y="158"/>
                  </a:lnTo>
                  <a:lnTo>
                    <a:pt x="48" y="691"/>
                  </a:lnTo>
                  <a:close/>
                </a:path>
              </a:pathLst>
            </a:custGeom>
            <a:solidFill>
              <a:srgbClr val="969696"/>
            </a:solidFill>
            <a:ln w="0" cap="flat">
              <a:solidFill>
                <a:srgbClr val="96969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66" name="Rectangle 522"/>
            <p:cNvSpPr>
              <a:spLocks noChangeArrowheads="1"/>
            </p:cNvSpPr>
            <p:nvPr/>
          </p:nvSpPr>
          <p:spPr bwMode="auto">
            <a:xfrm>
              <a:off x="2005" y="672"/>
              <a:ext cx="515"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4B4B4B"/>
                  </a:solidFill>
                  <a:effectLst/>
                  <a:latin typeface="Arial" pitchFamily="34" charset="0"/>
                  <a:cs typeface="Arial" pitchFamily="34" charset="0"/>
                </a:rPr>
                <a:t>Onshore</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83467" name="Freeform 523"/>
            <p:cNvSpPr>
              <a:spLocks/>
            </p:cNvSpPr>
            <p:nvPr/>
          </p:nvSpPr>
          <p:spPr bwMode="auto">
            <a:xfrm>
              <a:off x="2481" y="2088"/>
              <a:ext cx="1620" cy="841"/>
            </a:xfrm>
            <a:custGeom>
              <a:avLst/>
              <a:gdLst/>
              <a:ahLst/>
              <a:cxnLst>
                <a:cxn ang="0">
                  <a:pos x="0" y="614"/>
                </a:cxn>
                <a:cxn ang="0">
                  <a:pos x="614" y="0"/>
                </a:cxn>
                <a:cxn ang="0">
                  <a:pos x="614" y="0"/>
                </a:cxn>
                <a:cxn ang="0">
                  <a:pos x="614" y="0"/>
                </a:cxn>
                <a:cxn ang="0">
                  <a:pos x="4971" y="0"/>
                </a:cxn>
                <a:cxn ang="0">
                  <a:pos x="4971" y="0"/>
                </a:cxn>
                <a:cxn ang="0">
                  <a:pos x="5584" y="614"/>
                </a:cxn>
                <a:cxn ang="0">
                  <a:pos x="5584" y="614"/>
                </a:cxn>
                <a:cxn ang="0">
                  <a:pos x="5584" y="614"/>
                </a:cxn>
                <a:cxn ang="0">
                  <a:pos x="5584" y="3067"/>
                </a:cxn>
                <a:cxn ang="0">
                  <a:pos x="5584" y="3067"/>
                </a:cxn>
                <a:cxn ang="0">
                  <a:pos x="4971" y="3680"/>
                </a:cxn>
                <a:cxn ang="0">
                  <a:pos x="4971" y="3680"/>
                </a:cxn>
                <a:cxn ang="0">
                  <a:pos x="4971" y="3680"/>
                </a:cxn>
                <a:cxn ang="0">
                  <a:pos x="614" y="3680"/>
                </a:cxn>
                <a:cxn ang="0">
                  <a:pos x="614" y="3680"/>
                </a:cxn>
                <a:cxn ang="0">
                  <a:pos x="0" y="3067"/>
                </a:cxn>
                <a:cxn ang="0">
                  <a:pos x="0" y="3067"/>
                </a:cxn>
                <a:cxn ang="0">
                  <a:pos x="0" y="614"/>
                </a:cxn>
              </a:cxnLst>
              <a:rect l="0" t="0" r="r" b="b"/>
              <a:pathLst>
                <a:path w="5584" h="3680">
                  <a:moveTo>
                    <a:pt x="0" y="614"/>
                  </a:moveTo>
                  <a:cubicBezTo>
                    <a:pt x="0" y="275"/>
                    <a:pt x="275" y="0"/>
                    <a:pt x="614" y="0"/>
                  </a:cubicBezTo>
                  <a:cubicBezTo>
                    <a:pt x="614" y="0"/>
                    <a:pt x="614" y="0"/>
                    <a:pt x="614" y="0"/>
                  </a:cubicBezTo>
                  <a:lnTo>
                    <a:pt x="614" y="0"/>
                  </a:lnTo>
                  <a:lnTo>
                    <a:pt x="4971" y="0"/>
                  </a:lnTo>
                  <a:lnTo>
                    <a:pt x="4971" y="0"/>
                  </a:lnTo>
                  <a:cubicBezTo>
                    <a:pt x="5310" y="0"/>
                    <a:pt x="5584" y="275"/>
                    <a:pt x="5584" y="614"/>
                  </a:cubicBezTo>
                  <a:cubicBezTo>
                    <a:pt x="5584" y="614"/>
                    <a:pt x="5584" y="614"/>
                    <a:pt x="5584" y="614"/>
                  </a:cubicBezTo>
                  <a:lnTo>
                    <a:pt x="5584" y="614"/>
                  </a:lnTo>
                  <a:lnTo>
                    <a:pt x="5584" y="3067"/>
                  </a:lnTo>
                  <a:lnTo>
                    <a:pt x="5584" y="3067"/>
                  </a:lnTo>
                  <a:cubicBezTo>
                    <a:pt x="5584" y="3406"/>
                    <a:pt x="5310" y="3680"/>
                    <a:pt x="4971" y="3680"/>
                  </a:cubicBezTo>
                  <a:cubicBezTo>
                    <a:pt x="4971" y="3680"/>
                    <a:pt x="4971" y="3680"/>
                    <a:pt x="4971" y="3680"/>
                  </a:cubicBezTo>
                  <a:lnTo>
                    <a:pt x="4971" y="3680"/>
                  </a:lnTo>
                  <a:lnTo>
                    <a:pt x="614" y="3680"/>
                  </a:lnTo>
                  <a:lnTo>
                    <a:pt x="614" y="3680"/>
                  </a:lnTo>
                  <a:cubicBezTo>
                    <a:pt x="275" y="3680"/>
                    <a:pt x="0" y="3406"/>
                    <a:pt x="0" y="3067"/>
                  </a:cubicBezTo>
                  <a:cubicBezTo>
                    <a:pt x="0" y="3067"/>
                    <a:pt x="0" y="3067"/>
                    <a:pt x="0" y="3067"/>
                  </a:cubicBezTo>
                  <a:lnTo>
                    <a:pt x="0" y="614"/>
                  </a:lnTo>
                  <a:close/>
                </a:path>
              </a:pathLst>
            </a:custGeom>
            <a:solidFill>
              <a:srgbClr val="F2F2F2"/>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68" name="Freeform 524"/>
            <p:cNvSpPr>
              <a:spLocks noEditPoints="1"/>
            </p:cNvSpPr>
            <p:nvPr/>
          </p:nvSpPr>
          <p:spPr bwMode="auto">
            <a:xfrm>
              <a:off x="2474" y="2082"/>
              <a:ext cx="1634" cy="852"/>
            </a:xfrm>
            <a:custGeom>
              <a:avLst/>
              <a:gdLst/>
              <a:ahLst/>
              <a:cxnLst>
                <a:cxn ang="0">
                  <a:pos x="13" y="511"/>
                </a:cxn>
                <a:cxn ang="0">
                  <a:pos x="51" y="388"/>
                </a:cxn>
                <a:cxn ang="0">
                  <a:pos x="186" y="189"/>
                </a:cxn>
                <a:cxn ang="0">
                  <a:pos x="284" y="108"/>
                </a:cxn>
                <a:cxn ang="0">
                  <a:pos x="507" y="14"/>
                </a:cxn>
                <a:cxn ang="0">
                  <a:pos x="637" y="0"/>
                </a:cxn>
                <a:cxn ang="0">
                  <a:pos x="5123" y="13"/>
                </a:cxn>
                <a:cxn ang="0">
                  <a:pos x="5246" y="51"/>
                </a:cxn>
                <a:cxn ang="0">
                  <a:pos x="5445" y="186"/>
                </a:cxn>
                <a:cxn ang="0">
                  <a:pos x="5525" y="284"/>
                </a:cxn>
                <a:cxn ang="0">
                  <a:pos x="5619" y="507"/>
                </a:cxn>
                <a:cxn ang="0">
                  <a:pos x="5632" y="637"/>
                </a:cxn>
                <a:cxn ang="0">
                  <a:pos x="5620" y="3219"/>
                </a:cxn>
                <a:cxn ang="0">
                  <a:pos x="5582" y="3342"/>
                </a:cxn>
                <a:cxn ang="0">
                  <a:pos x="5448" y="3541"/>
                </a:cxn>
                <a:cxn ang="0">
                  <a:pos x="5350" y="3621"/>
                </a:cxn>
                <a:cxn ang="0">
                  <a:pos x="5127" y="3715"/>
                </a:cxn>
                <a:cxn ang="0">
                  <a:pos x="4997" y="3728"/>
                </a:cxn>
                <a:cxn ang="0">
                  <a:pos x="511" y="3716"/>
                </a:cxn>
                <a:cxn ang="0">
                  <a:pos x="388" y="3678"/>
                </a:cxn>
                <a:cxn ang="0">
                  <a:pos x="189" y="3544"/>
                </a:cxn>
                <a:cxn ang="0">
                  <a:pos x="108" y="3446"/>
                </a:cxn>
                <a:cxn ang="0">
                  <a:pos x="14" y="3223"/>
                </a:cxn>
                <a:cxn ang="0">
                  <a:pos x="0" y="3093"/>
                </a:cxn>
                <a:cxn ang="0">
                  <a:pos x="51" y="3151"/>
                </a:cxn>
                <a:cxn ang="0">
                  <a:pos x="95" y="3323"/>
                </a:cxn>
                <a:cxn ang="0">
                  <a:pos x="148" y="3419"/>
                </a:cxn>
                <a:cxn ang="0">
                  <a:pos x="311" y="3581"/>
                </a:cxn>
                <a:cxn ang="0">
                  <a:pos x="407" y="3634"/>
                </a:cxn>
                <a:cxn ang="0">
                  <a:pos x="577" y="3677"/>
                </a:cxn>
                <a:cxn ang="0">
                  <a:pos x="5055" y="3678"/>
                </a:cxn>
                <a:cxn ang="0">
                  <a:pos x="5227" y="3634"/>
                </a:cxn>
                <a:cxn ang="0">
                  <a:pos x="5323" y="3581"/>
                </a:cxn>
                <a:cxn ang="0">
                  <a:pos x="5485" y="3419"/>
                </a:cxn>
                <a:cxn ang="0">
                  <a:pos x="5538" y="3323"/>
                </a:cxn>
                <a:cxn ang="0">
                  <a:pos x="5581" y="3153"/>
                </a:cxn>
                <a:cxn ang="0">
                  <a:pos x="5582" y="579"/>
                </a:cxn>
                <a:cxn ang="0">
                  <a:pos x="5538" y="407"/>
                </a:cxn>
                <a:cxn ang="0">
                  <a:pos x="5485" y="311"/>
                </a:cxn>
                <a:cxn ang="0">
                  <a:pos x="5323" y="148"/>
                </a:cxn>
                <a:cxn ang="0">
                  <a:pos x="5227" y="95"/>
                </a:cxn>
                <a:cxn ang="0">
                  <a:pos x="5057" y="51"/>
                </a:cxn>
                <a:cxn ang="0">
                  <a:pos x="579" y="51"/>
                </a:cxn>
                <a:cxn ang="0">
                  <a:pos x="407" y="95"/>
                </a:cxn>
                <a:cxn ang="0">
                  <a:pos x="311" y="148"/>
                </a:cxn>
                <a:cxn ang="0">
                  <a:pos x="148" y="311"/>
                </a:cxn>
                <a:cxn ang="0">
                  <a:pos x="95" y="407"/>
                </a:cxn>
                <a:cxn ang="0">
                  <a:pos x="51" y="577"/>
                </a:cxn>
              </a:cxnLst>
              <a:rect l="0" t="0" r="r" b="b"/>
              <a:pathLst>
                <a:path w="5632" h="3728">
                  <a:moveTo>
                    <a:pt x="0" y="638"/>
                  </a:moveTo>
                  <a:lnTo>
                    <a:pt x="3" y="574"/>
                  </a:lnTo>
                  <a:lnTo>
                    <a:pt x="13" y="511"/>
                  </a:lnTo>
                  <a:cubicBezTo>
                    <a:pt x="13" y="510"/>
                    <a:pt x="13" y="508"/>
                    <a:pt x="14" y="507"/>
                  </a:cubicBezTo>
                  <a:lnTo>
                    <a:pt x="50" y="392"/>
                  </a:lnTo>
                  <a:cubicBezTo>
                    <a:pt x="50" y="391"/>
                    <a:pt x="51" y="389"/>
                    <a:pt x="51" y="388"/>
                  </a:cubicBezTo>
                  <a:lnTo>
                    <a:pt x="108" y="284"/>
                  </a:lnTo>
                  <a:cubicBezTo>
                    <a:pt x="109" y="283"/>
                    <a:pt x="110" y="281"/>
                    <a:pt x="111" y="280"/>
                  </a:cubicBezTo>
                  <a:lnTo>
                    <a:pt x="186" y="189"/>
                  </a:lnTo>
                  <a:cubicBezTo>
                    <a:pt x="187" y="188"/>
                    <a:pt x="188" y="187"/>
                    <a:pt x="189" y="186"/>
                  </a:cubicBezTo>
                  <a:lnTo>
                    <a:pt x="280" y="111"/>
                  </a:lnTo>
                  <a:cubicBezTo>
                    <a:pt x="281" y="110"/>
                    <a:pt x="283" y="109"/>
                    <a:pt x="284" y="108"/>
                  </a:cubicBezTo>
                  <a:lnTo>
                    <a:pt x="388" y="51"/>
                  </a:lnTo>
                  <a:cubicBezTo>
                    <a:pt x="389" y="51"/>
                    <a:pt x="391" y="50"/>
                    <a:pt x="392" y="50"/>
                  </a:cubicBezTo>
                  <a:lnTo>
                    <a:pt x="507" y="14"/>
                  </a:lnTo>
                  <a:cubicBezTo>
                    <a:pt x="508" y="13"/>
                    <a:pt x="510" y="13"/>
                    <a:pt x="511" y="13"/>
                  </a:cubicBezTo>
                  <a:lnTo>
                    <a:pt x="572" y="4"/>
                  </a:lnTo>
                  <a:lnTo>
                    <a:pt x="637" y="0"/>
                  </a:lnTo>
                  <a:lnTo>
                    <a:pt x="4995" y="0"/>
                  </a:lnTo>
                  <a:lnTo>
                    <a:pt x="5060" y="3"/>
                  </a:lnTo>
                  <a:lnTo>
                    <a:pt x="5123" y="13"/>
                  </a:lnTo>
                  <a:cubicBezTo>
                    <a:pt x="5124" y="13"/>
                    <a:pt x="5125" y="13"/>
                    <a:pt x="5127" y="14"/>
                  </a:cubicBezTo>
                  <a:lnTo>
                    <a:pt x="5242" y="50"/>
                  </a:lnTo>
                  <a:cubicBezTo>
                    <a:pt x="5243" y="50"/>
                    <a:pt x="5245" y="51"/>
                    <a:pt x="5246" y="51"/>
                  </a:cubicBezTo>
                  <a:lnTo>
                    <a:pt x="5350" y="108"/>
                  </a:lnTo>
                  <a:cubicBezTo>
                    <a:pt x="5351" y="109"/>
                    <a:pt x="5353" y="110"/>
                    <a:pt x="5354" y="111"/>
                  </a:cubicBezTo>
                  <a:lnTo>
                    <a:pt x="5445" y="186"/>
                  </a:lnTo>
                  <a:cubicBezTo>
                    <a:pt x="5446" y="187"/>
                    <a:pt x="5447" y="188"/>
                    <a:pt x="5448" y="189"/>
                  </a:cubicBezTo>
                  <a:lnTo>
                    <a:pt x="5522" y="280"/>
                  </a:lnTo>
                  <a:cubicBezTo>
                    <a:pt x="5523" y="281"/>
                    <a:pt x="5524" y="283"/>
                    <a:pt x="5525" y="284"/>
                  </a:cubicBezTo>
                  <a:lnTo>
                    <a:pt x="5582" y="388"/>
                  </a:lnTo>
                  <a:cubicBezTo>
                    <a:pt x="5582" y="389"/>
                    <a:pt x="5583" y="391"/>
                    <a:pt x="5583" y="392"/>
                  </a:cubicBezTo>
                  <a:lnTo>
                    <a:pt x="5619" y="507"/>
                  </a:lnTo>
                  <a:cubicBezTo>
                    <a:pt x="5620" y="508"/>
                    <a:pt x="5620" y="510"/>
                    <a:pt x="5620" y="511"/>
                  </a:cubicBezTo>
                  <a:lnTo>
                    <a:pt x="5629" y="572"/>
                  </a:lnTo>
                  <a:lnTo>
                    <a:pt x="5632" y="637"/>
                  </a:lnTo>
                  <a:lnTo>
                    <a:pt x="5632" y="3091"/>
                  </a:lnTo>
                  <a:lnTo>
                    <a:pt x="5629" y="3156"/>
                  </a:lnTo>
                  <a:lnTo>
                    <a:pt x="5620" y="3219"/>
                  </a:lnTo>
                  <a:cubicBezTo>
                    <a:pt x="5620" y="3220"/>
                    <a:pt x="5620" y="3221"/>
                    <a:pt x="5619" y="3223"/>
                  </a:cubicBezTo>
                  <a:lnTo>
                    <a:pt x="5583" y="3338"/>
                  </a:lnTo>
                  <a:cubicBezTo>
                    <a:pt x="5583" y="3339"/>
                    <a:pt x="5582" y="3341"/>
                    <a:pt x="5582" y="3342"/>
                  </a:cubicBezTo>
                  <a:lnTo>
                    <a:pt x="5525" y="3446"/>
                  </a:lnTo>
                  <a:cubicBezTo>
                    <a:pt x="5524" y="3447"/>
                    <a:pt x="5523" y="3448"/>
                    <a:pt x="5522" y="3450"/>
                  </a:cubicBezTo>
                  <a:lnTo>
                    <a:pt x="5448" y="3541"/>
                  </a:lnTo>
                  <a:cubicBezTo>
                    <a:pt x="5447" y="3542"/>
                    <a:pt x="5446" y="3543"/>
                    <a:pt x="5445" y="3544"/>
                  </a:cubicBezTo>
                  <a:lnTo>
                    <a:pt x="5354" y="3618"/>
                  </a:lnTo>
                  <a:cubicBezTo>
                    <a:pt x="5352" y="3619"/>
                    <a:pt x="5351" y="3620"/>
                    <a:pt x="5350" y="3621"/>
                  </a:cubicBezTo>
                  <a:lnTo>
                    <a:pt x="5246" y="3678"/>
                  </a:lnTo>
                  <a:cubicBezTo>
                    <a:pt x="5245" y="3678"/>
                    <a:pt x="5243" y="3679"/>
                    <a:pt x="5242" y="3679"/>
                  </a:cubicBezTo>
                  <a:lnTo>
                    <a:pt x="5127" y="3715"/>
                  </a:lnTo>
                  <a:cubicBezTo>
                    <a:pt x="5125" y="3716"/>
                    <a:pt x="5124" y="3716"/>
                    <a:pt x="5123" y="3716"/>
                  </a:cubicBezTo>
                  <a:lnTo>
                    <a:pt x="5062" y="3725"/>
                  </a:lnTo>
                  <a:lnTo>
                    <a:pt x="4997" y="3728"/>
                  </a:lnTo>
                  <a:lnTo>
                    <a:pt x="638" y="3728"/>
                  </a:lnTo>
                  <a:lnTo>
                    <a:pt x="574" y="3725"/>
                  </a:lnTo>
                  <a:lnTo>
                    <a:pt x="511" y="3716"/>
                  </a:lnTo>
                  <a:cubicBezTo>
                    <a:pt x="510" y="3716"/>
                    <a:pt x="508" y="3716"/>
                    <a:pt x="507" y="3715"/>
                  </a:cubicBezTo>
                  <a:lnTo>
                    <a:pt x="392" y="3679"/>
                  </a:lnTo>
                  <a:cubicBezTo>
                    <a:pt x="391" y="3679"/>
                    <a:pt x="389" y="3678"/>
                    <a:pt x="388" y="3678"/>
                  </a:cubicBezTo>
                  <a:lnTo>
                    <a:pt x="284" y="3621"/>
                  </a:lnTo>
                  <a:cubicBezTo>
                    <a:pt x="283" y="3620"/>
                    <a:pt x="281" y="3619"/>
                    <a:pt x="280" y="3618"/>
                  </a:cubicBezTo>
                  <a:lnTo>
                    <a:pt x="189" y="3544"/>
                  </a:lnTo>
                  <a:cubicBezTo>
                    <a:pt x="188" y="3543"/>
                    <a:pt x="187" y="3542"/>
                    <a:pt x="186" y="3541"/>
                  </a:cubicBezTo>
                  <a:lnTo>
                    <a:pt x="111" y="3450"/>
                  </a:lnTo>
                  <a:cubicBezTo>
                    <a:pt x="110" y="3449"/>
                    <a:pt x="109" y="3447"/>
                    <a:pt x="108" y="3446"/>
                  </a:cubicBezTo>
                  <a:lnTo>
                    <a:pt x="51" y="3342"/>
                  </a:lnTo>
                  <a:cubicBezTo>
                    <a:pt x="51" y="3341"/>
                    <a:pt x="50" y="3339"/>
                    <a:pt x="50" y="3338"/>
                  </a:cubicBezTo>
                  <a:lnTo>
                    <a:pt x="14" y="3223"/>
                  </a:lnTo>
                  <a:cubicBezTo>
                    <a:pt x="13" y="3221"/>
                    <a:pt x="13" y="3220"/>
                    <a:pt x="13" y="3219"/>
                  </a:cubicBezTo>
                  <a:lnTo>
                    <a:pt x="4" y="3158"/>
                  </a:lnTo>
                  <a:lnTo>
                    <a:pt x="0" y="3093"/>
                  </a:lnTo>
                  <a:lnTo>
                    <a:pt x="0" y="638"/>
                  </a:lnTo>
                  <a:close/>
                  <a:moveTo>
                    <a:pt x="48" y="3090"/>
                  </a:moveTo>
                  <a:lnTo>
                    <a:pt x="51" y="3151"/>
                  </a:lnTo>
                  <a:lnTo>
                    <a:pt x="60" y="3212"/>
                  </a:lnTo>
                  <a:lnTo>
                    <a:pt x="59" y="3208"/>
                  </a:lnTo>
                  <a:lnTo>
                    <a:pt x="95" y="3323"/>
                  </a:lnTo>
                  <a:lnTo>
                    <a:pt x="94" y="3319"/>
                  </a:lnTo>
                  <a:lnTo>
                    <a:pt x="151" y="3423"/>
                  </a:lnTo>
                  <a:lnTo>
                    <a:pt x="148" y="3419"/>
                  </a:lnTo>
                  <a:lnTo>
                    <a:pt x="223" y="3510"/>
                  </a:lnTo>
                  <a:lnTo>
                    <a:pt x="220" y="3507"/>
                  </a:lnTo>
                  <a:lnTo>
                    <a:pt x="311" y="3581"/>
                  </a:lnTo>
                  <a:lnTo>
                    <a:pt x="307" y="3578"/>
                  </a:lnTo>
                  <a:lnTo>
                    <a:pt x="411" y="3635"/>
                  </a:lnTo>
                  <a:lnTo>
                    <a:pt x="407" y="3634"/>
                  </a:lnTo>
                  <a:lnTo>
                    <a:pt x="522" y="3670"/>
                  </a:lnTo>
                  <a:lnTo>
                    <a:pt x="518" y="3669"/>
                  </a:lnTo>
                  <a:lnTo>
                    <a:pt x="577" y="3677"/>
                  </a:lnTo>
                  <a:lnTo>
                    <a:pt x="638" y="3680"/>
                  </a:lnTo>
                  <a:lnTo>
                    <a:pt x="4994" y="3680"/>
                  </a:lnTo>
                  <a:lnTo>
                    <a:pt x="5055" y="3678"/>
                  </a:lnTo>
                  <a:lnTo>
                    <a:pt x="5116" y="3669"/>
                  </a:lnTo>
                  <a:lnTo>
                    <a:pt x="5112" y="3670"/>
                  </a:lnTo>
                  <a:lnTo>
                    <a:pt x="5227" y="3634"/>
                  </a:lnTo>
                  <a:lnTo>
                    <a:pt x="5223" y="3635"/>
                  </a:lnTo>
                  <a:lnTo>
                    <a:pt x="5327" y="3578"/>
                  </a:lnTo>
                  <a:lnTo>
                    <a:pt x="5323" y="3581"/>
                  </a:lnTo>
                  <a:lnTo>
                    <a:pt x="5414" y="3507"/>
                  </a:lnTo>
                  <a:lnTo>
                    <a:pt x="5411" y="3510"/>
                  </a:lnTo>
                  <a:lnTo>
                    <a:pt x="5485" y="3419"/>
                  </a:lnTo>
                  <a:lnTo>
                    <a:pt x="5482" y="3423"/>
                  </a:lnTo>
                  <a:lnTo>
                    <a:pt x="5539" y="3319"/>
                  </a:lnTo>
                  <a:lnTo>
                    <a:pt x="5538" y="3323"/>
                  </a:lnTo>
                  <a:lnTo>
                    <a:pt x="5574" y="3208"/>
                  </a:lnTo>
                  <a:lnTo>
                    <a:pt x="5573" y="3212"/>
                  </a:lnTo>
                  <a:lnTo>
                    <a:pt x="5581" y="3153"/>
                  </a:lnTo>
                  <a:lnTo>
                    <a:pt x="5584" y="3091"/>
                  </a:lnTo>
                  <a:lnTo>
                    <a:pt x="5584" y="640"/>
                  </a:lnTo>
                  <a:lnTo>
                    <a:pt x="5582" y="579"/>
                  </a:lnTo>
                  <a:lnTo>
                    <a:pt x="5573" y="518"/>
                  </a:lnTo>
                  <a:lnTo>
                    <a:pt x="5574" y="522"/>
                  </a:lnTo>
                  <a:lnTo>
                    <a:pt x="5538" y="407"/>
                  </a:lnTo>
                  <a:lnTo>
                    <a:pt x="5539" y="411"/>
                  </a:lnTo>
                  <a:lnTo>
                    <a:pt x="5482" y="307"/>
                  </a:lnTo>
                  <a:lnTo>
                    <a:pt x="5485" y="311"/>
                  </a:lnTo>
                  <a:lnTo>
                    <a:pt x="5411" y="220"/>
                  </a:lnTo>
                  <a:lnTo>
                    <a:pt x="5414" y="223"/>
                  </a:lnTo>
                  <a:lnTo>
                    <a:pt x="5323" y="148"/>
                  </a:lnTo>
                  <a:lnTo>
                    <a:pt x="5327" y="151"/>
                  </a:lnTo>
                  <a:lnTo>
                    <a:pt x="5223" y="94"/>
                  </a:lnTo>
                  <a:lnTo>
                    <a:pt x="5227" y="95"/>
                  </a:lnTo>
                  <a:lnTo>
                    <a:pt x="5112" y="59"/>
                  </a:lnTo>
                  <a:lnTo>
                    <a:pt x="5116" y="60"/>
                  </a:lnTo>
                  <a:lnTo>
                    <a:pt x="5057" y="51"/>
                  </a:lnTo>
                  <a:lnTo>
                    <a:pt x="4995" y="48"/>
                  </a:lnTo>
                  <a:lnTo>
                    <a:pt x="640" y="48"/>
                  </a:lnTo>
                  <a:lnTo>
                    <a:pt x="579" y="51"/>
                  </a:lnTo>
                  <a:lnTo>
                    <a:pt x="518" y="60"/>
                  </a:lnTo>
                  <a:lnTo>
                    <a:pt x="522" y="59"/>
                  </a:lnTo>
                  <a:lnTo>
                    <a:pt x="407" y="95"/>
                  </a:lnTo>
                  <a:lnTo>
                    <a:pt x="411" y="94"/>
                  </a:lnTo>
                  <a:lnTo>
                    <a:pt x="307" y="151"/>
                  </a:lnTo>
                  <a:lnTo>
                    <a:pt x="311" y="148"/>
                  </a:lnTo>
                  <a:lnTo>
                    <a:pt x="220" y="223"/>
                  </a:lnTo>
                  <a:lnTo>
                    <a:pt x="223" y="220"/>
                  </a:lnTo>
                  <a:lnTo>
                    <a:pt x="148" y="311"/>
                  </a:lnTo>
                  <a:lnTo>
                    <a:pt x="151" y="307"/>
                  </a:lnTo>
                  <a:lnTo>
                    <a:pt x="94" y="411"/>
                  </a:lnTo>
                  <a:lnTo>
                    <a:pt x="95" y="407"/>
                  </a:lnTo>
                  <a:lnTo>
                    <a:pt x="59" y="522"/>
                  </a:lnTo>
                  <a:lnTo>
                    <a:pt x="60" y="518"/>
                  </a:lnTo>
                  <a:lnTo>
                    <a:pt x="51" y="577"/>
                  </a:lnTo>
                  <a:lnTo>
                    <a:pt x="48" y="638"/>
                  </a:lnTo>
                  <a:lnTo>
                    <a:pt x="48" y="3090"/>
                  </a:lnTo>
                  <a:close/>
                </a:path>
              </a:pathLst>
            </a:custGeom>
            <a:solidFill>
              <a:srgbClr val="969696"/>
            </a:solidFill>
            <a:ln w="0" cap="flat">
              <a:solidFill>
                <a:srgbClr val="96969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69" name="Rectangle 525"/>
            <p:cNvSpPr>
              <a:spLocks noChangeArrowheads="1"/>
            </p:cNvSpPr>
            <p:nvPr/>
          </p:nvSpPr>
          <p:spPr bwMode="auto">
            <a:xfrm>
              <a:off x="2589" y="2354"/>
              <a:ext cx="74" cy="9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4B4B4B"/>
                  </a:solidFill>
                  <a:effectLst/>
                  <a:latin typeface="Arial" pitchFamily="34" charset="0"/>
                  <a:cs typeface="Arial" pitchFamily="34" charset="0"/>
                </a:rPr>
                <a: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83470" name="Rectangle 526"/>
            <p:cNvSpPr>
              <a:spLocks noChangeArrowheads="1"/>
            </p:cNvSpPr>
            <p:nvPr/>
          </p:nvSpPr>
          <p:spPr bwMode="auto">
            <a:xfrm>
              <a:off x="2617" y="2354"/>
              <a:ext cx="738" cy="9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4B4B4B"/>
                  </a:solidFill>
                  <a:effectLst/>
                  <a:latin typeface="Arial" pitchFamily="34" charset="0"/>
                  <a:cs typeface="Arial" pitchFamily="34" charset="0"/>
                </a:rPr>
                <a:t>Service Delivery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83471" name="Rectangle 527"/>
            <p:cNvSpPr>
              <a:spLocks noChangeArrowheads="1"/>
            </p:cNvSpPr>
            <p:nvPr/>
          </p:nvSpPr>
          <p:spPr bwMode="auto">
            <a:xfrm>
              <a:off x="3253" y="2354"/>
              <a:ext cx="585" cy="9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4B4B4B"/>
                  </a:solidFill>
                  <a:effectLst/>
                  <a:latin typeface="Arial" pitchFamily="34" charset="0"/>
                  <a:cs typeface="Arial" pitchFamily="34" charset="0"/>
                </a:rPr>
                <a:t>Managemen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83472" name="Rectangle 528"/>
            <p:cNvSpPr>
              <a:spLocks noChangeArrowheads="1"/>
            </p:cNvSpPr>
            <p:nvPr/>
          </p:nvSpPr>
          <p:spPr bwMode="auto">
            <a:xfrm>
              <a:off x="2589" y="2436"/>
              <a:ext cx="74" cy="9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4B4B4B"/>
                  </a:solidFill>
                  <a:effectLst/>
                  <a:latin typeface="Arial" pitchFamily="34" charset="0"/>
                  <a:cs typeface="Arial" pitchFamily="34" charset="0"/>
                </a:rPr>
                <a: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83473" name="Rectangle 529"/>
            <p:cNvSpPr>
              <a:spLocks noChangeArrowheads="1"/>
            </p:cNvSpPr>
            <p:nvPr/>
          </p:nvSpPr>
          <p:spPr bwMode="auto">
            <a:xfrm>
              <a:off x="2617" y="2436"/>
              <a:ext cx="627" cy="9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rgbClr val="4B4B4B"/>
                  </a:solidFill>
                  <a:effectLst/>
                  <a:latin typeface="Arial" pitchFamily="34" charset="0"/>
                  <a:cs typeface="Arial" pitchFamily="34" charset="0"/>
                </a:rPr>
                <a:t>L2/L3 Support</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3474" name="Rectangle 530"/>
            <p:cNvSpPr>
              <a:spLocks noChangeArrowheads="1"/>
            </p:cNvSpPr>
            <p:nvPr/>
          </p:nvSpPr>
          <p:spPr bwMode="auto">
            <a:xfrm>
              <a:off x="2589" y="2515"/>
              <a:ext cx="74" cy="9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4B4B4B"/>
                  </a:solidFill>
                  <a:effectLst/>
                  <a:latin typeface="Arial" pitchFamily="34" charset="0"/>
                  <a:cs typeface="Arial" pitchFamily="34" charset="0"/>
                </a:rPr>
                <a: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83475" name="Rectangle 531"/>
            <p:cNvSpPr>
              <a:spLocks noChangeArrowheads="1"/>
            </p:cNvSpPr>
            <p:nvPr/>
          </p:nvSpPr>
          <p:spPr bwMode="auto">
            <a:xfrm>
              <a:off x="2617" y="2515"/>
              <a:ext cx="1244" cy="9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4B4B4B"/>
                  </a:solidFill>
                  <a:effectLst/>
                  <a:latin typeface="Arial" pitchFamily="34" charset="0"/>
                  <a:cs typeface="Arial" pitchFamily="34" charset="0"/>
                </a:rPr>
                <a:t>Design, Coding, Testing and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83476" name="Rectangle 532"/>
            <p:cNvSpPr>
              <a:spLocks noChangeArrowheads="1"/>
            </p:cNvSpPr>
            <p:nvPr/>
          </p:nvSpPr>
          <p:spPr bwMode="auto">
            <a:xfrm>
              <a:off x="2589" y="2597"/>
              <a:ext cx="1550" cy="9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4B4B4B"/>
                  </a:solidFill>
                  <a:effectLst/>
                  <a:latin typeface="Arial" pitchFamily="34" charset="0"/>
                  <a:cs typeface="Arial" pitchFamily="34" charset="0"/>
                </a:rPr>
                <a:t>Deployment of Minor Enhancements</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83477" name="Rectangle 533"/>
            <p:cNvSpPr>
              <a:spLocks noChangeArrowheads="1"/>
            </p:cNvSpPr>
            <p:nvPr/>
          </p:nvSpPr>
          <p:spPr bwMode="auto">
            <a:xfrm>
              <a:off x="2589" y="2676"/>
              <a:ext cx="74" cy="9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4B4B4B"/>
                  </a:solidFill>
                  <a:effectLst/>
                  <a:latin typeface="Arial" pitchFamily="34" charset="0"/>
                  <a:cs typeface="Arial" pitchFamily="34" charset="0"/>
                </a:rPr>
                <a: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83478" name="Rectangle 534"/>
            <p:cNvSpPr>
              <a:spLocks noChangeArrowheads="1"/>
            </p:cNvSpPr>
            <p:nvPr/>
          </p:nvSpPr>
          <p:spPr bwMode="auto">
            <a:xfrm>
              <a:off x="2617" y="2676"/>
              <a:ext cx="1476" cy="9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4B4B4B"/>
                  </a:solidFill>
                  <a:effectLst/>
                  <a:latin typeface="Arial" pitchFamily="34" charset="0"/>
                  <a:cs typeface="Arial" pitchFamily="34" charset="0"/>
                </a:rPr>
                <a:t>Continuous Improvement Activities</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83479" name="Rectangle 535"/>
            <p:cNvSpPr>
              <a:spLocks noChangeArrowheads="1"/>
            </p:cNvSpPr>
            <p:nvPr/>
          </p:nvSpPr>
          <p:spPr bwMode="auto">
            <a:xfrm>
              <a:off x="2589" y="2757"/>
              <a:ext cx="74" cy="9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4B4B4B"/>
                  </a:solidFill>
                  <a:effectLst/>
                  <a:latin typeface="Arial" pitchFamily="34" charset="0"/>
                  <a:cs typeface="Arial" pitchFamily="34" charset="0"/>
                </a:rPr>
                <a: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83480" name="Rectangle 536"/>
            <p:cNvSpPr>
              <a:spLocks noChangeArrowheads="1"/>
            </p:cNvSpPr>
            <p:nvPr/>
          </p:nvSpPr>
          <p:spPr bwMode="auto">
            <a:xfrm>
              <a:off x="2617" y="2757"/>
              <a:ext cx="1545" cy="9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4B4B4B"/>
                  </a:solidFill>
                  <a:effectLst/>
                  <a:latin typeface="Arial" pitchFamily="34" charset="0"/>
                  <a:cs typeface="Arial" pitchFamily="34" charset="0"/>
                </a:rPr>
                <a:t>Drive process, tools and technology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83481" name="Rectangle 537"/>
            <p:cNvSpPr>
              <a:spLocks noChangeArrowheads="1"/>
            </p:cNvSpPr>
            <p:nvPr/>
          </p:nvSpPr>
          <p:spPr bwMode="auto">
            <a:xfrm>
              <a:off x="2589" y="2837"/>
              <a:ext cx="371" cy="9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4B4B4B"/>
                  </a:solidFill>
                  <a:effectLst/>
                  <a:latin typeface="Arial" pitchFamily="34" charset="0"/>
                  <a:cs typeface="Arial" pitchFamily="34" charset="0"/>
                </a:rPr>
                <a:t>streams</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83482" name="Freeform 538"/>
            <p:cNvSpPr>
              <a:spLocks/>
            </p:cNvSpPr>
            <p:nvPr/>
          </p:nvSpPr>
          <p:spPr bwMode="auto">
            <a:xfrm>
              <a:off x="2481" y="2088"/>
              <a:ext cx="1620" cy="182"/>
            </a:xfrm>
            <a:custGeom>
              <a:avLst/>
              <a:gdLst/>
              <a:ahLst/>
              <a:cxnLst>
                <a:cxn ang="0">
                  <a:pos x="0" y="134"/>
                </a:cxn>
                <a:cxn ang="0">
                  <a:pos x="134" y="0"/>
                </a:cxn>
                <a:cxn ang="0">
                  <a:pos x="134" y="0"/>
                </a:cxn>
                <a:cxn ang="0">
                  <a:pos x="134" y="0"/>
                </a:cxn>
                <a:cxn ang="0">
                  <a:pos x="5451" y="0"/>
                </a:cxn>
                <a:cxn ang="0">
                  <a:pos x="5451" y="0"/>
                </a:cxn>
                <a:cxn ang="0">
                  <a:pos x="5584" y="134"/>
                </a:cxn>
                <a:cxn ang="0">
                  <a:pos x="5584" y="134"/>
                </a:cxn>
                <a:cxn ang="0">
                  <a:pos x="5584" y="134"/>
                </a:cxn>
                <a:cxn ang="0">
                  <a:pos x="5584" y="667"/>
                </a:cxn>
                <a:cxn ang="0">
                  <a:pos x="5584" y="667"/>
                </a:cxn>
                <a:cxn ang="0">
                  <a:pos x="5451" y="800"/>
                </a:cxn>
                <a:cxn ang="0">
                  <a:pos x="5451" y="800"/>
                </a:cxn>
                <a:cxn ang="0">
                  <a:pos x="5451" y="800"/>
                </a:cxn>
                <a:cxn ang="0">
                  <a:pos x="134" y="800"/>
                </a:cxn>
                <a:cxn ang="0">
                  <a:pos x="134" y="800"/>
                </a:cxn>
                <a:cxn ang="0">
                  <a:pos x="0" y="667"/>
                </a:cxn>
                <a:cxn ang="0">
                  <a:pos x="0" y="667"/>
                </a:cxn>
                <a:cxn ang="0">
                  <a:pos x="0" y="134"/>
                </a:cxn>
              </a:cxnLst>
              <a:rect l="0" t="0" r="r" b="b"/>
              <a:pathLst>
                <a:path w="5584" h="800">
                  <a:moveTo>
                    <a:pt x="0" y="134"/>
                  </a:moveTo>
                  <a:cubicBezTo>
                    <a:pt x="0" y="60"/>
                    <a:pt x="60" y="0"/>
                    <a:pt x="134" y="0"/>
                  </a:cubicBezTo>
                  <a:cubicBezTo>
                    <a:pt x="134" y="0"/>
                    <a:pt x="134" y="0"/>
                    <a:pt x="134" y="0"/>
                  </a:cubicBezTo>
                  <a:lnTo>
                    <a:pt x="134" y="0"/>
                  </a:lnTo>
                  <a:lnTo>
                    <a:pt x="5451" y="0"/>
                  </a:lnTo>
                  <a:lnTo>
                    <a:pt x="5451" y="0"/>
                  </a:lnTo>
                  <a:cubicBezTo>
                    <a:pt x="5525" y="0"/>
                    <a:pt x="5584" y="60"/>
                    <a:pt x="5584" y="134"/>
                  </a:cubicBezTo>
                  <a:cubicBezTo>
                    <a:pt x="5584" y="134"/>
                    <a:pt x="5584" y="134"/>
                    <a:pt x="5584" y="134"/>
                  </a:cubicBezTo>
                  <a:lnTo>
                    <a:pt x="5584" y="134"/>
                  </a:lnTo>
                  <a:lnTo>
                    <a:pt x="5584" y="667"/>
                  </a:lnTo>
                  <a:lnTo>
                    <a:pt x="5584" y="667"/>
                  </a:lnTo>
                  <a:cubicBezTo>
                    <a:pt x="5584" y="741"/>
                    <a:pt x="5525" y="800"/>
                    <a:pt x="5451" y="800"/>
                  </a:cubicBezTo>
                  <a:cubicBezTo>
                    <a:pt x="5451" y="800"/>
                    <a:pt x="5451" y="800"/>
                    <a:pt x="5451" y="800"/>
                  </a:cubicBezTo>
                  <a:lnTo>
                    <a:pt x="5451" y="800"/>
                  </a:lnTo>
                  <a:lnTo>
                    <a:pt x="134" y="800"/>
                  </a:lnTo>
                  <a:lnTo>
                    <a:pt x="134" y="800"/>
                  </a:lnTo>
                  <a:cubicBezTo>
                    <a:pt x="60" y="800"/>
                    <a:pt x="0" y="741"/>
                    <a:pt x="0" y="667"/>
                  </a:cubicBezTo>
                  <a:cubicBezTo>
                    <a:pt x="0" y="667"/>
                    <a:pt x="0" y="667"/>
                    <a:pt x="0" y="667"/>
                  </a:cubicBezTo>
                  <a:lnTo>
                    <a:pt x="0" y="134"/>
                  </a:lnTo>
                  <a:close/>
                </a:path>
              </a:pathLst>
            </a:custGeom>
            <a:solidFill>
              <a:srgbClr val="F5CBA3"/>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83" name="Freeform 539"/>
            <p:cNvSpPr>
              <a:spLocks noEditPoints="1"/>
            </p:cNvSpPr>
            <p:nvPr/>
          </p:nvSpPr>
          <p:spPr bwMode="auto">
            <a:xfrm>
              <a:off x="2474" y="2082"/>
              <a:ext cx="1634" cy="194"/>
            </a:xfrm>
            <a:custGeom>
              <a:avLst/>
              <a:gdLst/>
              <a:ahLst/>
              <a:cxnLst>
                <a:cxn ang="0">
                  <a:pos x="1" y="153"/>
                </a:cxn>
                <a:cxn ang="0">
                  <a:pos x="15" y="93"/>
                </a:cxn>
                <a:cxn ang="0">
                  <a:pos x="50" y="43"/>
                </a:cxn>
                <a:cxn ang="0">
                  <a:pos x="101" y="12"/>
                </a:cxn>
                <a:cxn ang="0">
                  <a:pos x="158" y="0"/>
                </a:cxn>
                <a:cxn ang="0">
                  <a:pos x="5480" y="1"/>
                </a:cxn>
                <a:cxn ang="0">
                  <a:pos x="5541" y="15"/>
                </a:cxn>
                <a:cxn ang="0">
                  <a:pos x="5589" y="50"/>
                </a:cxn>
                <a:cxn ang="0">
                  <a:pos x="5622" y="102"/>
                </a:cxn>
                <a:cxn ang="0">
                  <a:pos x="5632" y="158"/>
                </a:cxn>
                <a:cxn ang="0">
                  <a:pos x="5632" y="696"/>
                </a:cxn>
                <a:cxn ang="0">
                  <a:pos x="5618" y="757"/>
                </a:cxn>
                <a:cxn ang="0">
                  <a:pos x="5583" y="805"/>
                </a:cxn>
                <a:cxn ang="0">
                  <a:pos x="5532" y="838"/>
                </a:cxn>
                <a:cxn ang="0">
                  <a:pos x="5475" y="848"/>
                </a:cxn>
                <a:cxn ang="0">
                  <a:pos x="154" y="848"/>
                </a:cxn>
                <a:cxn ang="0">
                  <a:pos x="93" y="834"/>
                </a:cxn>
                <a:cxn ang="0">
                  <a:pos x="43" y="799"/>
                </a:cxn>
                <a:cxn ang="0">
                  <a:pos x="12" y="748"/>
                </a:cxn>
                <a:cxn ang="0">
                  <a:pos x="0" y="691"/>
                </a:cxn>
                <a:cxn ang="0">
                  <a:pos x="48" y="691"/>
                </a:cxn>
                <a:cxn ang="0">
                  <a:pos x="59" y="738"/>
                </a:cxn>
                <a:cxn ang="0">
                  <a:pos x="83" y="772"/>
                </a:cxn>
                <a:cxn ang="0">
                  <a:pos x="120" y="795"/>
                </a:cxn>
                <a:cxn ang="0">
                  <a:pos x="163" y="801"/>
                </a:cxn>
                <a:cxn ang="0">
                  <a:pos x="5475" y="800"/>
                </a:cxn>
                <a:cxn ang="0">
                  <a:pos x="5523" y="791"/>
                </a:cxn>
                <a:cxn ang="0">
                  <a:pos x="5556" y="766"/>
                </a:cxn>
                <a:cxn ang="0">
                  <a:pos x="5579" y="730"/>
                </a:cxn>
                <a:cxn ang="0">
                  <a:pos x="5585" y="687"/>
                </a:cxn>
                <a:cxn ang="0">
                  <a:pos x="5584" y="158"/>
                </a:cxn>
                <a:cxn ang="0">
                  <a:pos x="5575" y="111"/>
                </a:cxn>
                <a:cxn ang="0">
                  <a:pos x="5550" y="77"/>
                </a:cxn>
                <a:cxn ang="0">
                  <a:pos x="5514" y="55"/>
                </a:cxn>
                <a:cxn ang="0">
                  <a:pos x="5470" y="48"/>
                </a:cxn>
                <a:cxn ang="0">
                  <a:pos x="158" y="48"/>
                </a:cxn>
                <a:cxn ang="0">
                  <a:pos x="111" y="59"/>
                </a:cxn>
                <a:cxn ang="0">
                  <a:pos x="77" y="84"/>
                </a:cxn>
                <a:cxn ang="0">
                  <a:pos x="56" y="120"/>
                </a:cxn>
                <a:cxn ang="0">
                  <a:pos x="48" y="163"/>
                </a:cxn>
                <a:cxn ang="0">
                  <a:pos x="48" y="691"/>
                </a:cxn>
              </a:cxnLst>
              <a:rect l="0" t="0" r="r" b="b"/>
              <a:pathLst>
                <a:path w="5632" h="848">
                  <a:moveTo>
                    <a:pt x="0" y="158"/>
                  </a:moveTo>
                  <a:cubicBezTo>
                    <a:pt x="0" y="157"/>
                    <a:pt x="1" y="155"/>
                    <a:pt x="1" y="153"/>
                  </a:cubicBezTo>
                  <a:lnTo>
                    <a:pt x="12" y="101"/>
                  </a:lnTo>
                  <a:cubicBezTo>
                    <a:pt x="13" y="99"/>
                    <a:pt x="14" y="96"/>
                    <a:pt x="15" y="93"/>
                  </a:cubicBezTo>
                  <a:lnTo>
                    <a:pt x="43" y="50"/>
                  </a:lnTo>
                  <a:cubicBezTo>
                    <a:pt x="45" y="48"/>
                    <a:pt x="48" y="45"/>
                    <a:pt x="50" y="43"/>
                  </a:cubicBezTo>
                  <a:lnTo>
                    <a:pt x="93" y="15"/>
                  </a:lnTo>
                  <a:cubicBezTo>
                    <a:pt x="96" y="14"/>
                    <a:pt x="99" y="13"/>
                    <a:pt x="101" y="12"/>
                  </a:cubicBezTo>
                  <a:lnTo>
                    <a:pt x="153" y="1"/>
                  </a:lnTo>
                  <a:cubicBezTo>
                    <a:pt x="155" y="1"/>
                    <a:pt x="157" y="0"/>
                    <a:pt x="158" y="0"/>
                  </a:cubicBezTo>
                  <a:lnTo>
                    <a:pt x="5475" y="0"/>
                  </a:lnTo>
                  <a:cubicBezTo>
                    <a:pt x="5477" y="0"/>
                    <a:pt x="5479" y="1"/>
                    <a:pt x="5480" y="1"/>
                  </a:cubicBezTo>
                  <a:lnTo>
                    <a:pt x="5532" y="12"/>
                  </a:lnTo>
                  <a:cubicBezTo>
                    <a:pt x="5535" y="13"/>
                    <a:pt x="5538" y="14"/>
                    <a:pt x="5541" y="15"/>
                  </a:cubicBezTo>
                  <a:lnTo>
                    <a:pt x="5583" y="43"/>
                  </a:lnTo>
                  <a:cubicBezTo>
                    <a:pt x="5585" y="45"/>
                    <a:pt x="5588" y="47"/>
                    <a:pt x="5589" y="50"/>
                  </a:cubicBezTo>
                  <a:lnTo>
                    <a:pt x="5618" y="93"/>
                  </a:lnTo>
                  <a:cubicBezTo>
                    <a:pt x="5620" y="96"/>
                    <a:pt x="5621" y="99"/>
                    <a:pt x="5622" y="102"/>
                  </a:cubicBezTo>
                  <a:lnTo>
                    <a:pt x="5632" y="154"/>
                  </a:lnTo>
                  <a:cubicBezTo>
                    <a:pt x="5632" y="155"/>
                    <a:pt x="5632" y="157"/>
                    <a:pt x="5632" y="158"/>
                  </a:cubicBezTo>
                  <a:lnTo>
                    <a:pt x="5632" y="691"/>
                  </a:lnTo>
                  <a:cubicBezTo>
                    <a:pt x="5632" y="693"/>
                    <a:pt x="5632" y="695"/>
                    <a:pt x="5632" y="696"/>
                  </a:cubicBezTo>
                  <a:lnTo>
                    <a:pt x="5622" y="748"/>
                  </a:lnTo>
                  <a:cubicBezTo>
                    <a:pt x="5621" y="751"/>
                    <a:pt x="5620" y="754"/>
                    <a:pt x="5618" y="757"/>
                  </a:cubicBezTo>
                  <a:lnTo>
                    <a:pt x="5589" y="799"/>
                  </a:lnTo>
                  <a:cubicBezTo>
                    <a:pt x="5588" y="801"/>
                    <a:pt x="5585" y="804"/>
                    <a:pt x="5583" y="805"/>
                  </a:cubicBezTo>
                  <a:lnTo>
                    <a:pt x="5541" y="834"/>
                  </a:lnTo>
                  <a:cubicBezTo>
                    <a:pt x="5538" y="836"/>
                    <a:pt x="5535" y="837"/>
                    <a:pt x="5532" y="838"/>
                  </a:cubicBezTo>
                  <a:lnTo>
                    <a:pt x="5480" y="848"/>
                  </a:lnTo>
                  <a:cubicBezTo>
                    <a:pt x="5479" y="848"/>
                    <a:pt x="5477" y="848"/>
                    <a:pt x="5475" y="848"/>
                  </a:cubicBezTo>
                  <a:lnTo>
                    <a:pt x="158" y="848"/>
                  </a:lnTo>
                  <a:cubicBezTo>
                    <a:pt x="157" y="848"/>
                    <a:pt x="155" y="848"/>
                    <a:pt x="154" y="848"/>
                  </a:cubicBezTo>
                  <a:lnTo>
                    <a:pt x="102" y="838"/>
                  </a:lnTo>
                  <a:cubicBezTo>
                    <a:pt x="99" y="837"/>
                    <a:pt x="96" y="836"/>
                    <a:pt x="93" y="834"/>
                  </a:cubicBezTo>
                  <a:lnTo>
                    <a:pt x="50" y="805"/>
                  </a:lnTo>
                  <a:cubicBezTo>
                    <a:pt x="47" y="804"/>
                    <a:pt x="45" y="801"/>
                    <a:pt x="43" y="799"/>
                  </a:cubicBezTo>
                  <a:lnTo>
                    <a:pt x="15" y="757"/>
                  </a:lnTo>
                  <a:cubicBezTo>
                    <a:pt x="14" y="754"/>
                    <a:pt x="13" y="751"/>
                    <a:pt x="12" y="748"/>
                  </a:cubicBezTo>
                  <a:lnTo>
                    <a:pt x="1" y="696"/>
                  </a:lnTo>
                  <a:cubicBezTo>
                    <a:pt x="1" y="695"/>
                    <a:pt x="0" y="693"/>
                    <a:pt x="0" y="691"/>
                  </a:cubicBezTo>
                  <a:lnTo>
                    <a:pt x="0" y="158"/>
                  </a:lnTo>
                  <a:close/>
                  <a:moveTo>
                    <a:pt x="48" y="691"/>
                  </a:moveTo>
                  <a:lnTo>
                    <a:pt x="48" y="686"/>
                  </a:lnTo>
                  <a:lnTo>
                    <a:pt x="59" y="738"/>
                  </a:lnTo>
                  <a:lnTo>
                    <a:pt x="55" y="730"/>
                  </a:lnTo>
                  <a:lnTo>
                    <a:pt x="83" y="772"/>
                  </a:lnTo>
                  <a:lnTo>
                    <a:pt x="77" y="766"/>
                  </a:lnTo>
                  <a:lnTo>
                    <a:pt x="120" y="795"/>
                  </a:lnTo>
                  <a:lnTo>
                    <a:pt x="111" y="791"/>
                  </a:lnTo>
                  <a:lnTo>
                    <a:pt x="163" y="801"/>
                  </a:lnTo>
                  <a:lnTo>
                    <a:pt x="158" y="800"/>
                  </a:lnTo>
                  <a:lnTo>
                    <a:pt x="5475" y="800"/>
                  </a:lnTo>
                  <a:lnTo>
                    <a:pt x="5471" y="801"/>
                  </a:lnTo>
                  <a:lnTo>
                    <a:pt x="5523" y="791"/>
                  </a:lnTo>
                  <a:lnTo>
                    <a:pt x="5514" y="795"/>
                  </a:lnTo>
                  <a:lnTo>
                    <a:pt x="5556" y="766"/>
                  </a:lnTo>
                  <a:lnTo>
                    <a:pt x="5550" y="772"/>
                  </a:lnTo>
                  <a:lnTo>
                    <a:pt x="5579" y="730"/>
                  </a:lnTo>
                  <a:lnTo>
                    <a:pt x="5575" y="739"/>
                  </a:lnTo>
                  <a:lnTo>
                    <a:pt x="5585" y="687"/>
                  </a:lnTo>
                  <a:lnTo>
                    <a:pt x="5584" y="691"/>
                  </a:lnTo>
                  <a:lnTo>
                    <a:pt x="5584" y="158"/>
                  </a:lnTo>
                  <a:lnTo>
                    <a:pt x="5585" y="163"/>
                  </a:lnTo>
                  <a:lnTo>
                    <a:pt x="5575" y="111"/>
                  </a:lnTo>
                  <a:lnTo>
                    <a:pt x="5579" y="120"/>
                  </a:lnTo>
                  <a:lnTo>
                    <a:pt x="5550" y="77"/>
                  </a:lnTo>
                  <a:lnTo>
                    <a:pt x="5556" y="83"/>
                  </a:lnTo>
                  <a:lnTo>
                    <a:pt x="5514" y="55"/>
                  </a:lnTo>
                  <a:lnTo>
                    <a:pt x="5522" y="59"/>
                  </a:lnTo>
                  <a:lnTo>
                    <a:pt x="5470" y="48"/>
                  </a:lnTo>
                  <a:lnTo>
                    <a:pt x="5475" y="48"/>
                  </a:lnTo>
                  <a:lnTo>
                    <a:pt x="158" y="48"/>
                  </a:lnTo>
                  <a:lnTo>
                    <a:pt x="163" y="48"/>
                  </a:lnTo>
                  <a:lnTo>
                    <a:pt x="111" y="59"/>
                  </a:lnTo>
                  <a:lnTo>
                    <a:pt x="120" y="56"/>
                  </a:lnTo>
                  <a:lnTo>
                    <a:pt x="77" y="84"/>
                  </a:lnTo>
                  <a:lnTo>
                    <a:pt x="84" y="77"/>
                  </a:lnTo>
                  <a:lnTo>
                    <a:pt x="56" y="120"/>
                  </a:lnTo>
                  <a:lnTo>
                    <a:pt x="59" y="111"/>
                  </a:lnTo>
                  <a:lnTo>
                    <a:pt x="48" y="163"/>
                  </a:lnTo>
                  <a:lnTo>
                    <a:pt x="48" y="158"/>
                  </a:lnTo>
                  <a:lnTo>
                    <a:pt x="48" y="691"/>
                  </a:lnTo>
                  <a:close/>
                </a:path>
              </a:pathLst>
            </a:custGeom>
            <a:solidFill>
              <a:srgbClr val="969696"/>
            </a:solidFill>
            <a:ln w="0" cap="flat">
              <a:solidFill>
                <a:srgbClr val="96969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84" name="Rectangle 540"/>
            <p:cNvSpPr>
              <a:spLocks noChangeArrowheads="1"/>
            </p:cNvSpPr>
            <p:nvPr/>
          </p:nvSpPr>
          <p:spPr bwMode="auto">
            <a:xfrm>
              <a:off x="3064" y="2135"/>
              <a:ext cx="519" cy="12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4B4B4B"/>
                  </a:solidFill>
                  <a:effectLst/>
                  <a:latin typeface="Arial" pitchFamily="34" charset="0"/>
                  <a:cs typeface="Arial" pitchFamily="34" charset="0"/>
                </a:rPr>
                <a:t>Offshore</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grpSp>
      <p:sp>
        <p:nvSpPr>
          <p:cNvPr id="542" name="TextBox 541"/>
          <p:cNvSpPr txBox="1"/>
          <p:nvPr/>
        </p:nvSpPr>
        <p:spPr>
          <a:xfrm>
            <a:off x="446558" y="5050439"/>
            <a:ext cx="8176437" cy="1323439"/>
          </a:xfrm>
          <a:prstGeom prst="rect">
            <a:avLst/>
          </a:prstGeom>
          <a:noFill/>
          <a:ln>
            <a:solidFill>
              <a:schemeClr val="accent1"/>
            </a:solidFill>
          </a:ln>
        </p:spPr>
        <p:txBody>
          <a:bodyPr wrap="square" rtlCol="0">
            <a:spAutoFit/>
          </a:bodyPr>
          <a:lstStyle/>
          <a:p>
            <a:pPr>
              <a:spcAft>
                <a:spcPts val="600"/>
              </a:spcAft>
            </a:pPr>
            <a:r>
              <a:rPr lang="en-US" sz="1200" b="1" u="sng" dirty="0" smtClean="0">
                <a:latin typeface="Calibri" pitchFamily="34" charset="0"/>
              </a:rPr>
              <a:t>Assumptions:</a:t>
            </a:r>
          </a:p>
          <a:p>
            <a:pPr>
              <a:spcAft>
                <a:spcPts val="600"/>
              </a:spcAft>
            </a:pPr>
            <a:r>
              <a:rPr lang="en-US" sz="1200" dirty="0" smtClean="0">
                <a:latin typeface="Calibri" pitchFamily="34" charset="0"/>
              </a:rPr>
              <a:t>English is the only language of communication and support</a:t>
            </a:r>
            <a:endParaRPr lang="en-US" sz="1200" dirty="0" smtClean="0">
              <a:solidFill>
                <a:srgbClr val="000000"/>
              </a:solidFill>
              <a:latin typeface="Calibri" pitchFamily="34" charset="0"/>
            </a:endParaRPr>
          </a:p>
          <a:p>
            <a:pPr>
              <a:spcAft>
                <a:spcPts val="600"/>
              </a:spcAft>
            </a:pPr>
            <a:r>
              <a:rPr lang="en-US" sz="1200" dirty="0" smtClean="0">
                <a:latin typeface="Calibri" pitchFamily="34" charset="0"/>
              </a:rPr>
              <a:t>Geographies to be supported are Asia, America</a:t>
            </a:r>
          </a:p>
          <a:p>
            <a:pPr>
              <a:spcAft>
                <a:spcPts val="600"/>
              </a:spcAft>
            </a:pPr>
            <a:r>
              <a:rPr lang="en-US" sz="1200" dirty="0" smtClean="0">
                <a:latin typeface="Calibri" pitchFamily="34" charset="0"/>
              </a:rPr>
              <a:t>24*7 support for P1 tickets and 16*5 support for other ticket categories is provided through a combination of in office and on call</a:t>
            </a:r>
            <a:endParaRPr lang="en-US" sz="1200" dirty="0" smtClean="0">
              <a:solidFill>
                <a:srgbClr val="000000"/>
              </a:solidFill>
              <a:latin typeface="Calibri" pitchFamily="34" charset="0"/>
            </a:endParaRPr>
          </a:p>
          <a:p>
            <a:pPr>
              <a:spcAft>
                <a:spcPts val="600"/>
              </a:spcAft>
            </a:pPr>
            <a:endParaRPr lang="en-US" sz="1200" dirty="0" err="1" smtClean="0">
              <a:latin typeface="Arial" pitchFamily="34" charset="0"/>
              <a:cs typeface="Arial" pitchFamily="34" charset="0"/>
            </a:endParaRPr>
          </a:p>
        </p:txBody>
      </p:sp>
    </p:spTree>
    <p:extLst>
      <p:ext uri="{BB962C8B-B14F-4D97-AF65-F5344CB8AC3E}">
        <p14:creationId xmlns:p14="http://schemas.microsoft.com/office/powerpoint/2010/main" val="241236900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p:cNvSpPr>
            <a:spLocks noGrp="1"/>
          </p:cNvSpPr>
          <p:nvPr>
            <p:ph type="title"/>
          </p:nvPr>
        </p:nvSpPr>
        <p:spPr>
          <a:noFill/>
          <a:ln w="9525" algn="ctr">
            <a:noFill/>
            <a:miter lim="800000"/>
            <a:headEnd/>
            <a:tailEnd/>
          </a:ln>
          <a:effectLst/>
        </p:spPr>
        <p:txBody>
          <a:bodyPr vert="horz" wrap="square" lIns="274320" tIns="36576" rIns="0" bIns="0" numCol="1" anchor="ctr" anchorCtr="0" compatLnSpc="1">
            <a:prstTxWarp prst="textNoShape">
              <a:avLst/>
            </a:prstTxWarp>
          </a:bodyPr>
          <a:lstStyle/>
          <a:p>
            <a:r>
              <a:rPr lang="en-GB" b="0" dirty="0">
                <a:solidFill>
                  <a:srgbClr val="0098C7"/>
                </a:solidFill>
              </a:rPr>
              <a:t>Proposed Service Levels</a:t>
            </a:r>
          </a:p>
        </p:txBody>
      </p:sp>
      <p:sp>
        <p:nvSpPr>
          <p:cNvPr id="433" name="Rectangle 24"/>
          <p:cNvSpPr>
            <a:spLocks noChangeArrowheads="1"/>
          </p:cNvSpPr>
          <p:nvPr/>
        </p:nvSpPr>
        <p:spPr bwMode="auto">
          <a:xfrm>
            <a:off x="318149" y="1480456"/>
            <a:ext cx="1232330" cy="777240"/>
          </a:xfrm>
          <a:prstGeom prst="roundRect">
            <a:avLst>
              <a:gd name="adj" fmla="val 7489"/>
            </a:avLst>
          </a:prstGeom>
          <a:solidFill>
            <a:schemeClr val="bg2"/>
          </a:solidFill>
          <a:ln w="9525">
            <a:solidFill>
              <a:schemeClr val="bg2"/>
            </a:solidFill>
            <a:miter lim="800000"/>
            <a:headEnd/>
            <a:tailEnd/>
          </a:ln>
        </p:spPr>
        <p:txBody>
          <a:bodyPr wrap="none" anchor="ctr"/>
          <a:lstStyle/>
          <a:p>
            <a:pPr eaLnBrk="0" hangingPunct="0">
              <a:defRPr/>
            </a:pPr>
            <a:endParaRPr lang="en-GB" sz="1200" b="1" kern="0" dirty="0">
              <a:solidFill>
                <a:prstClr val="white"/>
              </a:solidFill>
            </a:endParaRPr>
          </a:p>
        </p:txBody>
      </p:sp>
      <p:sp>
        <p:nvSpPr>
          <p:cNvPr id="434" name="AutoShape 186"/>
          <p:cNvSpPr>
            <a:spLocks noChangeArrowheads="1"/>
          </p:cNvSpPr>
          <p:nvPr/>
        </p:nvSpPr>
        <p:spPr bwMode="gray">
          <a:xfrm>
            <a:off x="318149" y="2327148"/>
            <a:ext cx="1184080" cy="2976372"/>
          </a:xfrm>
          <a:prstGeom prst="roundRect">
            <a:avLst>
              <a:gd name="adj" fmla="val 4376"/>
            </a:avLst>
          </a:prstGeom>
          <a:solidFill>
            <a:schemeClr val="accent5"/>
          </a:solidFill>
          <a:ln w="9525">
            <a:solidFill>
              <a:schemeClr val="accent5"/>
            </a:solidFill>
            <a:round/>
            <a:headEnd/>
            <a:tailEnd/>
          </a:ln>
          <a:effectLst/>
        </p:spPr>
        <p:txBody>
          <a:bodyPr anchor="ctr"/>
          <a:lstStyle/>
          <a:p>
            <a:pPr algn="ctr" eaLnBrk="0" hangingPunct="0">
              <a:defRPr/>
            </a:pPr>
            <a:r>
              <a:rPr lang="en-GB" sz="1200" b="1" kern="0" dirty="0" smtClean="0">
                <a:solidFill>
                  <a:prstClr val="white"/>
                </a:solidFill>
              </a:rPr>
              <a:t>Application Management </a:t>
            </a:r>
          </a:p>
          <a:p>
            <a:pPr algn="ctr" eaLnBrk="0" hangingPunct="0">
              <a:defRPr/>
            </a:pPr>
            <a:r>
              <a:rPr lang="en-GB" sz="1200" b="1" kern="0" dirty="0" smtClean="0">
                <a:solidFill>
                  <a:prstClr val="white"/>
                </a:solidFill>
              </a:rPr>
              <a:t>SLAs for Incidents</a:t>
            </a:r>
            <a:endParaRPr lang="en-GB" sz="1200" b="1" kern="0" dirty="0">
              <a:solidFill>
                <a:prstClr val="white"/>
              </a:solidFill>
            </a:endParaRPr>
          </a:p>
        </p:txBody>
      </p:sp>
      <p:sp>
        <p:nvSpPr>
          <p:cNvPr id="436" name="Rectangle 24"/>
          <p:cNvSpPr>
            <a:spLocks noChangeArrowheads="1"/>
          </p:cNvSpPr>
          <p:nvPr/>
        </p:nvSpPr>
        <p:spPr bwMode="auto">
          <a:xfrm>
            <a:off x="1640135" y="1480456"/>
            <a:ext cx="7174523" cy="777240"/>
          </a:xfrm>
          <a:prstGeom prst="roundRect">
            <a:avLst>
              <a:gd name="adj" fmla="val 7489"/>
            </a:avLst>
          </a:prstGeom>
          <a:solidFill>
            <a:schemeClr val="bg1">
              <a:lumMod val="95000"/>
            </a:schemeClr>
          </a:solidFill>
          <a:ln w="9525">
            <a:solidFill>
              <a:schemeClr val="accent5"/>
            </a:solidFill>
            <a:miter lim="800000"/>
            <a:headEnd/>
            <a:tailEnd/>
          </a:ln>
        </p:spPr>
        <p:txBody>
          <a:bodyPr wrap="none" anchor="ctr"/>
          <a:lstStyle/>
          <a:p>
            <a:pPr eaLnBrk="0" hangingPunct="0">
              <a:defRPr/>
            </a:pPr>
            <a:endParaRPr lang="en-GB" sz="1000" b="1" kern="0" dirty="0">
              <a:solidFill>
                <a:prstClr val="white"/>
              </a:solidFill>
            </a:endParaRPr>
          </a:p>
        </p:txBody>
      </p:sp>
      <p:sp>
        <p:nvSpPr>
          <p:cNvPr id="437" name="Text Box 42"/>
          <p:cNvSpPr txBox="1">
            <a:spLocks noChangeArrowheads="1"/>
          </p:cNvSpPr>
          <p:nvPr/>
        </p:nvSpPr>
        <p:spPr bwMode="auto">
          <a:xfrm>
            <a:off x="3684640" y="2011475"/>
            <a:ext cx="1181686" cy="246221"/>
          </a:xfrm>
          <a:prstGeom prst="rect">
            <a:avLst/>
          </a:prstGeom>
          <a:noFill/>
          <a:ln w="12700">
            <a:noFill/>
            <a:miter lim="800000"/>
            <a:headEnd type="none" w="sm" len="sm"/>
            <a:tailEnd type="none" w="sm" len="sm"/>
          </a:ln>
        </p:spPr>
        <p:txBody>
          <a:bodyPr>
            <a:spAutoFit/>
          </a:bodyPr>
          <a:lstStyle/>
          <a:p>
            <a:pPr algn="ctr" eaLnBrk="0" hangingPunct="0">
              <a:defRPr/>
            </a:pPr>
            <a:r>
              <a:rPr lang="en-GB" sz="1000" b="1" kern="0" dirty="0" smtClean="0">
                <a:solidFill>
                  <a:srgbClr val="9F958F">
                    <a:lumMod val="50000"/>
                  </a:srgbClr>
                </a:solidFill>
              </a:rPr>
              <a:t>Service Reviews</a:t>
            </a:r>
            <a:endParaRPr lang="en-GB" sz="1000" b="1" kern="0" dirty="0">
              <a:solidFill>
                <a:srgbClr val="9F958F">
                  <a:lumMod val="50000"/>
                </a:srgbClr>
              </a:solidFill>
            </a:endParaRPr>
          </a:p>
        </p:txBody>
      </p:sp>
      <p:sp>
        <p:nvSpPr>
          <p:cNvPr id="438" name="Text Box 40"/>
          <p:cNvSpPr txBox="1">
            <a:spLocks noChangeArrowheads="1"/>
          </p:cNvSpPr>
          <p:nvPr/>
        </p:nvSpPr>
        <p:spPr bwMode="auto">
          <a:xfrm>
            <a:off x="5588467" y="2011475"/>
            <a:ext cx="1181686" cy="246221"/>
          </a:xfrm>
          <a:prstGeom prst="rect">
            <a:avLst/>
          </a:prstGeom>
          <a:noFill/>
          <a:ln w="12700" algn="ctr">
            <a:noFill/>
            <a:miter lim="800000"/>
            <a:headEnd type="none" w="sm" len="sm"/>
            <a:tailEnd type="none" w="sm" len="sm"/>
          </a:ln>
        </p:spPr>
        <p:txBody>
          <a:bodyPr>
            <a:spAutoFit/>
          </a:bodyPr>
          <a:lstStyle/>
          <a:p>
            <a:pPr algn="ctr" eaLnBrk="0" hangingPunct="0">
              <a:defRPr/>
            </a:pPr>
            <a:r>
              <a:rPr lang="en-GB" sz="1000" b="1" kern="0" dirty="0" smtClean="0">
                <a:solidFill>
                  <a:srgbClr val="9F958F">
                    <a:lumMod val="50000"/>
                  </a:srgbClr>
                </a:solidFill>
              </a:rPr>
              <a:t>Service Metrics</a:t>
            </a:r>
            <a:endParaRPr lang="en-GB" sz="1000" b="1" kern="0" dirty="0">
              <a:solidFill>
                <a:srgbClr val="9F958F">
                  <a:lumMod val="50000"/>
                </a:srgbClr>
              </a:solidFill>
            </a:endParaRPr>
          </a:p>
        </p:txBody>
      </p:sp>
      <p:sp>
        <p:nvSpPr>
          <p:cNvPr id="439" name="Text Box 41"/>
          <p:cNvSpPr txBox="1">
            <a:spLocks noChangeArrowheads="1"/>
          </p:cNvSpPr>
          <p:nvPr/>
        </p:nvSpPr>
        <p:spPr bwMode="auto">
          <a:xfrm>
            <a:off x="7492295" y="2011475"/>
            <a:ext cx="1181686" cy="246221"/>
          </a:xfrm>
          <a:prstGeom prst="rect">
            <a:avLst/>
          </a:prstGeom>
          <a:noFill/>
          <a:ln w="12700" algn="ctr">
            <a:noFill/>
            <a:miter lim="800000"/>
            <a:headEnd type="none" w="sm" len="sm"/>
            <a:tailEnd type="none" w="sm" len="sm"/>
          </a:ln>
        </p:spPr>
        <p:txBody>
          <a:bodyPr>
            <a:spAutoFit/>
          </a:bodyPr>
          <a:lstStyle/>
          <a:p>
            <a:pPr algn="ctr" eaLnBrk="0" hangingPunct="0">
              <a:defRPr/>
            </a:pPr>
            <a:r>
              <a:rPr lang="en-GB" sz="1000" b="1" kern="0" dirty="0" smtClean="0">
                <a:solidFill>
                  <a:srgbClr val="9F958F">
                    <a:lumMod val="50000"/>
                  </a:srgbClr>
                </a:solidFill>
              </a:rPr>
              <a:t>Service Reports</a:t>
            </a:r>
            <a:endParaRPr lang="en-GB" sz="1000" b="1" kern="0" dirty="0">
              <a:solidFill>
                <a:srgbClr val="9F958F">
                  <a:lumMod val="50000"/>
                </a:srgbClr>
              </a:solidFill>
            </a:endParaRPr>
          </a:p>
        </p:txBody>
      </p:sp>
      <p:sp>
        <p:nvSpPr>
          <p:cNvPr id="440" name="Text Box 46"/>
          <p:cNvSpPr txBox="1">
            <a:spLocks noChangeArrowheads="1"/>
          </p:cNvSpPr>
          <p:nvPr/>
        </p:nvSpPr>
        <p:spPr bwMode="auto">
          <a:xfrm>
            <a:off x="1793875" y="1933303"/>
            <a:ext cx="1181686" cy="400110"/>
          </a:xfrm>
          <a:prstGeom prst="rect">
            <a:avLst/>
          </a:prstGeom>
          <a:noFill/>
          <a:ln w="12700" algn="ctr">
            <a:noFill/>
            <a:miter lim="800000"/>
            <a:headEnd type="none" w="sm" len="sm"/>
            <a:tailEnd type="none" w="sm" len="sm"/>
          </a:ln>
        </p:spPr>
        <p:txBody>
          <a:bodyPr wrap="square">
            <a:spAutoFit/>
          </a:bodyPr>
          <a:lstStyle/>
          <a:p>
            <a:pPr algn="ctr" eaLnBrk="0" hangingPunct="0">
              <a:defRPr/>
            </a:pPr>
            <a:r>
              <a:rPr lang="en-GB" sz="1000" b="1" kern="0" dirty="0" smtClean="0">
                <a:solidFill>
                  <a:srgbClr val="9F958F">
                    <a:lumMod val="50000"/>
                  </a:srgbClr>
                </a:solidFill>
              </a:rPr>
              <a:t>Service Planning</a:t>
            </a:r>
            <a:endParaRPr lang="en-GB" sz="1000" b="1" kern="0" dirty="0">
              <a:solidFill>
                <a:srgbClr val="9F958F">
                  <a:lumMod val="50000"/>
                </a:srgbClr>
              </a:solidFill>
            </a:endParaRPr>
          </a:p>
        </p:txBody>
      </p:sp>
      <p:pic>
        <p:nvPicPr>
          <p:cNvPr id="441" name="Picture 39" descr="peopelsitting"/>
          <p:cNvPicPr>
            <a:picLocks noChangeAspect="1" noChangeArrowheads="1"/>
          </p:cNvPicPr>
          <p:nvPr/>
        </p:nvPicPr>
        <p:blipFill>
          <a:blip r:embed="rId2" cstate="print"/>
          <a:stretch>
            <a:fillRect/>
          </a:stretch>
        </p:blipFill>
        <p:spPr bwMode="auto">
          <a:xfrm>
            <a:off x="3923790" y="1551571"/>
            <a:ext cx="703385" cy="457200"/>
          </a:xfrm>
          <a:prstGeom prst="rect">
            <a:avLst/>
          </a:prstGeom>
          <a:noFill/>
          <a:ln w="9525">
            <a:noFill/>
            <a:miter lim="800000"/>
            <a:headEnd/>
            <a:tailEnd/>
          </a:ln>
        </p:spPr>
      </p:pic>
      <p:pic>
        <p:nvPicPr>
          <p:cNvPr id="442" name="Picture 44" descr="servicemet"/>
          <p:cNvPicPr>
            <a:picLocks noChangeAspect="1" noChangeArrowheads="1"/>
          </p:cNvPicPr>
          <p:nvPr/>
        </p:nvPicPr>
        <p:blipFill>
          <a:blip r:embed="rId3" cstate="print"/>
          <a:stretch>
            <a:fillRect/>
          </a:stretch>
        </p:blipFill>
        <p:spPr bwMode="auto">
          <a:xfrm>
            <a:off x="5817067" y="1551571"/>
            <a:ext cx="724486" cy="457200"/>
          </a:xfrm>
          <a:prstGeom prst="rect">
            <a:avLst/>
          </a:prstGeom>
          <a:noFill/>
          <a:ln w="9525">
            <a:noFill/>
            <a:miter lim="800000"/>
            <a:headEnd/>
            <a:tailEnd/>
          </a:ln>
        </p:spPr>
      </p:pic>
      <p:pic>
        <p:nvPicPr>
          <p:cNvPr id="443" name="Picture 45" descr="servicreports"/>
          <p:cNvPicPr>
            <a:picLocks noChangeAspect="1" noChangeArrowheads="1"/>
          </p:cNvPicPr>
          <p:nvPr/>
        </p:nvPicPr>
        <p:blipFill>
          <a:blip r:embed="rId4" cstate="print"/>
          <a:stretch>
            <a:fillRect/>
          </a:stretch>
        </p:blipFill>
        <p:spPr bwMode="auto">
          <a:xfrm>
            <a:off x="7733753" y="1548063"/>
            <a:ext cx="698772" cy="457200"/>
          </a:xfrm>
          <a:prstGeom prst="rect">
            <a:avLst/>
          </a:prstGeom>
          <a:noFill/>
          <a:ln w="9525">
            <a:noFill/>
            <a:miter lim="800000"/>
            <a:headEnd/>
            <a:tailEnd/>
          </a:ln>
        </p:spPr>
      </p:pic>
      <p:pic>
        <p:nvPicPr>
          <p:cNvPr id="444" name="Picture 43" descr="planning"/>
          <p:cNvPicPr>
            <a:picLocks noChangeAspect="1" noChangeArrowheads="1"/>
          </p:cNvPicPr>
          <p:nvPr/>
        </p:nvPicPr>
        <p:blipFill>
          <a:blip r:embed="rId5" cstate="print"/>
          <a:stretch>
            <a:fillRect/>
          </a:stretch>
        </p:blipFill>
        <p:spPr bwMode="auto">
          <a:xfrm>
            <a:off x="1945923" y="1549037"/>
            <a:ext cx="851466" cy="457200"/>
          </a:xfrm>
          <a:prstGeom prst="rect">
            <a:avLst/>
          </a:prstGeom>
          <a:noFill/>
          <a:ln w="9525">
            <a:noFill/>
            <a:miter lim="800000"/>
            <a:headEnd/>
            <a:tailEnd/>
          </a:ln>
        </p:spPr>
      </p:pic>
      <p:grpSp>
        <p:nvGrpSpPr>
          <p:cNvPr id="2" name="Group 444"/>
          <p:cNvGrpSpPr/>
          <p:nvPr/>
        </p:nvGrpSpPr>
        <p:grpSpPr>
          <a:xfrm>
            <a:off x="591599" y="1513164"/>
            <a:ext cx="685431" cy="711824"/>
            <a:chOff x="640898" y="1513164"/>
            <a:chExt cx="742550" cy="711824"/>
          </a:xfrm>
        </p:grpSpPr>
        <p:pic>
          <p:nvPicPr>
            <p:cNvPr id="446" name="Picture 29" descr="shakehands"/>
            <p:cNvPicPr>
              <a:picLocks noChangeAspect="1" noChangeArrowheads="1"/>
            </p:cNvPicPr>
            <p:nvPr/>
          </p:nvPicPr>
          <p:blipFill>
            <a:blip r:embed="rId6" cstate="print"/>
            <a:srcRect/>
            <a:stretch>
              <a:fillRect/>
            </a:stretch>
          </p:blipFill>
          <p:spPr bwMode="auto">
            <a:xfrm>
              <a:off x="804771" y="1669356"/>
              <a:ext cx="419925" cy="405842"/>
            </a:xfrm>
            <a:prstGeom prst="rect">
              <a:avLst/>
            </a:prstGeom>
            <a:noFill/>
            <a:ln w="9525">
              <a:noFill/>
              <a:miter lim="800000"/>
              <a:headEnd/>
              <a:tailEnd/>
            </a:ln>
          </p:spPr>
        </p:pic>
        <p:sp>
          <p:nvSpPr>
            <p:cNvPr id="447" name="Freeform 30"/>
            <p:cNvSpPr>
              <a:spLocks/>
            </p:cNvSpPr>
            <p:nvPr/>
          </p:nvSpPr>
          <p:spPr bwMode="auto">
            <a:xfrm>
              <a:off x="707471" y="1549011"/>
              <a:ext cx="267574" cy="249650"/>
            </a:xfrm>
            <a:custGeom>
              <a:avLst/>
              <a:gdLst>
                <a:gd name="T0" fmla="*/ 0 w 1010"/>
                <a:gd name="T1" fmla="*/ 28 h 1007"/>
                <a:gd name="T2" fmla="*/ 0 w 1010"/>
                <a:gd name="T3" fmla="*/ 27 h 1007"/>
                <a:gd name="T4" fmla="*/ 1 w 1010"/>
                <a:gd name="T5" fmla="*/ 26 h 1007"/>
                <a:gd name="T6" fmla="*/ 1 w 1010"/>
                <a:gd name="T7" fmla="*/ 26 h 1007"/>
                <a:gd name="T8" fmla="*/ 1 w 1010"/>
                <a:gd name="T9" fmla="*/ 25 h 1007"/>
                <a:gd name="T10" fmla="*/ 2 w 1010"/>
                <a:gd name="T11" fmla="*/ 25 h 1007"/>
                <a:gd name="T12" fmla="*/ 2 w 1010"/>
                <a:gd name="T13" fmla="*/ 24 h 1007"/>
                <a:gd name="T14" fmla="*/ 2 w 1010"/>
                <a:gd name="T15" fmla="*/ 24 h 1007"/>
                <a:gd name="T16" fmla="*/ 2 w 1010"/>
                <a:gd name="T17" fmla="*/ 23 h 1007"/>
                <a:gd name="T18" fmla="*/ 3 w 1010"/>
                <a:gd name="T19" fmla="*/ 22 h 1007"/>
                <a:gd name="T20" fmla="*/ 3 w 1010"/>
                <a:gd name="T21" fmla="*/ 21 h 1007"/>
                <a:gd name="T22" fmla="*/ 4 w 1010"/>
                <a:gd name="T23" fmla="*/ 21 h 1007"/>
                <a:gd name="T24" fmla="*/ 4 w 1010"/>
                <a:gd name="T25" fmla="*/ 20 h 1007"/>
                <a:gd name="T26" fmla="*/ 4 w 1010"/>
                <a:gd name="T27" fmla="*/ 20 h 1007"/>
                <a:gd name="T28" fmla="*/ 5 w 1010"/>
                <a:gd name="T29" fmla="*/ 19 h 1007"/>
                <a:gd name="T30" fmla="*/ 5 w 1010"/>
                <a:gd name="T31" fmla="*/ 18 h 1007"/>
                <a:gd name="T32" fmla="*/ 6 w 1010"/>
                <a:gd name="T33" fmla="*/ 17 h 1007"/>
                <a:gd name="T34" fmla="*/ 6 w 1010"/>
                <a:gd name="T35" fmla="*/ 17 h 1007"/>
                <a:gd name="T36" fmla="*/ 7 w 1010"/>
                <a:gd name="T37" fmla="*/ 16 h 1007"/>
                <a:gd name="T38" fmla="*/ 7 w 1010"/>
                <a:gd name="T39" fmla="*/ 15 h 1007"/>
                <a:gd name="T40" fmla="*/ 8 w 1010"/>
                <a:gd name="T41" fmla="*/ 15 h 1007"/>
                <a:gd name="T42" fmla="*/ 8 w 1010"/>
                <a:gd name="T43" fmla="*/ 14 h 1007"/>
                <a:gd name="T44" fmla="*/ 9 w 1010"/>
                <a:gd name="T45" fmla="*/ 14 h 1007"/>
                <a:gd name="T46" fmla="*/ 10 w 1010"/>
                <a:gd name="T47" fmla="*/ 13 h 1007"/>
                <a:gd name="T48" fmla="*/ 10 w 1010"/>
                <a:gd name="T49" fmla="*/ 13 h 1007"/>
                <a:gd name="T50" fmla="*/ 11 w 1010"/>
                <a:gd name="T51" fmla="*/ 12 h 1007"/>
                <a:gd name="T52" fmla="*/ 11 w 1010"/>
                <a:gd name="T53" fmla="*/ 12 h 1007"/>
                <a:gd name="T54" fmla="*/ 12 w 1010"/>
                <a:gd name="T55" fmla="*/ 11 h 1007"/>
                <a:gd name="T56" fmla="*/ 12 w 1010"/>
                <a:gd name="T57" fmla="*/ 10 h 1007"/>
                <a:gd name="T58" fmla="*/ 13 w 1010"/>
                <a:gd name="T59" fmla="*/ 10 h 1007"/>
                <a:gd name="T60" fmla="*/ 14 w 1010"/>
                <a:gd name="T61" fmla="*/ 9 h 1007"/>
                <a:gd name="T62" fmla="*/ 15 w 1010"/>
                <a:gd name="T63" fmla="*/ 9 h 1007"/>
                <a:gd name="T64" fmla="*/ 15 w 1010"/>
                <a:gd name="T65" fmla="*/ 8 h 1007"/>
                <a:gd name="T66" fmla="*/ 16 w 1010"/>
                <a:gd name="T67" fmla="*/ 8 h 1007"/>
                <a:gd name="T68" fmla="*/ 17 w 1010"/>
                <a:gd name="T69" fmla="*/ 8 h 1007"/>
                <a:gd name="T70" fmla="*/ 18 w 1010"/>
                <a:gd name="T71" fmla="*/ 7 h 1007"/>
                <a:gd name="T72" fmla="*/ 18 w 1010"/>
                <a:gd name="T73" fmla="*/ 7 h 1007"/>
                <a:gd name="T74" fmla="*/ 19 w 1010"/>
                <a:gd name="T75" fmla="*/ 6 h 1007"/>
                <a:gd name="T76" fmla="*/ 16 w 1010"/>
                <a:gd name="T77" fmla="*/ 0 h 1007"/>
                <a:gd name="T78" fmla="*/ 30 w 1010"/>
                <a:gd name="T79" fmla="*/ 9 h 1007"/>
                <a:gd name="T80" fmla="*/ 26 w 1010"/>
                <a:gd name="T81" fmla="*/ 27 h 1007"/>
                <a:gd name="T82" fmla="*/ 24 w 1010"/>
                <a:gd name="T83" fmla="*/ 22 h 1007"/>
                <a:gd name="T84" fmla="*/ 23 w 1010"/>
                <a:gd name="T85" fmla="*/ 23 h 1007"/>
                <a:gd name="T86" fmla="*/ 23 w 1010"/>
                <a:gd name="T87" fmla="*/ 23 h 1007"/>
                <a:gd name="T88" fmla="*/ 22 w 1010"/>
                <a:gd name="T89" fmla="*/ 24 h 1007"/>
                <a:gd name="T90" fmla="*/ 20 w 1010"/>
                <a:gd name="T91" fmla="*/ 25 h 1007"/>
                <a:gd name="T92" fmla="*/ 20 w 1010"/>
                <a:gd name="T93" fmla="*/ 25 h 1007"/>
                <a:gd name="T94" fmla="*/ 19 w 1010"/>
                <a:gd name="T95" fmla="*/ 26 h 1007"/>
                <a:gd name="T96" fmla="*/ 18 w 1010"/>
                <a:gd name="T97" fmla="*/ 27 h 1007"/>
                <a:gd name="T98" fmla="*/ 18 w 1010"/>
                <a:gd name="T99" fmla="*/ 27 h 1007"/>
                <a:gd name="T100" fmla="*/ 17 w 1010"/>
                <a:gd name="T101" fmla="*/ 28 h 1007"/>
                <a:gd name="T102" fmla="*/ 16 w 1010"/>
                <a:gd name="T103" fmla="*/ 29 h 1007"/>
                <a:gd name="T104" fmla="*/ 16 w 1010"/>
                <a:gd name="T105" fmla="*/ 30 h 1007"/>
                <a:gd name="T106" fmla="*/ 15 w 1010"/>
                <a:gd name="T107" fmla="*/ 31 h 1007"/>
                <a:gd name="T108" fmla="*/ 15 w 1010"/>
                <a:gd name="T109" fmla="*/ 32 h 1007"/>
                <a:gd name="T110" fmla="*/ 14 w 1010"/>
                <a:gd name="T111" fmla="*/ 33 h 1007"/>
                <a:gd name="T112" fmla="*/ 14 w 1010"/>
                <a:gd name="T113" fmla="*/ 34 h 1007"/>
                <a:gd name="T114" fmla="*/ 13 w 1010"/>
                <a:gd name="T115" fmla="*/ 34 h 1007"/>
                <a:gd name="T116" fmla="*/ 13 w 1010"/>
                <a:gd name="T117" fmla="*/ 35 h 1007"/>
                <a:gd name="T118" fmla="*/ 0 w 1010"/>
                <a:gd name="T119" fmla="*/ 28 h 100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10"/>
                <a:gd name="T181" fmla="*/ 0 h 1007"/>
                <a:gd name="T182" fmla="*/ 1010 w 1010"/>
                <a:gd name="T183" fmla="*/ 1007 h 100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10" h="1007">
                  <a:moveTo>
                    <a:pt x="0" y="798"/>
                  </a:moveTo>
                  <a:lnTo>
                    <a:pt x="10" y="777"/>
                  </a:lnTo>
                  <a:lnTo>
                    <a:pt x="19" y="760"/>
                  </a:lnTo>
                  <a:lnTo>
                    <a:pt x="28" y="742"/>
                  </a:lnTo>
                  <a:lnTo>
                    <a:pt x="37" y="725"/>
                  </a:lnTo>
                  <a:lnTo>
                    <a:pt x="48" y="707"/>
                  </a:lnTo>
                  <a:lnTo>
                    <a:pt x="59" y="689"/>
                  </a:lnTo>
                  <a:lnTo>
                    <a:pt x="70" y="672"/>
                  </a:lnTo>
                  <a:lnTo>
                    <a:pt x="80" y="654"/>
                  </a:lnTo>
                  <a:lnTo>
                    <a:pt x="95" y="633"/>
                  </a:lnTo>
                  <a:lnTo>
                    <a:pt x="110" y="612"/>
                  </a:lnTo>
                  <a:lnTo>
                    <a:pt x="122" y="595"/>
                  </a:lnTo>
                  <a:lnTo>
                    <a:pt x="136" y="578"/>
                  </a:lnTo>
                  <a:lnTo>
                    <a:pt x="150" y="559"/>
                  </a:lnTo>
                  <a:lnTo>
                    <a:pt x="166" y="538"/>
                  </a:lnTo>
                  <a:lnTo>
                    <a:pt x="182" y="520"/>
                  </a:lnTo>
                  <a:lnTo>
                    <a:pt x="199" y="500"/>
                  </a:lnTo>
                  <a:lnTo>
                    <a:pt x="214" y="485"/>
                  </a:lnTo>
                  <a:lnTo>
                    <a:pt x="234" y="462"/>
                  </a:lnTo>
                  <a:lnTo>
                    <a:pt x="251" y="444"/>
                  </a:lnTo>
                  <a:lnTo>
                    <a:pt x="267" y="429"/>
                  </a:lnTo>
                  <a:lnTo>
                    <a:pt x="287" y="410"/>
                  </a:lnTo>
                  <a:lnTo>
                    <a:pt x="301" y="397"/>
                  </a:lnTo>
                  <a:lnTo>
                    <a:pt x="320" y="382"/>
                  </a:lnTo>
                  <a:lnTo>
                    <a:pt x="338" y="366"/>
                  </a:lnTo>
                  <a:lnTo>
                    <a:pt x="360" y="349"/>
                  </a:lnTo>
                  <a:lnTo>
                    <a:pt x="378" y="335"/>
                  </a:lnTo>
                  <a:lnTo>
                    <a:pt x="399" y="318"/>
                  </a:lnTo>
                  <a:lnTo>
                    <a:pt x="424" y="301"/>
                  </a:lnTo>
                  <a:lnTo>
                    <a:pt x="446" y="284"/>
                  </a:lnTo>
                  <a:lnTo>
                    <a:pt x="470" y="268"/>
                  </a:lnTo>
                  <a:lnTo>
                    <a:pt x="495" y="252"/>
                  </a:lnTo>
                  <a:lnTo>
                    <a:pt x="521" y="238"/>
                  </a:lnTo>
                  <a:lnTo>
                    <a:pt x="548" y="222"/>
                  </a:lnTo>
                  <a:lnTo>
                    <a:pt x="572" y="212"/>
                  </a:lnTo>
                  <a:lnTo>
                    <a:pt x="594" y="199"/>
                  </a:lnTo>
                  <a:lnTo>
                    <a:pt x="620" y="188"/>
                  </a:lnTo>
                  <a:lnTo>
                    <a:pt x="638" y="180"/>
                  </a:lnTo>
                  <a:lnTo>
                    <a:pt x="560" y="0"/>
                  </a:lnTo>
                  <a:lnTo>
                    <a:pt x="1010" y="257"/>
                  </a:lnTo>
                  <a:lnTo>
                    <a:pt x="893" y="791"/>
                  </a:lnTo>
                  <a:lnTo>
                    <a:pt x="820" y="633"/>
                  </a:lnTo>
                  <a:lnTo>
                    <a:pt x="790" y="647"/>
                  </a:lnTo>
                  <a:lnTo>
                    <a:pt x="762" y="663"/>
                  </a:lnTo>
                  <a:lnTo>
                    <a:pt x="730" y="682"/>
                  </a:lnTo>
                  <a:lnTo>
                    <a:pt x="697" y="704"/>
                  </a:lnTo>
                  <a:lnTo>
                    <a:pt x="671" y="724"/>
                  </a:lnTo>
                  <a:lnTo>
                    <a:pt x="645" y="746"/>
                  </a:lnTo>
                  <a:lnTo>
                    <a:pt x="619" y="767"/>
                  </a:lnTo>
                  <a:lnTo>
                    <a:pt x="596" y="789"/>
                  </a:lnTo>
                  <a:lnTo>
                    <a:pt x="576" y="812"/>
                  </a:lnTo>
                  <a:lnTo>
                    <a:pt x="552" y="837"/>
                  </a:lnTo>
                  <a:lnTo>
                    <a:pt x="533" y="861"/>
                  </a:lnTo>
                  <a:lnTo>
                    <a:pt x="513" y="886"/>
                  </a:lnTo>
                  <a:lnTo>
                    <a:pt x="496" y="908"/>
                  </a:lnTo>
                  <a:lnTo>
                    <a:pt x="478" y="938"/>
                  </a:lnTo>
                  <a:lnTo>
                    <a:pt x="461" y="965"/>
                  </a:lnTo>
                  <a:lnTo>
                    <a:pt x="452" y="986"/>
                  </a:lnTo>
                  <a:lnTo>
                    <a:pt x="440" y="1007"/>
                  </a:lnTo>
                  <a:lnTo>
                    <a:pt x="0" y="798"/>
                  </a:lnTo>
                  <a:close/>
                </a:path>
              </a:pathLst>
            </a:custGeom>
            <a:solidFill>
              <a:schemeClr val="accent5">
                <a:lumMod val="75000"/>
              </a:schemeClr>
            </a:solidFill>
            <a:ln w="9525">
              <a:solidFill>
                <a:schemeClr val="bg1"/>
              </a:solidFill>
              <a:round/>
              <a:headEnd/>
              <a:tailEnd/>
            </a:ln>
          </p:spPr>
          <p:txBody>
            <a:bodyPr/>
            <a:lstStyle/>
            <a:p>
              <a:pPr eaLnBrk="0" hangingPunct="0">
                <a:defRPr/>
              </a:pPr>
              <a:endParaRPr lang="en-GB" sz="1000" b="1" kern="0" dirty="0">
                <a:solidFill>
                  <a:sysClr val="windowText" lastClr="000000"/>
                </a:solidFill>
              </a:endParaRPr>
            </a:p>
          </p:txBody>
        </p:sp>
        <p:sp>
          <p:nvSpPr>
            <p:cNvPr id="448" name="Freeform 31"/>
            <p:cNvSpPr>
              <a:spLocks/>
            </p:cNvSpPr>
            <p:nvPr/>
          </p:nvSpPr>
          <p:spPr bwMode="auto">
            <a:xfrm>
              <a:off x="640898" y="1724406"/>
              <a:ext cx="236847" cy="277817"/>
            </a:xfrm>
            <a:custGeom>
              <a:avLst/>
              <a:gdLst>
                <a:gd name="T0" fmla="*/ 26 w 889"/>
                <a:gd name="T1" fmla="*/ 16 h 1122"/>
                <a:gd name="T2" fmla="*/ 19 w 889"/>
                <a:gd name="T3" fmla="*/ 13 h 1122"/>
                <a:gd name="T4" fmla="*/ 19 w 889"/>
                <a:gd name="T5" fmla="*/ 14 h 1122"/>
                <a:gd name="T6" fmla="*/ 19 w 889"/>
                <a:gd name="T7" fmla="*/ 14 h 1122"/>
                <a:gd name="T8" fmla="*/ 19 w 889"/>
                <a:gd name="T9" fmla="*/ 15 h 1122"/>
                <a:gd name="T10" fmla="*/ 19 w 889"/>
                <a:gd name="T11" fmla="*/ 16 h 1122"/>
                <a:gd name="T12" fmla="*/ 19 w 889"/>
                <a:gd name="T13" fmla="*/ 17 h 1122"/>
                <a:gd name="T14" fmla="*/ 19 w 889"/>
                <a:gd name="T15" fmla="*/ 18 h 1122"/>
                <a:gd name="T16" fmla="*/ 19 w 889"/>
                <a:gd name="T17" fmla="*/ 19 h 1122"/>
                <a:gd name="T18" fmla="*/ 18 w 889"/>
                <a:gd name="T19" fmla="*/ 20 h 1122"/>
                <a:gd name="T20" fmla="*/ 18 w 889"/>
                <a:gd name="T21" fmla="*/ 21 h 1122"/>
                <a:gd name="T22" fmla="*/ 18 w 889"/>
                <a:gd name="T23" fmla="*/ 23 h 1122"/>
                <a:gd name="T24" fmla="*/ 18 w 889"/>
                <a:gd name="T25" fmla="*/ 24 h 1122"/>
                <a:gd name="T26" fmla="*/ 18 w 889"/>
                <a:gd name="T27" fmla="*/ 25 h 1122"/>
                <a:gd name="T28" fmla="*/ 19 w 889"/>
                <a:gd name="T29" fmla="*/ 26 h 1122"/>
                <a:gd name="T30" fmla="*/ 19 w 889"/>
                <a:gd name="T31" fmla="*/ 27 h 1122"/>
                <a:gd name="T32" fmla="*/ 19 w 889"/>
                <a:gd name="T33" fmla="*/ 27 h 1122"/>
                <a:gd name="T34" fmla="*/ 19 w 889"/>
                <a:gd name="T35" fmla="*/ 29 h 1122"/>
                <a:gd name="T36" fmla="*/ 19 w 889"/>
                <a:gd name="T37" fmla="*/ 30 h 1122"/>
                <a:gd name="T38" fmla="*/ 7 w 889"/>
                <a:gd name="T39" fmla="*/ 39 h 1122"/>
                <a:gd name="T40" fmla="*/ 6 w 889"/>
                <a:gd name="T41" fmla="*/ 38 h 1122"/>
                <a:gd name="T42" fmla="*/ 6 w 889"/>
                <a:gd name="T43" fmla="*/ 37 h 1122"/>
                <a:gd name="T44" fmla="*/ 6 w 889"/>
                <a:gd name="T45" fmla="*/ 37 h 1122"/>
                <a:gd name="T46" fmla="*/ 6 w 889"/>
                <a:gd name="T47" fmla="*/ 36 h 1122"/>
                <a:gd name="T48" fmla="*/ 6 w 889"/>
                <a:gd name="T49" fmla="*/ 35 h 1122"/>
                <a:gd name="T50" fmla="*/ 5 w 889"/>
                <a:gd name="T51" fmla="*/ 34 h 1122"/>
                <a:gd name="T52" fmla="*/ 5 w 889"/>
                <a:gd name="T53" fmla="*/ 33 h 1122"/>
                <a:gd name="T54" fmla="*/ 5 w 889"/>
                <a:gd name="T55" fmla="*/ 33 h 1122"/>
                <a:gd name="T56" fmla="*/ 5 w 889"/>
                <a:gd name="T57" fmla="*/ 32 h 1122"/>
                <a:gd name="T58" fmla="*/ 5 w 889"/>
                <a:gd name="T59" fmla="*/ 31 h 1122"/>
                <a:gd name="T60" fmla="*/ 5 w 889"/>
                <a:gd name="T61" fmla="*/ 30 h 1122"/>
                <a:gd name="T62" fmla="*/ 4 w 889"/>
                <a:gd name="T63" fmla="*/ 29 h 1122"/>
                <a:gd name="T64" fmla="*/ 4 w 889"/>
                <a:gd name="T65" fmla="*/ 28 h 1122"/>
                <a:gd name="T66" fmla="*/ 4 w 889"/>
                <a:gd name="T67" fmla="*/ 27 h 1122"/>
                <a:gd name="T68" fmla="*/ 4 w 889"/>
                <a:gd name="T69" fmla="*/ 26 h 1122"/>
                <a:gd name="T70" fmla="*/ 4 w 889"/>
                <a:gd name="T71" fmla="*/ 25 h 1122"/>
                <a:gd name="T72" fmla="*/ 4 w 889"/>
                <a:gd name="T73" fmla="*/ 24 h 1122"/>
                <a:gd name="T74" fmla="*/ 4 w 889"/>
                <a:gd name="T75" fmla="*/ 23 h 1122"/>
                <a:gd name="T76" fmla="*/ 4 w 889"/>
                <a:gd name="T77" fmla="*/ 22 h 1122"/>
                <a:gd name="T78" fmla="*/ 4 w 889"/>
                <a:gd name="T79" fmla="*/ 21 h 1122"/>
                <a:gd name="T80" fmla="*/ 4 w 889"/>
                <a:gd name="T81" fmla="*/ 20 h 1122"/>
                <a:gd name="T82" fmla="*/ 4 w 889"/>
                <a:gd name="T83" fmla="*/ 19 h 1122"/>
                <a:gd name="T84" fmla="*/ 4 w 889"/>
                <a:gd name="T85" fmla="*/ 18 h 1122"/>
                <a:gd name="T86" fmla="*/ 4 w 889"/>
                <a:gd name="T87" fmla="*/ 17 h 1122"/>
                <a:gd name="T88" fmla="*/ 4 w 889"/>
                <a:gd name="T89" fmla="*/ 16 h 1122"/>
                <a:gd name="T90" fmla="*/ 4 w 889"/>
                <a:gd name="T91" fmla="*/ 15 h 1122"/>
                <a:gd name="T92" fmla="*/ 5 w 889"/>
                <a:gd name="T93" fmla="*/ 14 h 1122"/>
                <a:gd name="T94" fmla="*/ 5 w 889"/>
                <a:gd name="T95" fmla="*/ 12 h 1122"/>
                <a:gd name="T96" fmla="*/ 5 w 889"/>
                <a:gd name="T97" fmla="*/ 12 h 1122"/>
                <a:gd name="T98" fmla="*/ 5 w 889"/>
                <a:gd name="T99" fmla="*/ 10 h 1122"/>
                <a:gd name="T100" fmla="*/ 5 w 889"/>
                <a:gd name="T101" fmla="*/ 10 h 1122"/>
                <a:gd name="T102" fmla="*/ 6 w 889"/>
                <a:gd name="T103" fmla="*/ 9 h 1122"/>
                <a:gd name="T104" fmla="*/ 6 w 889"/>
                <a:gd name="T105" fmla="*/ 8 h 1122"/>
                <a:gd name="T106" fmla="*/ 6 w 889"/>
                <a:gd name="T107" fmla="*/ 7 h 1122"/>
                <a:gd name="T108" fmla="*/ 0 w 889"/>
                <a:gd name="T109" fmla="*/ 3 h 1122"/>
                <a:gd name="T110" fmla="*/ 16 w 889"/>
                <a:gd name="T111" fmla="*/ 0 h 1122"/>
                <a:gd name="T112" fmla="*/ 26 w 889"/>
                <a:gd name="T113" fmla="*/ 16 h 112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9"/>
                <a:gd name="T172" fmla="*/ 0 h 1122"/>
                <a:gd name="T173" fmla="*/ 889 w 889"/>
                <a:gd name="T174" fmla="*/ 1122 h 112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9" h="1122">
                  <a:moveTo>
                    <a:pt x="889" y="464"/>
                  </a:moveTo>
                  <a:lnTo>
                    <a:pt x="663" y="372"/>
                  </a:lnTo>
                  <a:lnTo>
                    <a:pt x="654" y="393"/>
                  </a:lnTo>
                  <a:lnTo>
                    <a:pt x="649" y="414"/>
                  </a:lnTo>
                  <a:lnTo>
                    <a:pt x="642" y="436"/>
                  </a:lnTo>
                  <a:lnTo>
                    <a:pt x="637" y="459"/>
                  </a:lnTo>
                  <a:lnTo>
                    <a:pt x="631" y="489"/>
                  </a:lnTo>
                  <a:lnTo>
                    <a:pt x="627" y="514"/>
                  </a:lnTo>
                  <a:lnTo>
                    <a:pt x="623" y="541"/>
                  </a:lnTo>
                  <a:lnTo>
                    <a:pt x="620" y="571"/>
                  </a:lnTo>
                  <a:lnTo>
                    <a:pt x="618" y="602"/>
                  </a:lnTo>
                  <a:lnTo>
                    <a:pt x="618" y="658"/>
                  </a:lnTo>
                  <a:lnTo>
                    <a:pt x="619" y="687"/>
                  </a:lnTo>
                  <a:lnTo>
                    <a:pt x="620" y="714"/>
                  </a:lnTo>
                  <a:lnTo>
                    <a:pt x="624" y="741"/>
                  </a:lnTo>
                  <a:lnTo>
                    <a:pt x="629" y="769"/>
                  </a:lnTo>
                  <a:lnTo>
                    <a:pt x="635" y="795"/>
                  </a:lnTo>
                  <a:lnTo>
                    <a:pt x="641" y="826"/>
                  </a:lnTo>
                  <a:lnTo>
                    <a:pt x="650" y="854"/>
                  </a:lnTo>
                  <a:lnTo>
                    <a:pt x="225" y="1122"/>
                  </a:lnTo>
                  <a:lnTo>
                    <a:pt x="216" y="1095"/>
                  </a:lnTo>
                  <a:lnTo>
                    <a:pt x="207" y="1071"/>
                  </a:lnTo>
                  <a:lnTo>
                    <a:pt x="199" y="1049"/>
                  </a:lnTo>
                  <a:lnTo>
                    <a:pt x="191" y="1025"/>
                  </a:lnTo>
                  <a:lnTo>
                    <a:pt x="185" y="1004"/>
                  </a:lnTo>
                  <a:lnTo>
                    <a:pt x="177" y="980"/>
                  </a:lnTo>
                  <a:lnTo>
                    <a:pt x="172" y="958"/>
                  </a:lnTo>
                  <a:lnTo>
                    <a:pt x="166" y="937"/>
                  </a:lnTo>
                  <a:lnTo>
                    <a:pt x="161" y="915"/>
                  </a:lnTo>
                  <a:lnTo>
                    <a:pt x="155" y="889"/>
                  </a:lnTo>
                  <a:lnTo>
                    <a:pt x="151" y="862"/>
                  </a:lnTo>
                  <a:lnTo>
                    <a:pt x="146" y="837"/>
                  </a:lnTo>
                  <a:lnTo>
                    <a:pt x="140" y="813"/>
                  </a:lnTo>
                  <a:lnTo>
                    <a:pt x="138" y="784"/>
                  </a:lnTo>
                  <a:lnTo>
                    <a:pt x="135" y="757"/>
                  </a:lnTo>
                  <a:lnTo>
                    <a:pt x="133" y="726"/>
                  </a:lnTo>
                  <a:lnTo>
                    <a:pt x="130" y="696"/>
                  </a:lnTo>
                  <a:lnTo>
                    <a:pt x="130" y="666"/>
                  </a:lnTo>
                  <a:lnTo>
                    <a:pt x="130" y="635"/>
                  </a:lnTo>
                  <a:lnTo>
                    <a:pt x="130" y="596"/>
                  </a:lnTo>
                  <a:lnTo>
                    <a:pt x="131" y="561"/>
                  </a:lnTo>
                  <a:lnTo>
                    <a:pt x="133" y="537"/>
                  </a:lnTo>
                  <a:lnTo>
                    <a:pt x="135" y="509"/>
                  </a:lnTo>
                  <a:lnTo>
                    <a:pt x="138" y="481"/>
                  </a:lnTo>
                  <a:lnTo>
                    <a:pt x="142" y="449"/>
                  </a:lnTo>
                  <a:lnTo>
                    <a:pt x="147" y="420"/>
                  </a:lnTo>
                  <a:lnTo>
                    <a:pt x="152" y="394"/>
                  </a:lnTo>
                  <a:lnTo>
                    <a:pt x="159" y="362"/>
                  </a:lnTo>
                  <a:lnTo>
                    <a:pt x="165" y="336"/>
                  </a:lnTo>
                  <a:lnTo>
                    <a:pt x="172" y="305"/>
                  </a:lnTo>
                  <a:lnTo>
                    <a:pt x="179" y="279"/>
                  </a:lnTo>
                  <a:lnTo>
                    <a:pt x="189" y="250"/>
                  </a:lnTo>
                  <a:lnTo>
                    <a:pt x="198" y="221"/>
                  </a:lnTo>
                  <a:lnTo>
                    <a:pt x="211" y="186"/>
                  </a:lnTo>
                  <a:lnTo>
                    <a:pt x="0" y="98"/>
                  </a:lnTo>
                  <a:lnTo>
                    <a:pt x="554" y="0"/>
                  </a:lnTo>
                  <a:lnTo>
                    <a:pt x="889" y="464"/>
                  </a:lnTo>
                  <a:close/>
                </a:path>
              </a:pathLst>
            </a:custGeom>
            <a:solidFill>
              <a:schemeClr val="tx1"/>
            </a:solidFill>
            <a:ln w="9525">
              <a:solidFill>
                <a:schemeClr val="bg1"/>
              </a:solidFill>
              <a:round/>
              <a:headEnd/>
              <a:tailEnd/>
            </a:ln>
          </p:spPr>
          <p:txBody>
            <a:bodyPr/>
            <a:lstStyle/>
            <a:p>
              <a:pPr eaLnBrk="0" hangingPunct="0">
                <a:defRPr/>
              </a:pPr>
              <a:endParaRPr lang="en-GB" sz="1000" b="1" kern="0" dirty="0">
                <a:solidFill>
                  <a:sysClr val="windowText" lastClr="000000"/>
                </a:solidFill>
              </a:endParaRPr>
            </a:p>
          </p:txBody>
        </p:sp>
        <p:sp>
          <p:nvSpPr>
            <p:cNvPr id="449" name="Freeform 32"/>
            <p:cNvSpPr>
              <a:spLocks/>
            </p:cNvSpPr>
            <p:nvPr/>
          </p:nvSpPr>
          <p:spPr bwMode="auto">
            <a:xfrm>
              <a:off x="652420" y="1925407"/>
              <a:ext cx="267574" cy="236848"/>
            </a:xfrm>
            <a:custGeom>
              <a:avLst/>
              <a:gdLst>
                <a:gd name="T0" fmla="*/ 23 w 1011"/>
                <a:gd name="T1" fmla="*/ 34 h 961"/>
                <a:gd name="T2" fmla="*/ 23 w 1011"/>
                <a:gd name="T3" fmla="*/ 33 h 961"/>
                <a:gd name="T4" fmla="*/ 22 w 1011"/>
                <a:gd name="T5" fmla="*/ 33 h 961"/>
                <a:gd name="T6" fmla="*/ 22 w 1011"/>
                <a:gd name="T7" fmla="*/ 33 h 961"/>
                <a:gd name="T8" fmla="*/ 21 w 1011"/>
                <a:gd name="T9" fmla="*/ 32 h 961"/>
                <a:gd name="T10" fmla="*/ 21 w 1011"/>
                <a:gd name="T11" fmla="*/ 32 h 961"/>
                <a:gd name="T12" fmla="*/ 20 w 1011"/>
                <a:gd name="T13" fmla="*/ 31 h 961"/>
                <a:gd name="T14" fmla="*/ 20 w 1011"/>
                <a:gd name="T15" fmla="*/ 31 h 961"/>
                <a:gd name="T16" fmla="*/ 19 w 1011"/>
                <a:gd name="T17" fmla="*/ 31 h 961"/>
                <a:gd name="T18" fmla="*/ 19 w 1011"/>
                <a:gd name="T19" fmla="*/ 30 h 961"/>
                <a:gd name="T20" fmla="*/ 18 w 1011"/>
                <a:gd name="T21" fmla="*/ 30 h 961"/>
                <a:gd name="T22" fmla="*/ 18 w 1011"/>
                <a:gd name="T23" fmla="*/ 29 h 961"/>
                <a:gd name="T24" fmla="*/ 17 w 1011"/>
                <a:gd name="T25" fmla="*/ 29 h 961"/>
                <a:gd name="T26" fmla="*/ 16 w 1011"/>
                <a:gd name="T27" fmla="*/ 28 h 961"/>
                <a:gd name="T28" fmla="*/ 16 w 1011"/>
                <a:gd name="T29" fmla="*/ 28 h 961"/>
                <a:gd name="T30" fmla="*/ 15 w 1011"/>
                <a:gd name="T31" fmla="*/ 27 h 961"/>
                <a:gd name="T32" fmla="*/ 15 w 1011"/>
                <a:gd name="T33" fmla="*/ 26 h 961"/>
                <a:gd name="T34" fmla="*/ 14 w 1011"/>
                <a:gd name="T35" fmla="*/ 26 h 961"/>
                <a:gd name="T36" fmla="*/ 14 w 1011"/>
                <a:gd name="T37" fmla="*/ 25 h 961"/>
                <a:gd name="T38" fmla="*/ 13 w 1011"/>
                <a:gd name="T39" fmla="*/ 25 h 961"/>
                <a:gd name="T40" fmla="*/ 13 w 1011"/>
                <a:gd name="T41" fmla="*/ 24 h 961"/>
                <a:gd name="T42" fmla="*/ 12 w 1011"/>
                <a:gd name="T43" fmla="*/ 24 h 961"/>
                <a:gd name="T44" fmla="*/ 12 w 1011"/>
                <a:gd name="T45" fmla="*/ 23 h 961"/>
                <a:gd name="T46" fmla="*/ 11 w 1011"/>
                <a:gd name="T47" fmla="*/ 22 h 961"/>
                <a:gd name="T48" fmla="*/ 11 w 1011"/>
                <a:gd name="T49" fmla="*/ 22 h 961"/>
                <a:gd name="T50" fmla="*/ 10 w 1011"/>
                <a:gd name="T51" fmla="*/ 21 h 961"/>
                <a:gd name="T52" fmla="*/ 10 w 1011"/>
                <a:gd name="T53" fmla="*/ 20 h 961"/>
                <a:gd name="T54" fmla="*/ 9 w 1011"/>
                <a:gd name="T55" fmla="*/ 20 h 961"/>
                <a:gd name="T56" fmla="*/ 9 w 1011"/>
                <a:gd name="T57" fmla="*/ 19 h 961"/>
                <a:gd name="T58" fmla="*/ 8 w 1011"/>
                <a:gd name="T59" fmla="*/ 18 h 961"/>
                <a:gd name="T60" fmla="*/ 8 w 1011"/>
                <a:gd name="T61" fmla="*/ 17 h 961"/>
                <a:gd name="T62" fmla="*/ 7 w 1011"/>
                <a:gd name="T63" fmla="*/ 16 h 961"/>
                <a:gd name="T64" fmla="*/ 7 w 1011"/>
                <a:gd name="T65" fmla="*/ 15 h 961"/>
                <a:gd name="T66" fmla="*/ 7 w 1011"/>
                <a:gd name="T67" fmla="*/ 14 h 961"/>
                <a:gd name="T68" fmla="*/ 6 w 1011"/>
                <a:gd name="T69" fmla="*/ 13 h 961"/>
                <a:gd name="T70" fmla="*/ 6 w 1011"/>
                <a:gd name="T71" fmla="*/ 13 h 961"/>
                <a:gd name="T72" fmla="*/ 6 w 1011"/>
                <a:gd name="T73" fmla="*/ 12 h 961"/>
                <a:gd name="T74" fmla="*/ 0 w 1011"/>
                <a:gd name="T75" fmla="*/ 15 h 961"/>
                <a:gd name="T76" fmla="*/ 9 w 1011"/>
                <a:gd name="T77" fmla="*/ 0 h 961"/>
                <a:gd name="T78" fmla="*/ 25 w 1011"/>
                <a:gd name="T79" fmla="*/ 2 h 961"/>
                <a:gd name="T80" fmla="*/ 19 w 1011"/>
                <a:gd name="T81" fmla="*/ 5 h 961"/>
                <a:gd name="T82" fmla="*/ 19 w 1011"/>
                <a:gd name="T83" fmla="*/ 6 h 961"/>
                <a:gd name="T84" fmla="*/ 19 w 1011"/>
                <a:gd name="T85" fmla="*/ 7 h 961"/>
                <a:gd name="T86" fmla="*/ 20 w 1011"/>
                <a:gd name="T87" fmla="*/ 8 h 961"/>
                <a:gd name="T88" fmla="*/ 21 w 1011"/>
                <a:gd name="T89" fmla="*/ 9 h 961"/>
                <a:gd name="T90" fmla="*/ 21 w 1011"/>
                <a:gd name="T91" fmla="*/ 10 h 961"/>
                <a:gd name="T92" fmla="*/ 22 w 1011"/>
                <a:gd name="T93" fmla="*/ 11 h 961"/>
                <a:gd name="T94" fmla="*/ 22 w 1011"/>
                <a:gd name="T95" fmla="*/ 12 h 961"/>
                <a:gd name="T96" fmla="*/ 23 w 1011"/>
                <a:gd name="T97" fmla="*/ 13 h 961"/>
                <a:gd name="T98" fmla="*/ 24 w 1011"/>
                <a:gd name="T99" fmla="*/ 13 h 961"/>
                <a:gd name="T100" fmla="*/ 25 w 1011"/>
                <a:gd name="T101" fmla="*/ 14 h 961"/>
                <a:gd name="T102" fmla="*/ 25 w 1011"/>
                <a:gd name="T103" fmla="*/ 15 h 961"/>
                <a:gd name="T104" fmla="*/ 26 w 1011"/>
                <a:gd name="T105" fmla="*/ 16 h 961"/>
                <a:gd name="T106" fmla="*/ 26 w 1011"/>
                <a:gd name="T107" fmla="*/ 16 h 961"/>
                <a:gd name="T108" fmla="*/ 27 w 1011"/>
                <a:gd name="T109" fmla="*/ 17 h 961"/>
                <a:gd name="T110" fmla="*/ 28 w 1011"/>
                <a:gd name="T111" fmla="*/ 17 h 961"/>
                <a:gd name="T112" fmla="*/ 29 w 1011"/>
                <a:gd name="T113" fmla="*/ 18 h 961"/>
                <a:gd name="T114" fmla="*/ 30 w 1011"/>
                <a:gd name="T115" fmla="*/ 18 h 961"/>
                <a:gd name="T116" fmla="*/ 23 w 1011"/>
                <a:gd name="T117" fmla="*/ 34 h 96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11"/>
                <a:gd name="T178" fmla="*/ 0 h 961"/>
                <a:gd name="T179" fmla="*/ 1011 w 1011"/>
                <a:gd name="T180" fmla="*/ 961 h 96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11" h="961">
                  <a:moveTo>
                    <a:pt x="803" y="961"/>
                  </a:moveTo>
                  <a:lnTo>
                    <a:pt x="782" y="950"/>
                  </a:lnTo>
                  <a:lnTo>
                    <a:pt x="765" y="941"/>
                  </a:lnTo>
                  <a:lnTo>
                    <a:pt x="747" y="932"/>
                  </a:lnTo>
                  <a:lnTo>
                    <a:pt x="730" y="923"/>
                  </a:lnTo>
                  <a:lnTo>
                    <a:pt x="712" y="913"/>
                  </a:lnTo>
                  <a:lnTo>
                    <a:pt x="693" y="902"/>
                  </a:lnTo>
                  <a:lnTo>
                    <a:pt x="676" y="891"/>
                  </a:lnTo>
                  <a:lnTo>
                    <a:pt x="658" y="880"/>
                  </a:lnTo>
                  <a:lnTo>
                    <a:pt x="639" y="866"/>
                  </a:lnTo>
                  <a:lnTo>
                    <a:pt x="617" y="852"/>
                  </a:lnTo>
                  <a:lnTo>
                    <a:pt x="600" y="839"/>
                  </a:lnTo>
                  <a:lnTo>
                    <a:pt x="583" y="824"/>
                  </a:lnTo>
                  <a:lnTo>
                    <a:pt x="563" y="810"/>
                  </a:lnTo>
                  <a:lnTo>
                    <a:pt x="543" y="795"/>
                  </a:lnTo>
                  <a:lnTo>
                    <a:pt x="524" y="779"/>
                  </a:lnTo>
                  <a:lnTo>
                    <a:pt x="505" y="762"/>
                  </a:lnTo>
                  <a:lnTo>
                    <a:pt x="489" y="748"/>
                  </a:lnTo>
                  <a:lnTo>
                    <a:pt x="467" y="727"/>
                  </a:lnTo>
                  <a:lnTo>
                    <a:pt x="449" y="710"/>
                  </a:lnTo>
                  <a:lnTo>
                    <a:pt x="433" y="693"/>
                  </a:lnTo>
                  <a:lnTo>
                    <a:pt x="415" y="674"/>
                  </a:lnTo>
                  <a:lnTo>
                    <a:pt x="402" y="659"/>
                  </a:lnTo>
                  <a:lnTo>
                    <a:pt x="386" y="641"/>
                  </a:lnTo>
                  <a:lnTo>
                    <a:pt x="371" y="623"/>
                  </a:lnTo>
                  <a:lnTo>
                    <a:pt x="354" y="601"/>
                  </a:lnTo>
                  <a:lnTo>
                    <a:pt x="338" y="583"/>
                  </a:lnTo>
                  <a:lnTo>
                    <a:pt x="323" y="562"/>
                  </a:lnTo>
                  <a:lnTo>
                    <a:pt x="305" y="537"/>
                  </a:lnTo>
                  <a:lnTo>
                    <a:pt x="289" y="515"/>
                  </a:lnTo>
                  <a:lnTo>
                    <a:pt x="272" y="490"/>
                  </a:lnTo>
                  <a:lnTo>
                    <a:pt x="256" y="466"/>
                  </a:lnTo>
                  <a:lnTo>
                    <a:pt x="242" y="440"/>
                  </a:lnTo>
                  <a:lnTo>
                    <a:pt x="227" y="412"/>
                  </a:lnTo>
                  <a:lnTo>
                    <a:pt x="216" y="389"/>
                  </a:lnTo>
                  <a:lnTo>
                    <a:pt x="203" y="367"/>
                  </a:lnTo>
                  <a:lnTo>
                    <a:pt x="193" y="342"/>
                  </a:lnTo>
                  <a:lnTo>
                    <a:pt x="0" y="433"/>
                  </a:lnTo>
                  <a:lnTo>
                    <a:pt x="318" y="0"/>
                  </a:lnTo>
                  <a:lnTo>
                    <a:pt x="855" y="47"/>
                  </a:lnTo>
                  <a:lnTo>
                    <a:pt x="639" y="143"/>
                  </a:lnTo>
                  <a:lnTo>
                    <a:pt x="652" y="171"/>
                  </a:lnTo>
                  <a:lnTo>
                    <a:pt x="667" y="199"/>
                  </a:lnTo>
                  <a:lnTo>
                    <a:pt x="687" y="230"/>
                  </a:lnTo>
                  <a:lnTo>
                    <a:pt x="709" y="264"/>
                  </a:lnTo>
                  <a:lnTo>
                    <a:pt x="728" y="290"/>
                  </a:lnTo>
                  <a:lnTo>
                    <a:pt x="751" y="316"/>
                  </a:lnTo>
                  <a:lnTo>
                    <a:pt x="771" y="342"/>
                  </a:lnTo>
                  <a:lnTo>
                    <a:pt x="793" y="364"/>
                  </a:lnTo>
                  <a:lnTo>
                    <a:pt x="817" y="385"/>
                  </a:lnTo>
                  <a:lnTo>
                    <a:pt x="842" y="409"/>
                  </a:lnTo>
                  <a:lnTo>
                    <a:pt x="866" y="428"/>
                  </a:lnTo>
                  <a:lnTo>
                    <a:pt x="890" y="447"/>
                  </a:lnTo>
                  <a:lnTo>
                    <a:pt x="913" y="464"/>
                  </a:lnTo>
                  <a:lnTo>
                    <a:pt x="942" y="483"/>
                  </a:lnTo>
                  <a:lnTo>
                    <a:pt x="970" y="499"/>
                  </a:lnTo>
                  <a:lnTo>
                    <a:pt x="991" y="509"/>
                  </a:lnTo>
                  <a:lnTo>
                    <a:pt x="1011" y="519"/>
                  </a:lnTo>
                  <a:lnTo>
                    <a:pt x="803" y="961"/>
                  </a:lnTo>
                  <a:close/>
                </a:path>
              </a:pathLst>
            </a:custGeom>
            <a:solidFill>
              <a:schemeClr val="accent5">
                <a:lumMod val="75000"/>
              </a:schemeClr>
            </a:solidFill>
            <a:ln w="9525">
              <a:solidFill>
                <a:schemeClr val="bg1"/>
              </a:solidFill>
              <a:round/>
              <a:headEnd/>
              <a:tailEnd/>
            </a:ln>
          </p:spPr>
          <p:txBody>
            <a:bodyPr/>
            <a:lstStyle/>
            <a:p>
              <a:pPr eaLnBrk="0" hangingPunct="0">
                <a:defRPr/>
              </a:pPr>
              <a:endParaRPr lang="en-GB" sz="1000" b="1" kern="0" dirty="0">
                <a:solidFill>
                  <a:sysClr val="windowText" lastClr="000000"/>
                </a:solidFill>
              </a:endParaRPr>
            </a:p>
          </p:txBody>
        </p:sp>
        <p:sp>
          <p:nvSpPr>
            <p:cNvPr id="450" name="Freeform 28"/>
            <p:cNvSpPr>
              <a:spLocks/>
            </p:cNvSpPr>
            <p:nvPr/>
          </p:nvSpPr>
          <p:spPr bwMode="auto">
            <a:xfrm>
              <a:off x="853421" y="2008624"/>
              <a:ext cx="290618" cy="216364"/>
            </a:xfrm>
            <a:custGeom>
              <a:avLst/>
              <a:gdLst>
                <a:gd name="T0" fmla="*/ 13 w 1097"/>
                <a:gd name="T1" fmla="*/ 0 h 877"/>
                <a:gd name="T2" fmla="*/ 10 w 1097"/>
                <a:gd name="T3" fmla="*/ 8 h 877"/>
                <a:gd name="T4" fmla="*/ 11 w 1097"/>
                <a:gd name="T5" fmla="*/ 8 h 877"/>
                <a:gd name="T6" fmla="*/ 11 w 1097"/>
                <a:gd name="T7" fmla="*/ 8 h 877"/>
                <a:gd name="T8" fmla="*/ 12 w 1097"/>
                <a:gd name="T9" fmla="*/ 8 h 877"/>
                <a:gd name="T10" fmla="*/ 13 w 1097"/>
                <a:gd name="T11" fmla="*/ 9 h 877"/>
                <a:gd name="T12" fmla="*/ 14 w 1097"/>
                <a:gd name="T13" fmla="*/ 9 h 877"/>
                <a:gd name="T14" fmla="*/ 15 w 1097"/>
                <a:gd name="T15" fmla="*/ 9 h 877"/>
                <a:gd name="T16" fmla="*/ 15 w 1097"/>
                <a:gd name="T17" fmla="*/ 9 h 877"/>
                <a:gd name="T18" fmla="*/ 16 w 1097"/>
                <a:gd name="T19" fmla="*/ 9 h 877"/>
                <a:gd name="T20" fmla="*/ 17 w 1097"/>
                <a:gd name="T21" fmla="*/ 9 h 877"/>
                <a:gd name="T22" fmla="*/ 19 w 1097"/>
                <a:gd name="T23" fmla="*/ 9 h 877"/>
                <a:gd name="T24" fmla="*/ 19 w 1097"/>
                <a:gd name="T25" fmla="*/ 9 h 877"/>
                <a:gd name="T26" fmla="*/ 20 w 1097"/>
                <a:gd name="T27" fmla="*/ 9 h 877"/>
                <a:gd name="T28" fmla="*/ 21 w 1097"/>
                <a:gd name="T29" fmla="*/ 9 h 877"/>
                <a:gd name="T30" fmla="*/ 22 w 1097"/>
                <a:gd name="T31" fmla="*/ 9 h 877"/>
                <a:gd name="T32" fmla="*/ 23 w 1097"/>
                <a:gd name="T33" fmla="*/ 9 h 877"/>
                <a:gd name="T34" fmla="*/ 24 w 1097"/>
                <a:gd name="T35" fmla="*/ 8 h 877"/>
                <a:gd name="T36" fmla="*/ 24 w 1097"/>
                <a:gd name="T37" fmla="*/ 8 h 877"/>
                <a:gd name="T38" fmla="*/ 32 w 1097"/>
                <a:gd name="T39" fmla="*/ 23 h 877"/>
                <a:gd name="T40" fmla="*/ 32 w 1097"/>
                <a:gd name="T41" fmla="*/ 23 h 877"/>
                <a:gd name="T42" fmla="*/ 31 w 1097"/>
                <a:gd name="T43" fmla="*/ 23 h 877"/>
                <a:gd name="T44" fmla="*/ 30 w 1097"/>
                <a:gd name="T45" fmla="*/ 24 h 877"/>
                <a:gd name="T46" fmla="*/ 29 w 1097"/>
                <a:gd name="T47" fmla="*/ 24 h 877"/>
                <a:gd name="T48" fmla="*/ 29 w 1097"/>
                <a:gd name="T49" fmla="*/ 24 h 877"/>
                <a:gd name="T50" fmla="*/ 28 w 1097"/>
                <a:gd name="T51" fmla="*/ 25 h 877"/>
                <a:gd name="T52" fmla="*/ 28 w 1097"/>
                <a:gd name="T53" fmla="*/ 25 h 877"/>
                <a:gd name="T54" fmla="*/ 27 w 1097"/>
                <a:gd name="T55" fmla="*/ 25 h 877"/>
                <a:gd name="T56" fmla="*/ 26 w 1097"/>
                <a:gd name="T57" fmla="*/ 25 h 877"/>
                <a:gd name="T58" fmla="*/ 26 w 1097"/>
                <a:gd name="T59" fmla="*/ 25 h 877"/>
                <a:gd name="T60" fmla="*/ 25 w 1097"/>
                <a:gd name="T61" fmla="*/ 26 h 877"/>
                <a:gd name="T62" fmla="*/ 24 w 1097"/>
                <a:gd name="T63" fmla="*/ 26 h 877"/>
                <a:gd name="T64" fmla="*/ 23 w 1097"/>
                <a:gd name="T65" fmla="*/ 26 h 877"/>
                <a:gd name="T66" fmla="*/ 23 w 1097"/>
                <a:gd name="T67" fmla="*/ 26 h 877"/>
                <a:gd name="T68" fmla="*/ 22 w 1097"/>
                <a:gd name="T69" fmla="*/ 26 h 877"/>
                <a:gd name="T70" fmla="*/ 21 w 1097"/>
                <a:gd name="T71" fmla="*/ 26 h 877"/>
                <a:gd name="T72" fmla="*/ 20 w 1097"/>
                <a:gd name="T73" fmla="*/ 26 h 877"/>
                <a:gd name="T74" fmla="*/ 19 w 1097"/>
                <a:gd name="T75" fmla="*/ 26 h 877"/>
                <a:gd name="T76" fmla="*/ 18 w 1097"/>
                <a:gd name="T77" fmla="*/ 26 h 877"/>
                <a:gd name="T78" fmla="*/ 17 w 1097"/>
                <a:gd name="T79" fmla="*/ 26 h 877"/>
                <a:gd name="T80" fmla="*/ 16 w 1097"/>
                <a:gd name="T81" fmla="*/ 26 h 877"/>
                <a:gd name="T82" fmla="*/ 15 w 1097"/>
                <a:gd name="T83" fmla="*/ 26 h 877"/>
                <a:gd name="T84" fmla="*/ 14 w 1097"/>
                <a:gd name="T85" fmla="*/ 26 h 877"/>
                <a:gd name="T86" fmla="*/ 14 w 1097"/>
                <a:gd name="T87" fmla="*/ 26 h 877"/>
                <a:gd name="T88" fmla="*/ 12 w 1097"/>
                <a:gd name="T89" fmla="*/ 26 h 877"/>
                <a:gd name="T90" fmla="*/ 12 w 1097"/>
                <a:gd name="T91" fmla="*/ 26 h 877"/>
                <a:gd name="T92" fmla="*/ 11 w 1097"/>
                <a:gd name="T93" fmla="*/ 26 h 877"/>
                <a:gd name="T94" fmla="*/ 10 w 1097"/>
                <a:gd name="T95" fmla="*/ 25 h 877"/>
                <a:gd name="T96" fmla="*/ 9 w 1097"/>
                <a:gd name="T97" fmla="*/ 25 h 877"/>
                <a:gd name="T98" fmla="*/ 8 w 1097"/>
                <a:gd name="T99" fmla="*/ 25 h 877"/>
                <a:gd name="T100" fmla="*/ 7 w 1097"/>
                <a:gd name="T101" fmla="*/ 24 h 877"/>
                <a:gd name="T102" fmla="*/ 7 w 1097"/>
                <a:gd name="T103" fmla="*/ 24 h 877"/>
                <a:gd name="T104" fmla="*/ 6 w 1097"/>
                <a:gd name="T105" fmla="*/ 24 h 877"/>
                <a:gd name="T106" fmla="*/ 5 w 1097"/>
                <a:gd name="T107" fmla="*/ 23 h 877"/>
                <a:gd name="T108" fmla="*/ 2 w 1097"/>
                <a:gd name="T109" fmla="*/ 30 h 877"/>
                <a:gd name="T110" fmla="*/ 0 w 1097"/>
                <a:gd name="T111" fmla="*/ 11 h 877"/>
                <a:gd name="T112" fmla="*/ 13 w 1097"/>
                <a:gd name="T113" fmla="*/ 0 h 87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7"/>
                <a:gd name="T172" fmla="*/ 0 h 877"/>
                <a:gd name="T173" fmla="*/ 1097 w 1097"/>
                <a:gd name="T174" fmla="*/ 877 h 87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7" h="877">
                  <a:moveTo>
                    <a:pt x="439" y="0"/>
                  </a:moveTo>
                  <a:lnTo>
                    <a:pt x="348" y="226"/>
                  </a:lnTo>
                  <a:lnTo>
                    <a:pt x="369" y="235"/>
                  </a:lnTo>
                  <a:lnTo>
                    <a:pt x="389" y="240"/>
                  </a:lnTo>
                  <a:lnTo>
                    <a:pt x="411" y="247"/>
                  </a:lnTo>
                  <a:lnTo>
                    <a:pt x="436" y="253"/>
                  </a:lnTo>
                  <a:lnTo>
                    <a:pt x="464" y="258"/>
                  </a:lnTo>
                  <a:lnTo>
                    <a:pt x="490" y="262"/>
                  </a:lnTo>
                  <a:lnTo>
                    <a:pt x="516" y="266"/>
                  </a:lnTo>
                  <a:lnTo>
                    <a:pt x="546" y="270"/>
                  </a:lnTo>
                  <a:lnTo>
                    <a:pt x="577" y="273"/>
                  </a:lnTo>
                  <a:lnTo>
                    <a:pt x="633" y="273"/>
                  </a:lnTo>
                  <a:lnTo>
                    <a:pt x="663" y="271"/>
                  </a:lnTo>
                  <a:lnTo>
                    <a:pt x="689" y="269"/>
                  </a:lnTo>
                  <a:lnTo>
                    <a:pt x="716" y="265"/>
                  </a:lnTo>
                  <a:lnTo>
                    <a:pt x="745" y="260"/>
                  </a:lnTo>
                  <a:lnTo>
                    <a:pt x="770" y="256"/>
                  </a:lnTo>
                  <a:lnTo>
                    <a:pt x="801" y="248"/>
                  </a:lnTo>
                  <a:lnTo>
                    <a:pt x="829" y="239"/>
                  </a:lnTo>
                  <a:lnTo>
                    <a:pt x="1097" y="663"/>
                  </a:lnTo>
                  <a:lnTo>
                    <a:pt x="1071" y="673"/>
                  </a:lnTo>
                  <a:lnTo>
                    <a:pt x="1047" y="682"/>
                  </a:lnTo>
                  <a:lnTo>
                    <a:pt x="1025" y="690"/>
                  </a:lnTo>
                  <a:lnTo>
                    <a:pt x="1001" y="698"/>
                  </a:lnTo>
                  <a:lnTo>
                    <a:pt x="979" y="704"/>
                  </a:lnTo>
                  <a:lnTo>
                    <a:pt x="956" y="712"/>
                  </a:lnTo>
                  <a:lnTo>
                    <a:pt x="935" y="717"/>
                  </a:lnTo>
                  <a:lnTo>
                    <a:pt x="913" y="722"/>
                  </a:lnTo>
                  <a:lnTo>
                    <a:pt x="891" y="728"/>
                  </a:lnTo>
                  <a:lnTo>
                    <a:pt x="866" y="734"/>
                  </a:lnTo>
                  <a:lnTo>
                    <a:pt x="837" y="738"/>
                  </a:lnTo>
                  <a:lnTo>
                    <a:pt x="814" y="743"/>
                  </a:lnTo>
                  <a:lnTo>
                    <a:pt x="788" y="748"/>
                  </a:lnTo>
                  <a:lnTo>
                    <a:pt x="761" y="752"/>
                  </a:lnTo>
                  <a:lnTo>
                    <a:pt x="732" y="755"/>
                  </a:lnTo>
                  <a:lnTo>
                    <a:pt x="701" y="756"/>
                  </a:lnTo>
                  <a:lnTo>
                    <a:pt x="671" y="759"/>
                  </a:lnTo>
                  <a:lnTo>
                    <a:pt x="642" y="759"/>
                  </a:lnTo>
                  <a:lnTo>
                    <a:pt x="611" y="759"/>
                  </a:lnTo>
                  <a:lnTo>
                    <a:pt x="572" y="759"/>
                  </a:lnTo>
                  <a:lnTo>
                    <a:pt x="537" y="757"/>
                  </a:lnTo>
                  <a:lnTo>
                    <a:pt x="512" y="756"/>
                  </a:lnTo>
                  <a:lnTo>
                    <a:pt x="485" y="755"/>
                  </a:lnTo>
                  <a:lnTo>
                    <a:pt x="456" y="752"/>
                  </a:lnTo>
                  <a:lnTo>
                    <a:pt x="424" y="747"/>
                  </a:lnTo>
                  <a:lnTo>
                    <a:pt x="397" y="742"/>
                  </a:lnTo>
                  <a:lnTo>
                    <a:pt x="369" y="738"/>
                  </a:lnTo>
                  <a:lnTo>
                    <a:pt x="337" y="730"/>
                  </a:lnTo>
                  <a:lnTo>
                    <a:pt x="312" y="724"/>
                  </a:lnTo>
                  <a:lnTo>
                    <a:pt x="281" y="717"/>
                  </a:lnTo>
                  <a:lnTo>
                    <a:pt x="253" y="709"/>
                  </a:lnTo>
                  <a:lnTo>
                    <a:pt x="226" y="702"/>
                  </a:lnTo>
                  <a:lnTo>
                    <a:pt x="198" y="691"/>
                  </a:lnTo>
                  <a:lnTo>
                    <a:pt x="162" y="678"/>
                  </a:lnTo>
                  <a:lnTo>
                    <a:pt x="79" y="877"/>
                  </a:lnTo>
                  <a:lnTo>
                    <a:pt x="0" y="314"/>
                  </a:lnTo>
                  <a:lnTo>
                    <a:pt x="439" y="0"/>
                  </a:lnTo>
                  <a:close/>
                </a:path>
              </a:pathLst>
            </a:custGeom>
            <a:solidFill>
              <a:schemeClr val="tx1"/>
            </a:solidFill>
            <a:ln w="9525">
              <a:solidFill>
                <a:schemeClr val="bg1"/>
              </a:solidFill>
              <a:round/>
              <a:headEnd/>
              <a:tailEnd/>
            </a:ln>
          </p:spPr>
          <p:txBody>
            <a:bodyPr/>
            <a:lstStyle/>
            <a:p>
              <a:pPr eaLnBrk="0" hangingPunct="0">
                <a:defRPr/>
              </a:pPr>
              <a:endParaRPr lang="en-GB" sz="1000" b="1" kern="0" dirty="0">
                <a:solidFill>
                  <a:sysClr val="windowText" lastClr="000000"/>
                </a:solidFill>
              </a:endParaRPr>
            </a:p>
          </p:txBody>
        </p:sp>
        <p:sp>
          <p:nvSpPr>
            <p:cNvPr id="451" name="Freeform 33"/>
            <p:cNvSpPr>
              <a:spLocks/>
            </p:cNvSpPr>
            <p:nvPr/>
          </p:nvSpPr>
          <p:spPr bwMode="auto">
            <a:xfrm>
              <a:off x="1063383" y="1966376"/>
              <a:ext cx="253491" cy="235568"/>
            </a:xfrm>
            <a:custGeom>
              <a:avLst/>
              <a:gdLst>
                <a:gd name="T0" fmla="*/ 28 w 953"/>
                <a:gd name="T1" fmla="*/ 7 h 953"/>
                <a:gd name="T2" fmla="*/ 27 w 953"/>
                <a:gd name="T3" fmla="*/ 8 h 953"/>
                <a:gd name="T4" fmla="*/ 27 w 953"/>
                <a:gd name="T5" fmla="*/ 8 h 953"/>
                <a:gd name="T6" fmla="*/ 27 w 953"/>
                <a:gd name="T7" fmla="*/ 9 h 953"/>
                <a:gd name="T8" fmla="*/ 27 w 953"/>
                <a:gd name="T9" fmla="*/ 10 h 953"/>
                <a:gd name="T10" fmla="*/ 27 w 953"/>
                <a:gd name="T11" fmla="*/ 10 h 953"/>
                <a:gd name="T12" fmla="*/ 26 w 953"/>
                <a:gd name="T13" fmla="*/ 11 h 953"/>
                <a:gd name="T14" fmla="*/ 26 w 953"/>
                <a:gd name="T15" fmla="*/ 12 h 953"/>
                <a:gd name="T16" fmla="*/ 26 w 953"/>
                <a:gd name="T17" fmla="*/ 12 h 953"/>
                <a:gd name="T18" fmla="*/ 25 w 953"/>
                <a:gd name="T19" fmla="*/ 13 h 953"/>
                <a:gd name="T20" fmla="*/ 25 w 953"/>
                <a:gd name="T21" fmla="*/ 14 h 953"/>
                <a:gd name="T22" fmla="*/ 24 w 953"/>
                <a:gd name="T23" fmla="*/ 14 h 953"/>
                <a:gd name="T24" fmla="*/ 24 w 953"/>
                <a:gd name="T25" fmla="*/ 15 h 953"/>
                <a:gd name="T26" fmla="*/ 23 w 953"/>
                <a:gd name="T27" fmla="*/ 16 h 953"/>
                <a:gd name="T28" fmla="*/ 23 w 953"/>
                <a:gd name="T29" fmla="*/ 16 h 953"/>
                <a:gd name="T30" fmla="*/ 23 w 953"/>
                <a:gd name="T31" fmla="*/ 17 h 953"/>
                <a:gd name="T32" fmla="*/ 22 w 953"/>
                <a:gd name="T33" fmla="*/ 18 h 953"/>
                <a:gd name="T34" fmla="*/ 22 w 953"/>
                <a:gd name="T35" fmla="*/ 18 h 953"/>
                <a:gd name="T36" fmla="*/ 21 w 953"/>
                <a:gd name="T37" fmla="*/ 19 h 953"/>
                <a:gd name="T38" fmla="*/ 21 w 953"/>
                <a:gd name="T39" fmla="*/ 20 h 953"/>
                <a:gd name="T40" fmla="*/ 20 w 953"/>
                <a:gd name="T41" fmla="*/ 20 h 953"/>
                <a:gd name="T42" fmla="*/ 19 w 953"/>
                <a:gd name="T43" fmla="*/ 21 h 953"/>
                <a:gd name="T44" fmla="*/ 19 w 953"/>
                <a:gd name="T45" fmla="*/ 21 h 953"/>
                <a:gd name="T46" fmla="*/ 19 w 953"/>
                <a:gd name="T47" fmla="*/ 22 h 953"/>
                <a:gd name="T48" fmla="*/ 18 w 953"/>
                <a:gd name="T49" fmla="*/ 22 h 953"/>
                <a:gd name="T50" fmla="*/ 17 w 953"/>
                <a:gd name="T51" fmla="*/ 23 h 953"/>
                <a:gd name="T52" fmla="*/ 17 w 953"/>
                <a:gd name="T53" fmla="*/ 23 h 953"/>
                <a:gd name="T54" fmla="*/ 16 w 953"/>
                <a:gd name="T55" fmla="*/ 24 h 953"/>
                <a:gd name="T56" fmla="*/ 15 w 953"/>
                <a:gd name="T57" fmla="*/ 24 h 953"/>
                <a:gd name="T58" fmla="*/ 15 w 953"/>
                <a:gd name="T59" fmla="*/ 25 h 953"/>
                <a:gd name="T60" fmla="*/ 14 w 953"/>
                <a:gd name="T61" fmla="*/ 26 h 953"/>
                <a:gd name="T62" fmla="*/ 13 w 953"/>
                <a:gd name="T63" fmla="*/ 26 h 953"/>
                <a:gd name="T64" fmla="*/ 13 w 953"/>
                <a:gd name="T65" fmla="*/ 27 h 953"/>
                <a:gd name="T66" fmla="*/ 17 w 953"/>
                <a:gd name="T67" fmla="*/ 33 h 953"/>
                <a:gd name="T68" fmla="*/ 1 w 953"/>
                <a:gd name="T69" fmla="*/ 25 h 953"/>
                <a:gd name="T70" fmla="*/ 0 w 953"/>
                <a:gd name="T71" fmla="*/ 9 h 953"/>
                <a:gd name="T72" fmla="*/ 3 w 953"/>
                <a:gd name="T73" fmla="*/ 13 h 953"/>
                <a:gd name="T74" fmla="*/ 4 w 953"/>
                <a:gd name="T75" fmla="*/ 13 h 953"/>
                <a:gd name="T76" fmla="*/ 5 w 953"/>
                <a:gd name="T77" fmla="*/ 12 h 953"/>
                <a:gd name="T78" fmla="*/ 6 w 953"/>
                <a:gd name="T79" fmla="*/ 12 h 953"/>
                <a:gd name="T80" fmla="*/ 6 w 953"/>
                <a:gd name="T81" fmla="*/ 11 h 953"/>
                <a:gd name="T82" fmla="*/ 7 w 953"/>
                <a:gd name="T83" fmla="*/ 10 h 953"/>
                <a:gd name="T84" fmla="*/ 8 w 953"/>
                <a:gd name="T85" fmla="*/ 10 h 953"/>
                <a:gd name="T86" fmla="*/ 9 w 953"/>
                <a:gd name="T87" fmla="*/ 9 h 953"/>
                <a:gd name="T88" fmla="*/ 10 w 953"/>
                <a:gd name="T89" fmla="*/ 8 h 953"/>
                <a:gd name="T90" fmla="*/ 10 w 953"/>
                <a:gd name="T91" fmla="*/ 8 h 953"/>
                <a:gd name="T92" fmla="*/ 11 w 953"/>
                <a:gd name="T93" fmla="*/ 7 h 953"/>
                <a:gd name="T94" fmla="*/ 12 w 953"/>
                <a:gd name="T95" fmla="*/ 6 h 953"/>
                <a:gd name="T96" fmla="*/ 12 w 953"/>
                <a:gd name="T97" fmla="*/ 5 h 953"/>
                <a:gd name="T98" fmla="*/ 13 w 953"/>
                <a:gd name="T99" fmla="*/ 4 h 953"/>
                <a:gd name="T100" fmla="*/ 13 w 953"/>
                <a:gd name="T101" fmla="*/ 3 h 953"/>
                <a:gd name="T102" fmla="*/ 14 w 953"/>
                <a:gd name="T103" fmla="*/ 3 h 953"/>
                <a:gd name="T104" fmla="*/ 14 w 953"/>
                <a:gd name="T105" fmla="*/ 2 h 953"/>
                <a:gd name="T106" fmla="*/ 15 w 953"/>
                <a:gd name="T107" fmla="*/ 1 h 953"/>
                <a:gd name="T108" fmla="*/ 15 w 953"/>
                <a:gd name="T109" fmla="*/ 0 h 953"/>
                <a:gd name="T110" fmla="*/ 28 w 953"/>
                <a:gd name="T111" fmla="*/ 7 h 9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53"/>
                <a:gd name="T169" fmla="*/ 0 h 953"/>
                <a:gd name="T170" fmla="*/ 953 w 953"/>
                <a:gd name="T171" fmla="*/ 953 h 9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53" h="953">
                  <a:moveTo>
                    <a:pt x="953" y="209"/>
                  </a:moveTo>
                  <a:lnTo>
                    <a:pt x="941" y="230"/>
                  </a:lnTo>
                  <a:lnTo>
                    <a:pt x="933" y="247"/>
                  </a:lnTo>
                  <a:lnTo>
                    <a:pt x="923" y="265"/>
                  </a:lnTo>
                  <a:lnTo>
                    <a:pt x="915" y="282"/>
                  </a:lnTo>
                  <a:lnTo>
                    <a:pt x="905" y="300"/>
                  </a:lnTo>
                  <a:lnTo>
                    <a:pt x="893" y="319"/>
                  </a:lnTo>
                  <a:lnTo>
                    <a:pt x="883" y="335"/>
                  </a:lnTo>
                  <a:lnTo>
                    <a:pt x="871" y="354"/>
                  </a:lnTo>
                  <a:lnTo>
                    <a:pt x="857" y="373"/>
                  </a:lnTo>
                  <a:lnTo>
                    <a:pt x="842" y="394"/>
                  </a:lnTo>
                  <a:lnTo>
                    <a:pt x="831" y="411"/>
                  </a:lnTo>
                  <a:lnTo>
                    <a:pt x="816" y="428"/>
                  </a:lnTo>
                  <a:lnTo>
                    <a:pt x="801" y="449"/>
                  </a:lnTo>
                  <a:lnTo>
                    <a:pt x="785" y="469"/>
                  </a:lnTo>
                  <a:lnTo>
                    <a:pt x="770" y="488"/>
                  </a:lnTo>
                  <a:lnTo>
                    <a:pt x="753" y="507"/>
                  </a:lnTo>
                  <a:lnTo>
                    <a:pt x="738" y="523"/>
                  </a:lnTo>
                  <a:lnTo>
                    <a:pt x="718" y="545"/>
                  </a:lnTo>
                  <a:lnTo>
                    <a:pt x="701" y="563"/>
                  </a:lnTo>
                  <a:lnTo>
                    <a:pt x="684" y="579"/>
                  </a:lnTo>
                  <a:lnTo>
                    <a:pt x="664" y="597"/>
                  </a:lnTo>
                  <a:lnTo>
                    <a:pt x="650" y="610"/>
                  </a:lnTo>
                  <a:lnTo>
                    <a:pt x="632" y="625"/>
                  </a:lnTo>
                  <a:lnTo>
                    <a:pt x="613" y="641"/>
                  </a:lnTo>
                  <a:lnTo>
                    <a:pt x="593" y="658"/>
                  </a:lnTo>
                  <a:lnTo>
                    <a:pt x="574" y="672"/>
                  </a:lnTo>
                  <a:lnTo>
                    <a:pt x="554" y="688"/>
                  </a:lnTo>
                  <a:lnTo>
                    <a:pt x="528" y="706"/>
                  </a:lnTo>
                  <a:lnTo>
                    <a:pt x="506" y="721"/>
                  </a:lnTo>
                  <a:lnTo>
                    <a:pt x="482" y="738"/>
                  </a:lnTo>
                  <a:lnTo>
                    <a:pt x="457" y="755"/>
                  </a:lnTo>
                  <a:lnTo>
                    <a:pt x="431" y="770"/>
                  </a:lnTo>
                  <a:lnTo>
                    <a:pt x="563" y="953"/>
                  </a:lnTo>
                  <a:lnTo>
                    <a:pt x="39" y="718"/>
                  </a:lnTo>
                  <a:lnTo>
                    <a:pt x="0" y="252"/>
                  </a:lnTo>
                  <a:lnTo>
                    <a:pt x="109" y="384"/>
                  </a:lnTo>
                  <a:lnTo>
                    <a:pt x="134" y="372"/>
                  </a:lnTo>
                  <a:lnTo>
                    <a:pt x="158" y="359"/>
                  </a:lnTo>
                  <a:lnTo>
                    <a:pt x="191" y="343"/>
                  </a:lnTo>
                  <a:lnTo>
                    <a:pt x="222" y="325"/>
                  </a:lnTo>
                  <a:lnTo>
                    <a:pt x="255" y="303"/>
                  </a:lnTo>
                  <a:lnTo>
                    <a:pt x="282" y="283"/>
                  </a:lnTo>
                  <a:lnTo>
                    <a:pt x="308" y="261"/>
                  </a:lnTo>
                  <a:lnTo>
                    <a:pt x="334" y="239"/>
                  </a:lnTo>
                  <a:lnTo>
                    <a:pt x="355" y="219"/>
                  </a:lnTo>
                  <a:lnTo>
                    <a:pt x="377" y="195"/>
                  </a:lnTo>
                  <a:lnTo>
                    <a:pt x="400" y="169"/>
                  </a:lnTo>
                  <a:lnTo>
                    <a:pt x="420" y="146"/>
                  </a:lnTo>
                  <a:lnTo>
                    <a:pt x="439" y="121"/>
                  </a:lnTo>
                  <a:lnTo>
                    <a:pt x="456" y="99"/>
                  </a:lnTo>
                  <a:lnTo>
                    <a:pt x="474" y="69"/>
                  </a:lnTo>
                  <a:lnTo>
                    <a:pt x="491" y="42"/>
                  </a:lnTo>
                  <a:lnTo>
                    <a:pt x="500" y="21"/>
                  </a:lnTo>
                  <a:lnTo>
                    <a:pt x="509" y="0"/>
                  </a:lnTo>
                  <a:lnTo>
                    <a:pt x="953" y="209"/>
                  </a:lnTo>
                  <a:close/>
                </a:path>
              </a:pathLst>
            </a:custGeom>
            <a:solidFill>
              <a:schemeClr val="accent5">
                <a:lumMod val="75000"/>
              </a:schemeClr>
            </a:solidFill>
            <a:ln w="9525">
              <a:solidFill>
                <a:schemeClr val="bg1"/>
              </a:solidFill>
              <a:round/>
              <a:headEnd/>
              <a:tailEnd/>
            </a:ln>
          </p:spPr>
          <p:txBody>
            <a:bodyPr/>
            <a:lstStyle/>
            <a:p>
              <a:pPr eaLnBrk="0" hangingPunct="0">
                <a:defRPr/>
              </a:pPr>
              <a:endParaRPr lang="en-GB" sz="1000" b="1" kern="0" dirty="0">
                <a:solidFill>
                  <a:sysClr val="windowText" lastClr="000000"/>
                </a:solidFill>
              </a:endParaRPr>
            </a:p>
          </p:txBody>
        </p:sp>
        <p:sp>
          <p:nvSpPr>
            <p:cNvPr id="452" name="Freeform 34"/>
            <p:cNvSpPr>
              <a:spLocks/>
            </p:cNvSpPr>
            <p:nvPr/>
          </p:nvSpPr>
          <p:spPr bwMode="auto">
            <a:xfrm>
              <a:off x="1147880" y="1755133"/>
              <a:ext cx="233007" cy="273975"/>
            </a:xfrm>
            <a:custGeom>
              <a:avLst/>
              <a:gdLst>
                <a:gd name="T0" fmla="*/ 0 w 879"/>
                <a:gd name="T1" fmla="*/ 24 h 1109"/>
                <a:gd name="T2" fmla="*/ 6 w 879"/>
                <a:gd name="T3" fmla="*/ 27 h 1109"/>
                <a:gd name="T4" fmla="*/ 7 w 879"/>
                <a:gd name="T5" fmla="*/ 26 h 1109"/>
                <a:gd name="T6" fmla="*/ 7 w 879"/>
                <a:gd name="T7" fmla="*/ 25 h 1109"/>
                <a:gd name="T8" fmla="*/ 7 w 879"/>
                <a:gd name="T9" fmla="*/ 24 h 1109"/>
                <a:gd name="T10" fmla="*/ 7 w 879"/>
                <a:gd name="T11" fmla="*/ 24 h 1109"/>
                <a:gd name="T12" fmla="*/ 8 w 879"/>
                <a:gd name="T13" fmla="*/ 23 h 1109"/>
                <a:gd name="T14" fmla="*/ 8 w 879"/>
                <a:gd name="T15" fmla="*/ 22 h 1109"/>
                <a:gd name="T16" fmla="*/ 8 w 879"/>
                <a:gd name="T17" fmla="*/ 21 h 1109"/>
                <a:gd name="T18" fmla="*/ 8 w 879"/>
                <a:gd name="T19" fmla="*/ 20 h 1109"/>
                <a:gd name="T20" fmla="*/ 8 w 879"/>
                <a:gd name="T21" fmla="*/ 19 h 1109"/>
                <a:gd name="T22" fmla="*/ 8 w 879"/>
                <a:gd name="T23" fmla="*/ 18 h 1109"/>
                <a:gd name="T24" fmla="*/ 8 w 879"/>
                <a:gd name="T25" fmla="*/ 16 h 1109"/>
                <a:gd name="T26" fmla="*/ 8 w 879"/>
                <a:gd name="T27" fmla="*/ 15 h 1109"/>
                <a:gd name="T28" fmla="*/ 8 w 879"/>
                <a:gd name="T29" fmla="*/ 14 h 1109"/>
                <a:gd name="T30" fmla="*/ 8 w 879"/>
                <a:gd name="T31" fmla="*/ 13 h 1109"/>
                <a:gd name="T32" fmla="*/ 8 w 879"/>
                <a:gd name="T33" fmla="*/ 12 h 1109"/>
                <a:gd name="T34" fmla="*/ 8 w 879"/>
                <a:gd name="T35" fmla="*/ 11 h 1109"/>
                <a:gd name="T36" fmla="*/ 7 w 879"/>
                <a:gd name="T37" fmla="*/ 10 h 1109"/>
                <a:gd name="T38" fmla="*/ 7 w 879"/>
                <a:gd name="T39" fmla="*/ 9 h 1109"/>
                <a:gd name="T40" fmla="*/ 20 w 879"/>
                <a:gd name="T41" fmla="*/ 0 h 1109"/>
                <a:gd name="T42" fmla="*/ 20 w 879"/>
                <a:gd name="T43" fmla="*/ 1 h 1109"/>
                <a:gd name="T44" fmla="*/ 20 w 879"/>
                <a:gd name="T45" fmla="*/ 2 h 1109"/>
                <a:gd name="T46" fmla="*/ 20 w 879"/>
                <a:gd name="T47" fmla="*/ 3 h 1109"/>
                <a:gd name="T48" fmla="*/ 21 w 879"/>
                <a:gd name="T49" fmla="*/ 3 h 1109"/>
                <a:gd name="T50" fmla="*/ 21 w 879"/>
                <a:gd name="T51" fmla="*/ 4 h 1109"/>
                <a:gd name="T52" fmla="*/ 21 w 879"/>
                <a:gd name="T53" fmla="*/ 5 h 1109"/>
                <a:gd name="T54" fmla="*/ 21 w 879"/>
                <a:gd name="T55" fmla="*/ 6 h 1109"/>
                <a:gd name="T56" fmla="*/ 21 w 879"/>
                <a:gd name="T57" fmla="*/ 7 h 1109"/>
                <a:gd name="T58" fmla="*/ 22 w 879"/>
                <a:gd name="T59" fmla="*/ 7 h 1109"/>
                <a:gd name="T60" fmla="*/ 22 w 879"/>
                <a:gd name="T61" fmla="*/ 8 h 1109"/>
                <a:gd name="T62" fmla="*/ 22 w 879"/>
                <a:gd name="T63" fmla="*/ 9 h 1109"/>
                <a:gd name="T64" fmla="*/ 22 w 879"/>
                <a:gd name="T65" fmla="*/ 10 h 1109"/>
                <a:gd name="T66" fmla="*/ 22 w 879"/>
                <a:gd name="T67" fmla="*/ 11 h 1109"/>
                <a:gd name="T68" fmla="*/ 22 w 879"/>
                <a:gd name="T69" fmla="*/ 12 h 1109"/>
                <a:gd name="T70" fmla="*/ 22 w 879"/>
                <a:gd name="T71" fmla="*/ 13 h 1109"/>
                <a:gd name="T72" fmla="*/ 22 w 879"/>
                <a:gd name="T73" fmla="*/ 14 h 1109"/>
                <a:gd name="T74" fmla="*/ 23 w 879"/>
                <a:gd name="T75" fmla="*/ 15 h 1109"/>
                <a:gd name="T76" fmla="*/ 23 w 879"/>
                <a:gd name="T77" fmla="*/ 16 h 1109"/>
                <a:gd name="T78" fmla="*/ 23 w 879"/>
                <a:gd name="T79" fmla="*/ 17 h 1109"/>
                <a:gd name="T80" fmla="*/ 23 w 879"/>
                <a:gd name="T81" fmla="*/ 18 h 1109"/>
                <a:gd name="T82" fmla="*/ 23 w 879"/>
                <a:gd name="T83" fmla="*/ 20 h 1109"/>
                <a:gd name="T84" fmla="*/ 22 w 879"/>
                <a:gd name="T85" fmla="*/ 20 h 1109"/>
                <a:gd name="T86" fmla="*/ 22 w 879"/>
                <a:gd name="T87" fmla="*/ 21 h 1109"/>
                <a:gd name="T88" fmla="*/ 22 w 879"/>
                <a:gd name="T89" fmla="*/ 22 h 1109"/>
                <a:gd name="T90" fmla="*/ 22 w 879"/>
                <a:gd name="T91" fmla="*/ 24 h 1109"/>
                <a:gd name="T92" fmla="*/ 22 w 879"/>
                <a:gd name="T93" fmla="*/ 24 h 1109"/>
                <a:gd name="T94" fmla="*/ 22 w 879"/>
                <a:gd name="T95" fmla="*/ 25 h 1109"/>
                <a:gd name="T96" fmla="*/ 22 w 879"/>
                <a:gd name="T97" fmla="*/ 26 h 1109"/>
                <a:gd name="T98" fmla="*/ 21 w 879"/>
                <a:gd name="T99" fmla="*/ 27 h 1109"/>
                <a:gd name="T100" fmla="*/ 21 w 879"/>
                <a:gd name="T101" fmla="*/ 28 h 1109"/>
                <a:gd name="T102" fmla="*/ 21 w 879"/>
                <a:gd name="T103" fmla="*/ 29 h 1109"/>
                <a:gd name="T104" fmla="*/ 21 w 879"/>
                <a:gd name="T105" fmla="*/ 30 h 1109"/>
                <a:gd name="T106" fmla="*/ 20 w 879"/>
                <a:gd name="T107" fmla="*/ 31 h 1109"/>
                <a:gd name="T108" fmla="*/ 20 w 879"/>
                <a:gd name="T109" fmla="*/ 33 h 1109"/>
                <a:gd name="T110" fmla="*/ 20 w 879"/>
                <a:gd name="T111" fmla="*/ 34 h 1109"/>
                <a:gd name="T112" fmla="*/ 26 w 879"/>
                <a:gd name="T113" fmla="*/ 37 h 1109"/>
                <a:gd name="T114" fmla="*/ 10 w 879"/>
                <a:gd name="T115" fmla="*/ 39 h 1109"/>
                <a:gd name="T116" fmla="*/ 0 w 879"/>
                <a:gd name="T117" fmla="*/ 24 h 110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79"/>
                <a:gd name="T178" fmla="*/ 0 h 1109"/>
                <a:gd name="T179" fmla="*/ 879 w 879"/>
                <a:gd name="T180" fmla="*/ 1109 h 110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79" h="1109">
                  <a:moveTo>
                    <a:pt x="0" y="704"/>
                  </a:moveTo>
                  <a:lnTo>
                    <a:pt x="219" y="786"/>
                  </a:lnTo>
                  <a:lnTo>
                    <a:pt x="230" y="759"/>
                  </a:lnTo>
                  <a:lnTo>
                    <a:pt x="240" y="733"/>
                  </a:lnTo>
                  <a:lnTo>
                    <a:pt x="246" y="708"/>
                  </a:lnTo>
                  <a:lnTo>
                    <a:pt x="253" y="686"/>
                  </a:lnTo>
                  <a:lnTo>
                    <a:pt x="259" y="661"/>
                  </a:lnTo>
                  <a:lnTo>
                    <a:pt x="264" y="633"/>
                  </a:lnTo>
                  <a:lnTo>
                    <a:pt x="268" y="607"/>
                  </a:lnTo>
                  <a:lnTo>
                    <a:pt x="272" y="581"/>
                  </a:lnTo>
                  <a:lnTo>
                    <a:pt x="276" y="551"/>
                  </a:lnTo>
                  <a:lnTo>
                    <a:pt x="277" y="520"/>
                  </a:lnTo>
                  <a:lnTo>
                    <a:pt x="277" y="464"/>
                  </a:lnTo>
                  <a:lnTo>
                    <a:pt x="276" y="434"/>
                  </a:lnTo>
                  <a:lnTo>
                    <a:pt x="275" y="408"/>
                  </a:lnTo>
                  <a:lnTo>
                    <a:pt x="271" y="381"/>
                  </a:lnTo>
                  <a:lnTo>
                    <a:pt x="266" y="352"/>
                  </a:lnTo>
                  <a:lnTo>
                    <a:pt x="260" y="327"/>
                  </a:lnTo>
                  <a:lnTo>
                    <a:pt x="254" y="296"/>
                  </a:lnTo>
                  <a:lnTo>
                    <a:pt x="245" y="266"/>
                  </a:lnTo>
                  <a:lnTo>
                    <a:pt x="669" y="0"/>
                  </a:lnTo>
                  <a:lnTo>
                    <a:pt x="679" y="26"/>
                  </a:lnTo>
                  <a:lnTo>
                    <a:pt x="688" y="51"/>
                  </a:lnTo>
                  <a:lnTo>
                    <a:pt x="696" y="73"/>
                  </a:lnTo>
                  <a:lnTo>
                    <a:pt x="704" y="96"/>
                  </a:lnTo>
                  <a:lnTo>
                    <a:pt x="710" y="118"/>
                  </a:lnTo>
                  <a:lnTo>
                    <a:pt x="718" y="142"/>
                  </a:lnTo>
                  <a:lnTo>
                    <a:pt x="723" y="162"/>
                  </a:lnTo>
                  <a:lnTo>
                    <a:pt x="728" y="184"/>
                  </a:lnTo>
                  <a:lnTo>
                    <a:pt x="734" y="207"/>
                  </a:lnTo>
                  <a:lnTo>
                    <a:pt x="740" y="231"/>
                  </a:lnTo>
                  <a:lnTo>
                    <a:pt x="744" y="260"/>
                  </a:lnTo>
                  <a:lnTo>
                    <a:pt x="749" y="283"/>
                  </a:lnTo>
                  <a:lnTo>
                    <a:pt x="754" y="309"/>
                  </a:lnTo>
                  <a:lnTo>
                    <a:pt x="758" y="336"/>
                  </a:lnTo>
                  <a:lnTo>
                    <a:pt x="760" y="365"/>
                  </a:lnTo>
                  <a:lnTo>
                    <a:pt x="762" y="396"/>
                  </a:lnTo>
                  <a:lnTo>
                    <a:pt x="765" y="426"/>
                  </a:lnTo>
                  <a:lnTo>
                    <a:pt x="765" y="455"/>
                  </a:lnTo>
                  <a:lnTo>
                    <a:pt x="765" y="486"/>
                  </a:lnTo>
                  <a:lnTo>
                    <a:pt x="765" y="525"/>
                  </a:lnTo>
                  <a:lnTo>
                    <a:pt x="764" y="560"/>
                  </a:lnTo>
                  <a:lnTo>
                    <a:pt x="762" y="585"/>
                  </a:lnTo>
                  <a:lnTo>
                    <a:pt x="760" y="612"/>
                  </a:lnTo>
                  <a:lnTo>
                    <a:pt x="758" y="641"/>
                  </a:lnTo>
                  <a:lnTo>
                    <a:pt x="753" y="673"/>
                  </a:lnTo>
                  <a:lnTo>
                    <a:pt x="748" y="700"/>
                  </a:lnTo>
                  <a:lnTo>
                    <a:pt x="743" y="728"/>
                  </a:lnTo>
                  <a:lnTo>
                    <a:pt x="736" y="760"/>
                  </a:lnTo>
                  <a:lnTo>
                    <a:pt x="730" y="785"/>
                  </a:lnTo>
                  <a:lnTo>
                    <a:pt x="723" y="816"/>
                  </a:lnTo>
                  <a:lnTo>
                    <a:pt x="715" y="843"/>
                  </a:lnTo>
                  <a:lnTo>
                    <a:pt x="706" y="871"/>
                  </a:lnTo>
                  <a:lnTo>
                    <a:pt x="697" y="899"/>
                  </a:lnTo>
                  <a:lnTo>
                    <a:pt x="686" y="934"/>
                  </a:lnTo>
                  <a:lnTo>
                    <a:pt x="673" y="969"/>
                  </a:lnTo>
                  <a:lnTo>
                    <a:pt x="879" y="1054"/>
                  </a:lnTo>
                  <a:lnTo>
                    <a:pt x="361" y="1109"/>
                  </a:lnTo>
                  <a:lnTo>
                    <a:pt x="0" y="704"/>
                  </a:lnTo>
                  <a:close/>
                </a:path>
              </a:pathLst>
            </a:custGeom>
            <a:solidFill>
              <a:schemeClr val="tx1"/>
            </a:solidFill>
            <a:ln w="9525">
              <a:solidFill>
                <a:schemeClr val="bg1"/>
              </a:solidFill>
              <a:round/>
              <a:headEnd/>
              <a:tailEnd/>
            </a:ln>
          </p:spPr>
          <p:txBody>
            <a:bodyPr/>
            <a:lstStyle/>
            <a:p>
              <a:pPr eaLnBrk="0" hangingPunct="0">
                <a:defRPr/>
              </a:pPr>
              <a:endParaRPr lang="en-GB" sz="1000" b="1" kern="0" dirty="0">
                <a:solidFill>
                  <a:sysClr val="windowText" lastClr="000000"/>
                </a:solidFill>
              </a:endParaRPr>
            </a:p>
          </p:txBody>
        </p:sp>
        <p:sp>
          <p:nvSpPr>
            <p:cNvPr id="453" name="Freeform 35"/>
            <p:cNvSpPr>
              <a:spLocks/>
            </p:cNvSpPr>
            <p:nvPr/>
          </p:nvSpPr>
          <p:spPr bwMode="auto">
            <a:xfrm>
              <a:off x="1110753" y="1596380"/>
              <a:ext cx="272695" cy="241969"/>
            </a:xfrm>
            <a:custGeom>
              <a:avLst/>
              <a:gdLst>
                <a:gd name="T0" fmla="*/ 6 w 1029"/>
                <a:gd name="T1" fmla="*/ 0 h 978"/>
                <a:gd name="T2" fmla="*/ 7 w 1029"/>
                <a:gd name="T3" fmla="*/ 0 h 978"/>
                <a:gd name="T4" fmla="*/ 7 w 1029"/>
                <a:gd name="T5" fmla="*/ 1 h 978"/>
                <a:gd name="T6" fmla="*/ 8 w 1029"/>
                <a:gd name="T7" fmla="*/ 1 h 978"/>
                <a:gd name="T8" fmla="*/ 8 w 1029"/>
                <a:gd name="T9" fmla="*/ 1 h 978"/>
                <a:gd name="T10" fmla="*/ 9 w 1029"/>
                <a:gd name="T11" fmla="*/ 2 h 978"/>
                <a:gd name="T12" fmla="*/ 9 w 1029"/>
                <a:gd name="T13" fmla="*/ 2 h 978"/>
                <a:gd name="T14" fmla="*/ 10 w 1029"/>
                <a:gd name="T15" fmla="*/ 3 h 978"/>
                <a:gd name="T16" fmla="*/ 10 w 1029"/>
                <a:gd name="T17" fmla="*/ 3 h 978"/>
                <a:gd name="T18" fmla="*/ 11 w 1029"/>
                <a:gd name="T19" fmla="*/ 3 h 978"/>
                <a:gd name="T20" fmla="*/ 12 w 1029"/>
                <a:gd name="T21" fmla="*/ 4 h 978"/>
                <a:gd name="T22" fmla="*/ 12 w 1029"/>
                <a:gd name="T23" fmla="*/ 4 h 978"/>
                <a:gd name="T24" fmla="*/ 13 w 1029"/>
                <a:gd name="T25" fmla="*/ 5 h 978"/>
                <a:gd name="T26" fmla="*/ 13 w 1029"/>
                <a:gd name="T27" fmla="*/ 5 h 978"/>
                <a:gd name="T28" fmla="*/ 14 w 1029"/>
                <a:gd name="T29" fmla="*/ 6 h 978"/>
                <a:gd name="T30" fmla="*/ 15 w 1029"/>
                <a:gd name="T31" fmla="*/ 6 h 978"/>
                <a:gd name="T32" fmla="*/ 15 w 1029"/>
                <a:gd name="T33" fmla="*/ 7 h 978"/>
                <a:gd name="T34" fmla="*/ 15 w 1029"/>
                <a:gd name="T35" fmla="*/ 8 h 978"/>
                <a:gd name="T36" fmla="*/ 16 w 1029"/>
                <a:gd name="T37" fmla="*/ 8 h 978"/>
                <a:gd name="T38" fmla="*/ 17 w 1029"/>
                <a:gd name="T39" fmla="*/ 9 h 978"/>
                <a:gd name="T40" fmla="*/ 17 w 1029"/>
                <a:gd name="T41" fmla="*/ 9 h 978"/>
                <a:gd name="T42" fmla="*/ 18 w 1029"/>
                <a:gd name="T43" fmla="*/ 10 h 978"/>
                <a:gd name="T44" fmla="*/ 18 w 1029"/>
                <a:gd name="T45" fmla="*/ 10 h 978"/>
                <a:gd name="T46" fmla="*/ 19 w 1029"/>
                <a:gd name="T47" fmla="*/ 11 h 978"/>
                <a:gd name="T48" fmla="*/ 19 w 1029"/>
                <a:gd name="T49" fmla="*/ 12 h 978"/>
                <a:gd name="T50" fmla="*/ 19 w 1029"/>
                <a:gd name="T51" fmla="*/ 13 h 978"/>
                <a:gd name="T52" fmla="*/ 20 w 1029"/>
                <a:gd name="T53" fmla="*/ 13 h 978"/>
                <a:gd name="T54" fmla="*/ 20 w 1029"/>
                <a:gd name="T55" fmla="*/ 14 h 978"/>
                <a:gd name="T56" fmla="*/ 21 w 1029"/>
                <a:gd name="T57" fmla="*/ 15 h 978"/>
                <a:gd name="T58" fmla="*/ 21 w 1029"/>
                <a:gd name="T59" fmla="*/ 16 h 978"/>
                <a:gd name="T60" fmla="*/ 22 w 1029"/>
                <a:gd name="T61" fmla="*/ 16 h 978"/>
                <a:gd name="T62" fmla="*/ 22 w 1029"/>
                <a:gd name="T63" fmla="*/ 17 h 978"/>
                <a:gd name="T64" fmla="*/ 23 w 1029"/>
                <a:gd name="T65" fmla="*/ 18 h 978"/>
                <a:gd name="T66" fmla="*/ 23 w 1029"/>
                <a:gd name="T67" fmla="*/ 19 h 978"/>
                <a:gd name="T68" fmla="*/ 23 w 1029"/>
                <a:gd name="T69" fmla="*/ 20 h 978"/>
                <a:gd name="T70" fmla="*/ 24 w 1029"/>
                <a:gd name="T71" fmla="*/ 21 h 978"/>
                <a:gd name="T72" fmla="*/ 24 w 1029"/>
                <a:gd name="T73" fmla="*/ 22 h 978"/>
                <a:gd name="T74" fmla="*/ 24 w 1029"/>
                <a:gd name="T75" fmla="*/ 22 h 978"/>
                <a:gd name="T76" fmla="*/ 30 w 1029"/>
                <a:gd name="T77" fmla="*/ 20 h 978"/>
                <a:gd name="T78" fmla="*/ 21 w 1029"/>
                <a:gd name="T79" fmla="*/ 34 h 978"/>
                <a:gd name="T80" fmla="*/ 4 w 1029"/>
                <a:gd name="T81" fmla="*/ 32 h 978"/>
                <a:gd name="T82" fmla="*/ 11 w 1029"/>
                <a:gd name="T83" fmla="*/ 29 h 978"/>
                <a:gd name="T84" fmla="*/ 11 w 1029"/>
                <a:gd name="T85" fmla="*/ 27 h 978"/>
                <a:gd name="T86" fmla="*/ 10 w 1029"/>
                <a:gd name="T87" fmla="*/ 27 h 978"/>
                <a:gd name="T88" fmla="*/ 10 w 1029"/>
                <a:gd name="T89" fmla="*/ 26 h 978"/>
                <a:gd name="T90" fmla="*/ 9 w 1029"/>
                <a:gd name="T91" fmla="*/ 25 h 978"/>
                <a:gd name="T92" fmla="*/ 8 w 1029"/>
                <a:gd name="T93" fmla="*/ 24 h 978"/>
                <a:gd name="T94" fmla="*/ 8 w 1029"/>
                <a:gd name="T95" fmla="*/ 23 h 978"/>
                <a:gd name="T96" fmla="*/ 7 w 1029"/>
                <a:gd name="T97" fmla="*/ 22 h 978"/>
                <a:gd name="T98" fmla="*/ 6 w 1029"/>
                <a:gd name="T99" fmla="*/ 21 h 978"/>
                <a:gd name="T100" fmla="*/ 6 w 1029"/>
                <a:gd name="T101" fmla="*/ 20 h 978"/>
                <a:gd name="T102" fmla="*/ 5 w 1029"/>
                <a:gd name="T103" fmla="*/ 19 h 978"/>
                <a:gd name="T104" fmla="*/ 4 w 1029"/>
                <a:gd name="T105" fmla="*/ 19 h 978"/>
                <a:gd name="T106" fmla="*/ 3 w 1029"/>
                <a:gd name="T107" fmla="*/ 18 h 978"/>
                <a:gd name="T108" fmla="*/ 3 w 1029"/>
                <a:gd name="T109" fmla="*/ 17 h 978"/>
                <a:gd name="T110" fmla="*/ 2 w 1029"/>
                <a:gd name="T111" fmla="*/ 17 h 978"/>
                <a:gd name="T112" fmla="*/ 1 w 1029"/>
                <a:gd name="T113" fmla="*/ 16 h 978"/>
                <a:gd name="T114" fmla="*/ 1 w 1029"/>
                <a:gd name="T115" fmla="*/ 16 h 978"/>
                <a:gd name="T116" fmla="*/ 0 w 1029"/>
                <a:gd name="T117" fmla="*/ 15 h 978"/>
                <a:gd name="T118" fmla="*/ 6 w 1029"/>
                <a:gd name="T119" fmla="*/ 0 h 97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29"/>
                <a:gd name="T181" fmla="*/ 0 h 978"/>
                <a:gd name="T182" fmla="*/ 1029 w 1029"/>
                <a:gd name="T183" fmla="*/ 978 h 97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29" h="978">
                  <a:moveTo>
                    <a:pt x="209" y="0"/>
                  </a:moveTo>
                  <a:lnTo>
                    <a:pt x="230" y="10"/>
                  </a:lnTo>
                  <a:lnTo>
                    <a:pt x="247" y="19"/>
                  </a:lnTo>
                  <a:lnTo>
                    <a:pt x="265" y="28"/>
                  </a:lnTo>
                  <a:lnTo>
                    <a:pt x="282" y="37"/>
                  </a:lnTo>
                  <a:lnTo>
                    <a:pt x="300" y="48"/>
                  </a:lnTo>
                  <a:lnTo>
                    <a:pt x="317" y="59"/>
                  </a:lnTo>
                  <a:lnTo>
                    <a:pt x="334" y="70"/>
                  </a:lnTo>
                  <a:lnTo>
                    <a:pt x="351" y="80"/>
                  </a:lnTo>
                  <a:lnTo>
                    <a:pt x="372" y="94"/>
                  </a:lnTo>
                  <a:lnTo>
                    <a:pt x="394" y="110"/>
                  </a:lnTo>
                  <a:lnTo>
                    <a:pt x="411" y="122"/>
                  </a:lnTo>
                  <a:lnTo>
                    <a:pt x="428" y="136"/>
                  </a:lnTo>
                  <a:lnTo>
                    <a:pt x="449" y="150"/>
                  </a:lnTo>
                  <a:lnTo>
                    <a:pt x="469" y="166"/>
                  </a:lnTo>
                  <a:lnTo>
                    <a:pt x="488" y="181"/>
                  </a:lnTo>
                  <a:lnTo>
                    <a:pt x="506" y="198"/>
                  </a:lnTo>
                  <a:lnTo>
                    <a:pt x="523" y="214"/>
                  </a:lnTo>
                  <a:lnTo>
                    <a:pt x="544" y="233"/>
                  </a:lnTo>
                  <a:lnTo>
                    <a:pt x="562" y="250"/>
                  </a:lnTo>
                  <a:lnTo>
                    <a:pt x="577" y="267"/>
                  </a:lnTo>
                  <a:lnTo>
                    <a:pt x="596" y="287"/>
                  </a:lnTo>
                  <a:lnTo>
                    <a:pt x="610" y="301"/>
                  </a:lnTo>
                  <a:lnTo>
                    <a:pt x="626" y="319"/>
                  </a:lnTo>
                  <a:lnTo>
                    <a:pt x="641" y="337"/>
                  </a:lnTo>
                  <a:lnTo>
                    <a:pt x="658" y="360"/>
                  </a:lnTo>
                  <a:lnTo>
                    <a:pt x="672" y="378"/>
                  </a:lnTo>
                  <a:lnTo>
                    <a:pt x="688" y="399"/>
                  </a:lnTo>
                  <a:lnTo>
                    <a:pt x="706" y="423"/>
                  </a:lnTo>
                  <a:lnTo>
                    <a:pt x="722" y="445"/>
                  </a:lnTo>
                  <a:lnTo>
                    <a:pt x="739" y="470"/>
                  </a:lnTo>
                  <a:lnTo>
                    <a:pt x="754" y="495"/>
                  </a:lnTo>
                  <a:lnTo>
                    <a:pt x="769" y="521"/>
                  </a:lnTo>
                  <a:lnTo>
                    <a:pt x="784" y="548"/>
                  </a:lnTo>
                  <a:lnTo>
                    <a:pt x="796" y="571"/>
                  </a:lnTo>
                  <a:lnTo>
                    <a:pt x="808" y="593"/>
                  </a:lnTo>
                  <a:lnTo>
                    <a:pt x="818" y="619"/>
                  </a:lnTo>
                  <a:lnTo>
                    <a:pt x="824" y="638"/>
                  </a:lnTo>
                  <a:lnTo>
                    <a:pt x="1029" y="557"/>
                  </a:lnTo>
                  <a:lnTo>
                    <a:pt x="711" y="978"/>
                  </a:lnTo>
                  <a:lnTo>
                    <a:pt x="150" y="909"/>
                  </a:lnTo>
                  <a:lnTo>
                    <a:pt x="372" y="820"/>
                  </a:lnTo>
                  <a:lnTo>
                    <a:pt x="358" y="790"/>
                  </a:lnTo>
                  <a:lnTo>
                    <a:pt x="343" y="761"/>
                  </a:lnTo>
                  <a:lnTo>
                    <a:pt x="324" y="730"/>
                  </a:lnTo>
                  <a:lnTo>
                    <a:pt x="302" y="697"/>
                  </a:lnTo>
                  <a:lnTo>
                    <a:pt x="282" y="670"/>
                  </a:lnTo>
                  <a:lnTo>
                    <a:pt x="261" y="644"/>
                  </a:lnTo>
                  <a:lnTo>
                    <a:pt x="239" y="618"/>
                  </a:lnTo>
                  <a:lnTo>
                    <a:pt x="217" y="596"/>
                  </a:lnTo>
                  <a:lnTo>
                    <a:pt x="195" y="575"/>
                  </a:lnTo>
                  <a:lnTo>
                    <a:pt x="169" y="552"/>
                  </a:lnTo>
                  <a:lnTo>
                    <a:pt x="144" y="532"/>
                  </a:lnTo>
                  <a:lnTo>
                    <a:pt x="121" y="513"/>
                  </a:lnTo>
                  <a:lnTo>
                    <a:pt x="98" y="496"/>
                  </a:lnTo>
                  <a:lnTo>
                    <a:pt x="69" y="478"/>
                  </a:lnTo>
                  <a:lnTo>
                    <a:pt x="40" y="461"/>
                  </a:lnTo>
                  <a:lnTo>
                    <a:pt x="21" y="452"/>
                  </a:lnTo>
                  <a:lnTo>
                    <a:pt x="0" y="440"/>
                  </a:lnTo>
                  <a:lnTo>
                    <a:pt x="209" y="0"/>
                  </a:lnTo>
                  <a:close/>
                </a:path>
              </a:pathLst>
            </a:custGeom>
            <a:solidFill>
              <a:schemeClr val="accent5">
                <a:lumMod val="75000"/>
              </a:schemeClr>
            </a:solidFill>
            <a:ln w="9525">
              <a:solidFill>
                <a:schemeClr val="bg1"/>
              </a:solidFill>
              <a:round/>
              <a:headEnd/>
              <a:tailEnd/>
            </a:ln>
          </p:spPr>
          <p:txBody>
            <a:bodyPr/>
            <a:lstStyle/>
            <a:p>
              <a:pPr eaLnBrk="0" hangingPunct="0">
                <a:defRPr/>
              </a:pPr>
              <a:endParaRPr lang="en-GB" sz="1000" b="1" kern="0" dirty="0">
                <a:solidFill>
                  <a:sysClr val="windowText" lastClr="000000"/>
                </a:solidFill>
              </a:endParaRPr>
            </a:p>
          </p:txBody>
        </p:sp>
        <p:sp>
          <p:nvSpPr>
            <p:cNvPr id="454" name="Freeform 26"/>
            <p:cNvSpPr>
              <a:spLocks/>
            </p:cNvSpPr>
            <p:nvPr/>
          </p:nvSpPr>
          <p:spPr bwMode="auto">
            <a:xfrm>
              <a:off x="887988" y="1513164"/>
              <a:ext cx="289338" cy="254771"/>
            </a:xfrm>
            <a:custGeom>
              <a:avLst/>
              <a:gdLst>
                <a:gd name="T0" fmla="*/ 21 w 994"/>
                <a:gd name="T1" fmla="*/ 59 h 802"/>
                <a:gd name="T2" fmla="*/ 23 w 994"/>
                <a:gd name="T3" fmla="*/ 48 h 802"/>
                <a:gd name="T4" fmla="*/ 22 w 994"/>
                <a:gd name="T5" fmla="*/ 47 h 802"/>
                <a:gd name="T6" fmla="*/ 21 w 994"/>
                <a:gd name="T7" fmla="*/ 47 h 802"/>
                <a:gd name="T8" fmla="*/ 20 w 994"/>
                <a:gd name="T9" fmla="*/ 46 h 802"/>
                <a:gd name="T10" fmla="*/ 19 w 994"/>
                <a:gd name="T11" fmla="*/ 46 h 802"/>
                <a:gd name="T12" fmla="*/ 18 w 994"/>
                <a:gd name="T13" fmla="*/ 46 h 802"/>
                <a:gd name="T14" fmla="*/ 17 w 994"/>
                <a:gd name="T15" fmla="*/ 45 h 802"/>
                <a:gd name="T16" fmla="*/ 16 w 994"/>
                <a:gd name="T17" fmla="*/ 45 h 802"/>
                <a:gd name="T18" fmla="*/ 14 w 994"/>
                <a:gd name="T19" fmla="*/ 45 h 802"/>
                <a:gd name="T20" fmla="*/ 13 w 994"/>
                <a:gd name="T21" fmla="*/ 45 h 802"/>
                <a:gd name="T22" fmla="*/ 11 w 994"/>
                <a:gd name="T23" fmla="*/ 46 h 802"/>
                <a:gd name="T24" fmla="*/ 10 w 994"/>
                <a:gd name="T25" fmla="*/ 46 h 802"/>
                <a:gd name="T26" fmla="*/ 9 w 994"/>
                <a:gd name="T27" fmla="*/ 46 h 802"/>
                <a:gd name="T28" fmla="*/ 8 w 994"/>
                <a:gd name="T29" fmla="*/ 47 h 802"/>
                <a:gd name="T30" fmla="*/ 7 w 994"/>
                <a:gd name="T31" fmla="*/ 47 h 802"/>
                <a:gd name="T32" fmla="*/ 6 w 994"/>
                <a:gd name="T33" fmla="*/ 48 h 802"/>
                <a:gd name="T34" fmla="*/ 9 w 994"/>
                <a:gd name="T35" fmla="*/ 23 h 802"/>
                <a:gd name="T36" fmla="*/ 0 w 994"/>
                <a:gd name="T37" fmla="*/ 14 h 802"/>
                <a:gd name="T38" fmla="*/ 0 w 994"/>
                <a:gd name="T39" fmla="*/ 13 h 802"/>
                <a:gd name="T40" fmla="*/ 1 w 994"/>
                <a:gd name="T41" fmla="*/ 13 h 802"/>
                <a:gd name="T42" fmla="*/ 2 w 994"/>
                <a:gd name="T43" fmla="*/ 13 h 802"/>
                <a:gd name="T44" fmla="*/ 3 w 994"/>
                <a:gd name="T45" fmla="*/ 12 h 802"/>
                <a:gd name="T46" fmla="*/ 4 w 994"/>
                <a:gd name="T47" fmla="*/ 12 h 802"/>
                <a:gd name="T48" fmla="*/ 5 w 994"/>
                <a:gd name="T49" fmla="*/ 11 h 802"/>
                <a:gd name="T50" fmla="*/ 6 w 994"/>
                <a:gd name="T51" fmla="*/ 11 h 802"/>
                <a:gd name="T52" fmla="*/ 6 w 994"/>
                <a:gd name="T53" fmla="*/ 10 h 802"/>
                <a:gd name="T54" fmla="*/ 8 w 994"/>
                <a:gd name="T55" fmla="*/ 10 h 802"/>
                <a:gd name="T56" fmla="*/ 9 w 994"/>
                <a:gd name="T57" fmla="*/ 10 h 802"/>
                <a:gd name="T58" fmla="*/ 10 w 994"/>
                <a:gd name="T59" fmla="*/ 10 h 802"/>
                <a:gd name="T60" fmla="*/ 11 w 994"/>
                <a:gd name="T61" fmla="*/ 10 h 802"/>
                <a:gd name="T62" fmla="*/ 12 w 994"/>
                <a:gd name="T63" fmla="*/ 9 h 802"/>
                <a:gd name="T64" fmla="*/ 13 w 994"/>
                <a:gd name="T65" fmla="*/ 9 h 802"/>
                <a:gd name="T66" fmla="*/ 15 w 994"/>
                <a:gd name="T67" fmla="*/ 9 h 802"/>
                <a:gd name="T68" fmla="*/ 16 w 994"/>
                <a:gd name="T69" fmla="*/ 9 h 802"/>
                <a:gd name="T70" fmla="*/ 17 w 994"/>
                <a:gd name="T71" fmla="*/ 10 h 802"/>
                <a:gd name="T72" fmla="*/ 18 w 994"/>
                <a:gd name="T73" fmla="*/ 10 h 802"/>
                <a:gd name="T74" fmla="*/ 19 w 994"/>
                <a:gd name="T75" fmla="*/ 10 h 802"/>
                <a:gd name="T76" fmla="*/ 21 w 994"/>
                <a:gd name="T77" fmla="*/ 10 h 802"/>
                <a:gd name="T78" fmla="*/ 22 w 994"/>
                <a:gd name="T79" fmla="*/ 10 h 802"/>
                <a:gd name="T80" fmla="*/ 23 w 994"/>
                <a:gd name="T81" fmla="*/ 10 h 802"/>
                <a:gd name="T82" fmla="*/ 24 w 994"/>
                <a:gd name="T83" fmla="*/ 11 h 802"/>
                <a:gd name="T84" fmla="*/ 25 w 994"/>
                <a:gd name="T85" fmla="*/ 11 h 802"/>
                <a:gd name="T86" fmla="*/ 26 w 994"/>
                <a:gd name="T87" fmla="*/ 12 h 802"/>
                <a:gd name="T88" fmla="*/ 27 w 994"/>
                <a:gd name="T89" fmla="*/ 13 h 802"/>
                <a:gd name="T90" fmla="*/ 28 w 994"/>
                <a:gd name="T91" fmla="*/ 13 h 802"/>
                <a:gd name="T92" fmla="*/ 29 w 994"/>
                <a:gd name="T93" fmla="*/ 14 h 802"/>
                <a:gd name="T94" fmla="*/ 30 w 994"/>
                <a:gd name="T95" fmla="*/ 14 h 802"/>
                <a:gd name="T96" fmla="*/ 34 w 994"/>
                <a:gd name="T97" fmla="*/ 0 h 802"/>
                <a:gd name="T98" fmla="*/ 39 w 994"/>
                <a:gd name="T99" fmla="*/ 40 h 802"/>
                <a:gd name="T100" fmla="*/ 21 w 994"/>
                <a:gd name="T101" fmla="*/ 59 h 8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94"/>
                <a:gd name="T154" fmla="*/ 0 h 802"/>
                <a:gd name="T155" fmla="*/ 994 w 994"/>
                <a:gd name="T156" fmla="*/ 802 h 80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94" h="802">
                  <a:moveTo>
                    <a:pt x="530" y="802"/>
                  </a:moveTo>
                  <a:lnTo>
                    <a:pt x="595" y="646"/>
                  </a:lnTo>
                  <a:lnTo>
                    <a:pt x="574" y="639"/>
                  </a:lnTo>
                  <a:lnTo>
                    <a:pt x="551" y="634"/>
                  </a:lnTo>
                  <a:lnTo>
                    <a:pt x="521" y="628"/>
                  </a:lnTo>
                  <a:lnTo>
                    <a:pt x="496" y="624"/>
                  </a:lnTo>
                  <a:lnTo>
                    <a:pt x="469" y="620"/>
                  </a:lnTo>
                  <a:lnTo>
                    <a:pt x="439" y="617"/>
                  </a:lnTo>
                  <a:lnTo>
                    <a:pt x="408" y="615"/>
                  </a:lnTo>
                  <a:lnTo>
                    <a:pt x="352" y="615"/>
                  </a:lnTo>
                  <a:lnTo>
                    <a:pt x="324" y="616"/>
                  </a:lnTo>
                  <a:lnTo>
                    <a:pt x="296" y="619"/>
                  </a:lnTo>
                  <a:lnTo>
                    <a:pt x="269" y="621"/>
                  </a:lnTo>
                  <a:lnTo>
                    <a:pt x="242" y="626"/>
                  </a:lnTo>
                  <a:lnTo>
                    <a:pt x="216" y="632"/>
                  </a:lnTo>
                  <a:lnTo>
                    <a:pt x="184" y="638"/>
                  </a:lnTo>
                  <a:lnTo>
                    <a:pt x="157" y="647"/>
                  </a:lnTo>
                  <a:lnTo>
                    <a:pt x="229" y="317"/>
                  </a:lnTo>
                  <a:lnTo>
                    <a:pt x="0" y="186"/>
                  </a:lnTo>
                  <a:lnTo>
                    <a:pt x="11" y="182"/>
                  </a:lnTo>
                  <a:lnTo>
                    <a:pt x="35" y="174"/>
                  </a:lnTo>
                  <a:lnTo>
                    <a:pt x="53" y="169"/>
                  </a:lnTo>
                  <a:lnTo>
                    <a:pt x="74" y="162"/>
                  </a:lnTo>
                  <a:lnTo>
                    <a:pt x="99" y="157"/>
                  </a:lnTo>
                  <a:lnTo>
                    <a:pt x="119" y="152"/>
                  </a:lnTo>
                  <a:lnTo>
                    <a:pt x="147" y="146"/>
                  </a:lnTo>
                  <a:lnTo>
                    <a:pt x="170" y="142"/>
                  </a:lnTo>
                  <a:lnTo>
                    <a:pt x="197" y="138"/>
                  </a:lnTo>
                  <a:lnTo>
                    <a:pt x="226" y="134"/>
                  </a:lnTo>
                  <a:lnTo>
                    <a:pt x="253" y="131"/>
                  </a:lnTo>
                  <a:lnTo>
                    <a:pt x="285" y="130"/>
                  </a:lnTo>
                  <a:lnTo>
                    <a:pt x="314" y="127"/>
                  </a:lnTo>
                  <a:lnTo>
                    <a:pt x="344" y="127"/>
                  </a:lnTo>
                  <a:lnTo>
                    <a:pt x="376" y="127"/>
                  </a:lnTo>
                  <a:lnTo>
                    <a:pt x="415" y="127"/>
                  </a:lnTo>
                  <a:lnTo>
                    <a:pt x="450" y="129"/>
                  </a:lnTo>
                  <a:lnTo>
                    <a:pt x="473" y="130"/>
                  </a:lnTo>
                  <a:lnTo>
                    <a:pt x="502" y="133"/>
                  </a:lnTo>
                  <a:lnTo>
                    <a:pt x="529" y="135"/>
                  </a:lnTo>
                  <a:lnTo>
                    <a:pt x="561" y="139"/>
                  </a:lnTo>
                  <a:lnTo>
                    <a:pt x="589" y="144"/>
                  </a:lnTo>
                  <a:lnTo>
                    <a:pt x="615" y="149"/>
                  </a:lnTo>
                  <a:lnTo>
                    <a:pt x="649" y="156"/>
                  </a:lnTo>
                  <a:lnTo>
                    <a:pt x="675" y="162"/>
                  </a:lnTo>
                  <a:lnTo>
                    <a:pt x="706" y="170"/>
                  </a:lnTo>
                  <a:lnTo>
                    <a:pt x="732" y="177"/>
                  </a:lnTo>
                  <a:lnTo>
                    <a:pt x="760" y="186"/>
                  </a:lnTo>
                  <a:lnTo>
                    <a:pt x="789" y="195"/>
                  </a:lnTo>
                  <a:lnTo>
                    <a:pt x="874" y="0"/>
                  </a:lnTo>
                  <a:lnTo>
                    <a:pt x="994" y="543"/>
                  </a:lnTo>
                  <a:lnTo>
                    <a:pt x="530" y="802"/>
                  </a:lnTo>
                  <a:close/>
                </a:path>
              </a:pathLst>
            </a:custGeom>
            <a:solidFill>
              <a:schemeClr val="tx1"/>
            </a:solidFill>
            <a:ln w="9525">
              <a:solidFill>
                <a:schemeClr val="bg1"/>
              </a:solidFill>
              <a:round/>
              <a:headEnd/>
              <a:tailEnd/>
            </a:ln>
          </p:spPr>
          <p:txBody>
            <a:bodyPr/>
            <a:lstStyle/>
            <a:p>
              <a:pPr eaLnBrk="0" hangingPunct="0">
                <a:defRPr/>
              </a:pPr>
              <a:endParaRPr lang="en-GB" sz="1000" b="1" kern="0" dirty="0">
                <a:solidFill>
                  <a:sysClr val="windowText" lastClr="000000"/>
                </a:solidFill>
              </a:endParaRPr>
            </a:p>
          </p:txBody>
        </p:sp>
        <p:sp>
          <p:nvSpPr>
            <p:cNvPr id="455" name="Text Box 36"/>
            <p:cNvSpPr txBox="1">
              <a:spLocks noChangeArrowheads="1"/>
            </p:cNvSpPr>
            <p:nvPr/>
          </p:nvSpPr>
          <p:spPr bwMode="auto">
            <a:xfrm>
              <a:off x="768924" y="1748732"/>
              <a:ext cx="496740" cy="246221"/>
            </a:xfrm>
            <a:prstGeom prst="rect">
              <a:avLst/>
            </a:prstGeom>
            <a:noFill/>
            <a:ln w="12700">
              <a:noFill/>
              <a:miter lim="800000"/>
              <a:headEnd type="none" w="sm" len="sm"/>
              <a:tailEnd type="none" w="sm" len="sm"/>
            </a:ln>
          </p:spPr>
          <p:txBody>
            <a:bodyPr>
              <a:spAutoFit/>
            </a:bodyPr>
            <a:lstStyle/>
            <a:p>
              <a:pPr algn="ctr" eaLnBrk="0" hangingPunct="0">
                <a:defRPr/>
              </a:pPr>
              <a:r>
                <a:rPr lang="en-GB" sz="1000" b="1" kern="0" dirty="0" smtClean="0">
                  <a:solidFill>
                    <a:sysClr val="window" lastClr="FFFFFF"/>
                  </a:solidFill>
                </a:rPr>
                <a:t>SLA</a:t>
              </a:r>
              <a:endParaRPr lang="en-GB" sz="1000" b="1" kern="0" dirty="0">
                <a:solidFill>
                  <a:sysClr val="window" lastClr="FFFFFF"/>
                </a:solidFill>
              </a:endParaRPr>
            </a:p>
          </p:txBody>
        </p:sp>
        <p:sp>
          <p:nvSpPr>
            <p:cNvPr id="456" name="Rectangle 37"/>
            <p:cNvSpPr>
              <a:spLocks noChangeArrowheads="1"/>
            </p:cNvSpPr>
            <p:nvPr/>
          </p:nvSpPr>
          <p:spPr bwMode="auto">
            <a:xfrm>
              <a:off x="808611" y="1678317"/>
              <a:ext cx="419925" cy="404562"/>
            </a:xfrm>
            <a:prstGeom prst="rect">
              <a:avLst/>
            </a:prstGeom>
            <a:noFill/>
            <a:ln w="7938">
              <a:noFill/>
              <a:miter lim="800000"/>
              <a:headEnd/>
              <a:tailEnd/>
            </a:ln>
          </p:spPr>
          <p:txBody>
            <a:bodyPr/>
            <a:lstStyle/>
            <a:p>
              <a:pPr eaLnBrk="0" hangingPunct="0">
                <a:defRPr/>
              </a:pPr>
              <a:endParaRPr lang="en-GB" sz="1000" b="1" kern="0" dirty="0">
                <a:solidFill>
                  <a:sysClr val="windowText" lastClr="000000"/>
                </a:solidFill>
              </a:endParaRPr>
            </a:p>
          </p:txBody>
        </p:sp>
      </p:grpSp>
      <p:sp>
        <p:nvSpPr>
          <p:cNvPr id="457" name="AutoShape 29"/>
          <p:cNvSpPr>
            <a:spLocks noChangeArrowheads="1"/>
          </p:cNvSpPr>
          <p:nvPr/>
        </p:nvSpPr>
        <p:spPr bwMode="auto">
          <a:xfrm>
            <a:off x="0" y="5880101"/>
            <a:ext cx="9141186" cy="365760"/>
          </a:xfrm>
          <a:prstGeom prst="rect">
            <a:avLst/>
          </a:prstGeom>
          <a:solidFill>
            <a:schemeClr val="tx1"/>
          </a:solidFill>
          <a:ln w="9525">
            <a:solidFill>
              <a:schemeClr val="tx1"/>
            </a:solidFill>
            <a:round/>
            <a:headEnd/>
            <a:tailEnd/>
          </a:ln>
          <a:effectLst/>
        </p:spPr>
        <p:txBody>
          <a:bodyPr wrap="none" anchor="ctr"/>
          <a:lstStyle/>
          <a:p>
            <a:pPr algn="ctr">
              <a:defRPr/>
            </a:pPr>
            <a:r>
              <a:rPr lang="en-GB" sz="1400" b="1" kern="0" dirty="0" smtClean="0">
                <a:solidFill>
                  <a:prstClr val="white"/>
                </a:solidFill>
              </a:rPr>
              <a:t>Capgemini proposes a 3 month period to baseline the service level targets</a:t>
            </a:r>
          </a:p>
        </p:txBody>
      </p:sp>
      <p:pic>
        <p:nvPicPr>
          <p:cNvPr id="460" name="Picture 7"/>
          <p:cNvPicPr preferRelativeResize="0">
            <a:picLocks noChangeArrowheads="1"/>
          </p:cNvPicPr>
          <p:nvPr/>
        </p:nvPicPr>
        <p:blipFill>
          <a:blip r:embed="rId7" cstate="print"/>
          <a:stretch>
            <a:fillRect/>
          </a:stretch>
        </p:blipFill>
        <p:spPr bwMode="auto">
          <a:xfrm>
            <a:off x="1587885" y="4326891"/>
            <a:ext cx="7281796" cy="974670"/>
          </a:xfrm>
          <a:prstGeom prst="rect">
            <a:avLst/>
          </a:prstGeom>
          <a:noFill/>
          <a:ln w="9525">
            <a:noFill/>
            <a:miter lim="800000"/>
            <a:headEnd/>
            <a:tailEnd/>
          </a:ln>
          <a:effectLst/>
        </p:spPr>
      </p:pic>
      <p:graphicFrame>
        <p:nvGraphicFramePr>
          <p:cNvPr id="35" name="Table 34"/>
          <p:cNvGraphicFramePr>
            <a:graphicFrameLocks noGrp="1"/>
          </p:cNvGraphicFramePr>
          <p:nvPr/>
        </p:nvGraphicFramePr>
        <p:xfrm>
          <a:off x="1628502" y="2377439"/>
          <a:ext cx="7215051" cy="1841859"/>
        </p:xfrm>
        <a:graphic>
          <a:graphicData uri="http://schemas.openxmlformats.org/drawingml/2006/table">
            <a:tbl>
              <a:tblPr/>
              <a:tblGrid>
                <a:gridCol w="2844520"/>
                <a:gridCol w="1504397"/>
                <a:gridCol w="289963"/>
                <a:gridCol w="397390"/>
                <a:gridCol w="739229"/>
                <a:gridCol w="1439552"/>
              </a:tblGrid>
              <a:tr h="131553">
                <a:tc gridSpan="6">
                  <a:txBody>
                    <a:bodyPr/>
                    <a:lstStyle/>
                    <a:p>
                      <a:pPr algn="ctr" fontAlgn="b"/>
                      <a:r>
                        <a:rPr lang="en-US" sz="800" b="1" i="0" u="none" strike="noStrike">
                          <a:solidFill>
                            <a:srgbClr val="FFFFFF"/>
                          </a:solidFill>
                          <a:latin typeface="Arial"/>
                        </a:rPr>
                        <a:t>Application Management -  Standard Service Levels</a:t>
                      </a:r>
                    </a:p>
                  </a:txBody>
                  <a:tcPr marL="7483" marR="7483" marT="7483" marB="0" anchor="b">
                    <a:lnL w="6350" cap="flat" cmpd="sng" algn="ctr">
                      <a:solidFill>
                        <a:srgbClr val="009BCC"/>
                      </a:solidFill>
                      <a:prstDash val="solid"/>
                      <a:round/>
                      <a:headEnd type="none" w="med" len="med"/>
                      <a:tailEnd type="none" w="med" len="med"/>
                    </a:lnL>
                    <a:lnR>
                      <a:noFill/>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solidFill>
                      <a:srgbClr val="009BCC"/>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31562">
                <a:tc>
                  <a:txBody>
                    <a:bodyPr/>
                    <a:lstStyle/>
                    <a:p>
                      <a:pPr algn="l" fontAlgn="b"/>
                      <a:r>
                        <a:rPr lang="en-US" sz="800" b="0" i="0" u="none" strike="noStrike">
                          <a:solidFill>
                            <a:srgbClr val="000000"/>
                          </a:solidFill>
                          <a:latin typeface="Arial"/>
                        </a:rPr>
                        <a:t> </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a:txBody>
                    <a:bodyPr/>
                    <a:lstStyle/>
                    <a:p>
                      <a:pPr algn="ctr" fontAlgn="b"/>
                      <a:r>
                        <a:rPr lang="en-US" sz="800" b="0" i="0" u="none" strike="noStrike">
                          <a:solidFill>
                            <a:srgbClr val="000000"/>
                          </a:solidFill>
                          <a:latin typeface="Arial"/>
                        </a:rPr>
                        <a:t> </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a:txBody>
                    <a:bodyPr/>
                    <a:lstStyle/>
                    <a:p>
                      <a:pPr algn="ctr" fontAlgn="b"/>
                      <a:r>
                        <a:rPr lang="en-US" sz="800" b="0" i="0" u="none" strike="noStrike">
                          <a:solidFill>
                            <a:srgbClr val="000000"/>
                          </a:solidFill>
                          <a:latin typeface="Arial"/>
                        </a:rPr>
                        <a:t> </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gridSpan="2">
                  <a:txBody>
                    <a:bodyPr/>
                    <a:lstStyle/>
                    <a:p>
                      <a:pPr algn="ctr" fontAlgn="b"/>
                      <a:r>
                        <a:rPr lang="en-US" sz="800" b="0" i="0" u="none" strike="noStrike">
                          <a:solidFill>
                            <a:srgbClr val="000000"/>
                          </a:solidFill>
                          <a:latin typeface="Arial"/>
                        </a:rPr>
                        <a:t> </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hMerge="1">
                  <a:txBody>
                    <a:bodyPr/>
                    <a:lstStyle/>
                    <a:p>
                      <a:endParaRPr lang="en-US"/>
                    </a:p>
                  </a:txBody>
                  <a:tcPr/>
                </a:tc>
                <a:tc>
                  <a:txBody>
                    <a:bodyPr/>
                    <a:lstStyle/>
                    <a:p>
                      <a:pPr algn="ctr" fontAlgn="b"/>
                      <a:r>
                        <a:rPr lang="en-US" sz="800" b="0" i="0" u="none" strike="noStrike">
                          <a:solidFill>
                            <a:srgbClr val="000000"/>
                          </a:solidFill>
                          <a:latin typeface="Arial"/>
                        </a:rPr>
                        <a:t> </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r>
              <a:tr h="131562">
                <a:tc>
                  <a:txBody>
                    <a:bodyPr/>
                    <a:lstStyle/>
                    <a:p>
                      <a:pPr algn="l" fontAlgn="b"/>
                      <a:r>
                        <a:rPr lang="en-US" sz="800" b="1" i="0" u="none" strike="noStrike">
                          <a:solidFill>
                            <a:srgbClr val="000000"/>
                          </a:solidFill>
                          <a:latin typeface="Arial"/>
                        </a:rPr>
                        <a:t>Category and Measure</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solidFill>
                      <a:srgbClr val="DBEEF3"/>
                    </a:solidFill>
                  </a:tcPr>
                </a:tc>
                <a:tc>
                  <a:txBody>
                    <a:bodyPr/>
                    <a:lstStyle/>
                    <a:p>
                      <a:pPr algn="ctr" fontAlgn="b"/>
                      <a:r>
                        <a:rPr lang="en-US" sz="800" b="1" i="0" u="none" strike="noStrike">
                          <a:solidFill>
                            <a:srgbClr val="000000"/>
                          </a:solidFill>
                          <a:latin typeface="Arial"/>
                        </a:rPr>
                        <a:t> </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solidFill>
                      <a:srgbClr val="DBEEF3"/>
                    </a:solidFill>
                  </a:tcPr>
                </a:tc>
                <a:tc gridSpan="3">
                  <a:txBody>
                    <a:bodyPr/>
                    <a:lstStyle/>
                    <a:p>
                      <a:pPr algn="ctr" fontAlgn="b"/>
                      <a:r>
                        <a:rPr lang="en-US" sz="800" b="1" i="0" u="none" strike="noStrike">
                          <a:solidFill>
                            <a:srgbClr val="000000"/>
                          </a:solidFill>
                          <a:latin typeface="Arial"/>
                        </a:rPr>
                        <a:t>Threshold</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solidFill>
                      <a:srgbClr val="DBEEF3"/>
                    </a:solidFill>
                  </a:tcPr>
                </a:tc>
                <a:tc hMerge="1">
                  <a:txBody>
                    <a:bodyPr/>
                    <a:lstStyle/>
                    <a:p>
                      <a:endParaRPr lang="en-US"/>
                    </a:p>
                  </a:txBody>
                  <a:tcPr/>
                </a:tc>
                <a:tc hMerge="1">
                  <a:txBody>
                    <a:bodyPr/>
                    <a:lstStyle/>
                    <a:p>
                      <a:endParaRPr lang="en-US"/>
                    </a:p>
                  </a:txBody>
                  <a:tcPr/>
                </a:tc>
                <a:tc>
                  <a:txBody>
                    <a:bodyPr/>
                    <a:lstStyle/>
                    <a:p>
                      <a:pPr algn="ctr" fontAlgn="b"/>
                      <a:r>
                        <a:rPr lang="en-US" sz="800" b="0" i="0" u="none" strike="noStrike">
                          <a:solidFill>
                            <a:srgbClr val="000000"/>
                          </a:solidFill>
                          <a:latin typeface="Arial"/>
                        </a:rPr>
                        <a:t> </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solidFill>
                      <a:srgbClr val="DBEEF3"/>
                    </a:solidFill>
                  </a:tcPr>
                </a:tc>
              </a:tr>
              <a:tr h="131562">
                <a:tc>
                  <a:txBody>
                    <a:bodyPr/>
                    <a:lstStyle/>
                    <a:p>
                      <a:pPr algn="l" fontAlgn="b"/>
                      <a:r>
                        <a:rPr lang="en-US" sz="800" b="1" i="0" u="none" strike="noStrike">
                          <a:solidFill>
                            <a:srgbClr val="000000"/>
                          </a:solidFill>
                          <a:latin typeface="Arial"/>
                        </a:rPr>
                        <a:t>Incident Management</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solidFill>
                      <a:srgbClr val="DBEEF3"/>
                    </a:solidFill>
                  </a:tcPr>
                </a:tc>
                <a:tc>
                  <a:txBody>
                    <a:bodyPr/>
                    <a:lstStyle/>
                    <a:p>
                      <a:pPr algn="ctr" fontAlgn="b"/>
                      <a:r>
                        <a:rPr lang="en-US" sz="800" b="1" i="0" u="none" strike="noStrike">
                          <a:solidFill>
                            <a:srgbClr val="000000"/>
                          </a:solidFill>
                          <a:latin typeface="Arial"/>
                        </a:rPr>
                        <a:t>Performance Target</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solidFill>
                      <a:srgbClr val="DBEEF3"/>
                    </a:solidFill>
                  </a:tcPr>
                </a:tc>
                <a:tc gridSpan="2">
                  <a:txBody>
                    <a:bodyPr/>
                    <a:lstStyle/>
                    <a:p>
                      <a:pPr algn="ctr" fontAlgn="b"/>
                      <a:r>
                        <a:rPr lang="en-US" sz="800" b="1" i="0" u="none" strike="noStrike">
                          <a:solidFill>
                            <a:srgbClr val="000000"/>
                          </a:solidFill>
                          <a:latin typeface="Arial"/>
                        </a:rPr>
                        <a:t>Expected</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solidFill>
                      <a:srgbClr val="DBEEF3"/>
                    </a:solidFill>
                  </a:tcPr>
                </a:tc>
                <a:tc hMerge="1">
                  <a:txBody>
                    <a:bodyPr/>
                    <a:lstStyle/>
                    <a:p>
                      <a:pPr algn="ctr" fontAlgn="b"/>
                      <a:endParaRPr lang="en-US" sz="800" b="1" i="0" u="none" strike="noStrike">
                        <a:solidFill>
                          <a:srgbClr val="000000"/>
                        </a:solidFill>
                        <a:latin typeface="Arial"/>
                      </a:endParaRP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solidFill>
                      <a:srgbClr val="DBEEF3"/>
                    </a:solidFill>
                  </a:tcPr>
                </a:tc>
                <a:tc>
                  <a:txBody>
                    <a:bodyPr/>
                    <a:lstStyle/>
                    <a:p>
                      <a:pPr algn="ctr" fontAlgn="b"/>
                      <a:r>
                        <a:rPr lang="en-US" sz="800" b="1" i="0" u="none" strike="noStrike">
                          <a:solidFill>
                            <a:srgbClr val="000000"/>
                          </a:solidFill>
                          <a:latin typeface="Arial"/>
                        </a:rPr>
                        <a:t>Minimum</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solidFill>
                      <a:srgbClr val="DBEEF3"/>
                    </a:solidFill>
                  </a:tcPr>
                </a:tc>
                <a:tc>
                  <a:txBody>
                    <a:bodyPr/>
                    <a:lstStyle/>
                    <a:p>
                      <a:pPr algn="ctr" fontAlgn="b"/>
                      <a:r>
                        <a:rPr lang="en-US" sz="800" b="1" i="0" u="none" strike="noStrike">
                          <a:solidFill>
                            <a:srgbClr val="000000"/>
                          </a:solidFill>
                          <a:latin typeface="Arial"/>
                        </a:rPr>
                        <a:t>Meaurement Period</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solidFill>
                      <a:srgbClr val="DBEEF3"/>
                    </a:solidFill>
                  </a:tcPr>
                </a:tc>
              </a:tr>
              <a:tr h="131562">
                <a:tc>
                  <a:txBody>
                    <a:bodyPr/>
                    <a:lstStyle/>
                    <a:p>
                      <a:pPr algn="l" fontAlgn="b"/>
                      <a:r>
                        <a:rPr lang="en-US" sz="800" b="0" i="0" u="none" strike="noStrike">
                          <a:solidFill>
                            <a:srgbClr val="000000"/>
                          </a:solidFill>
                          <a:latin typeface="Arial"/>
                        </a:rPr>
                        <a:t>Severity 1 Incident Time to Respond</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a:txBody>
                    <a:bodyPr/>
                    <a:lstStyle/>
                    <a:p>
                      <a:pPr algn="ctr" fontAlgn="b"/>
                      <a:r>
                        <a:rPr lang="en-US" sz="800" b="0" i="0" u="none" strike="noStrike">
                          <a:solidFill>
                            <a:srgbClr val="000000"/>
                          </a:solidFill>
                          <a:latin typeface="Arial"/>
                        </a:rPr>
                        <a:t>30 Minutes</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gridSpan="2">
                  <a:txBody>
                    <a:bodyPr/>
                    <a:lstStyle/>
                    <a:p>
                      <a:pPr algn="ctr" fontAlgn="b"/>
                      <a:r>
                        <a:rPr lang="en-US" sz="800" b="0" i="0" u="none" strike="noStrike">
                          <a:solidFill>
                            <a:srgbClr val="000000"/>
                          </a:solidFill>
                          <a:latin typeface="Arial"/>
                        </a:rPr>
                        <a:t>95.00%</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hMerge="1">
                  <a:txBody>
                    <a:bodyPr/>
                    <a:lstStyle/>
                    <a:p>
                      <a:pPr algn="ctr" fontAlgn="b"/>
                      <a:endParaRPr lang="en-US" sz="800" b="0" i="0" u="none" strike="noStrike">
                        <a:solidFill>
                          <a:srgbClr val="000000"/>
                        </a:solidFill>
                        <a:latin typeface="Arial"/>
                      </a:endParaRP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a:txBody>
                    <a:bodyPr/>
                    <a:lstStyle/>
                    <a:p>
                      <a:pPr algn="ctr" fontAlgn="b"/>
                      <a:r>
                        <a:rPr lang="en-US" sz="800" b="0" i="0" u="none" strike="noStrike">
                          <a:solidFill>
                            <a:srgbClr val="000000"/>
                          </a:solidFill>
                          <a:latin typeface="Arial"/>
                        </a:rPr>
                        <a:t>90.00%</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a:txBody>
                    <a:bodyPr/>
                    <a:lstStyle/>
                    <a:p>
                      <a:pPr algn="ctr" fontAlgn="b"/>
                      <a:r>
                        <a:rPr lang="en-US" sz="800" b="0" i="0" u="none" strike="noStrike">
                          <a:solidFill>
                            <a:srgbClr val="000000"/>
                          </a:solidFill>
                          <a:latin typeface="Arial"/>
                        </a:rPr>
                        <a:t>Monthly</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r>
              <a:tr h="131562">
                <a:tc>
                  <a:txBody>
                    <a:bodyPr/>
                    <a:lstStyle/>
                    <a:p>
                      <a:pPr algn="l" fontAlgn="b"/>
                      <a:r>
                        <a:rPr lang="en-US" sz="800" b="0" i="0" u="none" strike="noStrike">
                          <a:solidFill>
                            <a:srgbClr val="000000"/>
                          </a:solidFill>
                          <a:latin typeface="Arial"/>
                        </a:rPr>
                        <a:t>Severity 2 Incident Time to Respond</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a:txBody>
                    <a:bodyPr/>
                    <a:lstStyle/>
                    <a:p>
                      <a:pPr algn="ctr" fontAlgn="b"/>
                      <a:r>
                        <a:rPr lang="en-US" sz="800" b="0" i="0" u="none" strike="noStrike">
                          <a:solidFill>
                            <a:srgbClr val="000000"/>
                          </a:solidFill>
                          <a:latin typeface="Arial"/>
                        </a:rPr>
                        <a:t>1 Hour</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gridSpan="2">
                  <a:txBody>
                    <a:bodyPr/>
                    <a:lstStyle/>
                    <a:p>
                      <a:pPr algn="ctr" fontAlgn="b"/>
                      <a:r>
                        <a:rPr lang="en-US" sz="800" b="0" i="0" u="none" strike="noStrike">
                          <a:solidFill>
                            <a:srgbClr val="000000"/>
                          </a:solidFill>
                          <a:latin typeface="Arial"/>
                        </a:rPr>
                        <a:t>95.00%</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hMerge="1">
                  <a:txBody>
                    <a:bodyPr/>
                    <a:lstStyle/>
                    <a:p>
                      <a:pPr algn="ctr" fontAlgn="b"/>
                      <a:endParaRPr lang="en-US" sz="800" b="0" i="0" u="none" strike="noStrike">
                        <a:solidFill>
                          <a:srgbClr val="000000"/>
                        </a:solidFill>
                        <a:latin typeface="Arial"/>
                      </a:endParaRP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a:txBody>
                    <a:bodyPr/>
                    <a:lstStyle/>
                    <a:p>
                      <a:pPr algn="ctr" fontAlgn="b"/>
                      <a:r>
                        <a:rPr lang="en-US" sz="800" b="0" i="0" u="none" strike="noStrike">
                          <a:solidFill>
                            <a:srgbClr val="000000"/>
                          </a:solidFill>
                          <a:latin typeface="Arial"/>
                        </a:rPr>
                        <a:t>90.00%</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a:txBody>
                    <a:bodyPr/>
                    <a:lstStyle/>
                    <a:p>
                      <a:pPr algn="ctr" fontAlgn="b"/>
                      <a:r>
                        <a:rPr lang="en-US" sz="800" b="0" i="0" u="none" strike="noStrike">
                          <a:solidFill>
                            <a:srgbClr val="000000"/>
                          </a:solidFill>
                          <a:latin typeface="Arial"/>
                        </a:rPr>
                        <a:t>Monthly</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r>
              <a:tr h="131562">
                <a:tc>
                  <a:txBody>
                    <a:bodyPr/>
                    <a:lstStyle/>
                    <a:p>
                      <a:pPr algn="l" fontAlgn="b"/>
                      <a:r>
                        <a:rPr lang="en-US" sz="800" b="0" i="0" u="none" strike="noStrike">
                          <a:solidFill>
                            <a:srgbClr val="000000"/>
                          </a:solidFill>
                          <a:latin typeface="Arial"/>
                        </a:rPr>
                        <a:t>Severity 3 Incident Time to Respond</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a:txBody>
                    <a:bodyPr/>
                    <a:lstStyle/>
                    <a:p>
                      <a:pPr algn="ctr" fontAlgn="b"/>
                      <a:r>
                        <a:rPr lang="en-US" sz="800" b="0" i="0" u="none" strike="noStrike">
                          <a:solidFill>
                            <a:srgbClr val="000000"/>
                          </a:solidFill>
                          <a:latin typeface="Arial"/>
                        </a:rPr>
                        <a:t>8 Business Hours</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gridSpan="2">
                  <a:txBody>
                    <a:bodyPr/>
                    <a:lstStyle/>
                    <a:p>
                      <a:pPr algn="ctr" fontAlgn="b"/>
                      <a:r>
                        <a:rPr lang="en-US" sz="800" b="0" i="0" u="none" strike="noStrike">
                          <a:solidFill>
                            <a:srgbClr val="000000"/>
                          </a:solidFill>
                          <a:latin typeface="Arial"/>
                        </a:rPr>
                        <a:t>95.00%</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hMerge="1">
                  <a:txBody>
                    <a:bodyPr/>
                    <a:lstStyle/>
                    <a:p>
                      <a:pPr algn="ctr" fontAlgn="b"/>
                      <a:endParaRPr lang="en-US" sz="800" b="0" i="0" u="none" strike="noStrike">
                        <a:solidFill>
                          <a:srgbClr val="000000"/>
                        </a:solidFill>
                        <a:latin typeface="Arial"/>
                      </a:endParaRP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a:txBody>
                    <a:bodyPr/>
                    <a:lstStyle/>
                    <a:p>
                      <a:pPr algn="ctr" fontAlgn="b"/>
                      <a:r>
                        <a:rPr lang="en-US" sz="800" b="0" i="0" u="none" strike="noStrike">
                          <a:solidFill>
                            <a:srgbClr val="000000"/>
                          </a:solidFill>
                          <a:latin typeface="Arial"/>
                        </a:rPr>
                        <a:t>90.00%</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a:txBody>
                    <a:bodyPr/>
                    <a:lstStyle/>
                    <a:p>
                      <a:pPr algn="ctr" fontAlgn="b"/>
                      <a:r>
                        <a:rPr lang="en-US" sz="800" b="0" i="0" u="none" strike="noStrike">
                          <a:solidFill>
                            <a:srgbClr val="000000"/>
                          </a:solidFill>
                          <a:latin typeface="Arial"/>
                        </a:rPr>
                        <a:t>Monthly</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r>
              <a:tr h="131562">
                <a:tc>
                  <a:txBody>
                    <a:bodyPr/>
                    <a:lstStyle/>
                    <a:p>
                      <a:pPr algn="l" fontAlgn="b"/>
                      <a:r>
                        <a:rPr lang="en-US" sz="800" b="0" i="0" u="none" strike="noStrike">
                          <a:solidFill>
                            <a:srgbClr val="000000"/>
                          </a:solidFill>
                          <a:latin typeface="Arial"/>
                        </a:rPr>
                        <a:t>Severity 4 Incident Time to Respond</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a:txBody>
                    <a:bodyPr/>
                    <a:lstStyle/>
                    <a:p>
                      <a:pPr algn="ctr" fontAlgn="b"/>
                      <a:r>
                        <a:rPr lang="en-US" sz="800" b="0" i="0" u="none" strike="noStrike">
                          <a:solidFill>
                            <a:srgbClr val="000000"/>
                          </a:solidFill>
                          <a:latin typeface="Arial"/>
                        </a:rPr>
                        <a:t>16 Business Hours</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gridSpan="2">
                  <a:txBody>
                    <a:bodyPr/>
                    <a:lstStyle/>
                    <a:p>
                      <a:pPr algn="ctr" fontAlgn="b"/>
                      <a:r>
                        <a:rPr lang="en-US" sz="800" b="0" i="0" u="none" strike="noStrike">
                          <a:solidFill>
                            <a:srgbClr val="000000"/>
                          </a:solidFill>
                          <a:latin typeface="Arial"/>
                        </a:rPr>
                        <a:t>95.00%</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hMerge="1">
                  <a:txBody>
                    <a:bodyPr/>
                    <a:lstStyle/>
                    <a:p>
                      <a:pPr algn="ctr" fontAlgn="b"/>
                      <a:endParaRPr lang="en-US" sz="800" b="0" i="0" u="none" strike="noStrike">
                        <a:solidFill>
                          <a:srgbClr val="000000"/>
                        </a:solidFill>
                        <a:latin typeface="Arial"/>
                      </a:endParaRP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a:txBody>
                    <a:bodyPr/>
                    <a:lstStyle/>
                    <a:p>
                      <a:pPr algn="ctr" fontAlgn="b"/>
                      <a:r>
                        <a:rPr lang="en-US" sz="800" b="0" i="0" u="none" strike="noStrike">
                          <a:solidFill>
                            <a:srgbClr val="000000"/>
                          </a:solidFill>
                          <a:latin typeface="Arial"/>
                        </a:rPr>
                        <a:t>90.00%</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a:txBody>
                    <a:bodyPr/>
                    <a:lstStyle/>
                    <a:p>
                      <a:pPr algn="ctr" fontAlgn="b"/>
                      <a:r>
                        <a:rPr lang="en-US" sz="800" b="0" i="0" u="none" strike="noStrike">
                          <a:solidFill>
                            <a:srgbClr val="000000"/>
                          </a:solidFill>
                          <a:latin typeface="Arial"/>
                        </a:rPr>
                        <a:t>Monthly</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r>
              <a:tr h="131562">
                <a:tc>
                  <a:txBody>
                    <a:bodyPr/>
                    <a:lstStyle/>
                    <a:p>
                      <a:pPr algn="l" fontAlgn="b"/>
                      <a:r>
                        <a:rPr lang="en-US" sz="800" b="0" i="0" u="none" strike="noStrike">
                          <a:solidFill>
                            <a:srgbClr val="000000"/>
                          </a:solidFill>
                          <a:latin typeface="Arial"/>
                        </a:rPr>
                        <a:t> </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a:txBody>
                    <a:bodyPr/>
                    <a:lstStyle/>
                    <a:p>
                      <a:pPr algn="ctr" fontAlgn="b"/>
                      <a:r>
                        <a:rPr lang="en-US" sz="800" b="0" i="0" u="none" strike="noStrike">
                          <a:solidFill>
                            <a:srgbClr val="000000"/>
                          </a:solidFill>
                          <a:latin typeface="Arial"/>
                        </a:rPr>
                        <a:t> </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gridSpan="2">
                  <a:txBody>
                    <a:bodyPr/>
                    <a:lstStyle/>
                    <a:p>
                      <a:pPr algn="ctr" fontAlgn="b"/>
                      <a:r>
                        <a:rPr lang="en-US" sz="800" b="0" i="0" u="none" strike="noStrike">
                          <a:solidFill>
                            <a:srgbClr val="000000"/>
                          </a:solidFill>
                          <a:latin typeface="Arial"/>
                        </a:rPr>
                        <a:t> </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hMerge="1">
                  <a:txBody>
                    <a:bodyPr/>
                    <a:lstStyle/>
                    <a:p>
                      <a:pPr algn="ctr" fontAlgn="b"/>
                      <a:endParaRPr lang="en-US" sz="800" b="0" i="0" u="none" strike="noStrike">
                        <a:solidFill>
                          <a:srgbClr val="000000"/>
                        </a:solidFill>
                        <a:latin typeface="Arial"/>
                      </a:endParaRP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a:txBody>
                    <a:bodyPr/>
                    <a:lstStyle/>
                    <a:p>
                      <a:pPr algn="ctr" fontAlgn="b"/>
                      <a:r>
                        <a:rPr lang="en-US" sz="800" b="0" i="0" u="none" strike="noStrike">
                          <a:solidFill>
                            <a:srgbClr val="000000"/>
                          </a:solidFill>
                          <a:latin typeface="Arial"/>
                        </a:rPr>
                        <a:t> </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a:txBody>
                    <a:bodyPr/>
                    <a:lstStyle/>
                    <a:p>
                      <a:pPr algn="ctr" fontAlgn="b"/>
                      <a:r>
                        <a:rPr lang="en-US" sz="800" b="0" i="0" u="none" strike="noStrike">
                          <a:solidFill>
                            <a:srgbClr val="000000"/>
                          </a:solidFill>
                          <a:latin typeface="Arial"/>
                        </a:rPr>
                        <a:t> </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r>
              <a:tr h="131562">
                <a:tc>
                  <a:txBody>
                    <a:bodyPr/>
                    <a:lstStyle/>
                    <a:p>
                      <a:pPr algn="l" fontAlgn="b"/>
                      <a:r>
                        <a:rPr lang="en-US" sz="800" b="1" i="0" u="none" strike="noStrike">
                          <a:solidFill>
                            <a:srgbClr val="000000"/>
                          </a:solidFill>
                          <a:latin typeface="Arial"/>
                        </a:rPr>
                        <a:t>Incident Management</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solidFill>
                      <a:srgbClr val="DBEEF3"/>
                    </a:solidFill>
                  </a:tcPr>
                </a:tc>
                <a:tc>
                  <a:txBody>
                    <a:bodyPr/>
                    <a:lstStyle/>
                    <a:p>
                      <a:pPr algn="ctr" fontAlgn="b"/>
                      <a:r>
                        <a:rPr lang="en-US" sz="800" b="0" i="0" u="none" strike="noStrike">
                          <a:solidFill>
                            <a:srgbClr val="000000"/>
                          </a:solidFill>
                          <a:latin typeface="Arial"/>
                        </a:rPr>
                        <a:t> </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solidFill>
                      <a:srgbClr val="DBEEF3"/>
                    </a:solidFill>
                  </a:tcPr>
                </a:tc>
                <a:tc gridSpan="2">
                  <a:txBody>
                    <a:bodyPr/>
                    <a:lstStyle/>
                    <a:p>
                      <a:pPr algn="ctr" fontAlgn="b"/>
                      <a:r>
                        <a:rPr lang="en-US" sz="800" b="0" i="0" u="none" strike="noStrike">
                          <a:solidFill>
                            <a:srgbClr val="000000"/>
                          </a:solidFill>
                          <a:latin typeface="Arial"/>
                        </a:rPr>
                        <a:t> </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solidFill>
                      <a:srgbClr val="DBEEF3"/>
                    </a:solidFill>
                  </a:tcPr>
                </a:tc>
                <a:tc hMerge="1">
                  <a:txBody>
                    <a:bodyPr/>
                    <a:lstStyle/>
                    <a:p>
                      <a:pPr algn="ctr" fontAlgn="b"/>
                      <a:endParaRPr lang="en-US" sz="800" b="0" i="0" u="none" strike="noStrike">
                        <a:solidFill>
                          <a:srgbClr val="000000"/>
                        </a:solidFill>
                        <a:latin typeface="Arial"/>
                      </a:endParaRP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solidFill>
                      <a:srgbClr val="DBEEF3"/>
                    </a:solidFill>
                  </a:tcPr>
                </a:tc>
                <a:tc>
                  <a:txBody>
                    <a:bodyPr/>
                    <a:lstStyle/>
                    <a:p>
                      <a:pPr algn="ctr" fontAlgn="b"/>
                      <a:r>
                        <a:rPr lang="en-US" sz="800" b="0" i="0" u="none" strike="noStrike">
                          <a:solidFill>
                            <a:srgbClr val="000000"/>
                          </a:solidFill>
                          <a:latin typeface="Arial"/>
                        </a:rPr>
                        <a:t> </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solidFill>
                      <a:srgbClr val="DBEEF3"/>
                    </a:solidFill>
                  </a:tcPr>
                </a:tc>
                <a:tc>
                  <a:txBody>
                    <a:bodyPr/>
                    <a:lstStyle/>
                    <a:p>
                      <a:pPr algn="ctr" fontAlgn="b"/>
                      <a:r>
                        <a:rPr lang="en-US" sz="800" b="0" i="0" u="none" strike="noStrike">
                          <a:solidFill>
                            <a:srgbClr val="000000"/>
                          </a:solidFill>
                          <a:latin typeface="Arial"/>
                        </a:rPr>
                        <a:t> </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solidFill>
                      <a:srgbClr val="DBEEF3"/>
                    </a:solidFill>
                  </a:tcPr>
                </a:tc>
              </a:tr>
              <a:tr h="131562">
                <a:tc>
                  <a:txBody>
                    <a:bodyPr/>
                    <a:lstStyle/>
                    <a:p>
                      <a:pPr algn="l" fontAlgn="b"/>
                      <a:r>
                        <a:rPr lang="en-US" sz="800" b="0" i="0" u="none" strike="noStrike">
                          <a:solidFill>
                            <a:srgbClr val="000000"/>
                          </a:solidFill>
                          <a:latin typeface="Arial"/>
                        </a:rPr>
                        <a:t>Severity 1 Incident Time to Resolve</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a:txBody>
                    <a:bodyPr/>
                    <a:lstStyle/>
                    <a:p>
                      <a:pPr algn="ctr" fontAlgn="b"/>
                      <a:r>
                        <a:rPr lang="en-US" sz="800" b="0" i="0" u="none" strike="noStrike">
                          <a:solidFill>
                            <a:srgbClr val="000000"/>
                          </a:solidFill>
                          <a:latin typeface="Arial"/>
                        </a:rPr>
                        <a:t>4 Hours</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gridSpan="2">
                  <a:txBody>
                    <a:bodyPr/>
                    <a:lstStyle/>
                    <a:p>
                      <a:pPr algn="ctr" fontAlgn="b"/>
                      <a:r>
                        <a:rPr lang="en-US" sz="800" b="0" i="0" u="none" strike="noStrike">
                          <a:solidFill>
                            <a:srgbClr val="000000"/>
                          </a:solidFill>
                          <a:latin typeface="Arial"/>
                        </a:rPr>
                        <a:t>95.00%</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hMerge="1">
                  <a:txBody>
                    <a:bodyPr/>
                    <a:lstStyle/>
                    <a:p>
                      <a:pPr algn="ctr" fontAlgn="b"/>
                      <a:endParaRPr lang="en-US" sz="800" b="0" i="0" u="none" strike="noStrike">
                        <a:solidFill>
                          <a:srgbClr val="000000"/>
                        </a:solidFill>
                        <a:latin typeface="Arial"/>
                      </a:endParaRP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a:txBody>
                    <a:bodyPr/>
                    <a:lstStyle/>
                    <a:p>
                      <a:pPr algn="ctr" fontAlgn="b"/>
                      <a:r>
                        <a:rPr lang="en-US" sz="800" b="0" i="0" u="none" strike="noStrike">
                          <a:solidFill>
                            <a:srgbClr val="000000"/>
                          </a:solidFill>
                          <a:latin typeface="Arial"/>
                        </a:rPr>
                        <a:t>90.00%</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a:txBody>
                    <a:bodyPr/>
                    <a:lstStyle/>
                    <a:p>
                      <a:pPr algn="ctr" fontAlgn="b"/>
                      <a:r>
                        <a:rPr lang="en-US" sz="800" b="0" i="0" u="none" strike="noStrike">
                          <a:solidFill>
                            <a:srgbClr val="000000"/>
                          </a:solidFill>
                          <a:latin typeface="Arial"/>
                        </a:rPr>
                        <a:t>Monthly</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r>
              <a:tr h="131562">
                <a:tc>
                  <a:txBody>
                    <a:bodyPr/>
                    <a:lstStyle/>
                    <a:p>
                      <a:pPr algn="l" fontAlgn="b"/>
                      <a:r>
                        <a:rPr lang="en-US" sz="800" b="0" i="0" u="none" strike="noStrike">
                          <a:solidFill>
                            <a:srgbClr val="000000"/>
                          </a:solidFill>
                          <a:latin typeface="Arial"/>
                        </a:rPr>
                        <a:t>Severity 2 Incident Time to Resolve</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a:txBody>
                    <a:bodyPr/>
                    <a:lstStyle/>
                    <a:p>
                      <a:pPr algn="ctr" fontAlgn="b"/>
                      <a:r>
                        <a:rPr lang="en-US" sz="800" b="0" i="0" u="none" strike="noStrike">
                          <a:solidFill>
                            <a:srgbClr val="000000"/>
                          </a:solidFill>
                          <a:latin typeface="Arial"/>
                        </a:rPr>
                        <a:t>8 Hours</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gridSpan="2">
                  <a:txBody>
                    <a:bodyPr/>
                    <a:lstStyle/>
                    <a:p>
                      <a:pPr algn="ctr" fontAlgn="b"/>
                      <a:r>
                        <a:rPr lang="en-US" sz="800" b="0" i="0" u="none" strike="noStrike">
                          <a:solidFill>
                            <a:srgbClr val="000000"/>
                          </a:solidFill>
                          <a:latin typeface="Arial"/>
                        </a:rPr>
                        <a:t>95.00%</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hMerge="1">
                  <a:txBody>
                    <a:bodyPr/>
                    <a:lstStyle/>
                    <a:p>
                      <a:pPr algn="ctr" fontAlgn="b"/>
                      <a:endParaRPr lang="en-US" sz="800" b="0" i="0" u="none" strike="noStrike">
                        <a:solidFill>
                          <a:srgbClr val="000000"/>
                        </a:solidFill>
                        <a:latin typeface="Arial"/>
                      </a:endParaRP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a:txBody>
                    <a:bodyPr/>
                    <a:lstStyle/>
                    <a:p>
                      <a:pPr algn="ctr" fontAlgn="b"/>
                      <a:r>
                        <a:rPr lang="en-US" sz="800" b="0" i="0" u="none" strike="noStrike">
                          <a:solidFill>
                            <a:srgbClr val="000000"/>
                          </a:solidFill>
                          <a:latin typeface="Arial"/>
                        </a:rPr>
                        <a:t>90.00%</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a:txBody>
                    <a:bodyPr/>
                    <a:lstStyle/>
                    <a:p>
                      <a:pPr algn="ctr" fontAlgn="b"/>
                      <a:r>
                        <a:rPr lang="en-US" sz="800" b="0" i="0" u="none" strike="noStrike">
                          <a:solidFill>
                            <a:srgbClr val="000000"/>
                          </a:solidFill>
                          <a:latin typeface="Arial"/>
                        </a:rPr>
                        <a:t>Monthly</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r>
              <a:tr h="131562">
                <a:tc>
                  <a:txBody>
                    <a:bodyPr/>
                    <a:lstStyle/>
                    <a:p>
                      <a:pPr algn="l" fontAlgn="b"/>
                      <a:r>
                        <a:rPr lang="en-US" sz="800" b="0" i="0" u="none" strike="noStrike">
                          <a:solidFill>
                            <a:srgbClr val="000000"/>
                          </a:solidFill>
                          <a:latin typeface="Arial"/>
                        </a:rPr>
                        <a:t>Severity 3 Incident Time to Resolve</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a:txBody>
                    <a:bodyPr/>
                    <a:lstStyle/>
                    <a:p>
                      <a:pPr algn="ctr" fontAlgn="b"/>
                      <a:r>
                        <a:rPr lang="en-US" sz="800" b="0" i="0" u="none" strike="noStrike">
                          <a:solidFill>
                            <a:srgbClr val="000000"/>
                          </a:solidFill>
                          <a:latin typeface="Arial"/>
                        </a:rPr>
                        <a:t>40 Business Hours</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gridSpan="2">
                  <a:txBody>
                    <a:bodyPr/>
                    <a:lstStyle/>
                    <a:p>
                      <a:pPr algn="ctr" fontAlgn="b"/>
                      <a:r>
                        <a:rPr lang="en-US" sz="800" b="0" i="0" u="none" strike="noStrike">
                          <a:solidFill>
                            <a:srgbClr val="000000"/>
                          </a:solidFill>
                          <a:latin typeface="Arial"/>
                        </a:rPr>
                        <a:t>95.00%</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hMerge="1">
                  <a:txBody>
                    <a:bodyPr/>
                    <a:lstStyle/>
                    <a:p>
                      <a:pPr algn="ctr" fontAlgn="b"/>
                      <a:endParaRPr lang="en-US" sz="800" b="0" i="0" u="none" strike="noStrike">
                        <a:solidFill>
                          <a:srgbClr val="000000"/>
                        </a:solidFill>
                        <a:latin typeface="Arial"/>
                      </a:endParaRP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a:txBody>
                    <a:bodyPr/>
                    <a:lstStyle/>
                    <a:p>
                      <a:pPr algn="ctr" fontAlgn="b"/>
                      <a:r>
                        <a:rPr lang="en-US" sz="800" b="0" i="0" u="none" strike="noStrike">
                          <a:solidFill>
                            <a:srgbClr val="000000"/>
                          </a:solidFill>
                          <a:latin typeface="Arial"/>
                        </a:rPr>
                        <a:t>90.00%</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a:txBody>
                    <a:bodyPr/>
                    <a:lstStyle/>
                    <a:p>
                      <a:pPr algn="ctr" fontAlgn="b"/>
                      <a:r>
                        <a:rPr lang="en-US" sz="800" b="0" i="0" u="none" strike="noStrike">
                          <a:solidFill>
                            <a:srgbClr val="000000"/>
                          </a:solidFill>
                          <a:latin typeface="Arial"/>
                        </a:rPr>
                        <a:t>Monthly</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r>
              <a:tr h="131562">
                <a:tc>
                  <a:txBody>
                    <a:bodyPr/>
                    <a:lstStyle/>
                    <a:p>
                      <a:pPr algn="l" fontAlgn="b"/>
                      <a:r>
                        <a:rPr lang="en-US" sz="800" b="0" i="0" u="none" strike="noStrike">
                          <a:solidFill>
                            <a:srgbClr val="000000"/>
                          </a:solidFill>
                          <a:latin typeface="Arial"/>
                        </a:rPr>
                        <a:t>Severity 4 Incident Time to Resolve</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a:txBody>
                    <a:bodyPr/>
                    <a:lstStyle/>
                    <a:p>
                      <a:pPr algn="ctr" fontAlgn="b"/>
                      <a:r>
                        <a:rPr lang="en-US" sz="800" b="0" i="0" u="none" strike="noStrike">
                          <a:solidFill>
                            <a:srgbClr val="000000"/>
                          </a:solidFill>
                          <a:latin typeface="Arial"/>
                        </a:rPr>
                        <a:t>Best Efforts</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gridSpan="2">
                  <a:txBody>
                    <a:bodyPr/>
                    <a:lstStyle/>
                    <a:p>
                      <a:pPr algn="ctr" fontAlgn="b"/>
                      <a:r>
                        <a:rPr lang="en-US" sz="800" b="0" i="0" u="none" strike="noStrike">
                          <a:solidFill>
                            <a:srgbClr val="000000"/>
                          </a:solidFill>
                          <a:latin typeface="Arial"/>
                        </a:rPr>
                        <a:t>NA</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hMerge="1">
                  <a:txBody>
                    <a:bodyPr/>
                    <a:lstStyle/>
                    <a:p>
                      <a:pPr algn="ctr" fontAlgn="b"/>
                      <a:endParaRPr lang="en-US" sz="800" b="0" i="0" u="none" strike="noStrike">
                        <a:solidFill>
                          <a:srgbClr val="000000"/>
                        </a:solidFill>
                        <a:latin typeface="Arial"/>
                      </a:endParaRP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a:txBody>
                    <a:bodyPr/>
                    <a:lstStyle/>
                    <a:p>
                      <a:pPr algn="ctr" fontAlgn="b"/>
                      <a:r>
                        <a:rPr lang="en-US" sz="800" b="0" i="0" u="none" strike="noStrike">
                          <a:solidFill>
                            <a:srgbClr val="000000"/>
                          </a:solidFill>
                          <a:latin typeface="Arial"/>
                        </a:rPr>
                        <a:t>NA</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c>
                  <a:txBody>
                    <a:bodyPr/>
                    <a:lstStyle/>
                    <a:p>
                      <a:pPr algn="ctr" fontAlgn="b"/>
                      <a:r>
                        <a:rPr lang="en-US" sz="800" b="0" i="0" u="none" strike="noStrike" dirty="0">
                          <a:solidFill>
                            <a:srgbClr val="000000"/>
                          </a:solidFill>
                          <a:latin typeface="Arial"/>
                        </a:rPr>
                        <a:t>Monthly</a:t>
                      </a:r>
                    </a:p>
                  </a:txBody>
                  <a:tcPr marL="7483" marR="7483" marT="7483" marB="0" anchor="b">
                    <a:lnL w="6350" cap="flat" cmpd="sng" algn="ctr">
                      <a:solidFill>
                        <a:srgbClr val="009BCC"/>
                      </a:solidFill>
                      <a:prstDash val="solid"/>
                      <a:round/>
                      <a:headEnd type="none" w="med" len="med"/>
                      <a:tailEnd type="none" w="med" len="med"/>
                    </a:lnL>
                    <a:lnR w="6350" cap="flat" cmpd="sng" algn="ctr">
                      <a:solidFill>
                        <a:srgbClr val="009BCC"/>
                      </a:solidFill>
                      <a:prstDash val="solid"/>
                      <a:round/>
                      <a:headEnd type="none" w="med" len="med"/>
                      <a:tailEnd type="none" w="med" len="med"/>
                    </a:lnR>
                    <a:lnT w="6350" cap="flat" cmpd="sng" algn="ctr">
                      <a:solidFill>
                        <a:srgbClr val="009BCC"/>
                      </a:solidFill>
                      <a:prstDash val="solid"/>
                      <a:round/>
                      <a:headEnd type="none" w="med" len="med"/>
                      <a:tailEnd type="none" w="med" len="med"/>
                    </a:lnT>
                    <a:lnB w="6350" cap="flat" cmpd="sng" algn="ctr">
                      <a:solidFill>
                        <a:srgbClr val="009BCC"/>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93985025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itle 55"/>
          <p:cNvSpPr>
            <a:spLocks noGrp="1"/>
          </p:cNvSpPr>
          <p:nvPr>
            <p:ph type="title"/>
          </p:nvPr>
        </p:nvSpPr>
        <p:spPr/>
        <p:txBody>
          <a:bodyPr/>
          <a:lstStyle/>
          <a:p>
            <a:r>
              <a:rPr lang="en-US" dirty="0" smtClean="0"/>
              <a:t>Engagement Governance</a:t>
            </a:r>
            <a:endParaRPr lang="en-US" dirty="0"/>
          </a:p>
        </p:txBody>
      </p:sp>
      <p:sp>
        <p:nvSpPr>
          <p:cNvPr id="67" name="Rectangle 66"/>
          <p:cNvSpPr/>
          <p:nvPr/>
        </p:nvSpPr>
        <p:spPr>
          <a:xfrm>
            <a:off x="8" y="1219200"/>
            <a:ext cx="9143997" cy="355600"/>
          </a:xfrm>
          <a:prstGeom prst="rect">
            <a:avLst/>
          </a:prstGeom>
          <a:gradFill>
            <a:gsLst>
              <a:gs pos="75000">
                <a:schemeClr val="tx2">
                  <a:lumMod val="75000"/>
                </a:schemeClr>
              </a:gs>
              <a:gs pos="99000">
                <a:schemeClr val="tx2">
                  <a:lumMod val="60000"/>
                  <a:lumOff val="40000"/>
                </a:schemeClr>
              </a:gs>
            </a:gsLst>
            <a:lin ang="16200000" scaled="1"/>
          </a:gradFill>
        </p:spPr>
        <p:txBody>
          <a:bodyPr wrap="square" anchor="ctr">
            <a:noAutofit/>
          </a:bodyPr>
          <a:lstStyle/>
          <a:p>
            <a:pPr algn="ctr" defTabSz="1649912" eaLnBrk="0" fontAlgn="base" hangingPunct="0">
              <a:spcBef>
                <a:spcPct val="50000"/>
              </a:spcBef>
              <a:spcAft>
                <a:spcPts val="300"/>
              </a:spcAft>
              <a:buClr>
                <a:srgbClr val="009ACC"/>
              </a:buClr>
              <a:defRPr/>
            </a:pPr>
            <a:r>
              <a:rPr lang="en-US" sz="1000" b="1" i="1" kern="0" dirty="0">
                <a:solidFill>
                  <a:prstClr val="white"/>
                </a:solidFill>
              </a:rPr>
              <a:t>Good project governance will enable people to work with confidence, with decisions flowing downward, and effective escalations flowing upward.</a:t>
            </a:r>
          </a:p>
        </p:txBody>
      </p:sp>
      <p:grpSp>
        <p:nvGrpSpPr>
          <p:cNvPr id="2" name="Group 1"/>
          <p:cNvGrpSpPr/>
          <p:nvPr/>
        </p:nvGrpSpPr>
        <p:grpSpPr>
          <a:xfrm>
            <a:off x="247349" y="1584960"/>
            <a:ext cx="8604551" cy="4343075"/>
            <a:chOff x="247349" y="1584960"/>
            <a:chExt cx="8720949" cy="3466347"/>
          </a:xfrm>
        </p:grpSpPr>
        <p:graphicFrame>
          <p:nvGraphicFramePr>
            <p:cNvPr id="72" name="Diagram 71"/>
            <p:cNvGraphicFramePr/>
            <p:nvPr>
              <p:extLst>
                <p:ext uri="{D42A27DB-BD31-4B8C-83A1-F6EECF244321}">
                  <p14:modId xmlns:p14="http://schemas.microsoft.com/office/powerpoint/2010/main" val="1417867268"/>
                </p:ext>
              </p:extLst>
            </p:nvPr>
          </p:nvGraphicFramePr>
          <p:xfrm>
            <a:off x="1325619" y="1755398"/>
            <a:ext cx="5152501" cy="31212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6" name="Content Placeholder 50"/>
            <p:cNvSpPr txBox="1">
              <a:spLocks/>
            </p:cNvSpPr>
            <p:nvPr/>
          </p:nvSpPr>
          <p:spPr bwMode="gray">
            <a:xfrm>
              <a:off x="2653686" y="1584960"/>
              <a:ext cx="2521845" cy="261610"/>
            </a:xfrm>
            <a:prstGeom prst="rect">
              <a:avLst/>
            </a:prstGeom>
            <a:noFill/>
            <a:ln w="9525">
              <a:noFill/>
              <a:miter lim="800000"/>
              <a:headEnd/>
              <a:tailEnd/>
            </a:ln>
          </p:spPr>
          <p:txBody>
            <a:bodyPr vert="horz" wrap="none" lIns="91440" tIns="45720" rIns="91440" bIns="45720" rtlCol="0">
              <a:spAutoFit/>
            </a:bodyPr>
            <a:lstStyle/>
            <a:p>
              <a:pPr algn="ctr" fontAlgn="base">
                <a:spcBef>
                  <a:spcPct val="0"/>
                </a:spcBef>
                <a:spcAft>
                  <a:spcPct val="0"/>
                </a:spcAft>
                <a:buFont typeface="Arial" charset="0"/>
                <a:buNone/>
                <a:defRPr/>
              </a:pPr>
              <a:r>
                <a:rPr lang="en-US" sz="1100" b="1" dirty="0">
                  <a:solidFill>
                    <a:prstClr val="black"/>
                  </a:solidFill>
                  <a:cs typeface="Calibri" pitchFamily="34" charset="0"/>
                </a:rPr>
                <a:t>Engagement Management Process</a:t>
              </a:r>
            </a:p>
          </p:txBody>
        </p:sp>
        <p:sp>
          <p:nvSpPr>
            <p:cNvPr id="77" name="Text Box 5"/>
            <p:cNvSpPr txBox="1">
              <a:spLocks noChangeArrowheads="1"/>
            </p:cNvSpPr>
            <p:nvPr/>
          </p:nvSpPr>
          <p:spPr bwMode="gray">
            <a:xfrm>
              <a:off x="519721" y="3948656"/>
              <a:ext cx="357427" cy="895307"/>
            </a:xfrm>
            <a:prstGeom prst="roundRect">
              <a:avLst/>
            </a:prstGeom>
            <a:gradFill>
              <a:gsLst>
                <a:gs pos="75000">
                  <a:schemeClr val="accent1">
                    <a:lumMod val="40000"/>
                    <a:lumOff val="60000"/>
                  </a:schemeClr>
                </a:gs>
                <a:gs pos="100000">
                  <a:schemeClr val="accent1">
                    <a:lumMod val="20000"/>
                    <a:lumOff val="80000"/>
                  </a:schemeClr>
                </a:gs>
              </a:gsLst>
              <a:lin ang="10800000" scaled="1"/>
            </a:gradFill>
            <a:ln w="12700" algn="ctr">
              <a:solidFill>
                <a:schemeClr val="accent1">
                  <a:lumMod val="40000"/>
                  <a:lumOff val="60000"/>
                </a:schemeClr>
              </a:solidFill>
              <a:miter lim="800000"/>
              <a:headEnd/>
              <a:tailEnd/>
            </a:ln>
          </p:spPr>
          <p:txBody>
            <a:bodyPr vert="vert270" wrap="square" lIns="45720" tIns="0" rIns="45720" bIns="0" anchor="ctr">
              <a:noAutofit/>
            </a:bodyPr>
            <a:lstStyle/>
            <a:p>
              <a:pPr algn="ctr">
                <a:defRPr/>
              </a:pPr>
              <a:r>
                <a:rPr lang="en-US" sz="800" b="1" kern="0" dirty="0" smtClean="0">
                  <a:solidFill>
                    <a:schemeClr val="bg1"/>
                  </a:solidFill>
                  <a:cs typeface="Calibri" pitchFamily="34" charset="0"/>
                  <a:sym typeface="Calibri" pitchFamily="34" charset="0"/>
                </a:rPr>
                <a:t>Global Operations Review Team</a:t>
              </a:r>
              <a:endParaRPr lang="en-US" sz="800" b="1" kern="0" dirty="0">
                <a:solidFill>
                  <a:schemeClr val="bg1"/>
                </a:solidFill>
                <a:cs typeface="Calibri" pitchFamily="34" charset="0"/>
                <a:sym typeface="Calibri" pitchFamily="34" charset="0"/>
              </a:endParaRPr>
            </a:p>
          </p:txBody>
        </p:sp>
        <p:sp>
          <p:nvSpPr>
            <p:cNvPr id="78" name="Text Box 6"/>
            <p:cNvSpPr txBox="1">
              <a:spLocks noChangeArrowheads="1"/>
            </p:cNvSpPr>
            <p:nvPr/>
          </p:nvSpPr>
          <p:spPr bwMode="gray">
            <a:xfrm>
              <a:off x="519721" y="2826926"/>
              <a:ext cx="466760" cy="895307"/>
            </a:xfrm>
            <a:prstGeom prst="roundRect">
              <a:avLst/>
            </a:prstGeom>
            <a:gradFill>
              <a:gsLst>
                <a:gs pos="75000">
                  <a:schemeClr val="accent1">
                    <a:lumMod val="40000"/>
                    <a:lumOff val="60000"/>
                  </a:schemeClr>
                </a:gs>
                <a:gs pos="100000">
                  <a:schemeClr val="accent1">
                    <a:lumMod val="20000"/>
                    <a:lumOff val="80000"/>
                  </a:schemeClr>
                </a:gs>
              </a:gsLst>
              <a:lin ang="10800000" scaled="1"/>
            </a:gradFill>
            <a:ln w="12700" algn="ctr">
              <a:solidFill>
                <a:schemeClr val="accent1">
                  <a:lumMod val="40000"/>
                  <a:lumOff val="60000"/>
                </a:schemeClr>
              </a:solidFill>
              <a:miter lim="800000"/>
              <a:headEnd/>
              <a:tailEnd/>
            </a:ln>
          </p:spPr>
          <p:txBody>
            <a:bodyPr vert="vert270" wrap="square" lIns="45720" tIns="0" rIns="45720" bIns="0" anchor="ctr">
              <a:noAutofit/>
            </a:bodyPr>
            <a:lstStyle/>
            <a:p>
              <a:pPr algn="ctr">
                <a:defRPr/>
              </a:pPr>
              <a:r>
                <a:rPr lang="en-US" sz="800" b="1" kern="0" dirty="0" smtClean="0">
                  <a:solidFill>
                    <a:schemeClr val="bg1"/>
                  </a:solidFill>
                  <a:cs typeface="Calibri" pitchFamily="34" charset="0"/>
                  <a:sym typeface="Calibri" pitchFamily="34" charset="0"/>
                </a:rPr>
                <a:t>Global business Review Committee</a:t>
              </a:r>
              <a:endParaRPr lang="en-US" sz="800" b="1" kern="0" dirty="0">
                <a:solidFill>
                  <a:schemeClr val="bg1"/>
                </a:solidFill>
                <a:cs typeface="Calibri" pitchFamily="34" charset="0"/>
                <a:sym typeface="Calibri" pitchFamily="34" charset="0"/>
              </a:endParaRPr>
            </a:p>
          </p:txBody>
        </p:sp>
        <p:sp>
          <p:nvSpPr>
            <p:cNvPr id="79" name="Text Box 7"/>
            <p:cNvSpPr txBox="1">
              <a:spLocks noChangeArrowheads="1"/>
            </p:cNvSpPr>
            <p:nvPr/>
          </p:nvSpPr>
          <p:spPr bwMode="gray">
            <a:xfrm>
              <a:off x="519721" y="1584960"/>
              <a:ext cx="466760" cy="1015541"/>
            </a:xfrm>
            <a:prstGeom prst="roundRect">
              <a:avLst/>
            </a:prstGeom>
            <a:gradFill>
              <a:gsLst>
                <a:gs pos="75000">
                  <a:schemeClr val="accent1">
                    <a:lumMod val="40000"/>
                    <a:lumOff val="60000"/>
                  </a:schemeClr>
                </a:gs>
                <a:gs pos="100000">
                  <a:schemeClr val="accent1">
                    <a:lumMod val="20000"/>
                    <a:lumOff val="80000"/>
                  </a:schemeClr>
                </a:gs>
              </a:gsLst>
              <a:lin ang="10800000" scaled="1"/>
            </a:gradFill>
            <a:ln w="12700" algn="ctr">
              <a:solidFill>
                <a:schemeClr val="accent1">
                  <a:lumMod val="40000"/>
                  <a:lumOff val="60000"/>
                </a:schemeClr>
              </a:solidFill>
              <a:miter lim="800000"/>
              <a:headEnd/>
              <a:tailEnd/>
            </a:ln>
          </p:spPr>
          <p:txBody>
            <a:bodyPr vert="vert270" wrap="square" lIns="45720" tIns="0" rIns="45720" bIns="0" anchor="ctr">
              <a:noAutofit/>
            </a:bodyPr>
            <a:lstStyle/>
            <a:p>
              <a:pPr algn="ctr">
                <a:defRPr/>
              </a:pPr>
              <a:r>
                <a:rPr lang="en-US" sz="800" b="1" kern="0" dirty="0" smtClean="0">
                  <a:solidFill>
                    <a:schemeClr val="bg1"/>
                  </a:solidFill>
                  <a:cs typeface="Calibri" pitchFamily="34" charset="0"/>
                  <a:sym typeface="Calibri" pitchFamily="34" charset="0"/>
                </a:rPr>
                <a:t> Innovation &amp; Transformation Board</a:t>
              </a:r>
              <a:endParaRPr lang="en-US" sz="800" b="1" kern="0" dirty="0">
                <a:solidFill>
                  <a:schemeClr val="bg1"/>
                </a:solidFill>
                <a:cs typeface="Calibri" pitchFamily="34" charset="0"/>
                <a:sym typeface="Calibri" pitchFamily="34" charset="0"/>
              </a:endParaRPr>
            </a:p>
          </p:txBody>
        </p:sp>
        <p:sp>
          <p:nvSpPr>
            <p:cNvPr id="80" name="Line 18"/>
            <p:cNvSpPr>
              <a:spLocks noChangeShapeType="1"/>
            </p:cNvSpPr>
            <p:nvPr/>
          </p:nvSpPr>
          <p:spPr bwMode="gray">
            <a:xfrm flipV="1">
              <a:off x="3002536" y="4379238"/>
              <a:ext cx="1780079" cy="4184"/>
            </a:xfrm>
            <a:prstGeom prst="line">
              <a:avLst/>
            </a:prstGeom>
            <a:noFill/>
            <a:ln w="28575">
              <a:solidFill>
                <a:schemeClr val="bg1"/>
              </a:solidFill>
              <a:round/>
              <a:headEnd type="triangle" w="med" len="med"/>
              <a:tailEnd type="triangle" w="med" len="med"/>
            </a:ln>
          </p:spPr>
          <p:txBody>
            <a:bodyPr/>
            <a:lstStyle/>
            <a:p>
              <a:pPr>
                <a:defRPr/>
              </a:pPr>
              <a:endParaRPr lang="en-US" sz="900" kern="0" dirty="0">
                <a:solidFill>
                  <a:sysClr val="windowText" lastClr="000000"/>
                </a:solidFill>
              </a:endParaRPr>
            </a:p>
          </p:txBody>
        </p:sp>
        <p:sp>
          <p:nvSpPr>
            <p:cNvPr id="85" name="Text Box 22"/>
            <p:cNvSpPr txBox="1">
              <a:spLocks noChangeArrowheads="1"/>
            </p:cNvSpPr>
            <p:nvPr/>
          </p:nvSpPr>
          <p:spPr bwMode="gray">
            <a:xfrm>
              <a:off x="3571702" y="4683668"/>
              <a:ext cx="643106" cy="138499"/>
            </a:xfrm>
            <a:prstGeom prst="rect">
              <a:avLst/>
            </a:prstGeom>
            <a:noFill/>
            <a:ln w="9525">
              <a:noFill/>
              <a:miter lim="800000"/>
              <a:headEnd/>
              <a:tailEnd/>
            </a:ln>
          </p:spPr>
          <p:txBody>
            <a:bodyPr wrap="square" lIns="0" tIns="0" rIns="0" bIns="0" anchor="ctr">
              <a:spAutoFit/>
            </a:bodyPr>
            <a:lstStyle/>
            <a:p>
              <a:pPr algn="r">
                <a:spcBef>
                  <a:spcPct val="50000"/>
                </a:spcBef>
                <a:defRPr/>
              </a:pPr>
              <a:r>
                <a:rPr lang="en-US" sz="900" b="1" kern="0" dirty="0">
                  <a:solidFill>
                    <a:prstClr val="white"/>
                  </a:solidFill>
                  <a:cs typeface="Calibri" pitchFamily="34" charset="0"/>
                  <a:sym typeface="Calibri" pitchFamily="34" charset="0"/>
                </a:rPr>
                <a:t>Resolve</a:t>
              </a:r>
            </a:p>
          </p:txBody>
        </p:sp>
        <p:sp>
          <p:nvSpPr>
            <p:cNvPr id="86" name="Text Box 23"/>
            <p:cNvSpPr txBox="1">
              <a:spLocks noChangeArrowheads="1"/>
            </p:cNvSpPr>
            <p:nvPr/>
          </p:nvSpPr>
          <p:spPr bwMode="gray">
            <a:xfrm>
              <a:off x="3647427" y="3969792"/>
              <a:ext cx="611099" cy="138499"/>
            </a:xfrm>
            <a:prstGeom prst="rect">
              <a:avLst/>
            </a:prstGeom>
            <a:noFill/>
            <a:ln w="9525">
              <a:noFill/>
              <a:miter lim="800000"/>
              <a:headEnd/>
              <a:tailEnd/>
            </a:ln>
          </p:spPr>
          <p:txBody>
            <a:bodyPr wrap="square" lIns="0" tIns="0" rIns="0" bIns="0" anchor="ctr">
              <a:spAutoFit/>
            </a:bodyPr>
            <a:lstStyle/>
            <a:p>
              <a:pPr>
                <a:spcBef>
                  <a:spcPct val="50000"/>
                </a:spcBef>
                <a:defRPr/>
              </a:pPr>
              <a:r>
                <a:rPr lang="en-US" sz="900" b="1" kern="0" dirty="0">
                  <a:solidFill>
                    <a:prstClr val="white"/>
                  </a:solidFill>
                  <a:cs typeface="Calibri" pitchFamily="34" charset="0"/>
                  <a:sym typeface="Calibri" pitchFamily="34" charset="0"/>
                </a:rPr>
                <a:t>Escalate</a:t>
              </a:r>
            </a:p>
          </p:txBody>
        </p:sp>
        <p:sp>
          <p:nvSpPr>
            <p:cNvPr id="91" name="Line 26"/>
            <p:cNvSpPr>
              <a:spLocks noChangeShapeType="1"/>
            </p:cNvSpPr>
            <p:nvPr/>
          </p:nvSpPr>
          <p:spPr bwMode="gray">
            <a:xfrm>
              <a:off x="3319875" y="3291632"/>
              <a:ext cx="1145406" cy="1046"/>
            </a:xfrm>
            <a:prstGeom prst="line">
              <a:avLst/>
            </a:prstGeom>
            <a:noFill/>
            <a:ln w="28575">
              <a:solidFill>
                <a:schemeClr val="bg1"/>
              </a:solidFill>
              <a:round/>
              <a:headEnd type="triangle" w="med" len="med"/>
              <a:tailEnd type="triangle" w="med" len="med"/>
            </a:ln>
          </p:spPr>
          <p:txBody>
            <a:bodyPr/>
            <a:lstStyle/>
            <a:p>
              <a:pPr>
                <a:defRPr/>
              </a:pPr>
              <a:endParaRPr lang="en-US" sz="900" kern="0" dirty="0">
                <a:solidFill>
                  <a:sysClr val="windowText" lastClr="000000"/>
                </a:solidFill>
              </a:endParaRPr>
            </a:p>
          </p:txBody>
        </p:sp>
        <p:sp>
          <p:nvSpPr>
            <p:cNvPr id="92" name="Line 27"/>
            <p:cNvSpPr>
              <a:spLocks noChangeShapeType="1"/>
            </p:cNvSpPr>
            <p:nvPr/>
          </p:nvSpPr>
          <p:spPr bwMode="gray">
            <a:xfrm flipV="1">
              <a:off x="3891897" y="3082447"/>
              <a:ext cx="1362" cy="209184"/>
            </a:xfrm>
            <a:prstGeom prst="line">
              <a:avLst/>
            </a:prstGeom>
            <a:noFill/>
            <a:ln w="28575">
              <a:solidFill>
                <a:schemeClr val="bg1"/>
              </a:solidFill>
              <a:round/>
              <a:headEnd/>
              <a:tailEnd type="triangle" w="med" len="med"/>
            </a:ln>
          </p:spPr>
          <p:txBody>
            <a:bodyPr/>
            <a:lstStyle/>
            <a:p>
              <a:pPr>
                <a:defRPr/>
              </a:pPr>
              <a:endParaRPr lang="en-US" sz="900" kern="0" dirty="0">
                <a:solidFill>
                  <a:sysClr val="windowText" lastClr="000000"/>
                </a:solidFill>
              </a:endParaRPr>
            </a:p>
          </p:txBody>
        </p:sp>
        <p:sp>
          <p:nvSpPr>
            <p:cNvPr id="93" name="Line 28"/>
            <p:cNvSpPr>
              <a:spLocks noChangeShapeType="1"/>
            </p:cNvSpPr>
            <p:nvPr/>
          </p:nvSpPr>
          <p:spPr bwMode="gray">
            <a:xfrm>
              <a:off x="3891897" y="3244568"/>
              <a:ext cx="1362" cy="258342"/>
            </a:xfrm>
            <a:prstGeom prst="line">
              <a:avLst/>
            </a:prstGeom>
            <a:noFill/>
            <a:ln w="28575">
              <a:solidFill>
                <a:schemeClr val="bg1"/>
              </a:solidFill>
              <a:round/>
              <a:headEnd/>
              <a:tailEnd type="triangle" w="med" len="med"/>
            </a:ln>
          </p:spPr>
          <p:txBody>
            <a:bodyPr/>
            <a:lstStyle/>
            <a:p>
              <a:pPr>
                <a:defRPr/>
              </a:pPr>
              <a:endParaRPr lang="en-US" sz="900" kern="0" dirty="0">
                <a:solidFill>
                  <a:sysClr val="windowText" lastClr="000000"/>
                </a:solidFill>
              </a:endParaRPr>
            </a:p>
          </p:txBody>
        </p:sp>
        <p:sp>
          <p:nvSpPr>
            <p:cNvPr id="94" name="Line 34"/>
            <p:cNvSpPr>
              <a:spLocks noChangeShapeType="1"/>
            </p:cNvSpPr>
            <p:nvPr/>
          </p:nvSpPr>
          <p:spPr bwMode="gray">
            <a:xfrm>
              <a:off x="3615418" y="2230346"/>
              <a:ext cx="554316" cy="1046"/>
            </a:xfrm>
            <a:prstGeom prst="line">
              <a:avLst/>
            </a:prstGeom>
            <a:noFill/>
            <a:ln w="28575">
              <a:solidFill>
                <a:schemeClr val="bg1"/>
              </a:solidFill>
              <a:round/>
              <a:headEnd type="triangle" w="med" len="med"/>
              <a:tailEnd type="triangle" w="med" len="med"/>
            </a:ln>
          </p:spPr>
          <p:txBody>
            <a:bodyPr/>
            <a:lstStyle/>
            <a:p>
              <a:pPr>
                <a:defRPr/>
              </a:pPr>
              <a:endParaRPr lang="en-US" sz="900" kern="0" dirty="0">
                <a:solidFill>
                  <a:sysClr val="windowText" lastClr="000000"/>
                </a:solidFill>
              </a:endParaRPr>
            </a:p>
          </p:txBody>
        </p:sp>
        <p:sp>
          <p:nvSpPr>
            <p:cNvPr id="95" name="Line 35"/>
            <p:cNvSpPr>
              <a:spLocks noChangeShapeType="1"/>
            </p:cNvSpPr>
            <p:nvPr/>
          </p:nvSpPr>
          <p:spPr bwMode="gray">
            <a:xfrm>
              <a:off x="3891897" y="2231392"/>
              <a:ext cx="1362" cy="233240"/>
            </a:xfrm>
            <a:prstGeom prst="line">
              <a:avLst/>
            </a:prstGeom>
            <a:noFill/>
            <a:ln w="28575">
              <a:solidFill>
                <a:schemeClr val="bg1"/>
              </a:solidFill>
              <a:round/>
              <a:headEnd/>
              <a:tailEnd type="triangle" w="med" len="med"/>
            </a:ln>
          </p:spPr>
          <p:txBody>
            <a:bodyPr/>
            <a:lstStyle/>
            <a:p>
              <a:pPr>
                <a:defRPr/>
              </a:pPr>
              <a:endParaRPr lang="en-US" sz="900" kern="0" dirty="0">
                <a:solidFill>
                  <a:sysClr val="windowText" lastClr="000000"/>
                </a:solidFill>
              </a:endParaRPr>
            </a:p>
          </p:txBody>
        </p:sp>
        <p:sp>
          <p:nvSpPr>
            <p:cNvPr id="96" name="Text Box 36"/>
            <p:cNvSpPr txBox="1">
              <a:spLocks noChangeArrowheads="1"/>
            </p:cNvSpPr>
            <p:nvPr/>
          </p:nvSpPr>
          <p:spPr bwMode="gray">
            <a:xfrm>
              <a:off x="3697613" y="2031870"/>
              <a:ext cx="401779" cy="175433"/>
            </a:xfrm>
            <a:prstGeom prst="rect">
              <a:avLst/>
            </a:prstGeom>
            <a:solidFill>
              <a:sysClr val="window" lastClr="FFFFFF"/>
            </a:solidFill>
            <a:ln w="9525" algn="ctr">
              <a:noFill/>
              <a:miter lim="800000"/>
              <a:headEnd/>
              <a:tailEnd/>
            </a:ln>
          </p:spPr>
          <p:txBody>
            <a:bodyPr wrap="square" lIns="18288" tIns="18288" rIns="18288" bIns="18288" anchor="ctr">
              <a:spAutoFit/>
            </a:bodyPr>
            <a:lstStyle/>
            <a:p>
              <a:pPr algn="ctr">
                <a:spcBef>
                  <a:spcPct val="50000"/>
                </a:spcBef>
                <a:defRPr/>
              </a:pPr>
              <a:r>
                <a:rPr lang="en-US" sz="900" b="1" kern="0" dirty="0">
                  <a:solidFill>
                    <a:srgbClr val="9F958F">
                      <a:lumMod val="50000"/>
                    </a:srgbClr>
                  </a:solidFill>
                  <a:cs typeface="Calibri" pitchFamily="34" charset="0"/>
                  <a:sym typeface="Calibri" pitchFamily="34" charset="0"/>
                </a:rPr>
                <a:t>Issue</a:t>
              </a:r>
            </a:p>
          </p:txBody>
        </p:sp>
        <p:sp>
          <p:nvSpPr>
            <p:cNvPr id="97" name="Rectangle 54"/>
            <p:cNvSpPr>
              <a:spLocks noChangeArrowheads="1"/>
            </p:cNvSpPr>
            <p:nvPr/>
          </p:nvSpPr>
          <p:spPr bwMode="gray">
            <a:xfrm rot="16200000">
              <a:off x="-810529" y="3321817"/>
              <a:ext cx="2269644" cy="153888"/>
            </a:xfrm>
            <a:prstGeom prst="rect">
              <a:avLst/>
            </a:prstGeom>
            <a:noFill/>
            <a:ln w="9525">
              <a:noFill/>
              <a:miter lim="800000"/>
              <a:headEnd/>
              <a:tailEnd/>
            </a:ln>
          </p:spPr>
          <p:txBody>
            <a:bodyPr lIns="0" tIns="0" rIns="0" bIns="0">
              <a:spAutoFit/>
            </a:bodyPr>
            <a:lstStyle/>
            <a:p>
              <a:pPr algn="ctr">
                <a:defRPr/>
              </a:pPr>
              <a:r>
                <a:rPr lang="en-US" sz="1000" b="1" kern="0" dirty="0">
                  <a:solidFill>
                    <a:prstClr val="black"/>
                  </a:solidFill>
                  <a:cs typeface="Calibri" pitchFamily="34" charset="0"/>
                  <a:sym typeface="Calibri" pitchFamily="34" charset="0"/>
                </a:rPr>
                <a:t>Ongoing Engagement Governance</a:t>
              </a:r>
            </a:p>
          </p:txBody>
        </p:sp>
        <p:sp>
          <p:nvSpPr>
            <p:cNvPr id="98" name="Text Box 66"/>
            <p:cNvSpPr txBox="1">
              <a:spLocks noChangeArrowheads="1"/>
            </p:cNvSpPr>
            <p:nvPr/>
          </p:nvSpPr>
          <p:spPr bwMode="gray">
            <a:xfrm>
              <a:off x="5322729" y="3160528"/>
              <a:ext cx="1189628" cy="230832"/>
            </a:xfrm>
            <a:prstGeom prst="rect">
              <a:avLst/>
            </a:prstGeom>
            <a:noFill/>
            <a:ln w="9525" algn="ctr">
              <a:noFill/>
              <a:miter lim="800000"/>
              <a:headEnd/>
              <a:tailEnd/>
            </a:ln>
            <a:effectLst/>
          </p:spPr>
          <p:txBody>
            <a:bodyPr wrap="square" lIns="45720" rIns="45720" anchor="ctr">
              <a:spAutoFit/>
            </a:bodyPr>
            <a:lstStyle/>
            <a:p>
              <a:pPr marL="137160" indent="-137160">
                <a:spcBef>
                  <a:spcPts val="300"/>
                </a:spcBef>
                <a:spcAft>
                  <a:spcPts val="300"/>
                </a:spcAft>
                <a:buClr>
                  <a:srgbClr val="0098CC"/>
                </a:buClr>
                <a:defRPr/>
              </a:pPr>
              <a:r>
                <a:rPr lang="en-US" sz="900" b="1" i="1" kern="0" dirty="0">
                  <a:solidFill>
                    <a:prstClr val="black"/>
                  </a:solidFill>
                  <a:cs typeface="Calibri" pitchFamily="34" charset="0"/>
                  <a:sym typeface="Calibri"/>
                </a:rPr>
                <a:t>Delivery </a:t>
              </a:r>
              <a:r>
                <a:rPr lang="en-US" sz="900" b="1" i="1" kern="0" dirty="0" smtClean="0">
                  <a:solidFill>
                    <a:prstClr val="black"/>
                  </a:solidFill>
                  <a:cs typeface="Calibri" pitchFamily="34" charset="0"/>
                  <a:sym typeface="Calibri"/>
                </a:rPr>
                <a:t>Managers</a:t>
              </a:r>
              <a:endParaRPr lang="en-US" sz="900" b="1" i="1" kern="0" dirty="0">
                <a:solidFill>
                  <a:prstClr val="black"/>
                </a:solidFill>
                <a:cs typeface="Calibri" pitchFamily="34" charset="0"/>
                <a:sym typeface="Calibri"/>
              </a:endParaRPr>
            </a:p>
          </p:txBody>
        </p:sp>
        <p:sp>
          <p:nvSpPr>
            <p:cNvPr id="99" name="Text Box 22"/>
            <p:cNvSpPr txBox="1">
              <a:spLocks noChangeArrowheads="1"/>
            </p:cNvSpPr>
            <p:nvPr/>
          </p:nvSpPr>
          <p:spPr bwMode="gray">
            <a:xfrm>
              <a:off x="3515684" y="3491183"/>
              <a:ext cx="609106" cy="138499"/>
            </a:xfrm>
            <a:prstGeom prst="rect">
              <a:avLst/>
            </a:prstGeom>
            <a:noFill/>
            <a:ln w="9525">
              <a:noFill/>
              <a:miter lim="800000"/>
              <a:headEnd/>
              <a:tailEnd/>
            </a:ln>
          </p:spPr>
          <p:txBody>
            <a:bodyPr wrap="square" lIns="0" tIns="0" rIns="0" bIns="0" anchor="ctr">
              <a:spAutoFit/>
            </a:bodyPr>
            <a:lstStyle/>
            <a:p>
              <a:pPr algn="r">
                <a:spcBef>
                  <a:spcPct val="50000"/>
                </a:spcBef>
                <a:defRPr/>
              </a:pPr>
              <a:r>
                <a:rPr lang="en-US" sz="900" b="1" kern="0" dirty="0">
                  <a:solidFill>
                    <a:prstClr val="white"/>
                  </a:solidFill>
                  <a:cs typeface="Calibri" pitchFamily="34" charset="0"/>
                  <a:sym typeface="Calibri" pitchFamily="34" charset="0"/>
                </a:rPr>
                <a:t>Resolve</a:t>
              </a:r>
            </a:p>
          </p:txBody>
        </p:sp>
        <p:sp>
          <p:nvSpPr>
            <p:cNvPr id="100" name="Text Box 22"/>
            <p:cNvSpPr txBox="1">
              <a:spLocks noChangeArrowheads="1"/>
            </p:cNvSpPr>
            <p:nvPr/>
          </p:nvSpPr>
          <p:spPr bwMode="gray">
            <a:xfrm>
              <a:off x="3373781" y="2436294"/>
              <a:ext cx="992642" cy="138499"/>
            </a:xfrm>
            <a:prstGeom prst="rect">
              <a:avLst/>
            </a:prstGeom>
            <a:noFill/>
            <a:ln w="9525">
              <a:noFill/>
              <a:miter lim="800000"/>
              <a:headEnd/>
              <a:tailEnd/>
            </a:ln>
          </p:spPr>
          <p:txBody>
            <a:bodyPr wrap="square" lIns="0" tIns="0" rIns="0" bIns="0" anchor="ctr">
              <a:spAutoFit/>
            </a:bodyPr>
            <a:lstStyle/>
            <a:p>
              <a:pPr algn="ctr">
                <a:spcBef>
                  <a:spcPct val="50000"/>
                </a:spcBef>
                <a:defRPr/>
              </a:pPr>
              <a:r>
                <a:rPr lang="en-US" sz="900" b="1" kern="0" dirty="0">
                  <a:solidFill>
                    <a:prstClr val="white"/>
                  </a:solidFill>
                  <a:cs typeface="Calibri" pitchFamily="34" charset="0"/>
                  <a:sym typeface="Calibri" pitchFamily="34" charset="0"/>
                </a:rPr>
                <a:t>Resolve</a:t>
              </a:r>
            </a:p>
          </p:txBody>
        </p:sp>
        <p:sp>
          <p:nvSpPr>
            <p:cNvPr id="101" name="Text Box 23"/>
            <p:cNvSpPr txBox="1">
              <a:spLocks noChangeArrowheads="1"/>
            </p:cNvSpPr>
            <p:nvPr/>
          </p:nvSpPr>
          <p:spPr bwMode="gray">
            <a:xfrm>
              <a:off x="3399648" y="2965088"/>
              <a:ext cx="1017856" cy="138499"/>
            </a:xfrm>
            <a:prstGeom prst="rect">
              <a:avLst/>
            </a:prstGeom>
            <a:noFill/>
            <a:ln w="9525">
              <a:noFill/>
              <a:miter lim="800000"/>
              <a:headEnd/>
              <a:tailEnd/>
            </a:ln>
          </p:spPr>
          <p:txBody>
            <a:bodyPr wrap="square" lIns="0" tIns="0" rIns="0" bIns="0" anchor="ctr">
              <a:spAutoFit/>
            </a:bodyPr>
            <a:lstStyle/>
            <a:p>
              <a:pPr algn="ctr">
                <a:spcBef>
                  <a:spcPct val="50000"/>
                </a:spcBef>
                <a:defRPr/>
              </a:pPr>
              <a:r>
                <a:rPr lang="en-US" sz="900" b="1" kern="0" dirty="0">
                  <a:solidFill>
                    <a:prstClr val="white"/>
                  </a:solidFill>
                  <a:cs typeface="Calibri" pitchFamily="34" charset="0"/>
                  <a:sym typeface="Calibri" pitchFamily="34" charset="0"/>
                </a:rPr>
                <a:t>Escalate</a:t>
              </a:r>
            </a:p>
          </p:txBody>
        </p:sp>
        <p:sp>
          <p:nvSpPr>
            <p:cNvPr id="102" name="Line 18"/>
            <p:cNvSpPr>
              <a:spLocks noChangeShapeType="1"/>
            </p:cNvSpPr>
            <p:nvPr/>
          </p:nvSpPr>
          <p:spPr bwMode="gray">
            <a:xfrm>
              <a:off x="3892574" y="4114625"/>
              <a:ext cx="0" cy="530281"/>
            </a:xfrm>
            <a:prstGeom prst="line">
              <a:avLst/>
            </a:prstGeom>
            <a:noFill/>
            <a:ln w="28575">
              <a:solidFill>
                <a:schemeClr val="bg1"/>
              </a:solidFill>
              <a:round/>
              <a:headEnd type="triangle" w="med" len="med"/>
              <a:tailEnd type="triangle" w="med" len="med"/>
            </a:ln>
          </p:spPr>
          <p:txBody>
            <a:bodyPr/>
            <a:lstStyle/>
            <a:p>
              <a:pPr>
                <a:defRPr/>
              </a:pPr>
              <a:endParaRPr lang="en-US" sz="900" kern="0" dirty="0">
                <a:solidFill>
                  <a:sysClr val="windowText" lastClr="000000"/>
                </a:solidFill>
              </a:endParaRPr>
            </a:p>
          </p:txBody>
        </p:sp>
        <p:pic>
          <p:nvPicPr>
            <p:cNvPr id="103" name="Picture 2" descr="C:\Documents and Settings\ramarao\Desktop\My Jobs\08-03\e-on\cg.png"/>
            <p:cNvPicPr>
              <a:picLocks noChangeAspect="1" noChangeArrowheads="1"/>
            </p:cNvPicPr>
            <p:nvPr/>
          </p:nvPicPr>
          <p:blipFill>
            <a:blip r:embed="rId8" cstate="print"/>
            <a:stretch>
              <a:fillRect/>
            </a:stretch>
          </p:blipFill>
          <p:spPr bwMode="gray">
            <a:xfrm>
              <a:off x="5686183" y="1801628"/>
              <a:ext cx="1342570" cy="270177"/>
            </a:xfrm>
            <a:prstGeom prst="rect">
              <a:avLst/>
            </a:prstGeom>
            <a:noFill/>
            <a:ln>
              <a:noFill/>
            </a:ln>
          </p:spPr>
        </p:pic>
        <p:cxnSp>
          <p:nvCxnSpPr>
            <p:cNvPr id="104" name="Straight Arrow Connector 103"/>
            <p:cNvCxnSpPr/>
            <p:nvPr/>
          </p:nvCxnSpPr>
          <p:spPr bwMode="gray">
            <a:xfrm flipV="1">
              <a:off x="455114" y="1772655"/>
              <a:ext cx="0" cy="3271634"/>
            </a:xfrm>
            <a:prstGeom prst="straightConnector1">
              <a:avLst/>
            </a:prstGeom>
            <a:noFill/>
            <a:ln w="28575" cap="flat" cmpd="sng" algn="ctr">
              <a:solidFill>
                <a:schemeClr val="bg1">
                  <a:lumMod val="50000"/>
                </a:schemeClr>
              </a:solidFill>
              <a:prstDash val="solid"/>
              <a:tailEnd type="triangle"/>
            </a:ln>
            <a:effectLst/>
          </p:spPr>
        </p:cxnSp>
        <p:sp>
          <p:nvSpPr>
            <p:cNvPr id="105" name="Text Box 66"/>
            <p:cNvSpPr txBox="1">
              <a:spLocks noChangeArrowheads="1"/>
            </p:cNvSpPr>
            <p:nvPr/>
          </p:nvSpPr>
          <p:spPr bwMode="gray">
            <a:xfrm>
              <a:off x="6069897" y="4246003"/>
              <a:ext cx="1118412" cy="230832"/>
            </a:xfrm>
            <a:prstGeom prst="rect">
              <a:avLst/>
            </a:prstGeom>
            <a:noFill/>
            <a:ln w="9525" algn="ctr">
              <a:noFill/>
              <a:miter lim="800000"/>
              <a:headEnd/>
              <a:tailEnd/>
            </a:ln>
            <a:effectLst/>
          </p:spPr>
          <p:txBody>
            <a:bodyPr wrap="square" lIns="45720" rIns="45720" anchor="ctr">
              <a:spAutoFit/>
            </a:bodyPr>
            <a:lstStyle/>
            <a:p>
              <a:pPr marL="137160" indent="-137160">
                <a:spcBef>
                  <a:spcPts val="300"/>
                </a:spcBef>
                <a:spcAft>
                  <a:spcPts val="300"/>
                </a:spcAft>
                <a:buClr>
                  <a:srgbClr val="0098CC"/>
                </a:buClr>
                <a:defRPr/>
              </a:pPr>
              <a:r>
                <a:rPr lang="en-US" sz="900" b="1" i="1" kern="0" dirty="0" smtClean="0">
                  <a:solidFill>
                    <a:prstClr val="black"/>
                  </a:solidFill>
                  <a:cs typeface="Calibri" pitchFamily="34" charset="0"/>
                  <a:sym typeface="Calibri"/>
                </a:rPr>
                <a:t>Support teams</a:t>
              </a:r>
              <a:endParaRPr lang="en-US" sz="900" b="1" i="1" kern="0" dirty="0">
                <a:solidFill>
                  <a:prstClr val="black"/>
                </a:solidFill>
                <a:cs typeface="Calibri" pitchFamily="34" charset="0"/>
                <a:sym typeface="Calibri"/>
              </a:endParaRPr>
            </a:p>
          </p:txBody>
        </p:sp>
        <p:sp>
          <p:nvSpPr>
            <p:cNvPr id="106" name="Text Box 66"/>
            <p:cNvSpPr txBox="1">
              <a:spLocks noChangeArrowheads="1"/>
            </p:cNvSpPr>
            <p:nvPr/>
          </p:nvSpPr>
          <p:spPr bwMode="gray">
            <a:xfrm>
              <a:off x="1341619" y="3152853"/>
              <a:ext cx="1248047" cy="230832"/>
            </a:xfrm>
            <a:prstGeom prst="rect">
              <a:avLst/>
            </a:prstGeom>
            <a:noFill/>
            <a:ln w="9525" algn="ctr">
              <a:noFill/>
              <a:miter lim="800000"/>
              <a:headEnd/>
              <a:tailEnd/>
            </a:ln>
            <a:effectLst/>
          </p:spPr>
          <p:txBody>
            <a:bodyPr lIns="45720" rIns="45720" anchor="ctr">
              <a:spAutoFit/>
            </a:bodyPr>
            <a:lstStyle/>
            <a:p>
              <a:pPr>
                <a:spcBef>
                  <a:spcPts val="300"/>
                </a:spcBef>
                <a:spcAft>
                  <a:spcPts val="300"/>
                </a:spcAft>
                <a:buClr>
                  <a:srgbClr val="0098CC">
                    <a:lumMod val="75000"/>
                  </a:srgbClr>
                </a:buClr>
                <a:defRPr/>
              </a:pPr>
              <a:r>
                <a:rPr lang="en-US" sz="900" b="1" i="1" kern="0" dirty="0" smtClean="0">
                  <a:solidFill>
                    <a:prstClr val="black"/>
                  </a:solidFill>
                  <a:cs typeface="Calibri" pitchFamily="34" charset="0"/>
                  <a:sym typeface="Calibri"/>
                </a:rPr>
                <a:t>Delivery Managers</a:t>
              </a:r>
              <a:endParaRPr lang="en-US" sz="900" b="1" i="1" kern="0" dirty="0">
                <a:solidFill>
                  <a:prstClr val="black"/>
                </a:solidFill>
                <a:cs typeface="Calibri" pitchFamily="34" charset="0"/>
                <a:sym typeface="Calibri"/>
              </a:endParaRPr>
            </a:p>
          </p:txBody>
        </p:sp>
        <p:sp>
          <p:nvSpPr>
            <p:cNvPr id="107" name="Text Box 36"/>
            <p:cNvSpPr txBox="1">
              <a:spLocks noChangeArrowheads="1"/>
            </p:cNvSpPr>
            <p:nvPr/>
          </p:nvSpPr>
          <p:spPr bwMode="gray">
            <a:xfrm>
              <a:off x="3697613" y="3195655"/>
              <a:ext cx="401777" cy="175433"/>
            </a:xfrm>
            <a:prstGeom prst="rect">
              <a:avLst/>
            </a:prstGeom>
            <a:solidFill>
              <a:sysClr val="window" lastClr="FFFFFF"/>
            </a:solidFill>
            <a:ln w="9525" algn="ctr">
              <a:noFill/>
              <a:miter lim="800000"/>
              <a:headEnd/>
              <a:tailEnd/>
            </a:ln>
          </p:spPr>
          <p:txBody>
            <a:bodyPr wrap="square" lIns="18288" tIns="18288" rIns="18288" bIns="18288" anchor="ctr">
              <a:spAutoFit/>
            </a:bodyPr>
            <a:lstStyle/>
            <a:p>
              <a:pPr algn="ctr">
                <a:spcBef>
                  <a:spcPct val="50000"/>
                </a:spcBef>
                <a:defRPr/>
              </a:pPr>
              <a:r>
                <a:rPr lang="en-US" sz="900" b="1" kern="0" dirty="0">
                  <a:solidFill>
                    <a:srgbClr val="9F958F">
                      <a:lumMod val="50000"/>
                    </a:srgbClr>
                  </a:solidFill>
                  <a:cs typeface="Calibri" pitchFamily="34" charset="0"/>
                  <a:sym typeface="Calibri" pitchFamily="34" charset="0"/>
                </a:rPr>
                <a:t>Issue</a:t>
              </a:r>
            </a:p>
          </p:txBody>
        </p:sp>
        <p:sp>
          <p:nvSpPr>
            <p:cNvPr id="108" name="Text Box 36"/>
            <p:cNvSpPr txBox="1">
              <a:spLocks noChangeArrowheads="1"/>
            </p:cNvSpPr>
            <p:nvPr/>
          </p:nvSpPr>
          <p:spPr bwMode="gray">
            <a:xfrm>
              <a:off x="3723010" y="4297909"/>
              <a:ext cx="401776" cy="175433"/>
            </a:xfrm>
            <a:prstGeom prst="rect">
              <a:avLst/>
            </a:prstGeom>
            <a:solidFill>
              <a:sysClr val="window" lastClr="FFFFFF"/>
            </a:solidFill>
            <a:ln w="9525" algn="ctr">
              <a:noFill/>
              <a:miter lim="800000"/>
              <a:headEnd/>
              <a:tailEnd/>
            </a:ln>
          </p:spPr>
          <p:txBody>
            <a:bodyPr wrap="square" lIns="18288" tIns="18288" rIns="18288" bIns="18288" anchor="ctr">
              <a:spAutoFit/>
            </a:bodyPr>
            <a:lstStyle/>
            <a:p>
              <a:pPr algn="ctr">
                <a:spcBef>
                  <a:spcPct val="50000"/>
                </a:spcBef>
                <a:defRPr/>
              </a:pPr>
              <a:r>
                <a:rPr lang="en-US" sz="900" b="1" kern="0" dirty="0">
                  <a:solidFill>
                    <a:srgbClr val="9F958F">
                      <a:lumMod val="50000"/>
                    </a:srgbClr>
                  </a:solidFill>
                  <a:cs typeface="Calibri" pitchFamily="34" charset="0"/>
                  <a:sym typeface="Calibri" pitchFamily="34" charset="0"/>
                </a:rPr>
                <a:t>Issue</a:t>
              </a:r>
            </a:p>
          </p:txBody>
        </p:sp>
        <p:sp>
          <p:nvSpPr>
            <p:cNvPr id="109" name="Text Box 66"/>
            <p:cNvSpPr txBox="1">
              <a:spLocks noChangeArrowheads="1"/>
            </p:cNvSpPr>
            <p:nvPr/>
          </p:nvSpPr>
          <p:spPr bwMode="gray">
            <a:xfrm>
              <a:off x="4586216" y="2170792"/>
              <a:ext cx="2106389" cy="369332"/>
            </a:xfrm>
            <a:prstGeom prst="rect">
              <a:avLst/>
            </a:prstGeom>
            <a:noFill/>
            <a:ln w="9525" algn="ctr">
              <a:noFill/>
              <a:miter lim="800000"/>
              <a:headEnd/>
              <a:tailEnd/>
            </a:ln>
            <a:effectLst/>
          </p:spPr>
          <p:txBody>
            <a:bodyPr wrap="square" lIns="45720" rIns="45720" anchor="ctr">
              <a:spAutoFit/>
            </a:bodyPr>
            <a:lstStyle/>
            <a:p>
              <a:pPr>
                <a:spcBef>
                  <a:spcPts val="300"/>
                </a:spcBef>
                <a:spcAft>
                  <a:spcPts val="300"/>
                </a:spcAft>
                <a:buClr>
                  <a:srgbClr val="0098CC"/>
                </a:buClr>
                <a:defRPr/>
              </a:pPr>
              <a:r>
                <a:rPr lang="en-US" sz="900" b="1" i="1" kern="0" dirty="0">
                  <a:solidFill>
                    <a:prstClr val="black"/>
                  </a:solidFill>
                  <a:cs typeface="Calibri" pitchFamily="34" charset="0"/>
                  <a:sym typeface="Calibri"/>
                </a:rPr>
                <a:t>Account </a:t>
              </a:r>
              <a:r>
                <a:rPr lang="en-US" sz="900" b="1" i="1" kern="0" dirty="0" smtClean="0">
                  <a:solidFill>
                    <a:prstClr val="black"/>
                  </a:solidFill>
                  <a:cs typeface="Calibri" pitchFamily="34" charset="0"/>
                  <a:sym typeface="Calibri"/>
                </a:rPr>
                <a:t>Executive</a:t>
              </a:r>
              <a:br>
                <a:rPr lang="en-US" sz="900" b="1" i="1" kern="0" dirty="0" smtClean="0">
                  <a:solidFill>
                    <a:prstClr val="black"/>
                  </a:solidFill>
                  <a:cs typeface="Calibri" pitchFamily="34" charset="0"/>
                  <a:sym typeface="Calibri"/>
                </a:rPr>
              </a:br>
              <a:r>
                <a:rPr lang="en-US" sz="900" b="1" i="1" kern="0" dirty="0" smtClean="0">
                  <a:solidFill>
                    <a:prstClr val="black"/>
                  </a:solidFill>
                  <a:cs typeface="Calibri" pitchFamily="34" charset="0"/>
                  <a:sym typeface="Calibri"/>
                </a:rPr>
                <a:t>(Relationship Manager)</a:t>
              </a:r>
              <a:endParaRPr lang="en-US" sz="900" b="1" i="1" kern="0" dirty="0">
                <a:solidFill>
                  <a:prstClr val="black"/>
                </a:solidFill>
                <a:cs typeface="Calibri" pitchFamily="34" charset="0"/>
                <a:sym typeface="Calibri"/>
              </a:endParaRPr>
            </a:p>
          </p:txBody>
        </p:sp>
        <p:sp>
          <p:nvSpPr>
            <p:cNvPr id="110" name="Text Box 66"/>
            <p:cNvSpPr txBox="1">
              <a:spLocks noChangeArrowheads="1"/>
            </p:cNvSpPr>
            <p:nvPr/>
          </p:nvSpPr>
          <p:spPr bwMode="gray">
            <a:xfrm>
              <a:off x="915480" y="4128682"/>
              <a:ext cx="774065" cy="507831"/>
            </a:xfrm>
            <a:prstGeom prst="rect">
              <a:avLst/>
            </a:prstGeom>
            <a:noFill/>
            <a:ln w="9525" algn="ctr">
              <a:noFill/>
              <a:miter lim="800000"/>
              <a:headEnd/>
              <a:tailEnd/>
            </a:ln>
            <a:effectLst/>
          </p:spPr>
          <p:txBody>
            <a:bodyPr wrap="square" lIns="45720" rIns="45720" anchor="ctr">
              <a:spAutoFit/>
            </a:bodyPr>
            <a:lstStyle/>
            <a:p>
              <a:pPr>
                <a:spcBef>
                  <a:spcPts val="300"/>
                </a:spcBef>
                <a:spcAft>
                  <a:spcPts val="300"/>
                </a:spcAft>
                <a:buClr>
                  <a:srgbClr val="0098CC">
                    <a:lumMod val="75000"/>
                  </a:srgbClr>
                </a:buClr>
                <a:defRPr/>
              </a:pPr>
              <a:r>
                <a:rPr lang="en-US" sz="900" b="1" i="1" kern="0" dirty="0" smtClean="0">
                  <a:solidFill>
                    <a:prstClr val="black"/>
                  </a:solidFill>
                  <a:cs typeface="Calibri" pitchFamily="34" charset="0"/>
                  <a:sym typeface="Calibri"/>
                </a:rPr>
                <a:t>Lattice</a:t>
              </a:r>
              <a:br>
                <a:rPr lang="en-US" sz="900" b="1" i="1" kern="0" dirty="0" smtClean="0">
                  <a:solidFill>
                    <a:prstClr val="black"/>
                  </a:solidFill>
                  <a:cs typeface="Calibri" pitchFamily="34" charset="0"/>
                  <a:sym typeface="Calibri"/>
                </a:rPr>
              </a:br>
              <a:r>
                <a:rPr lang="en-US" sz="900" b="1" i="1" kern="0" dirty="0" smtClean="0">
                  <a:solidFill>
                    <a:prstClr val="black"/>
                  </a:solidFill>
                  <a:cs typeface="Calibri" pitchFamily="34" charset="0"/>
                  <a:sym typeface="Calibri"/>
                </a:rPr>
                <a:t>Application </a:t>
              </a:r>
              <a:r>
                <a:rPr lang="en-US" sz="900" b="1" i="1" kern="0" dirty="0">
                  <a:solidFill>
                    <a:prstClr val="black"/>
                  </a:solidFill>
                  <a:cs typeface="Calibri" pitchFamily="34" charset="0"/>
                  <a:sym typeface="Calibri"/>
                </a:rPr>
                <a:t>team </a:t>
              </a:r>
            </a:p>
          </p:txBody>
        </p:sp>
        <p:sp>
          <p:nvSpPr>
            <p:cNvPr id="111" name="Text Box 66"/>
            <p:cNvSpPr txBox="1">
              <a:spLocks noChangeArrowheads="1"/>
            </p:cNvSpPr>
            <p:nvPr/>
          </p:nvSpPr>
          <p:spPr bwMode="gray">
            <a:xfrm>
              <a:off x="1795058" y="2201382"/>
              <a:ext cx="1564748" cy="369332"/>
            </a:xfrm>
            <a:prstGeom prst="rect">
              <a:avLst/>
            </a:prstGeom>
            <a:noFill/>
            <a:ln w="9525" algn="ctr">
              <a:noFill/>
              <a:miter lim="800000"/>
              <a:headEnd/>
              <a:tailEnd/>
            </a:ln>
            <a:effectLst/>
          </p:spPr>
          <p:txBody>
            <a:bodyPr wrap="square" lIns="45720" rIns="45720" anchor="ctr">
              <a:spAutoFit/>
            </a:bodyPr>
            <a:lstStyle/>
            <a:p>
              <a:pPr>
                <a:spcBef>
                  <a:spcPts val="300"/>
                </a:spcBef>
                <a:spcAft>
                  <a:spcPts val="300"/>
                </a:spcAft>
                <a:buClr>
                  <a:srgbClr val="0098CC">
                    <a:lumMod val="75000"/>
                  </a:srgbClr>
                </a:buClr>
                <a:defRPr/>
              </a:pPr>
              <a:r>
                <a:rPr lang="en-US" sz="900" b="1" i="1" kern="0" dirty="0" smtClean="0">
                  <a:solidFill>
                    <a:prstClr val="black"/>
                  </a:solidFill>
                  <a:cs typeface="Calibri" pitchFamily="34" charset="0"/>
                  <a:sym typeface="Calibri"/>
                </a:rPr>
                <a:t>Executive Sponsor</a:t>
              </a:r>
              <a:br>
                <a:rPr lang="en-US" sz="900" b="1" i="1" kern="0" dirty="0" smtClean="0">
                  <a:solidFill>
                    <a:prstClr val="black"/>
                  </a:solidFill>
                  <a:cs typeface="Calibri" pitchFamily="34" charset="0"/>
                  <a:sym typeface="Calibri"/>
                </a:rPr>
              </a:br>
              <a:r>
                <a:rPr lang="en-US" sz="900" b="1" i="1" kern="0" dirty="0" smtClean="0">
                  <a:solidFill>
                    <a:prstClr val="black"/>
                  </a:solidFill>
                  <a:cs typeface="Calibri" pitchFamily="34" charset="0"/>
                  <a:sym typeface="Calibri"/>
                </a:rPr>
                <a:t>(Relationship Manager)</a:t>
              </a:r>
              <a:endParaRPr lang="en-US" sz="900" b="1" i="1" kern="0" dirty="0">
                <a:solidFill>
                  <a:prstClr val="black"/>
                </a:solidFill>
                <a:cs typeface="Calibri" pitchFamily="34" charset="0"/>
                <a:sym typeface="Calibri"/>
              </a:endParaRPr>
            </a:p>
          </p:txBody>
        </p:sp>
        <p:sp>
          <p:nvSpPr>
            <p:cNvPr id="112" name="Rectangle 41"/>
            <p:cNvSpPr>
              <a:spLocks noChangeArrowheads="1"/>
            </p:cNvSpPr>
            <p:nvPr/>
          </p:nvSpPr>
          <p:spPr bwMode="gray">
            <a:xfrm flipV="1">
              <a:off x="519721" y="2619581"/>
              <a:ext cx="6684788" cy="188265"/>
            </a:xfrm>
            <a:prstGeom prst="roundRect">
              <a:avLst/>
            </a:prstGeom>
            <a:solidFill>
              <a:schemeClr val="bg1">
                <a:lumMod val="65000"/>
              </a:schemeClr>
            </a:solidFill>
            <a:ln w="9525" algn="ctr">
              <a:noFill/>
              <a:miter lim="800000"/>
              <a:headEnd/>
              <a:tailEnd/>
            </a:ln>
            <a:effectLst>
              <a:outerShdw blurRad="50800" dist="38100" dir="5400000" algn="t" rotWithShape="0">
                <a:prstClr val="black">
                  <a:alpha val="40000"/>
                </a:prstClr>
              </a:outerShdw>
            </a:effectLst>
          </p:spPr>
          <p:txBody>
            <a:bodyPr rot="10800000" wrap="none" tIns="0" bIns="0" anchor="ctr"/>
            <a:lstStyle/>
            <a:p>
              <a:pPr algn="ctr">
                <a:defRPr/>
              </a:pPr>
              <a:r>
                <a:rPr lang="en-US" sz="1000" b="1" kern="0" dirty="0">
                  <a:solidFill>
                    <a:prstClr val="white"/>
                  </a:solidFill>
                  <a:cs typeface="Calibri" pitchFamily="34" charset="0"/>
                  <a:sym typeface="Calibri" pitchFamily="34" charset="0"/>
                </a:rPr>
                <a:t>Overall Performance of supplier, Strategic Planning etc</a:t>
              </a:r>
            </a:p>
          </p:txBody>
        </p:sp>
        <p:sp>
          <p:nvSpPr>
            <p:cNvPr id="113" name="Rectangle 39"/>
            <p:cNvSpPr>
              <a:spLocks noChangeArrowheads="1"/>
            </p:cNvSpPr>
            <p:nvPr/>
          </p:nvSpPr>
          <p:spPr bwMode="gray">
            <a:xfrm flipV="1">
              <a:off x="519724" y="4863042"/>
              <a:ext cx="6684788" cy="188265"/>
            </a:xfrm>
            <a:prstGeom prst="roundRect">
              <a:avLst/>
            </a:prstGeom>
            <a:solidFill>
              <a:schemeClr val="bg1">
                <a:lumMod val="65000"/>
              </a:schemeClr>
            </a:solidFill>
            <a:ln w="9525" algn="ctr">
              <a:noFill/>
              <a:miter lim="800000"/>
              <a:headEnd/>
              <a:tailEnd/>
            </a:ln>
            <a:effectLst>
              <a:outerShdw blurRad="50800" dist="38100" dir="5400000" algn="t" rotWithShape="0">
                <a:prstClr val="black">
                  <a:alpha val="40000"/>
                </a:prstClr>
              </a:outerShdw>
            </a:effectLst>
          </p:spPr>
          <p:txBody>
            <a:bodyPr rot="10800000" wrap="none" tIns="0" bIns="0" anchor="ctr"/>
            <a:lstStyle/>
            <a:p>
              <a:pPr algn="ctr">
                <a:defRPr/>
              </a:pPr>
              <a:r>
                <a:rPr lang="en-US" sz="1000" b="1" kern="0" dirty="0">
                  <a:solidFill>
                    <a:prstClr val="white"/>
                  </a:solidFill>
                  <a:cs typeface="Calibri" pitchFamily="34" charset="0"/>
                  <a:sym typeface="Calibri" pitchFamily="34" charset="0"/>
                </a:rPr>
                <a:t>Execution (day to day work), Performance, etc</a:t>
              </a:r>
            </a:p>
          </p:txBody>
        </p:sp>
        <p:sp>
          <p:nvSpPr>
            <p:cNvPr id="114" name="Rectangle 40"/>
            <p:cNvSpPr>
              <a:spLocks noChangeArrowheads="1"/>
            </p:cNvSpPr>
            <p:nvPr/>
          </p:nvSpPr>
          <p:spPr bwMode="gray">
            <a:xfrm flipV="1">
              <a:off x="519721" y="3741313"/>
              <a:ext cx="6684788" cy="188265"/>
            </a:xfrm>
            <a:prstGeom prst="roundRect">
              <a:avLst/>
            </a:prstGeom>
            <a:solidFill>
              <a:schemeClr val="bg1">
                <a:lumMod val="65000"/>
              </a:schemeClr>
            </a:solidFill>
            <a:ln w="9525" algn="ctr">
              <a:noFill/>
              <a:miter lim="800000"/>
              <a:headEnd/>
              <a:tailEnd/>
            </a:ln>
            <a:effectLst>
              <a:outerShdw blurRad="50800" dist="38100" dir="5400000" algn="t" rotWithShape="0">
                <a:prstClr val="black">
                  <a:alpha val="40000"/>
                </a:prstClr>
              </a:outerShdw>
            </a:effectLst>
          </p:spPr>
          <p:txBody>
            <a:bodyPr rot="10800000" wrap="none" tIns="0" bIns="0" anchor="ctr"/>
            <a:lstStyle/>
            <a:p>
              <a:pPr algn="ctr">
                <a:defRPr/>
              </a:pPr>
              <a:r>
                <a:rPr lang="en-US" sz="1000" b="1" kern="0" dirty="0">
                  <a:solidFill>
                    <a:prstClr val="white"/>
                  </a:solidFill>
                  <a:cs typeface="Calibri" pitchFamily="34" charset="0"/>
                  <a:sym typeface="Calibri" pitchFamily="34" charset="0"/>
                </a:rPr>
                <a:t>Performance, Relationship, Contracting, Quarterly Forecast, Resourcing, Escalations etc</a:t>
              </a:r>
            </a:p>
          </p:txBody>
        </p:sp>
        <p:sp>
          <p:nvSpPr>
            <p:cNvPr id="115" name="Text Box 42"/>
            <p:cNvSpPr txBox="1">
              <a:spLocks noChangeArrowheads="1"/>
            </p:cNvSpPr>
            <p:nvPr/>
          </p:nvSpPr>
          <p:spPr bwMode="gray">
            <a:xfrm>
              <a:off x="7260350" y="1659238"/>
              <a:ext cx="1511500" cy="1094474"/>
            </a:xfrm>
            <a:prstGeom prst="rect">
              <a:avLst/>
            </a:prstGeom>
            <a:solidFill>
              <a:schemeClr val="bg1">
                <a:lumMod val="95000"/>
              </a:schemeClr>
            </a:solidFill>
            <a:ln w="9525" algn="ctr">
              <a:solidFill>
                <a:schemeClr val="accent1"/>
              </a:solidFill>
              <a:miter lim="800000"/>
              <a:headEnd/>
              <a:tailEnd/>
            </a:ln>
          </p:spPr>
          <p:txBody>
            <a:bodyPr wrap="square" lIns="54864" tIns="36004" rIns="36004" bIns="36004" anchor="ctr">
              <a:noAutofit/>
            </a:bodyPr>
            <a:lstStyle/>
            <a:p>
              <a:endParaRPr lang="en-US" sz="700" dirty="0" smtClean="0"/>
            </a:p>
            <a:p>
              <a:pPr marL="137160" indent="-137160">
                <a:buClr>
                  <a:srgbClr val="0098CC"/>
                </a:buClr>
                <a:buFont typeface="Wingdings" pitchFamily="2" charset="2"/>
                <a:buChar char="§"/>
                <a:defRPr/>
              </a:pPr>
              <a:r>
                <a:rPr lang="en-US" sz="750" kern="0" dirty="0" smtClean="0">
                  <a:solidFill>
                    <a:srgbClr val="000000"/>
                  </a:solidFill>
                  <a:cs typeface="Calibri" pitchFamily="34" charset="0"/>
                  <a:sym typeface="Calibri" pitchFamily="34" charset="0"/>
                </a:rPr>
                <a:t>Ensure a strong business relationship </a:t>
              </a:r>
            </a:p>
            <a:p>
              <a:pPr marL="137160" indent="-137160">
                <a:buClr>
                  <a:srgbClr val="0098CC"/>
                </a:buClr>
                <a:buFont typeface="Wingdings" pitchFamily="2" charset="2"/>
                <a:buChar char="§"/>
                <a:defRPr/>
              </a:pPr>
              <a:r>
                <a:rPr lang="en-US" sz="750" kern="0" dirty="0" smtClean="0">
                  <a:solidFill>
                    <a:srgbClr val="000000"/>
                  </a:solidFill>
                  <a:cs typeface="Calibri" pitchFamily="34" charset="0"/>
                  <a:sym typeface="Calibri" pitchFamily="34" charset="0"/>
                </a:rPr>
                <a:t>Review strategic opportunities </a:t>
              </a:r>
            </a:p>
            <a:p>
              <a:pPr marL="137160" indent="-137160">
                <a:buClr>
                  <a:srgbClr val="0098CC"/>
                </a:buClr>
                <a:buFont typeface="Wingdings" pitchFamily="2" charset="2"/>
                <a:buChar char="§"/>
                <a:defRPr/>
              </a:pPr>
              <a:r>
                <a:rPr lang="en-US" sz="750" kern="0" dirty="0" smtClean="0">
                  <a:solidFill>
                    <a:srgbClr val="000000"/>
                  </a:solidFill>
                  <a:cs typeface="Calibri" pitchFamily="34" charset="0"/>
                  <a:sym typeface="Calibri" pitchFamily="34" charset="0"/>
                </a:rPr>
                <a:t>Explore transformational opportunities </a:t>
              </a:r>
            </a:p>
            <a:p>
              <a:pPr marL="137160" indent="-137160">
                <a:buClr>
                  <a:srgbClr val="0098CC"/>
                </a:buClr>
                <a:buFont typeface="Wingdings" pitchFamily="2" charset="2"/>
                <a:buChar char="§"/>
                <a:defRPr/>
              </a:pPr>
              <a:r>
                <a:rPr lang="en-US" sz="750" kern="0" dirty="0" smtClean="0">
                  <a:solidFill>
                    <a:srgbClr val="000000"/>
                  </a:solidFill>
                  <a:cs typeface="Calibri" pitchFamily="34" charset="0"/>
                  <a:sym typeface="Calibri" pitchFamily="34" charset="0"/>
                </a:rPr>
                <a:t>Oversee performance and results </a:t>
              </a:r>
              <a:endParaRPr lang="en-US" sz="750" dirty="0" smtClean="0"/>
            </a:p>
            <a:p>
              <a:pPr marL="137160" indent="-137160">
                <a:buClr>
                  <a:srgbClr val="0098CC"/>
                </a:buClr>
                <a:buFont typeface="Wingdings" pitchFamily="2" charset="2"/>
                <a:buChar char="§"/>
                <a:defRPr/>
              </a:pPr>
              <a:r>
                <a:rPr lang="en-US" sz="750" kern="0" dirty="0" smtClean="0">
                  <a:solidFill>
                    <a:srgbClr val="000000"/>
                  </a:solidFill>
                  <a:cs typeface="Calibri" pitchFamily="34" charset="0"/>
                  <a:sym typeface="Calibri" pitchFamily="34" charset="0"/>
                </a:rPr>
                <a:t>Final point of problem escalation </a:t>
              </a:r>
            </a:p>
            <a:p>
              <a:pPr marL="137160" indent="-137160">
                <a:buClr>
                  <a:srgbClr val="0098CC"/>
                </a:buClr>
                <a:buFont typeface="Wingdings" pitchFamily="2" charset="2"/>
                <a:buChar char="§"/>
                <a:defRPr/>
              </a:pPr>
              <a:endParaRPr lang="en-US" sz="700" kern="0" dirty="0" smtClean="0">
                <a:solidFill>
                  <a:srgbClr val="000000"/>
                </a:solidFill>
                <a:cs typeface="Calibri" pitchFamily="34" charset="0"/>
                <a:sym typeface="Calibri" pitchFamily="34" charset="0"/>
              </a:endParaRPr>
            </a:p>
          </p:txBody>
        </p:sp>
        <p:sp>
          <p:nvSpPr>
            <p:cNvPr id="116" name="Text Box 43"/>
            <p:cNvSpPr txBox="1">
              <a:spLocks noChangeArrowheads="1"/>
            </p:cNvSpPr>
            <p:nvPr/>
          </p:nvSpPr>
          <p:spPr bwMode="gray">
            <a:xfrm>
              <a:off x="7255753" y="2753713"/>
              <a:ext cx="1504222" cy="1161813"/>
            </a:xfrm>
            <a:prstGeom prst="rect">
              <a:avLst/>
            </a:prstGeom>
            <a:solidFill>
              <a:schemeClr val="bg1">
                <a:lumMod val="95000"/>
              </a:schemeClr>
            </a:solidFill>
            <a:ln w="9525" algn="ctr">
              <a:solidFill>
                <a:schemeClr val="accent2"/>
              </a:solidFill>
              <a:miter lim="800000"/>
              <a:headEnd/>
              <a:tailEnd/>
            </a:ln>
          </p:spPr>
          <p:txBody>
            <a:bodyPr wrap="square" lIns="54864" tIns="36004" rIns="36004" bIns="36004" anchor="ctr">
              <a:noAutofit/>
            </a:bodyPr>
            <a:lstStyle/>
            <a:p>
              <a:endParaRPr lang="en-US" sz="750" dirty="0" smtClean="0"/>
            </a:p>
            <a:p>
              <a:pPr marL="137160" indent="-137160">
                <a:buClr>
                  <a:srgbClr val="0098CC"/>
                </a:buClr>
                <a:buFont typeface="Wingdings" pitchFamily="2" charset="2"/>
                <a:buChar char="§"/>
                <a:defRPr/>
              </a:pPr>
              <a:r>
                <a:rPr lang="en-US" sz="750" dirty="0" smtClean="0"/>
                <a:t>Alignment of functional </a:t>
              </a:r>
              <a:r>
                <a:rPr lang="en-US" sz="750" kern="0" dirty="0" smtClean="0">
                  <a:solidFill>
                    <a:srgbClr val="000000"/>
                  </a:solidFill>
                  <a:cs typeface="Calibri" pitchFamily="34" charset="0"/>
                  <a:sym typeface="Calibri" pitchFamily="34" charset="0"/>
                </a:rPr>
                <a:t>strategies </a:t>
              </a:r>
            </a:p>
            <a:p>
              <a:pPr marL="137160" indent="-137160">
                <a:buClr>
                  <a:srgbClr val="0098CC"/>
                </a:buClr>
                <a:buFont typeface="Wingdings" pitchFamily="2" charset="2"/>
                <a:buChar char="§"/>
                <a:defRPr/>
              </a:pPr>
              <a:r>
                <a:rPr lang="en-US" sz="750" kern="0" dirty="0" smtClean="0">
                  <a:solidFill>
                    <a:srgbClr val="000000"/>
                  </a:solidFill>
                  <a:cs typeface="Calibri" pitchFamily="34" charset="0"/>
                  <a:sym typeface="Calibri" pitchFamily="34" charset="0"/>
                </a:rPr>
                <a:t>Monitor return on investment across SOWs </a:t>
              </a:r>
              <a:endParaRPr lang="en-US" sz="750" dirty="0" smtClean="0"/>
            </a:p>
            <a:p>
              <a:pPr marL="137160" indent="-137160">
                <a:buClr>
                  <a:srgbClr val="0098CC"/>
                </a:buClr>
                <a:buFont typeface="Wingdings" pitchFamily="2" charset="2"/>
                <a:buChar char="§"/>
                <a:defRPr/>
              </a:pPr>
              <a:r>
                <a:rPr lang="en-US" sz="750" dirty="0" smtClean="0"/>
                <a:t>Investigate new capabilities </a:t>
              </a:r>
            </a:p>
            <a:p>
              <a:pPr marL="137160" indent="-137160">
                <a:buClr>
                  <a:srgbClr val="0098CC"/>
                </a:buClr>
                <a:buFont typeface="Wingdings" pitchFamily="2" charset="2"/>
                <a:buChar char="§"/>
                <a:defRPr/>
              </a:pPr>
              <a:r>
                <a:rPr lang="en-US" sz="750" dirty="0" smtClean="0"/>
                <a:t>Mitigate business risk </a:t>
              </a:r>
            </a:p>
            <a:p>
              <a:pPr marL="137160" indent="-137160">
                <a:buClr>
                  <a:srgbClr val="0098CC"/>
                </a:buClr>
                <a:buFont typeface="Wingdings" pitchFamily="2" charset="2"/>
                <a:buChar char="§"/>
                <a:defRPr/>
              </a:pPr>
              <a:r>
                <a:rPr lang="en-US" sz="750" dirty="0" smtClean="0"/>
                <a:t>Oversee performance and results </a:t>
              </a:r>
            </a:p>
            <a:p>
              <a:pPr marL="137160" indent="-137160">
                <a:buClr>
                  <a:srgbClr val="0098CC"/>
                </a:buClr>
                <a:buFont typeface="Wingdings" pitchFamily="2" charset="2"/>
                <a:buChar char="§"/>
                <a:defRPr/>
              </a:pPr>
              <a:r>
                <a:rPr lang="en-US" sz="750" dirty="0" smtClean="0"/>
                <a:t>Second point of problem escalation </a:t>
              </a:r>
            </a:p>
            <a:p>
              <a:pPr marL="137160" indent="-137160">
                <a:buClr>
                  <a:srgbClr val="0098CC"/>
                </a:buClr>
                <a:buFont typeface="Wingdings" pitchFamily="2" charset="2"/>
                <a:buChar char="§"/>
                <a:defRPr/>
              </a:pPr>
              <a:endParaRPr lang="en-US" sz="750" kern="0" dirty="0" smtClean="0">
                <a:solidFill>
                  <a:srgbClr val="000000"/>
                </a:solidFill>
                <a:cs typeface="Calibri" pitchFamily="34" charset="0"/>
                <a:sym typeface="Calibri" pitchFamily="34" charset="0"/>
              </a:endParaRPr>
            </a:p>
          </p:txBody>
        </p:sp>
        <p:sp>
          <p:nvSpPr>
            <p:cNvPr id="117" name="Text Box 44"/>
            <p:cNvSpPr txBox="1">
              <a:spLocks noChangeArrowheads="1"/>
            </p:cNvSpPr>
            <p:nvPr/>
          </p:nvSpPr>
          <p:spPr bwMode="gray">
            <a:xfrm>
              <a:off x="7255504" y="3917220"/>
              <a:ext cx="1497483" cy="1055298"/>
            </a:xfrm>
            <a:prstGeom prst="rect">
              <a:avLst/>
            </a:prstGeom>
            <a:solidFill>
              <a:schemeClr val="bg1">
                <a:lumMod val="95000"/>
              </a:schemeClr>
            </a:solidFill>
            <a:ln w="9525" algn="ctr">
              <a:solidFill>
                <a:schemeClr val="accent5"/>
              </a:solidFill>
              <a:miter lim="800000"/>
              <a:headEnd/>
              <a:tailEnd/>
            </a:ln>
          </p:spPr>
          <p:txBody>
            <a:bodyPr wrap="square" lIns="54864" tIns="36004" rIns="36004" bIns="36004" anchor="ctr">
              <a:noAutofit/>
            </a:bodyPr>
            <a:lstStyle/>
            <a:p>
              <a:pPr marL="137160" indent="-137160">
                <a:buClr>
                  <a:srgbClr val="0098CC"/>
                </a:buClr>
                <a:buFont typeface="Wingdings" pitchFamily="2" charset="2"/>
                <a:buChar char="§"/>
                <a:defRPr/>
              </a:pPr>
              <a:endParaRPr lang="en-US" sz="750" kern="0" dirty="0">
                <a:solidFill>
                  <a:srgbClr val="000000"/>
                </a:solidFill>
                <a:cs typeface="Calibri" pitchFamily="34" charset="0"/>
                <a:sym typeface="Calibri" pitchFamily="34" charset="0"/>
              </a:endParaRPr>
            </a:p>
            <a:p>
              <a:pPr marL="137160" indent="-137160">
                <a:buClr>
                  <a:srgbClr val="0098CC"/>
                </a:buClr>
                <a:buFont typeface="Wingdings" pitchFamily="2" charset="2"/>
                <a:buChar char="§"/>
                <a:defRPr/>
              </a:pPr>
              <a:r>
                <a:rPr lang="en-US" sz="750" kern="0" dirty="0" smtClean="0">
                  <a:solidFill>
                    <a:srgbClr val="000000"/>
                  </a:solidFill>
                  <a:cs typeface="Calibri" pitchFamily="34" charset="0"/>
                  <a:sym typeface="Calibri" pitchFamily="34" charset="0"/>
                </a:rPr>
                <a:t>Track KPI/SLA performance</a:t>
              </a:r>
            </a:p>
            <a:p>
              <a:pPr marL="137160" indent="-137160">
                <a:buClr>
                  <a:srgbClr val="0098CC"/>
                </a:buClr>
                <a:buFont typeface="Wingdings" pitchFamily="2" charset="2"/>
                <a:buChar char="§"/>
                <a:defRPr/>
              </a:pPr>
              <a:r>
                <a:rPr lang="en-US" sz="750" kern="0" dirty="0" smtClean="0">
                  <a:solidFill>
                    <a:srgbClr val="000000"/>
                  </a:solidFill>
                  <a:cs typeface="Calibri" pitchFamily="34" charset="0"/>
                  <a:sym typeface="Calibri" pitchFamily="34" charset="0"/>
                </a:rPr>
                <a:t>Track ROI</a:t>
              </a:r>
            </a:p>
            <a:p>
              <a:pPr marL="137160" indent="-137160">
                <a:buClr>
                  <a:srgbClr val="0098CC"/>
                </a:buClr>
                <a:buFont typeface="Wingdings" pitchFamily="2" charset="2"/>
                <a:buChar char="§"/>
                <a:defRPr/>
              </a:pPr>
              <a:r>
                <a:rPr lang="en-US" sz="750" kern="0" dirty="0" smtClean="0">
                  <a:solidFill>
                    <a:srgbClr val="000000"/>
                  </a:solidFill>
                  <a:cs typeface="Calibri" pitchFamily="34" charset="0"/>
                  <a:sym typeface="Calibri" pitchFamily="34" charset="0"/>
                </a:rPr>
                <a:t>Drive Continuous Improvement</a:t>
              </a:r>
            </a:p>
            <a:p>
              <a:pPr marL="137160" indent="-137160">
                <a:buClr>
                  <a:srgbClr val="0098CC"/>
                </a:buClr>
                <a:buFont typeface="Wingdings" pitchFamily="2" charset="2"/>
                <a:buChar char="§"/>
                <a:defRPr/>
              </a:pPr>
              <a:r>
                <a:rPr lang="en-US" sz="750" kern="0" dirty="0" smtClean="0">
                  <a:solidFill>
                    <a:srgbClr val="000000"/>
                  </a:solidFill>
                  <a:cs typeface="Calibri" pitchFamily="34" charset="0"/>
                  <a:sym typeface="Calibri" pitchFamily="34" charset="0"/>
                </a:rPr>
                <a:t>Compliance to SOWs</a:t>
              </a:r>
            </a:p>
            <a:p>
              <a:pPr marL="137160" indent="-137160">
                <a:buClr>
                  <a:srgbClr val="0098CC"/>
                </a:buClr>
                <a:buFont typeface="Wingdings" pitchFamily="2" charset="2"/>
                <a:buChar char="§"/>
                <a:defRPr/>
              </a:pPr>
              <a:r>
                <a:rPr lang="en-US" sz="750" kern="0" dirty="0" smtClean="0">
                  <a:solidFill>
                    <a:srgbClr val="000000"/>
                  </a:solidFill>
                  <a:cs typeface="Calibri" pitchFamily="34" charset="0"/>
                  <a:sym typeface="Calibri" pitchFamily="34" charset="0"/>
                </a:rPr>
                <a:t>First Point of Problem Escalation</a:t>
              </a:r>
            </a:p>
            <a:p>
              <a:pPr marL="137160" indent="-137160">
                <a:buClr>
                  <a:srgbClr val="0098CC"/>
                </a:buClr>
                <a:buFont typeface="Wingdings" pitchFamily="2" charset="2"/>
                <a:buChar char="§"/>
                <a:defRPr/>
              </a:pPr>
              <a:r>
                <a:rPr lang="en-US" sz="750" kern="0" dirty="0" smtClean="0">
                  <a:solidFill>
                    <a:srgbClr val="000000"/>
                  </a:solidFill>
                  <a:cs typeface="Calibri" pitchFamily="34" charset="0"/>
                  <a:sym typeface="Calibri" pitchFamily="34" charset="0"/>
                </a:rPr>
                <a:t>Change Control</a:t>
              </a:r>
              <a:endParaRPr lang="en-US" sz="750" kern="0" dirty="0">
                <a:solidFill>
                  <a:srgbClr val="000000"/>
                </a:solidFill>
                <a:cs typeface="Calibri" pitchFamily="34" charset="0"/>
                <a:sym typeface="Calibri" pitchFamily="34" charset="0"/>
              </a:endParaRPr>
            </a:p>
            <a:p>
              <a:pPr marL="137160" indent="-137160">
                <a:spcBef>
                  <a:spcPts val="200"/>
                </a:spcBef>
                <a:spcAft>
                  <a:spcPts val="200"/>
                </a:spcAft>
                <a:buClr>
                  <a:srgbClr val="0098CC"/>
                </a:buClr>
                <a:buFont typeface="Wingdings" pitchFamily="2" charset="2"/>
                <a:buChar char="§"/>
                <a:defRPr/>
              </a:pPr>
              <a:endParaRPr lang="en-US" sz="900" kern="0" dirty="0">
                <a:solidFill>
                  <a:srgbClr val="000000"/>
                </a:solidFill>
                <a:cs typeface="Calibri" pitchFamily="34" charset="0"/>
                <a:sym typeface="Calibri" pitchFamily="34" charset="0"/>
              </a:endParaRPr>
            </a:p>
          </p:txBody>
        </p:sp>
        <p:sp>
          <p:nvSpPr>
            <p:cNvPr id="118" name="Text Box 42"/>
            <p:cNvSpPr txBox="1">
              <a:spLocks noChangeArrowheads="1"/>
            </p:cNvSpPr>
            <p:nvPr/>
          </p:nvSpPr>
          <p:spPr bwMode="gray">
            <a:xfrm>
              <a:off x="8765913" y="1659238"/>
              <a:ext cx="202385" cy="1094474"/>
            </a:xfrm>
            <a:prstGeom prst="rect">
              <a:avLst/>
            </a:prstGeom>
            <a:gradFill flip="none" rotWithShape="1">
              <a:gsLst>
                <a:gs pos="75000">
                  <a:schemeClr val="accent1"/>
                </a:gs>
                <a:gs pos="100000">
                  <a:schemeClr val="accent1">
                    <a:lumMod val="60000"/>
                    <a:lumOff val="40000"/>
                  </a:schemeClr>
                </a:gs>
              </a:gsLst>
              <a:lin ang="10800000" scaled="1"/>
              <a:tileRect/>
            </a:gradFill>
            <a:ln w="9525">
              <a:solidFill>
                <a:sysClr val="window" lastClr="FFFFFF"/>
              </a:solidFill>
              <a:miter lim="800000"/>
              <a:headEnd/>
              <a:tailEnd/>
            </a:ln>
            <a:effectLst>
              <a:outerShdw blurRad="50800" dist="38100" dir="10800000" algn="r" rotWithShape="0">
                <a:prstClr val="black">
                  <a:alpha val="40000"/>
                </a:prstClr>
              </a:outerShdw>
            </a:effectLst>
          </p:spPr>
          <p:txBody>
            <a:bodyPr vert="vert270" wrap="none" anchor="ctr"/>
            <a:lstStyle/>
            <a:p>
              <a:pPr algn="ctr">
                <a:defRPr/>
              </a:pPr>
              <a:r>
                <a:rPr lang="en-US" sz="800" b="1" kern="0" dirty="0" smtClean="0">
                  <a:solidFill>
                    <a:prstClr val="white"/>
                  </a:solidFill>
                  <a:cs typeface="Calibri" pitchFamily="34" charset="0"/>
                  <a:sym typeface="Calibri"/>
                </a:rPr>
                <a:t>STRATEGIC</a:t>
              </a:r>
              <a:endParaRPr lang="en-US" sz="800" b="1" kern="0" dirty="0">
                <a:solidFill>
                  <a:prstClr val="white"/>
                </a:solidFill>
                <a:cs typeface="Calibri" pitchFamily="34" charset="0"/>
                <a:sym typeface="Calibri"/>
              </a:endParaRPr>
            </a:p>
          </p:txBody>
        </p:sp>
        <p:sp>
          <p:nvSpPr>
            <p:cNvPr id="119" name="Text Box 43"/>
            <p:cNvSpPr txBox="1">
              <a:spLocks noChangeArrowheads="1"/>
            </p:cNvSpPr>
            <p:nvPr/>
          </p:nvSpPr>
          <p:spPr bwMode="gray">
            <a:xfrm>
              <a:off x="8765913" y="2753712"/>
              <a:ext cx="202385" cy="1163507"/>
            </a:xfrm>
            <a:prstGeom prst="rect">
              <a:avLst/>
            </a:prstGeom>
            <a:gradFill>
              <a:gsLst>
                <a:gs pos="75000">
                  <a:schemeClr val="accent2"/>
                </a:gs>
                <a:gs pos="100000">
                  <a:schemeClr val="accent4"/>
                </a:gs>
              </a:gsLst>
              <a:lin ang="10800000" scaled="1"/>
            </a:gradFill>
            <a:ln w="9525">
              <a:solidFill>
                <a:sysClr val="window" lastClr="FFFFFF"/>
              </a:solidFill>
              <a:miter lim="800000"/>
              <a:headEnd/>
              <a:tailEnd/>
            </a:ln>
            <a:effectLst>
              <a:outerShdw blurRad="50800" dist="38100" dir="10800000" algn="r" rotWithShape="0">
                <a:prstClr val="black">
                  <a:alpha val="40000"/>
                </a:prstClr>
              </a:outerShdw>
            </a:effectLst>
          </p:spPr>
          <p:txBody>
            <a:bodyPr vert="vert270" wrap="none" anchor="ctr"/>
            <a:lstStyle/>
            <a:p>
              <a:pPr algn="ctr">
                <a:defRPr/>
              </a:pPr>
              <a:r>
                <a:rPr lang="en-US" sz="800" b="1" kern="0" dirty="0" smtClean="0">
                  <a:solidFill>
                    <a:prstClr val="white"/>
                  </a:solidFill>
                  <a:cs typeface="Calibri" pitchFamily="34" charset="0"/>
                  <a:sym typeface="Calibri"/>
                </a:rPr>
                <a:t>TACTICAL</a:t>
              </a:r>
              <a:endParaRPr lang="en-US" sz="800" b="1" kern="0" dirty="0">
                <a:solidFill>
                  <a:prstClr val="white"/>
                </a:solidFill>
                <a:cs typeface="Calibri" pitchFamily="34" charset="0"/>
                <a:sym typeface="Calibri"/>
              </a:endParaRPr>
            </a:p>
          </p:txBody>
        </p:sp>
        <p:sp>
          <p:nvSpPr>
            <p:cNvPr id="120" name="Text Box 44"/>
            <p:cNvSpPr txBox="1">
              <a:spLocks noChangeArrowheads="1"/>
            </p:cNvSpPr>
            <p:nvPr/>
          </p:nvSpPr>
          <p:spPr bwMode="gray">
            <a:xfrm>
              <a:off x="8765913" y="3917220"/>
              <a:ext cx="202385" cy="1055298"/>
            </a:xfrm>
            <a:prstGeom prst="rect">
              <a:avLst/>
            </a:prstGeom>
            <a:gradFill>
              <a:gsLst>
                <a:gs pos="75000">
                  <a:schemeClr val="accent5"/>
                </a:gs>
                <a:gs pos="100000">
                  <a:schemeClr val="accent5">
                    <a:lumMod val="60000"/>
                    <a:lumOff val="40000"/>
                  </a:schemeClr>
                </a:gs>
              </a:gsLst>
              <a:lin ang="10800000" scaled="1"/>
            </a:gradFill>
            <a:ln w="9525">
              <a:solidFill>
                <a:sysClr val="window" lastClr="FFFFFF"/>
              </a:solidFill>
              <a:miter lim="800000"/>
              <a:headEnd/>
              <a:tailEnd/>
            </a:ln>
            <a:effectLst>
              <a:outerShdw blurRad="50800" dist="38100" dir="10800000" algn="r" rotWithShape="0">
                <a:prstClr val="black">
                  <a:alpha val="40000"/>
                </a:prstClr>
              </a:outerShdw>
            </a:effectLst>
          </p:spPr>
          <p:txBody>
            <a:bodyPr vert="vert270" wrap="none" anchor="ctr"/>
            <a:lstStyle/>
            <a:p>
              <a:pPr algn="ctr">
                <a:defRPr/>
              </a:pPr>
              <a:r>
                <a:rPr lang="en-US" sz="800" b="1" kern="0" dirty="0" smtClean="0">
                  <a:solidFill>
                    <a:prstClr val="white"/>
                  </a:solidFill>
                  <a:cs typeface="Calibri" pitchFamily="34" charset="0"/>
                  <a:sym typeface="Calibri"/>
                </a:rPr>
                <a:t>OPERATIONAL</a:t>
              </a:r>
              <a:endParaRPr lang="en-US" sz="800" b="1" kern="0" dirty="0">
                <a:solidFill>
                  <a:prstClr val="white"/>
                </a:solidFill>
                <a:cs typeface="Calibri" pitchFamily="34" charset="0"/>
                <a:sym typeface="Calibri"/>
              </a:endParaRPr>
            </a:p>
          </p:txBody>
        </p:sp>
        <p:pic>
          <p:nvPicPr>
            <p:cNvPr id="121" name="Picture 12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166366" y="2094736"/>
              <a:ext cx="364538" cy="124274"/>
            </a:xfrm>
            <a:prstGeom prst="rect">
              <a:avLst/>
            </a:prstGeom>
            <a:noFill/>
            <a:ln>
              <a:noFill/>
            </a:ln>
          </p:spPr>
        </p:pic>
        <p:pic>
          <p:nvPicPr>
            <p:cNvPr id="122" name="Picture 12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430519" y="2976965"/>
              <a:ext cx="364538" cy="124274"/>
            </a:xfrm>
            <a:prstGeom prst="rect">
              <a:avLst/>
            </a:prstGeom>
            <a:noFill/>
            <a:ln>
              <a:noFill/>
            </a:ln>
          </p:spPr>
        </p:pic>
        <p:pic>
          <p:nvPicPr>
            <p:cNvPr id="123" name="Picture 12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86481" y="4043379"/>
              <a:ext cx="364538" cy="124274"/>
            </a:xfrm>
            <a:prstGeom prst="rect">
              <a:avLst/>
            </a:prstGeom>
            <a:noFill/>
            <a:ln>
              <a:noFill/>
            </a:ln>
          </p:spPr>
        </p:pic>
        <p:grpSp>
          <p:nvGrpSpPr>
            <p:cNvPr id="3" name="Group 123"/>
            <p:cNvGrpSpPr/>
            <p:nvPr/>
          </p:nvGrpSpPr>
          <p:grpSpPr>
            <a:xfrm>
              <a:off x="5404837" y="2996466"/>
              <a:ext cx="700685" cy="132253"/>
              <a:chOff x="5735471" y="3040166"/>
              <a:chExt cx="700685" cy="132253"/>
            </a:xfrm>
          </p:grpSpPr>
          <p:pic>
            <p:nvPicPr>
              <p:cNvPr id="125" name="Picture 2" descr="http://upload.wikimedia.org/wikipedia/en/thumb/4/41/Flag_of_India.svg/225px-Flag_of_India.svg.png"/>
              <p:cNvPicPr>
                <a:picLocks noChangeArrowheads="1"/>
              </p:cNvPicPr>
              <p:nvPr/>
            </p:nvPicPr>
            <p:blipFill>
              <a:blip r:embed="rId10" cstate="print"/>
              <a:stretch>
                <a:fillRect/>
              </a:stretch>
            </p:blipFill>
            <p:spPr bwMode="gray">
              <a:xfrm>
                <a:off x="6152747" y="3048353"/>
                <a:ext cx="283409" cy="124066"/>
              </a:xfrm>
              <a:prstGeom prst="rect">
                <a:avLst/>
              </a:prstGeom>
              <a:noFill/>
              <a:ln>
                <a:noFill/>
              </a:ln>
            </p:spPr>
          </p:pic>
          <p:pic>
            <p:nvPicPr>
              <p:cNvPr id="126" name="Picture 12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35471" y="3040166"/>
                <a:ext cx="364538" cy="124274"/>
              </a:xfrm>
              <a:prstGeom prst="rect">
                <a:avLst/>
              </a:prstGeom>
              <a:noFill/>
              <a:ln>
                <a:noFill/>
              </a:ln>
            </p:spPr>
          </p:pic>
        </p:grpSp>
        <p:grpSp>
          <p:nvGrpSpPr>
            <p:cNvPr id="4" name="Group 126"/>
            <p:cNvGrpSpPr/>
            <p:nvPr/>
          </p:nvGrpSpPr>
          <p:grpSpPr>
            <a:xfrm>
              <a:off x="5991921" y="4035400"/>
              <a:ext cx="700685" cy="132253"/>
              <a:chOff x="5735471" y="3040166"/>
              <a:chExt cx="700685" cy="132253"/>
            </a:xfrm>
          </p:grpSpPr>
          <p:pic>
            <p:nvPicPr>
              <p:cNvPr id="128" name="Picture 2" descr="http://upload.wikimedia.org/wikipedia/en/thumb/4/41/Flag_of_India.svg/225px-Flag_of_India.svg.png"/>
              <p:cNvPicPr>
                <a:picLocks noChangeArrowheads="1"/>
              </p:cNvPicPr>
              <p:nvPr/>
            </p:nvPicPr>
            <p:blipFill>
              <a:blip r:embed="rId10" cstate="print"/>
              <a:stretch>
                <a:fillRect/>
              </a:stretch>
            </p:blipFill>
            <p:spPr bwMode="gray">
              <a:xfrm>
                <a:off x="6152747" y="3048353"/>
                <a:ext cx="283409" cy="124066"/>
              </a:xfrm>
              <a:prstGeom prst="rect">
                <a:avLst/>
              </a:prstGeom>
              <a:noFill/>
              <a:ln>
                <a:noFill/>
              </a:ln>
            </p:spPr>
          </p:pic>
          <p:pic>
            <p:nvPicPr>
              <p:cNvPr id="129" name="Picture 12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35471" y="3040166"/>
                <a:ext cx="364538" cy="124274"/>
              </a:xfrm>
              <a:prstGeom prst="rect">
                <a:avLst/>
              </a:prstGeom>
              <a:noFill/>
              <a:ln>
                <a:noFill/>
              </a:ln>
            </p:spPr>
          </p:pic>
        </p:grpSp>
        <p:pic>
          <p:nvPicPr>
            <p:cNvPr id="130" name="Picture 12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600346" y="2094736"/>
              <a:ext cx="364538" cy="124274"/>
            </a:xfrm>
            <a:prstGeom prst="rect">
              <a:avLst/>
            </a:prstGeom>
            <a:noFill/>
            <a:ln>
              <a:noFill/>
            </a:ln>
          </p:spPr>
        </p:pic>
        <p:pic>
          <p:nvPicPr>
            <p:cNvPr id="133" name="Picture 2" descr="http://upload.wikimedia.org/wikipedia/en/thumb/4/41/Flag_of_India.svg/225px-Flag_of_India.svg.png"/>
            <p:cNvPicPr>
              <a:picLocks noChangeArrowheads="1"/>
            </p:cNvPicPr>
            <p:nvPr/>
          </p:nvPicPr>
          <p:blipFill>
            <a:blip r:embed="rId10" cstate="print"/>
            <a:stretch>
              <a:fillRect/>
            </a:stretch>
          </p:blipFill>
          <p:spPr bwMode="gray">
            <a:xfrm>
              <a:off x="1882957" y="2977173"/>
              <a:ext cx="283409" cy="124066"/>
            </a:xfrm>
            <a:prstGeom prst="rect">
              <a:avLst/>
            </a:prstGeom>
            <a:noFill/>
            <a:ln>
              <a:noFill/>
            </a:ln>
          </p:spPr>
        </p:pic>
      </p:grpSp>
      <p:sp>
        <p:nvSpPr>
          <p:cNvPr id="59" name="TextBox 58"/>
          <p:cNvSpPr txBox="1"/>
          <p:nvPr/>
        </p:nvSpPr>
        <p:spPr>
          <a:xfrm>
            <a:off x="1351019" y="1754871"/>
            <a:ext cx="745703" cy="276999"/>
          </a:xfrm>
          <a:prstGeom prst="rect">
            <a:avLst/>
          </a:prstGeom>
          <a:noFill/>
        </p:spPr>
        <p:txBody>
          <a:bodyPr wrap="square" rtlCol="0">
            <a:spAutoFit/>
          </a:bodyPr>
          <a:lstStyle/>
          <a:p>
            <a:pPr>
              <a:spcAft>
                <a:spcPts val="600"/>
              </a:spcAft>
            </a:pPr>
            <a:r>
              <a:rPr lang="en-US" sz="1200" b="1" dirty="0" smtClean="0">
                <a:latin typeface="Arial" pitchFamily="34" charset="0"/>
                <a:cs typeface="Arial" pitchFamily="34" charset="0"/>
              </a:rPr>
              <a:t>Lattice</a:t>
            </a:r>
            <a:endParaRPr lang="en-US" sz="1200" dirty="0" smtClean="0">
              <a:latin typeface="Arial" pitchFamily="34" charset="0"/>
              <a:cs typeface="Arial" pitchFamily="34" charset="0"/>
            </a:endParaRPr>
          </a:p>
        </p:txBody>
      </p:sp>
    </p:spTree>
    <p:extLst>
      <p:ext uri="{BB962C8B-B14F-4D97-AF65-F5344CB8AC3E}">
        <p14:creationId xmlns:p14="http://schemas.microsoft.com/office/powerpoint/2010/main" val="347480630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action </a:t>
            </a:r>
            <a:r>
              <a:rPr lang="en-US" dirty="0" smtClean="0"/>
              <a:t>Model</a:t>
            </a:r>
            <a:endParaRPr lang="en-US" dirty="0"/>
          </a:p>
        </p:txBody>
      </p:sp>
      <p:grpSp>
        <p:nvGrpSpPr>
          <p:cNvPr id="3" name="Group 49"/>
          <p:cNvGrpSpPr/>
          <p:nvPr/>
        </p:nvGrpSpPr>
        <p:grpSpPr>
          <a:xfrm>
            <a:off x="277585" y="965200"/>
            <a:ext cx="8383816" cy="5130800"/>
            <a:chOff x="277584" y="965200"/>
            <a:chExt cx="8749453" cy="4563909"/>
          </a:xfrm>
        </p:grpSpPr>
        <p:sp>
          <p:nvSpPr>
            <p:cNvPr id="57" name="Rounded Rectangle 56"/>
            <p:cNvSpPr/>
            <p:nvPr/>
          </p:nvSpPr>
          <p:spPr>
            <a:xfrm>
              <a:off x="7015357" y="1952253"/>
              <a:ext cx="2011680" cy="731520"/>
            </a:xfrm>
            <a:prstGeom prst="roundRect">
              <a:avLst>
                <a:gd name="adj" fmla="val 6560"/>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000" b="1" dirty="0" smtClean="0">
                  <a:solidFill>
                    <a:schemeClr val="bg1"/>
                  </a:solidFill>
                  <a:latin typeface="Arial" pitchFamily="34" charset="0"/>
                  <a:cs typeface="Arial" pitchFamily="34" charset="0"/>
                </a:rPr>
                <a:t>SDMs of Infra, AM &amp; ERP streams</a:t>
              </a:r>
            </a:p>
          </p:txBody>
        </p:sp>
        <p:sp>
          <p:nvSpPr>
            <p:cNvPr id="28" name="Round Same Side Corner Rectangle 27"/>
            <p:cNvSpPr/>
            <p:nvPr/>
          </p:nvSpPr>
          <p:spPr>
            <a:xfrm rot="16200000">
              <a:off x="-219468" y="1754645"/>
              <a:ext cx="1382184" cy="388079"/>
            </a:xfrm>
            <a:prstGeom prst="round2SameRect">
              <a:avLst/>
            </a:prstGeom>
            <a:gradFill>
              <a:gsLst>
                <a:gs pos="75000">
                  <a:schemeClr val="accent1"/>
                </a:gs>
                <a:gs pos="100000">
                  <a:schemeClr val="accent1">
                    <a:lumMod val="60000"/>
                    <a:lumOff val="40000"/>
                  </a:schemeClr>
                </a:gs>
              </a:gsLst>
              <a:lin ang="16200000" scaled="1"/>
            </a:gra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Arial" pitchFamily="34" charset="0"/>
                  <a:cs typeface="Arial" pitchFamily="34" charset="0"/>
                </a:rPr>
                <a:t>Reporting</a:t>
              </a:r>
            </a:p>
          </p:txBody>
        </p:sp>
        <p:sp>
          <p:nvSpPr>
            <p:cNvPr id="64" name="Round Same Side Corner Rectangle 63"/>
            <p:cNvSpPr/>
            <p:nvPr/>
          </p:nvSpPr>
          <p:spPr>
            <a:xfrm rot="16200000">
              <a:off x="-219468" y="3213028"/>
              <a:ext cx="1382184" cy="388079"/>
            </a:xfrm>
            <a:prstGeom prst="round2SameRect">
              <a:avLst/>
            </a:prstGeom>
            <a:gradFill>
              <a:gsLst>
                <a:gs pos="75000">
                  <a:schemeClr val="accent1"/>
                </a:gs>
                <a:gs pos="100000">
                  <a:schemeClr val="accent1">
                    <a:lumMod val="60000"/>
                    <a:lumOff val="40000"/>
                  </a:schemeClr>
                </a:gs>
              </a:gsLst>
              <a:lin ang="16200000" scaled="1"/>
            </a:gra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Arial" pitchFamily="34" charset="0"/>
                  <a:cs typeface="Arial" pitchFamily="34" charset="0"/>
                </a:rPr>
                <a:t>Incidents &amp; Service Requests</a:t>
              </a:r>
            </a:p>
          </p:txBody>
        </p:sp>
        <p:sp>
          <p:nvSpPr>
            <p:cNvPr id="34" name="Rounded Rectangle 33"/>
            <p:cNvSpPr/>
            <p:nvPr/>
          </p:nvSpPr>
          <p:spPr>
            <a:xfrm>
              <a:off x="756002" y="1257592"/>
              <a:ext cx="1984927" cy="457200"/>
            </a:xfrm>
            <a:prstGeom prst="roundRect">
              <a:avLst>
                <a:gd name="adj" fmla="val 6560"/>
              </a:avLst>
            </a:prstGeom>
            <a:gradFill>
              <a:gsLst>
                <a:gs pos="75000">
                  <a:schemeClr val="accent1">
                    <a:lumMod val="20000"/>
                    <a:lumOff val="80000"/>
                  </a:schemeClr>
                </a:gs>
                <a:gs pos="100000">
                  <a:schemeClr val="tx2">
                    <a:lumMod val="20000"/>
                    <a:lumOff val="80000"/>
                  </a:schemeClr>
                </a:gs>
              </a:gsLst>
              <a:lin ang="16200000" scaled="1"/>
            </a:gradFill>
            <a:ln w="1270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tlCol="0" anchor="ctr"/>
            <a:lstStyle/>
            <a:p>
              <a:pPr marL="171450" indent="-171450">
                <a:spcAft>
                  <a:spcPts val="200"/>
                </a:spcAft>
                <a:buClr>
                  <a:schemeClr val="accent2"/>
                </a:buClr>
                <a:buFont typeface="Wingdings" pitchFamily="2" charset="2"/>
                <a:buChar char="§"/>
              </a:pPr>
              <a:r>
                <a:rPr lang="en-US" sz="1000" dirty="0">
                  <a:solidFill>
                    <a:schemeClr val="tx1"/>
                  </a:solidFill>
                  <a:latin typeface="Arial" pitchFamily="34" charset="0"/>
                  <a:cs typeface="Arial" pitchFamily="34" charset="0"/>
                </a:rPr>
                <a:t>Monthly Reporting</a:t>
              </a:r>
            </a:p>
            <a:p>
              <a:pPr marL="171450" indent="-171450">
                <a:spcAft>
                  <a:spcPts val="200"/>
                </a:spcAft>
                <a:buClr>
                  <a:schemeClr val="accent2"/>
                </a:buClr>
                <a:buFont typeface="Wingdings" pitchFamily="2" charset="2"/>
                <a:buChar char="§"/>
              </a:pPr>
              <a:r>
                <a:rPr lang="en-US" sz="1000" dirty="0">
                  <a:solidFill>
                    <a:schemeClr val="tx1"/>
                  </a:solidFill>
                  <a:latin typeface="Arial" pitchFamily="34" charset="0"/>
                  <a:cs typeface="Arial" pitchFamily="34" charset="0"/>
                </a:rPr>
                <a:t>Monthly Executive Reporting</a:t>
              </a:r>
            </a:p>
          </p:txBody>
        </p:sp>
        <p:sp>
          <p:nvSpPr>
            <p:cNvPr id="67" name="Rounded Rectangle 66"/>
            <p:cNvSpPr/>
            <p:nvPr/>
          </p:nvSpPr>
          <p:spPr>
            <a:xfrm>
              <a:off x="756002" y="1998850"/>
              <a:ext cx="1984927" cy="640926"/>
            </a:xfrm>
            <a:prstGeom prst="roundRect">
              <a:avLst>
                <a:gd name="adj" fmla="val 6560"/>
              </a:avLst>
            </a:prstGeom>
            <a:gradFill>
              <a:gsLst>
                <a:gs pos="75000">
                  <a:schemeClr val="accent1">
                    <a:lumMod val="20000"/>
                    <a:lumOff val="80000"/>
                  </a:schemeClr>
                </a:gs>
                <a:gs pos="100000">
                  <a:schemeClr val="tx2">
                    <a:lumMod val="20000"/>
                    <a:lumOff val="80000"/>
                  </a:schemeClr>
                </a:gs>
              </a:gsLst>
              <a:lin ang="16200000" scaled="1"/>
            </a:gradFill>
            <a:ln w="1270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tlCol="0" anchor="ctr"/>
            <a:lstStyle/>
            <a:p>
              <a:pPr marL="171450" indent="-171450">
                <a:spcAft>
                  <a:spcPts val="200"/>
                </a:spcAft>
                <a:buClr>
                  <a:schemeClr val="accent2"/>
                </a:buClr>
                <a:buFont typeface="Wingdings" pitchFamily="2" charset="2"/>
                <a:buChar char="§"/>
              </a:pPr>
              <a:r>
                <a:rPr lang="en-US" sz="1000" dirty="0" smtClean="0">
                  <a:solidFill>
                    <a:schemeClr val="tx1"/>
                  </a:solidFill>
                  <a:latin typeface="Arial" pitchFamily="34" charset="0"/>
                  <a:cs typeface="Arial" pitchFamily="34" charset="0"/>
                </a:rPr>
                <a:t>Weekly Reporting (over VVM)</a:t>
              </a:r>
              <a:endParaRPr lang="en-US" sz="1000" dirty="0">
                <a:solidFill>
                  <a:schemeClr val="tx1"/>
                </a:solidFill>
                <a:latin typeface="Arial" pitchFamily="34" charset="0"/>
                <a:cs typeface="Arial" pitchFamily="34" charset="0"/>
              </a:endParaRPr>
            </a:p>
          </p:txBody>
        </p:sp>
        <p:sp>
          <p:nvSpPr>
            <p:cNvPr id="68" name="Rounded Rectangle 67"/>
            <p:cNvSpPr/>
            <p:nvPr/>
          </p:nvSpPr>
          <p:spPr>
            <a:xfrm>
              <a:off x="756002" y="2715975"/>
              <a:ext cx="1984927" cy="640926"/>
            </a:xfrm>
            <a:prstGeom prst="roundRect">
              <a:avLst>
                <a:gd name="adj" fmla="val 6560"/>
              </a:avLst>
            </a:prstGeom>
            <a:gradFill>
              <a:gsLst>
                <a:gs pos="75000">
                  <a:schemeClr val="accent1">
                    <a:lumMod val="20000"/>
                    <a:lumOff val="80000"/>
                  </a:schemeClr>
                </a:gs>
                <a:gs pos="100000">
                  <a:schemeClr val="tx2">
                    <a:lumMod val="20000"/>
                    <a:lumOff val="80000"/>
                  </a:schemeClr>
                </a:gs>
              </a:gsLst>
              <a:lin ang="16200000" scaled="1"/>
            </a:gradFill>
            <a:ln w="1270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tlCol="0" anchor="ctr"/>
            <a:lstStyle/>
            <a:p>
              <a:pPr marL="171450" indent="-171450">
                <a:spcAft>
                  <a:spcPts val="200"/>
                </a:spcAft>
                <a:buClr>
                  <a:schemeClr val="accent2"/>
                </a:buClr>
                <a:buFont typeface="Wingdings" pitchFamily="2" charset="2"/>
                <a:buChar char="§"/>
              </a:pPr>
              <a:r>
                <a:rPr lang="en-US" sz="1000" dirty="0" smtClean="0">
                  <a:solidFill>
                    <a:schemeClr val="tx1"/>
                  </a:solidFill>
                  <a:latin typeface="Arial" pitchFamily="34" charset="0"/>
                  <a:cs typeface="Arial" pitchFamily="34" charset="0"/>
                </a:rPr>
                <a:t>Incidents/Service Requests</a:t>
              </a:r>
              <a:endParaRPr lang="en-US" sz="1000" dirty="0">
                <a:solidFill>
                  <a:schemeClr val="tx1"/>
                </a:solidFill>
                <a:latin typeface="Arial" pitchFamily="34" charset="0"/>
                <a:cs typeface="Arial" pitchFamily="34" charset="0"/>
              </a:endParaRPr>
            </a:p>
            <a:p>
              <a:pPr marL="171450" indent="-171450">
                <a:spcAft>
                  <a:spcPts val="200"/>
                </a:spcAft>
                <a:buClr>
                  <a:schemeClr val="accent2"/>
                </a:buClr>
                <a:buFont typeface="Wingdings" pitchFamily="2" charset="2"/>
                <a:buChar char="§"/>
              </a:pPr>
              <a:r>
                <a:rPr lang="en-US" sz="1000" dirty="0" smtClean="0">
                  <a:solidFill>
                    <a:schemeClr val="tx1"/>
                  </a:solidFill>
                  <a:latin typeface="Arial" pitchFamily="34" charset="0"/>
                  <a:cs typeface="Arial" pitchFamily="34" charset="0"/>
                </a:rPr>
                <a:t>Critical Incidents</a:t>
              </a:r>
            </a:p>
            <a:p>
              <a:pPr marL="171450" indent="-171450">
                <a:spcAft>
                  <a:spcPts val="200"/>
                </a:spcAft>
                <a:buClr>
                  <a:schemeClr val="accent2"/>
                </a:buClr>
                <a:buFont typeface="Wingdings" pitchFamily="2" charset="2"/>
                <a:buChar char="§"/>
              </a:pPr>
              <a:r>
                <a:rPr lang="en-US" sz="1000" dirty="0" smtClean="0">
                  <a:solidFill>
                    <a:schemeClr val="tx1"/>
                  </a:solidFill>
                  <a:latin typeface="Arial" pitchFamily="34" charset="0"/>
                  <a:cs typeface="Arial" pitchFamily="34" charset="0"/>
                </a:rPr>
                <a:t>Problem Tickets</a:t>
              </a:r>
              <a:endParaRPr lang="en-US" sz="1000" dirty="0">
                <a:solidFill>
                  <a:schemeClr val="tx1"/>
                </a:solidFill>
                <a:latin typeface="Arial" pitchFamily="34" charset="0"/>
                <a:cs typeface="Arial" pitchFamily="34" charset="0"/>
              </a:endParaRPr>
            </a:p>
          </p:txBody>
        </p:sp>
        <p:sp>
          <p:nvSpPr>
            <p:cNvPr id="72" name="Rounded Rectangle 71"/>
            <p:cNvSpPr/>
            <p:nvPr/>
          </p:nvSpPr>
          <p:spPr>
            <a:xfrm>
              <a:off x="3900503" y="1257592"/>
              <a:ext cx="1145150" cy="457200"/>
            </a:xfrm>
            <a:prstGeom prst="roundRect">
              <a:avLst>
                <a:gd name="adj" fmla="val 6560"/>
              </a:avLst>
            </a:prstGeom>
            <a:gradFill>
              <a:gsLst>
                <a:gs pos="75000">
                  <a:schemeClr val="accent6">
                    <a:lumMod val="60000"/>
                    <a:lumOff val="40000"/>
                  </a:schemeClr>
                </a:gs>
                <a:gs pos="100000">
                  <a:schemeClr val="accent6">
                    <a:lumMod val="40000"/>
                    <a:lumOff val="60000"/>
                  </a:schemeClr>
                </a:gs>
              </a:gsLst>
              <a:lin ang="16200000" scaled="1"/>
            </a:gra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tx1"/>
                  </a:solidFill>
                  <a:latin typeface="Arial" pitchFamily="34" charset="0"/>
                  <a:cs typeface="Arial" pitchFamily="34" charset="0"/>
                </a:rPr>
                <a:t>Executive Sponsor, BU IT Leaders</a:t>
              </a:r>
              <a:endParaRPr lang="en-US" sz="1000" b="1" dirty="0">
                <a:solidFill>
                  <a:schemeClr val="tx1"/>
                </a:solidFill>
                <a:latin typeface="Arial" pitchFamily="34" charset="0"/>
                <a:cs typeface="Arial" pitchFamily="34" charset="0"/>
              </a:endParaRPr>
            </a:p>
          </p:txBody>
        </p:sp>
        <p:sp>
          <p:nvSpPr>
            <p:cNvPr id="73" name="Rounded Rectangle 72"/>
            <p:cNvSpPr/>
            <p:nvPr/>
          </p:nvSpPr>
          <p:spPr>
            <a:xfrm>
              <a:off x="3900503" y="1998850"/>
              <a:ext cx="1145150" cy="640926"/>
            </a:xfrm>
            <a:prstGeom prst="roundRect">
              <a:avLst>
                <a:gd name="adj" fmla="val 6560"/>
              </a:avLst>
            </a:prstGeom>
            <a:gradFill>
              <a:gsLst>
                <a:gs pos="75000">
                  <a:schemeClr val="accent6">
                    <a:lumMod val="60000"/>
                    <a:lumOff val="40000"/>
                  </a:schemeClr>
                </a:gs>
                <a:gs pos="100000">
                  <a:schemeClr val="accent6">
                    <a:lumMod val="40000"/>
                    <a:lumOff val="60000"/>
                  </a:schemeClr>
                </a:gs>
              </a:gsLst>
              <a:lin ang="16200000" scaled="1"/>
            </a:gra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tx1"/>
                  </a:solidFill>
                  <a:latin typeface="Arial" pitchFamily="34" charset="0"/>
                  <a:cs typeface="Arial" pitchFamily="34" charset="0"/>
                </a:rPr>
                <a:t>BU IT Leaders</a:t>
              </a:r>
              <a:endParaRPr lang="en-US" sz="1000" b="1" dirty="0">
                <a:solidFill>
                  <a:schemeClr val="tx1"/>
                </a:solidFill>
                <a:latin typeface="Arial" pitchFamily="34" charset="0"/>
                <a:cs typeface="Arial" pitchFamily="34" charset="0"/>
              </a:endParaRPr>
            </a:p>
          </p:txBody>
        </p:sp>
        <p:sp>
          <p:nvSpPr>
            <p:cNvPr id="77" name="Rounded Rectangle 76"/>
            <p:cNvSpPr/>
            <p:nvPr/>
          </p:nvSpPr>
          <p:spPr>
            <a:xfrm>
              <a:off x="7015357" y="1257592"/>
              <a:ext cx="2011680" cy="457200"/>
            </a:xfrm>
            <a:prstGeom prst="roundRect">
              <a:avLst>
                <a:gd name="adj" fmla="val 6560"/>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000" b="1" dirty="0" smtClean="0">
                  <a:solidFill>
                    <a:schemeClr val="bg1"/>
                  </a:solidFill>
                  <a:latin typeface="Arial" pitchFamily="34" charset="0"/>
                  <a:cs typeface="Arial" pitchFamily="34" charset="0"/>
                </a:rPr>
                <a:t>Account Exec, ADM Lead, Infra lead/SDMs</a:t>
              </a:r>
              <a:endParaRPr lang="en-US" sz="1000" b="1" dirty="0">
                <a:solidFill>
                  <a:schemeClr val="bg1"/>
                </a:solidFill>
                <a:latin typeface="Arial" pitchFamily="34" charset="0"/>
                <a:cs typeface="Arial" pitchFamily="34" charset="0"/>
              </a:endParaRPr>
            </a:p>
          </p:txBody>
        </p:sp>
        <p:sp>
          <p:nvSpPr>
            <p:cNvPr id="65" name="Round Same Side Corner Rectangle 64"/>
            <p:cNvSpPr/>
            <p:nvPr/>
          </p:nvSpPr>
          <p:spPr>
            <a:xfrm rot="16200000">
              <a:off x="-41668" y="4493611"/>
              <a:ext cx="1026584" cy="388079"/>
            </a:xfrm>
            <a:prstGeom prst="round2SameRect">
              <a:avLst/>
            </a:prstGeom>
            <a:gradFill>
              <a:gsLst>
                <a:gs pos="75000">
                  <a:schemeClr val="accent1"/>
                </a:gs>
                <a:gs pos="100000">
                  <a:schemeClr val="accent1">
                    <a:lumMod val="60000"/>
                    <a:lumOff val="40000"/>
                  </a:schemeClr>
                </a:gs>
              </a:gsLst>
              <a:lin ang="16200000" scaled="1"/>
            </a:gra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dirty="0" smtClean="0">
                  <a:latin typeface="Arial" pitchFamily="34" charset="0"/>
                  <a:cs typeface="Arial" pitchFamily="34" charset="0"/>
                </a:rPr>
                <a:t>Projects &amp;</a:t>
              </a:r>
            </a:p>
            <a:p>
              <a:pPr algn="ctr"/>
              <a:r>
                <a:rPr lang="en-US" sz="1000" b="1" dirty="0" smtClean="0">
                  <a:latin typeface="Arial" pitchFamily="34" charset="0"/>
                  <a:cs typeface="Arial" pitchFamily="34" charset="0"/>
                </a:rPr>
                <a:t>Enhancements</a:t>
              </a:r>
              <a:endParaRPr lang="en-US" sz="1000" b="1" dirty="0">
                <a:latin typeface="Arial" pitchFamily="34" charset="0"/>
                <a:cs typeface="Arial" pitchFamily="34" charset="0"/>
              </a:endParaRPr>
            </a:p>
          </p:txBody>
        </p:sp>
        <p:sp>
          <p:nvSpPr>
            <p:cNvPr id="70" name="Rounded Rectangle 69"/>
            <p:cNvSpPr/>
            <p:nvPr/>
          </p:nvSpPr>
          <p:spPr>
            <a:xfrm>
              <a:off x="756002" y="4174358"/>
              <a:ext cx="1984927" cy="1026584"/>
            </a:xfrm>
            <a:prstGeom prst="roundRect">
              <a:avLst>
                <a:gd name="adj" fmla="val 3803"/>
              </a:avLst>
            </a:prstGeom>
            <a:gradFill>
              <a:gsLst>
                <a:gs pos="75000">
                  <a:schemeClr val="accent1">
                    <a:lumMod val="20000"/>
                    <a:lumOff val="80000"/>
                  </a:schemeClr>
                </a:gs>
                <a:gs pos="100000">
                  <a:schemeClr val="tx2">
                    <a:lumMod val="20000"/>
                    <a:lumOff val="80000"/>
                  </a:schemeClr>
                </a:gs>
              </a:gsLst>
              <a:lin ang="16200000" scaled="1"/>
            </a:gradFill>
            <a:ln w="1270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tlCol="0" anchor="ctr"/>
            <a:lstStyle/>
            <a:p>
              <a:pPr marL="171450" indent="-171450">
                <a:spcAft>
                  <a:spcPts val="200"/>
                </a:spcAft>
                <a:buClr>
                  <a:schemeClr val="accent2"/>
                </a:buClr>
                <a:buFont typeface="Wingdings" pitchFamily="2" charset="2"/>
                <a:buChar char="§"/>
              </a:pPr>
              <a:r>
                <a:rPr lang="en-US" sz="1000" dirty="0" smtClean="0">
                  <a:solidFill>
                    <a:schemeClr val="tx1"/>
                  </a:solidFill>
                  <a:latin typeface="Arial" pitchFamily="34" charset="0"/>
                  <a:cs typeface="Arial" pitchFamily="34" charset="0"/>
                </a:rPr>
                <a:t>CRM Projects &amp; Enhancements</a:t>
              </a:r>
              <a:endParaRPr lang="en-US" sz="1000" dirty="0">
                <a:solidFill>
                  <a:schemeClr val="tx1"/>
                </a:solidFill>
                <a:latin typeface="Arial" pitchFamily="34" charset="0"/>
                <a:cs typeface="Arial" pitchFamily="34" charset="0"/>
              </a:endParaRPr>
            </a:p>
          </p:txBody>
        </p:sp>
        <p:sp>
          <p:nvSpPr>
            <p:cNvPr id="80" name="Rounded Rectangle 79"/>
            <p:cNvSpPr/>
            <p:nvPr/>
          </p:nvSpPr>
          <p:spPr>
            <a:xfrm>
              <a:off x="3900503" y="2746455"/>
              <a:ext cx="1145150" cy="2454488"/>
            </a:xfrm>
            <a:prstGeom prst="roundRect">
              <a:avLst>
                <a:gd name="adj" fmla="val 2714"/>
              </a:avLst>
            </a:prstGeom>
            <a:gradFill>
              <a:gsLst>
                <a:gs pos="75000">
                  <a:schemeClr val="accent6">
                    <a:lumMod val="60000"/>
                    <a:lumOff val="40000"/>
                  </a:schemeClr>
                </a:gs>
                <a:gs pos="100000">
                  <a:schemeClr val="accent6">
                    <a:lumMod val="40000"/>
                    <a:lumOff val="60000"/>
                  </a:schemeClr>
                </a:gs>
              </a:gsLst>
              <a:lin ang="16200000" scaled="1"/>
            </a:gra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tx1"/>
                  </a:solidFill>
                  <a:latin typeface="Arial" pitchFamily="34" charset="0"/>
                  <a:cs typeface="Arial" pitchFamily="34" charset="0"/>
                </a:rPr>
                <a:t>Portfolio/ Application Owners</a:t>
              </a:r>
              <a:endParaRPr lang="en-US" sz="1000" b="1" dirty="0">
                <a:solidFill>
                  <a:schemeClr val="tx1"/>
                </a:solidFill>
                <a:latin typeface="Arial" pitchFamily="34" charset="0"/>
                <a:cs typeface="Arial" pitchFamily="34" charset="0"/>
              </a:endParaRPr>
            </a:p>
          </p:txBody>
        </p:sp>
        <p:sp>
          <p:nvSpPr>
            <p:cNvPr id="86" name="Rounded Rectangle 85"/>
            <p:cNvSpPr/>
            <p:nvPr/>
          </p:nvSpPr>
          <p:spPr>
            <a:xfrm>
              <a:off x="7015357" y="4174357"/>
              <a:ext cx="2011680" cy="1026585"/>
            </a:xfrm>
            <a:prstGeom prst="roundRect">
              <a:avLst>
                <a:gd name="adj" fmla="val 3803"/>
              </a:avLst>
            </a:prstGeom>
            <a:gradFill>
              <a:gsLst>
                <a:gs pos="75000">
                  <a:schemeClr val="tx2"/>
                </a:gs>
                <a:gs pos="100000">
                  <a:schemeClr val="tx2">
                    <a:lumMod val="20000"/>
                    <a:lumOff val="80000"/>
                  </a:schemeClr>
                </a:gs>
              </a:gsLst>
              <a:lin ang="16200000" scaled="1"/>
            </a:gra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2"/>
                </a:buClr>
              </a:pPr>
              <a:r>
                <a:rPr lang="en-US" sz="1000" b="1" dirty="0">
                  <a:solidFill>
                    <a:schemeClr val="bg1"/>
                  </a:solidFill>
                  <a:latin typeface="Arial" pitchFamily="34" charset="0"/>
                  <a:cs typeface="Arial" pitchFamily="34" charset="0"/>
                </a:rPr>
                <a:t>Level 1 – Project Lead</a:t>
              </a:r>
            </a:p>
            <a:p>
              <a:pPr algn="ctr">
                <a:buClr>
                  <a:schemeClr val="accent2"/>
                </a:buClr>
              </a:pPr>
              <a:r>
                <a:rPr lang="en-US" sz="1000" b="1" dirty="0">
                  <a:solidFill>
                    <a:schemeClr val="bg1"/>
                  </a:solidFill>
                  <a:latin typeface="Arial" pitchFamily="34" charset="0"/>
                  <a:cs typeface="Arial" pitchFamily="34" charset="0"/>
                </a:rPr>
                <a:t>Level 2 </a:t>
              </a:r>
              <a:r>
                <a:rPr lang="en-US" sz="1000" b="1" dirty="0" smtClean="0">
                  <a:solidFill>
                    <a:schemeClr val="bg1"/>
                  </a:solidFill>
                  <a:latin typeface="Arial"/>
                  <a:cs typeface="Arial"/>
                </a:rPr>
                <a:t>–</a:t>
              </a:r>
              <a:r>
                <a:rPr lang="en-US" sz="1000" b="1" dirty="0" smtClean="0">
                  <a:solidFill>
                    <a:schemeClr val="bg1"/>
                  </a:solidFill>
                  <a:latin typeface="Arial" pitchFamily="34" charset="0"/>
                  <a:cs typeface="Arial" pitchFamily="34" charset="0"/>
                </a:rPr>
                <a:t> </a:t>
              </a:r>
              <a:r>
                <a:rPr lang="en-US" sz="1000" b="1" dirty="0">
                  <a:solidFill>
                    <a:schemeClr val="bg1"/>
                  </a:solidFill>
                  <a:latin typeface="Arial" pitchFamily="34" charset="0"/>
                  <a:cs typeface="Arial" pitchFamily="34" charset="0"/>
                </a:rPr>
                <a:t>SDM</a:t>
              </a:r>
            </a:p>
          </p:txBody>
        </p:sp>
        <p:sp>
          <p:nvSpPr>
            <p:cNvPr id="87" name="Rounded Rectangle 86"/>
            <p:cNvSpPr/>
            <p:nvPr/>
          </p:nvSpPr>
          <p:spPr>
            <a:xfrm>
              <a:off x="5637628" y="2746454"/>
              <a:ext cx="334002" cy="1351705"/>
            </a:xfrm>
            <a:prstGeom prst="roundRect">
              <a:avLst/>
            </a:prstGeom>
            <a:solidFill>
              <a:srgbClr val="FFFF00"/>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000" b="1" dirty="0">
                  <a:solidFill>
                    <a:schemeClr val="tx1"/>
                  </a:solidFill>
                  <a:latin typeface="Arial" pitchFamily="34" charset="0"/>
                  <a:cs typeface="Arial" pitchFamily="34" charset="0"/>
                </a:rPr>
                <a:t>Helpdesk</a:t>
              </a:r>
            </a:p>
          </p:txBody>
        </p:sp>
        <p:cxnSp>
          <p:nvCxnSpPr>
            <p:cNvPr id="40" name="Straight Arrow Connector 39"/>
            <p:cNvCxnSpPr>
              <a:stCxn id="34" idx="3"/>
              <a:endCxn id="72" idx="1"/>
            </p:cNvCxnSpPr>
            <p:nvPr/>
          </p:nvCxnSpPr>
          <p:spPr>
            <a:xfrm>
              <a:off x="2740929" y="1486192"/>
              <a:ext cx="1159574" cy="0"/>
            </a:xfrm>
            <a:prstGeom prst="straightConnector1">
              <a:avLst/>
            </a:prstGeom>
            <a:ln w="1270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p:nvPr/>
          </p:nvCxnSpPr>
          <p:spPr>
            <a:xfrm>
              <a:off x="5241598" y="3405374"/>
              <a:ext cx="396984" cy="0"/>
            </a:xfrm>
            <a:prstGeom prst="straightConnector1">
              <a:avLst/>
            </a:prstGeom>
            <a:ln w="12700">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9" name="TextBox 108"/>
            <p:cNvSpPr txBox="1"/>
            <p:nvPr/>
          </p:nvSpPr>
          <p:spPr>
            <a:xfrm>
              <a:off x="5374703" y="1295400"/>
              <a:ext cx="1482842" cy="138499"/>
            </a:xfrm>
            <a:prstGeom prst="rect">
              <a:avLst/>
            </a:prstGeom>
            <a:noFill/>
          </p:spPr>
          <p:txBody>
            <a:bodyPr wrap="square" lIns="0" tIns="0" rIns="0" bIns="0" rtlCol="0">
              <a:spAutoFit/>
            </a:bodyPr>
            <a:lstStyle/>
            <a:p>
              <a:pPr algn="ctr">
                <a:spcAft>
                  <a:spcPts val="600"/>
                </a:spcAft>
              </a:pPr>
              <a:r>
                <a:rPr lang="en-US" sz="900" dirty="0" smtClean="0">
                  <a:latin typeface="Arial" pitchFamily="34" charset="0"/>
                  <a:cs typeface="Arial" pitchFamily="34" charset="0"/>
                </a:rPr>
                <a:t>Highly Critical Escalations</a:t>
              </a:r>
            </a:p>
          </p:txBody>
        </p:sp>
        <p:sp>
          <p:nvSpPr>
            <p:cNvPr id="110" name="TextBox 109"/>
            <p:cNvSpPr txBox="1"/>
            <p:nvPr/>
          </p:nvSpPr>
          <p:spPr>
            <a:xfrm>
              <a:off x="5266204" y="1524000"/>
              <a:ext cx="1699840" cy="138499"/>
            </a:xfrm>
            <a:prstGeom prst="rect">
              <a:avLst/>
            </a:prstGeom>
            <a:noFill/>
          </p:spPr>
          <p:txBody>
            <a:bodyPr wrap="square" lIns="0" tIns="0" rIns="0" bIns="0" rtlCol="0">
              <a:spAutoFit/>
            </a:bodyPr>
            <a:lstStyle/>
            <a:p>
              <a:pPr algn="ctr">
                <a:spcAft>
                  <a:spcPts val="600"/>
                </a:spcAft>
              </a:pPr>
              <a:r>
                <a:rPr lang="en-US" sz="900" dirty="0" smtClean="0">
                  <a:latin typeface="Arial" pitchFamily="34" charset="0"/>
                  <a:cs typeface="Arial" pitchFamily="34" charset="0"/>
                </a:rPr>
                <a:t>Insights, Strategic Discussions</a:t>
              </a:r>
            </a:p>
          </p:txBody>
        </p:sp>
        <p:sp>
          <p:nvSpPr>
            <p:cNvPr id="111" name="TextBox 110"/>
            <p:cNvSpPr txBox="1"/>
            <p:nvPr/>
          </p:nvSpPr>
          <p:spPr>
            <a:xfrm>
              <a:off x="5696609" y="2359068"/>
              <a:ext cx="839031" cy="138499"/>
            </a:xfrm>
            <a:prstGeom prst="rect">
              <a:avLst/>
            </a:prstGeom>
            <a:noFill/>
          </p:spPr>
          <p:txBody>
            <a:bodyPr wrap="square" lIns="0" tIns="0" rIns="0" bIns="0" rtlCol="0">
              <a:spAutoFit/>
            </a:bodyPr>
            <a:lstStyle/>
            <a:p>
              <a:pPr algn="ctr">
                <a:spcAft>
                  <a:spcPts val="600"/>
                </a:spcAft>
              </a:pPr>
              <a:r>
                <a:rPr lang="en-US" sz="900" dirty="0" smtClean="0">
                  <a:latin typeface="Arial" pitchFamily="34" charset="0"/>
                  <a:cs typeface="Arial" pitchFamily="34" charset="0"/>
                </a:rPr>
                <a:t>Escalations</a:t>
              </a:r>
            </a:p>
          </p:txBody>
        </p:sp>
        <p:sp>
          <p:nvSpPr>
            <p:cNvPr id="112" name="TextBox 111"/>
            <p:cNvSpPr txBox="1"/>
            <p:nvPr/>
          </p:nvSpPr>
          <p:spPr>
            <a:xfrm>
              <a:off x="5696609" y="2141021"/>
              <a:ext cx="839031" cy="138499"/>
            </a:xfrm>
            <a:prstGeom prst="rect">
              <a:avLst/>
            </a:prstGeom>
            <a:noFill/>
          </p:spPr>
          <p:txBody>
            <a:bodyPr wrap="square" lIns="0" tIns="0" rIns="0" bIns="0" rtlCol="0">
              <a:spAutoFit/>
            </a:bodyPr>
            <a:lstStyle/>
            <a:p>
              <a:pPr algn="ctr">
                <a:spcAft>
                  <a:spcPts val="600"/>
                </a:spcAft>
              </a:pPr>
              <a:r>
                <a:rPr lang="en-US" sz="900" dirty="0" smtClean="0">
                  <a:latin typeface="Arial" pitchFamily="34" charset="0"/>
                  <a:cs typeface="Arial" pitchFamily="34" charset="0"/>
                </a:rPr>
                <a:t>Clarifications</a:t>
              </a:r>
            </a:p>
          </p:txBody>
        </p:sp>
        <p:sp>
          <p:nvSpPr>
            <p:cNvPr id="113" name="TextBox 112"/>
            <p:cNvSpPr txBox="1"/>
            <p:nvPr/>
          </p:nvSpPr>
          <p:spPr>
            <a:xfrm>
              <a:off x="2663392" y="1340556"/>
              <a:ext cx="627210" cy="138499"/>
            </a:xfrm>
            <a:prstGeom prst="rect">
              <a:avLst/>
            </a:prstGeom>
            <a:noFill/>
          </p:spPr>
          <p:txBody>
            <a:bodyPr wrap="square" lIns="0" tIns="0" rIns="0" bIns="0" rtlCol="0">
              <a:spAutoFit/>
            </a:bodyPr>
            <a:lstStyle/>
            <a:p>
              <a:pPr algn="ctr">
                <a:spcAft>
                  <a:spcPts val="600"/>
                </a:spcAft>
              </a:pPr>
              <a:r>
                <a:rPr lang="en-US" sz="900" dirty="0" smtClean="0">
                  <a:latin typeface="Arial" pitchFamily="34" charset="0"/>
                  <a:cs typeface="Arial" pitchFamily="34" charset="0"/>
                </a:rPr>
                <a:t>Status</a:t>
              </a:r>
            </a:p>
          </p:txBody>
        </p:sp>
        <p:sp>
          <p:nvSpPr>
            <p:cNvPr id="114" name="TextBox 113"/>
            <p:cNvSpPr txBox="1"/>
            <p:nvPr/>
          </p:nvSpPr>
          <p:spPr>
            <a:xfrm>
              <a:off x="5980168" y="3033417"/>
              <a:ext cx="1023878" cy="138499"/>
            </a:xfrm>
            <a:prstGeom prst="rect">
              <a:avLst/>
            </a:prstGeom>
            <a:noFill/>
          </p:spPr>
          <p:txBody>
            <a:bodyPr wrap="square" lIns="0" tIns="0" rIns="0" bIns="0" rtlCol="0">
              <a:spAutoFit/>
            </a:bodyPr>
            <a:lstStyle/>
            <a:p>
              <a:pPr algn="ctr">
                <a:spcAft>
                  <a:spcPts val="600"/>
                </a:spcAft>
              </a:pPr>
              <a:r>
                <a:rPr lang="en-US" sz="900" dirty="0" smtClean="0">
                  <a:latin typeface="Arial" pitchFamily="34" charset="0"/>
                  <a:cs typeface="Arial" pitchFamily="34" charset="0"/>
                </a:rPr>
                <a:t>Escalations</a:t>
              </a:r>
            </a:p>
          </p:txBody>
        </p:sp>
        <p:sp>
          <p:nvSpPr>
            <p:cNvPr id="115" name="TextBox 114"/>
            <p:cNvSpPr txBox="1"/>
            <p:nvPr/>
          </p:nvSpPr>
          <p:spPr>
            <a:xfrm>
              <a:off x="6247039" y="3260801"/>
              <a:ext cx="490135" cy="138499"/>
            </a:xfrm>
            <a:prstGeom prst="rect">
              <a:avLst/>
            </a:prstGeom>
            <a:noFill/>
          </p:spPr>
          <p:txBody>
            <a:bodyPr wrap="square" lIns="0" tIns="0" rIns="0" bIns="0" rtlCol="0">
              <a:spAutoFit/>
            </a:bodyPr>
            <a:lstStyle/>
            <a:p>
              <a:pPr algn="ctr">
                <a:spcAft>
                  <a:spcPts val="600"/>
                </a:spcAft>
              </a:pPr>
              <a:r>
                <a:rPr lang="en-US" sz="900" dirty="0" smtClean="0">
                  <a:latin typeface="Arial" pitchFamily="34" charset="0"/>
                  <a:cs typeface="Arial" pitchFamily="34" charset="0"/>
                </a:rPr>
                <a:t>MIRT</a:t>
              </a:r>
            </a:p>
          </p:txBody>
        </p:sp>
        <p:sp>
          <p:nvSpPr>
            <p:cNvPr id="118" name="TextBox 117"/>
            <p:cNvSpPr txBox="1"/>
            <p:nvPr/>
          </p:nvSpPr>
          <p:spPr>
            <a:xfrm>
              <a:off x="5733077" y="4681443"/>
              <a:ext cx="787120" cy="138499"/>
            </a:xfrm>
            <a:prstGeom prst="rect">
              <a:avLst/>
            </a:prstGeom>
            <a:noFill/>
          </p:spPr>
          <p:txBody>
            <a:bodyPr wrap="square" lIns="0" tIns="0" rIns="0" bIns="0" rtlCol="0">
              <a:spAutoFit/>
            </a:bodyPr>
            <a:lstStyle/>
            <a:p>
              <a:pPr algn="ctr">
                <a:spcAft>
                  <a:spcPts val="600"/>
                </a:spcAft>
              </a:pPr>
              <a:r>
                <a:rPr lang="en-US" sz="900" dirty="0" smtClean="0">
                  <a:latin typeface="Arial" pitchFamily="34" charset="0"/>
                  <a:cs typeface="Arial" pitchFamily="34" charset="0"/>
                </a:rPr>
                <a:t>Escalations</a:t>
              </a:r>
            </a:p>
          </p:txBody>
        </p:sp>
        <p:sp>
          <p:nvSpPr>
            <p:cNvPr id="119" name="TextBox 118"/>
            <p:cNvSpPr txBox="1"/>
            <p:nvPr/>
          </p:nvSpPr>
          <p:spPr>
            <a:xfrm>
              <a:off x="2663392" y="2143983"/>
              <a:ext cx="627210" cy="138499"/>
            </a:xfrm>
            <a:prstGeom prst="rect">
              <a:avLst/>
            </a:prstGeom>
            <a:noFill/>
          </p:spPr>
          <p:txBody>
            <a:bodyPr wrap="square" lIns="0" tIns="0" rIns="0" bIns="0" rtlCol="0">
              <a:spAutoFit/>
            </a:bodyPr>
            <a:lstStyle/>
            <a:p>
              <a:pPr algn="ctr">
                <a:spcAft>
                  <a:spcPts val="600"/>
                </a:spcAft>
              </a:pPr>
              <a:r>
                <a:rPr lang="en-US" sz="900" dirty="0" smtClean="0">
                  <a:latin typeface="Arial" pitchFamily="34" charset="0"/>
                  <a:cs typeface="Arial" pitchFamily="34" charset="0"/>
                </a:rPr>
                <a:t>Status</a:t>
              </a:r>
            </a:p>
          </p:txBody>
        </p:sp>
        <p:sp>
          <p:nvSpPr>
            <p:cNvPr id="120" name="TextBox 119"/>
            <p:cNvSpPr txBox="1"/>
            <p:nvPr/>
          </p:nvSpPr>
          <p:spPr>
            <a:xfrm>
              <a:off x="2663392" y="4681443"/>
              <a:ext cx="627210" cy="138499"/>
            </a:xfrm>
            <a:prstGeom prst="rect">
              <a:avLst/>
            </a:prstGeom>
            <a:noFill/>
          </p:spPr>
          <p:txBody>
            <a:bodyPr wrap="square" lIns="0" tIns="0" rIns="0" bIns="0" rtlCol="0">
              <a:spAutoFit/>
            </a:bodyPr>
            <a:lstStyle/>
            <a:p>
              <a:pPr algn="ctr">
                <a:spcAft>
                  <a:spcPts val="600"/>
                </a:spcAft>
              </a:pPr>
              <a:r>
                <a:rPr lang="en-US" sz="900" dirty="0" smtClean="0">
                  <a:latin typeface="Arial" pitchFamily="34" charset="0"/>
                  <a:cs typeface="Arial" pitchFamily="34" charset="0"/>
                </a:rPr>
                <a:t>Status</a:t>
              </a:r>
            </a:p>
          </p:txBody>
        </p:sp>
        <p:sp>
          <p:nvSpPr>
            <p:cNvPr id="121" name="TextBox 120"/>
            <p:cNvSpPr txBox="1"/>
            <p:nvPr/>
          </p:nvSpPr>
          <p:spPr>
            <a:xfrm>
              <a:off x="2663392" y="2862046"/>
              <a:ext cx="627210" cy="138499"/>
            </a:xfrm>
            <a:prstGeom prst="rect">
              <a:avLst/>
            </a:prstGeom>
            <a:noFill/>
          </p:spPr>
          <p:txBody>
            <a:bodyPr wrap="square" lIns="0" tIns="0" rIns="0" bIns="0" rtlCol="0">
              <a:spAutoFit/>
            </a:bodyPr>
            <a:lstStyle/>
            <a:p>
              <a:pPr algn="ctr">
                <a:spcAft>
                  <a:spcPts val="600"/>
                </a:spcAft>
              </a:pPr>
              <a:r>
                <a:rPr lang="en-US" sz="900" dirty="0" smtClean="0">
                  <a:latin typeface="Arial" pitchFamily="34" charset="0"/>
                  <a:cs typeface="Arial" pitchFamily="34" charset="0"/>
                </a:rPr>
                <a:t>Status</a:t>
              </a:r>
            </a:p>
          </p:txBody>
        </p:sp>
        <p:cxnSp>
          <p:nvCxnSpPr>
            <p:cNvPr id="106" name="Straight Arrow Connector 105"/>
            <p:cNvCxnSpPr/>
            <p:nvPr/>
          </p:nvCxnSpPr>
          <p:spPr>
            <a:xfrm>
              <a:off x="5975634" y="3215641"/>
              <a:ext cx="1028411" cy="0"/>
            </a:xfrm>
            <a:prstGeom prst="straightConnector1">
              <a:avLst/>
            </a:prstGeom>
            <a:ln w="12700">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a:off x="5249231" y="4884078"/>
              <a:ext cx="1754814" cy="0"/>
            </a:xfrm>
            <a:prstGeom prst="straightConnector1">
              <a:avLst/>
            </a:prstGeom>
            <a:ln w="12700">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p:nvPr/>
          </p:nvCxnSpPr>
          <p:spPr>
            <a:xfrm>
              <a:off x="5249231" y="2319313"/>
              <a:ext cx="1754814" cy="0"/>
            </a:xfrm>
            <a:prstGeom prst="straightConnector1">
              <a:avLst/>
            </a:prstGeom>
            <a:ln w="12700">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a:stCxn id="72" idx="3"/>
              <a:endCxn id="77" idx="1"/>
            </p:cNvCxnSpPr>
            <p:nvPr/>
          </p:nvCxnSpPr>
          <p:spPr>
            <a:xfrm>
              <a:off x="5045653" y="1486192"/>
              <a:ext cx="1969704" cy="0"/>
            </a:xfrm>
            <a:prstGeom prst="straightConnector1">
              <a:avLst/>
            </a:prstGeom>
            <a:ln w="12700">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3963078" y="965200"/>
              <a:ext cx="1071635" cy="261610"/>
            </a:xfrm>
            <a:prstGeom prst="rect">
              <a:avLst/>
            </a:prstGeom>
            <a:noFill/>
          </p:spPr>
          <p:txBody>
            <a:bodyPr wrap="square" rtlCol="0">
              <a:spAutoFit/>
            </a:bodyPr>
            <a:lstStyle/>
            <a:p>
              <a:pPr algn="ctr">
                <a:spcAft>
                  <a:spcPts val="600"/>
                </a:spcAft>
              </a:pPr>
              <a:r>
                <a:rPr lang="en-US" sz="1100" b="1" dirty="0" smtClean="0">
                  <a:latin typeface="Arial" pitchFamily="34" charset="0"/>
                  <a:cs typeface="Arial" pitchFamily="34" charset="0"/>
                </a:rPr>
                <a:t>Lattice</a:t>
              </a:r>
            </a:p>
          </p:txBody>
        </p:sp>
        <p:sp>
          <p:nvSpPr>
            <p:cNvPr id="126" name="TextBox 125"/>
            <p:cNvSpPr txBox="1"/>
            <p:nvPr/>
          </p:nvSpPr>
          <p:spPr>
            <a:xfrm>
              <a:off x="7379211" y="965200"/>
              <a:ext cx="1071635" cy="261610"/>
            </a:xfrm>
            <a:prstGeom prst="rect">
              <a:avLst/>
            </a:prstGeom>
            <a:noFill/>
          </p:spPr>
          <p:txBody>
            <a:bodyPr wrap="square" rtlCol="0">
              <a:spAutoFit/>
            </a:bodyPr>
            <a:lstStyle/>
            <a:p>
              <a:pPr algn="ctr">
                <a:spcAft>
                  <a:spcPts val="600"/>
                </a:spcAft>
              </a:pPr>
              <a:r>
                <a:rPr lang="en-US" sz="1100" b="1" dirty="0">
                  <a:latin typeface="Arial" pitchFamily="34" charset="0"/>
                  <a:cs typeface="Arial" pitchFamily="34" charset="0"/>
                </a:rPr>
                <a:t>Capgemini</a:t>
              </a:r>
            </a:p>
          </p:txBody>
        </p:sp>
        <p:grpSp>
          <p:nvGrpSpPr>
            <p:cNvPr id="4" name="Group 80"/>
            <p:cNvGrpSpPr/>
            <p:nvPr/>
          </p:nvGrpSpPr>
          <p:grpSpPr>
            <a:xfrm>
              <a:off x="6169550" y="5353243"/>
              <a:ext cx="2651177" cy="175866"/>
              <a:chOff x="6169550" y="5353243"/>
              <a:chExt cx="2651177" cy="175866"/>
            </a:xfrm>
          </p:grpSpPr>
          <p:grpSp>
            <p:nvGrpSpPr>
              <p:cNvPr id="5" name="Group 75"/>
              <p:cNvGrpSpPr/>
              <p:nvPr/>
            </p:nvGrpSpPr>
            <p:grpSpPr>
              <a:xfrm>
                <a:off x="6169550" y="5353243"/>
                <a:ext cx="1388139" cy="175866"/>
                <a:chOff x="6169550" y="5353243"/>
                <a:chExt cx="1388139" cy="175866"/>
              </a:xfrm>
            </p:grpSpPr>
            <p:sp>
              <p:nvSpPr>
                <p:cNvPr id="131" name="Rounded Rectangle 130"/>
                <p:cNvSpPr/>
                <p:nvPr/>
              </p:nvSpPr>
              <p:spPr>
                <a:xfrm>
                  <a:off x="6169550" y="5353243"/>
                  <a:ext cx="304535" cy="175866"/>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000" b="1" dirty="0">
                    <a:solidFill>
                      <a:schemeClr val="bg1"/>
                    </a:solidFill>
                    <a:latin typeface="Arial" pitchFamily="34" charset="0"/>
                    <a:cs typeface="Arial" pitchFamily="34" charset="0"/>
                  </a:endParaRPr>
                </a:p>
              </p:txBody>
            </p:sp>
            <p:sp>
              <p:nvSpPr>
                <p:cNvPr id="132" name="TextBox 131"/>
                <p:cNvSpPr txBox="1"/>
                <p:nvPr/>
              </p:nvSpPr>
              <p:spPr>
                <a:xfrm>
                  <a:off x="6528467" y="5371928"/>
                  <a:ext cx="1029222" cy="138499"/>
                </a:xfrm>
                <a:prstGeom prst="rect">
                  <a:avLst/>
                </a:prstGeom>
                <a:noFill/>
              </p:spPr>
              <p:txBody>
                <a:bodyPr wrap="square" lIns="0" tIns="0" rIns="0" bIns="0" rtlCol="0" anchor="ctr" anchorCtr="0">
                  <a:spAutoFit/>
                </a:bodyPr>
                <a:lstStyle/>
                <a:p>
                  <a:pPr>
                    <a:spcAft>
                      <a:spcPts val="600"/>
                    </a:spcAft>
                  </a:pPr>
                  <a:r>
                    <a:rPr lang="en-US" sz="900" dirty="0" smtClean="0">
                      <a:cs typeface="Arial" pitchFamily="34" charset="0"/>
                    </a:rPr>
                    <a:t>Both On &amp; Off </a:t>
                  </a:r>
                </a:p>
              </p:txBody>
            </p:sp>
          </p:grpSp>
          <p:grpSp>
            <p:nvGrpSpPr>
              <p:cNvPr id="6" name="Group 132"/>
              <p:cNvGrpSpPr/>
              <p:nvPr/>
            </p:nvGrpSpPr>
            <p:grpSpPr>
              <a:xfrm>
                <a:off x="7347755" y="5353243"/>
                <a:ext cx="1472972" cy="175866"/>
                <a:chOff x="2495173" y="1646858"/>
                <a:chExt cx="1472972" cy="175866"/>
              </a:xfrm>
            </p:grpSpPr>
            <p:sp>
              <p:nvSpPr>
                <p:cNvPr id="134" name="Rounded Rectangle 133"/>
                <p:cNvSpPr/>
                <p:nvPr/>
              </p:nvSpPr>
              <p:spPr>
                <a:xfrm>
                  <a:off x="2495173" y="1646858"/>
                  <a:ext cx="304535" cy="175866"/>
                </a:xfrm>
                <a:prstGeom prst="roundRect">
                  <a:avLst/>
                </a:prstGeom>
                <a:gradFill>
                  <a:gsLst>
                    <a:gs pos="75000">
                      <a:schemeClr val="tx2"/>
                    </a:gs>
                    <a:gs pos="100000">
                      <a:schemeClr val="bg2"/>
                    </a:gs>
                  </a:gsLst>
                  <a:lin ang="16200000" scaled="1"/>
                </a:gra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ctr"/>
                  <a:endParaRPr lang="en-US" sz="900" b="1" dirty="0">
                    <a:solidFill>
                      <a:schemeClr val="bg1"/>
                    </a:solidFill>
                    <a:cs typeface="Arial" pitchFamily="34" charset="0"/>
                  </a:endParaRPr>
                </a:p>
              </p:txBody>
            </p:sp>
            <p:sp>
              <p:nvSpPr>
                <p:cNvPr id="135" name="TextBox 134"/>
                <p:cNvSpPr txBox="1"/>
                <p:nvPr/>
              </p:nvSpPr>
              <p:spPr>
                <a:xfrm>
                  <a:off x="2826380" y="1665541"/>
                  <a:ext cx="1141765" cy="138499"/>
                </a:xfrm>
                <a:prstGeom prst="rect">
                  <a:avLst/>
                </a:prstGeom>
                <a:noFill/>
              </p:spPr>
              <p:txBody>
                <a:bodyPr wrap="square" lIns="0" tIns="0" rIns="0" bIns="0" rtlCol="0" anchor="ctr" anchorCtr="0">
                  <a:spAutoFit/>
                </a:bodyPr>
                <a:lstStyle/>
                <a:p>
                  <a:pPr>
                    <a:spcAft>
                      <a:spcPts val="600"/>
                    </a:spcAft>
                  </a:pPr>
                  <a:r>
                    <a:rPr lang="en-US" sz="900" dirty="0" smtClean="0">
                      <a:cs typeface="Arial" pitchFamily="34" charset="0"/>
                    </a:rPr>
                    <a:t>&gt; = 80% Offshore</a:t>
                  </a:r>
                </a:p>
              </p:txBody>
            </p:sp>
          </p:grpSp>
        </p:grpSp>
        <p:sp>
          <p:nvSpPr>
            <p:cNvPr id="145" name="Rectangle 144"/>
            <p:cNvSpPr/>
            <p:nvPr/>
          </p:nvSpPr>
          <p:spPr>
            <a:xfrm rot="16200000">
              <a:off x="3602578" y="3458886"/>
              <a:ext cx="3213463" cy="292923"/>
            </a:xfrm>
            <a:prstGeom prst="rect">
              <a:avLst/>
            </a:prstGeom>
            <a:gradFill>
              <a:gsLst>
                <a:gs pos="75000">
                  <a:schemeClr val="accent5"/>
                </a:gs>
                <a:gs pos="100000">
                  <a:schemeClr val="accent5">
                    <a:lumMod val="20000"/>
                    <a:lumOff val="80000"/>
                  </a:schemeClr>
                </a:gs>
              </a:gsLst>
              <a:lin ang="16200000" scaled="1"/>
            </a:gra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 tIns="45720" rIns="18288" bIns="45720" numCol="1" spcCol="0" rtlCol="0" fromWordArt="0" anchor="ctr" anchorCtr="0" forceAA="0" compatLnSpc="1">
              <a:prstTxWarp prst="textNoShape">
                <a:avLst/>
              </a:prstTxWarp>
              <a:noAutofit/>
            </a:bodyPr>
            <a:lstStyle/>
            <a:p>
              <a:pPr algn="ctr"/>
              <a:r>
                <a:rPr lang="en-US" sz="1000" b="1" dirty="0" smtClean="0">
                  <a:cs typeface="Arial" pitchFamily="34" charset="0"/>
                </a:rPr>
                <a:t>LATTICE Application </a:t>
              </a:r>
              <a:r>
                <a:rPr lang="en-US" sz="1000" b="1" dirty="0">
                  <a:cs typeface="Arial" pitchFamily="34" charset="0"/>
                </a:rPr>
                <a:t>Owners </a:t>
              </a:r>
            </a:p>
          </p:txBody>
        </p:sp>
        <p:cxnSp>
          <p:nvCxnSpPr>
            <p:cNvPr id="49" name="Straight Arrow Connector 48"/>
            <p:cNvCxnSpPr>
              <a:stCxn id="67" idx="3"/>
              <a:endCxn id="73" idx="1"/>
            </p:cNvCxnSpPr>
            <p:nvPr/>
          </p:nvCxnSpPr>
          <p:spPr>
            <a:xfrm>
              <a:off x="2740929" y="2319313"/>
              <a:ext cx="1159574" cy="0"/>
            </a:xfrm>
            <a:prstGeom prst="straightConnector1">
              <a:avLst/>
            </a:prstGeom>
            <a:ln w="1270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2744467" y="3056528"/>
              <a:ext cx="1159574" cy="0"/>
            </a:xfrm>
            <a:prstGeom prst="straightConnector1">
              <a:avLst/>
            </a:prstGeom>
            <a:ln w="1270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2748012" y="4825076"/>
              <a:ext cx="1159574" cy="0"/>
            </a:xfrm>
            <a:prstGeom prst="straightConnector1">
              <a:avLst/>
            </a:prstGeom>
            <a:ln w="1270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8" name="Rounded Rectangle 57"/>
            <p:cNvSpPr/>
            <p:nvPr/>
          </p:nvSpPr>
          <p:spPr>
            <a:xfrm>
              <a:off x="7015357" y="2859564"/>
              <a:ext cx="2011680" cy="731520"/>
            </a:xfrm>
            <a:prstGeom prst="roundRect">
              <a:avLst>
                <a:gd name="adj" fmla="val 6560"/>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000" b="1" dirty="0" smtClean="0">
                  <a:solidFill>
                    <a:schemeClr val="bg1"/>
                  </a:solidFill>
                  <a:latin typeface="Arial" pitchFamily="34" charset="0"/>
                  <a:cs typeface="Arial" pitchFamily="34" charset="0"/>
                </a:rPr>
                <a:t>Team Leaders, Project Leaders</a:t>
              </a:r>
            </a:p>
          </p:txBody>
        </p:sp>
      </p:grpSp>
    </p:spTree>
    <p:extLst>
      <p:ext uri="{BB962C8B-B14F-4D97-AF65-F5344CB8AC3E}">
        <p14:creationId xmlns:p14="http://schemas.microsoft.com/office/powerpoint/2010/main" val="37444965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w="9525" algn="ctr">
            <a:noFill/>
            <a:miter lim="800000"/>
            <a:headEnd/>
            <a:tailEnd/>
          </a:ln>
          <a:effectLst/>
        </p:spPr>
        <p:txBody>
          <a:bodyPr vert="horz" wrap="square" lIns="274320" tIns="36576" rIns="0" bIns="0" numCol="1" anchor="ctr" anchorCtr="0" compatLnSpc="1">
            <a:prstTxWarp prst="textNoShape">
              <a:avLst/>
            </a:prstTxWarp>
          </a:bodyPr>
          <a:lstStyle/>
          <a:p>
            <a:r>
              <a:rPr lang="en-US" b="0" dirty="0">
                <a:solidFill>
                  <a:srgbClr val="0098C7"/>
                </a:solidFill>
              </a:rPr>
              <a:t>Continuous Improvement Framework</a:t>
            </a:r>
          </a:p>
        </p:txBody>
      </p:sp>
      <p:grpSp>
        <p:nvGrpSpPr>
          <p:cNvPr id="3" name="Group 139"/>
          <p:cNvGrpSpPr/>
          <p:nvPr/>
        </p:nvGrpSpPr>
        <p:grpSpPr>
          <a:xfrm>
            <a:off x="179057" y="1354721"/>
            <a:ext cx="8785886" cy="4565766"/>
            <a:chOff x="324059" y="1354721"/>
            <a:chExt cx="8785886" cy="4565766"/>
          </a:xfrm>
        </p:grpSpPr>
        <p:grpSp>
          <p:nvGrpSpPr>
            <p:cNvPr id="22" name="Group 54"/>
            <p:cNvGrpSpPr/>
            <p:nvPr/>
          </p:nvGrpSpPr>
          <p:grpSpPr>
            <a:xfrm>
              <a:off x="324059" y="1354721"/>
              <a:ext cx="8785886" cy="4565766"/>
              <a:chOff x="233363" y="1014413"/>
              <a:chExt cx="11728945" cy="5303182"/>
            </a:xfrm>
          </p:grpSpPr>
          <p:sp>
            <p:nvSpPr>
              <p:cNvPr id="4" name="Rounded Rectangle 5"/>
              <p:cNvSpPr>
                <a:spLocks noChangeArrowheads="1"/>
              </p:cNvSpPr>
              <p:nvPr/>
            </p:nvSpPr>
            <p:spPr bwMode="auto">
              <a:xfrm>
                <a:off x="2675929" y="5091523"/>
                <a:ext cx="7156704" cy="88196"/>
              </a:xfrm>
              <a:prstGeom prst="roundRect">
                <a:avLst>
                  <a:gd name="adj" fmla="val 50000"/>
                </a:avLst>
              </a:prstGeom>
              <a:solidFill>
                <a:schemeClr val="accent2"/>
              </a:solidFill>
              <a:ln w="57150">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pPr defTabSz="957263">
                  <a:defRPr/>
                </a:pPr>
                <a:endParaRPr lang="en-US" sz="1900" dirty="0">
                  <a:solidFill>
                    <a:srgbClr val="40B3D6"/>
                  </a:solidFill>
                  <a:ea typeface="ＭＳ Ｐゴシック"/>
                </a:endParaRPr>
              </a:p>
            </p:txBody>
          </p:sp>
          <p:cxnSp>
            <p:nvCxnSpPr>
              <p:cNvPr id="5" name="Straight Connector 34"/>
              <p:cNvCxnSpPr>
                <a:cxnSpLocks noChangeShapeType="1"/>
              </p:cNvCxnSpPr>
              <p:nvPr/>
            </p:nvCxnSpPr>
            <p:spPr bwMode="auto">
              <a:xfrm flipV="1">
                <a:off x="10847388" y="4419600"/>
                <a:ext cx="9525" cy="231775"/>
              </a:xfrm>
              <a:prstGeom prst="line">
                <a:avLst/>
              </a:prstGeom>
              <a:noFill/>
              <a:ln w="19050">
                <a:solidFill>
                  <a:schemeClr val="tx1"/>
                </a:solidFill>
                <a:prstDash val="sysDash"/>
                <a:round/>
                <a:headEnd/>
                <a:tailEnd/>
              </a:ln>
              <a:extLst>
                <a:ext uri="{909E8E84-426E-40DD-AFC4-6F175D3DCCD1}">
                  <a14:hiddenFill xmlns:a14="http://schemas.microsoft.com/office/drawing/2010/main">
                    <a:noFill/>
                  </a14:hiddenFill>
                </a:ext>
              </a:extLst>
            </p:spPr>
          </p:cxnSp>
          <p:cxnSp>
            <p:nvCxnSpPr>
              <p:cNvPr id="6" name="Straight Connector 35"/>
              <p:cNvCxnSpPr>
                <a:cxnSpLocks noChangeShapeType="1"/>
              </p:cNvCxnSpPr>
              <p:nvPr/>
            </p:nvCxnSpPr>
            <p:spPr bwMode="auto">
              <a:xfrm flipV="1">
                <a:off x="10180638" y="4659313"/>
                <a:ext cx="1352550" cy="0"/>
              </a:xfrm>
              <a:prstGeom prst="line">
                <a:avLst/>
              </a:prstGeom>
              <a:noFill/>
              <a:ln w="19050">
                <a:solidFill>
                  <a:schemeClr val="tx1"/>
                </a:solidFill>
                <a:prstDash val="sysDash"/>
                <a:round/>
                <a:headEnd/>
                <a:tailEnd/>
              </a:ln>
              <a:extLst>
                <a:ext uri="{909E8E84-426E-40DD-AFC4-6F175D3DCCD1}">
                  <a14:hiddenFill xmlns:a14="http://schemas.microsoft.com/office/drawing/2010/main">
                    <a:noFill/>
                  </a14:hiddenFill>
                </a:ext>
              </a:extLst>
            </p:spPr>
          </p:cxnSp>
          <p:cxnSp>
            <p:nvCxnSpPr>
              <p:cNvPr id="7" name="Straight Connector 15"/>
              <p:cNvCxnSpPr>
                <a:cxnSpLocks noChangeShapeType="1"/>
              </p:cNvCxnSpPr>
              <p:nvPr/>
            </p:nvCxnSpPr>
            <p:spPr bwMode="auto">
              <a:xfrm flipV="1">
                <a:off x="1408113" y="5527675"/>
                <a:ext cx="0" cy="274638"/>
              </a:xfrm>
              <a:prstGeom prst="line">
                <a:avLst/>
              </a:prstGeom>
              <a:noFill/>
              <a:ln w="19050">
                <a:solidFill>
                  <a:schemeClr val="tx1"/>
                </a:solidFill>
                <a:prstDash val="sysDash"/>
                <a:round/>
                <a:headEnd/>
                <a:tailEnd/>
              </a:ln>
              <a:extLst>
                <a:ext uri="{909E8E84-426E-40DD-AFC4-6F175D3DCCD1}">
                  <a14:hiddenFill xmlns:a14="http://schemas.microsoft.com/office/drawing/2010/main">
                    <a:noFill/>
                  </a14:hiddenFill>
                </a:ext>
              </a:extLst>
            </p:spPr>
          </p:cxnSp>
          <p:cxnSp>
            <p:nvCxnSpPr>
              <p:cNvPr id="8" name="Straight Connector 16"/>
              <p:cNvCxnSpPr>
                <a:cxnSpLocks noChangeShapeType="1"/>
              </p:cNvCxnSpPr>
              <p:nvPr/>
            </p:nvCxnSpPr>
            <p:spPr bwMode="auto">
              <a:xfrm flipV="1">
                <a:off x="839788" y="5810250"/>
                <a:ext cx="1136650" cy="0"/>
              </a:xfrm>
              <a:prstGeom prst="line">
                <a:avLst/>
              </a:prstGeom>
              <a:noFill/>
              <a:ln w="19050">
                <a:solidFill>
                  <a:schemeClr val="tx1"/>
                </a:solidFill>
                <a:prstDash val="sysDash"/>
                <a:round/>
                <a:headEnd/>
                <a:tailEnd/>
              </a:ln>
              <a:extLst>
                <a:ext uri="{909E8E84-426E-40DD-AFC4-6F175D3DCCD1}">
                  <a14:hiddenFill xmlns:a14="http://schemas.microsoft.com/office/drawing/2010/main">
                    <a:noFill/>
                  </a14:hiddenFill>
                </a:ext>
              </a:extLst>
            </p:spPr>
          </p:cxnSp>
          <p:sp>
            <p:nvSpPr>
              <p:cNvPr id="9" name="Rounded Rectangle 8"/>
              <p:cNvSpPr>
                <a:spLocks noChangeArrowheads="1"/>
              </p:cNvSpPr>
              <p:nvPr/>
            </p:nvSpPr>
            <p:spPr bwMode="auto">
              <a:xfrm>
                <a:off x="9889668" y="4330630"/>
                <a:ext cx="2072640" cy="88196"/>
              </a:xfrm>
              <a:prstGeom prst="roundRect">
                <a:avLst>
                  <a:gd name="adj" fmla="val 50000"/>
                </a:avLst>
              </a:prstGeom>
              <a:solidFill>
                <a:schemeClr val="accent3"/>
              </a:solidFill>
              <a:ln w="57150">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pPr defTabSz="957263">
                  <a:defRPr/>
                </a:pPr>
                <a:endParaRPr lang="en-US" sz="1900" dirty="0">
                  <a:solidFill>
                    <a:srgbClr val="000000"/>
                  </a:solidFill>
                  <a:ea typeface="ＭＳ Ｐゴシック"/>
                </a:endParaRPr>
              </a:p>
            </p:txBody>
          </p:sp>
          <p:sp>
            <p:nvSpPr>
              <p:cNvPr id="10" name="Rounded Rectangle 9"/>
              <p:cNvSpPr>
                <a:spLocks noChangeArrowheads="1"/>
              </p:cNvSpPr>
              <p:nvPr/>
            </p:nvSpPr>
            <p:spPr bwMode="auto">
              <a:xfrm>
                <a:off x="262085" y="5450571"/>
                <a:ext cx="2316480" cy="88196"/>
              </a:xfrm>
              <a:prstGeom prst="roundRect">
                <a:avLst>
                  <a:gd name="adj" fmla="val 50000"/>
                </a:avLst>
              </a:prstGeom>
              <a:solidFill>
                <a:schemeClr val="accent5"/>
              </a:solidFill>
              <a:ln w="57150">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chorCtr="1"/>
              <a:lstStyle/>
              <a:p>
                <a:pPr defTabSz="957263">
                  <a:defRPr/>
                </a:pPr>
                <a:endParaRPr lang="en-US" sz="1900" dirty="0">
                  <a:solidFill>
                    <a:srgbClr val="000000"/>
                  </a:solidFill>
                  <a:ea typeface="ＭＳ Ｐゴシック"/>
                </a:endParaRPr>
              </a:p>
            </p:txBody>
          </p:sp>
          <p:cxnSp>
            <p:nvCxnSpPr>
              <p:cNvPr id="11" name="Straight Connector 34"/>
              <p:cNvCxnSpPr>
                <a:cxnSpLocks noChangeShapeType="1"/>
                <a:stCxn id="16" idx="0"/>
              </p:cNvCxnSpPr>
              <p:nvPr/>
            </p:nvCxnSpPr>
            <p:spPr bwMode="auto">
              <a:xfrm flipV="1">
                <a:off x="6200777" y="5080000"/>
                <a:ext cx="38098" cy="230188"/>
              </a:xfrm>
              <a:prstGeom prst="line">
                <a:avLst/>
              </a:prstGeom>
              <a:noFill/>
              <a:ln w="19050">
                <a:solidFill>
                  <a:schemeClr val="tx1"/>
                </a:solidFill>
                <a:prstDash val="sysDash"/>
                <a:round/>
                <a:headEnd/>
                <a:tailEnd/>
              </a:ln>
              <a:extLst>
                <a:ext uri="{909E8E84-426E-40DD-AFC4-6F175D3DCCD1}">
                  <a14:hiddenFill xmlns:a14="http://schemas.microsoft.com/office/drawing/2010/main">
                    <a:noFill/>
                  </a14:hiddenFill>
                </a:ext>
              </a:extLst>
            </p:spPr>
          </p:cxnSp>
          <p:cxnSp>
            <p:nvCxnSpPr>
              <p:cNvPr id="12" name="Straight Connector 35"/>
              <p:cNvCxnSpPr>
                <a:cxnSpLocks noChangeShapeType="1"/>
              </p:cNvCxnSpPr>
              <p:nvPr/>
            </p:nvCxnSpPr>
            <p:spPr bwMode="auto">
              <a:xfrm flipV="1">
                <a:off x="5524500" y="5340350"/>
                <a:ext cx="1352550" cy="0"/>
              </a:xfrm>
              <a:prstGeom prst="line">
                <a:avLst/>
              </a:prstGeom>
              <a:noFill/>
              <a:ln w="19050">
                <a:solidFill>
                  <a:schemeClr val="tx1"/>
                </a:solidFill>
                <a:prstDash val="sysDash"/>
                <a:round/>
                <a:headEnd/>
                <a:tailEnd/>
              </a:ln>
              <a:extLst>
                <a:ext uri="{909E8E84-426E-40DD-AFC4-6F175D3DCCD1}">
                  <a14:hiddenFill xmlns:a14="http://schemas.microsoft.com/office/drawing/2010/main">
                    <a:noFill/>
                  </a14:hiddenFill>
                </a:ext>
              </a:extLst>
            </p:spPr>
          </p:cxnSp>
          <p:sp>
            <p:nvSpPr>
              <p:cNvPr id="13" name="Rounded Rectangle 5"/>
              <p:cNvSpPr>
                <a:spLocks noChangeArrowheads="1"/>
              </p:cNvSpPr>
              <p:nvPr/>
            </p:nvSpPr>
            <p:spPr bwMode="auto">
              <a:xfrm>
                <a:off x="2657475" y="1014413"/>
                <a:ext cx="7140575" cy="4029075"/>
              </a:xfrm>
              <a:prstGeom prst="roundRect">
                <a:avLst>
                  <a:gd name="adj" fmla="val 1313"/>
                </a:avLst>
              </a:prstGeom>
              <a:solidFill>
                <a:schemeClr val="bg1"/>
              </a:solidFill>
              <a:ln w="6350">
                <a:solidFill>
                  <a:schemeClr val="bg2"/>
                </a:solidFill>
                <a:miter lim="800000"/>
                <a:headEnd/>
                <a:tailEnd/>
              </a:ln>
              <a:effectLst>
                <a:outerShdw blurRad="50800" dist="38100" dir="2700000" algn="tl" rotWithShape="0">
                  <a:prstClr val="black">
                    <a:alpha val="40000"/>
                  </a:prstClr>
                </a:outerShdw>
              </a:effectLst>
            </p:spPr>
            <p:txBody>
              <a:bodyPr anchorCtr="1"/>
              <a:lstStyle/>
              <a:p>
                <a:pPr marL="166664" lvl="1" indent="-166664" defTabSz="957263">
                  <a:buClr>
                    <a:srgbClr val="009ACC"/>
                  </a:buClr>
                  <a:buFont typeface="Wingdings" pitchFamily="2" charset="2"/>
                  <a:buChar char="§"/>
                  <a:defRPr/>
                </a:pPr>
                <a:endParaRPr lang="en-US" sz="1200" dirty="0">
                  <a:solidFill>
                    <a:prstClr val="black"/>
                  </a:solidFill>
                  <a:cs typeface="Arial" charset="0"/>
                </a:endParaRPr>
              </a:p>
            </p:txBody>
          </p:sp>
          <p:sp>
            <p:nvSpPr>
              <p:cNvPr id="14" name="Rounded Rectangle 13"/>
              <p:cNvSpPr>
                <a:spLocks noChangeArrowheads="1"/>
              </p:cNvSpPr>
              <p:nvPr/>
            </p:nvSpPr>
            <p:spPr bwMode="auto">
              <a:xfrm>
                <a:off x="233363" y="1014413"/>
                <a:ext cx="2312987" cy="4435475"/>
              </a:xfrm>
              <a:prstGeom prst="roundRect">
                <a:avLst>
                  <a:gd name="adj" fmla="val 2893"/>
                </a:avLst>
              </a:prstGeom>
              <a:solidFill>
                <a:schemeClr val="bg1"/>
              </a:solidFill>
              <a:ln w="6350">
                <a:solidFill>
                  <a:schemeClr val="bg2"/>
                </a:solidFill>
                <a:miter lim="800000"/>
                <a:headEnd/>
                <a:tailEnd/>
              </a:ln>
              <a:effectLst>
                <a:outerShdw blurRad="50800" dist="38100" dir="2700000" algn="tl" rotWithShape="0">
                  <a:prstClr val="black">
                    <a:alpha val="40000"/>
                  </a:prstClr>
                </a:outerShdw>
              </a:effectLst>
            </p:spPr>
            <p:txBody>
              <a:bodyPr anchorCtr="1"/>
              <a:lstStyle/>
              <a:p>
                <a:pPr marL="166664" lvl="1" indent="-166664" defTabSz="957263">
                  <a:buClr>
                    <a:srgbClr val="009ACC"/>
                  </a:buClr>
                  <a:buFont typeface="Wingdings" pitchFamily="2" charset="2"/>
                  <a:buChar char="§"/>
                  <a:defRPr/>
                </a:pPr>
                <a:endParaRPr lang="en-US" sz="1200" dirty="0">
                  <a:solidFill>
                    <a:prstClr val="black"/>
                  </a:solidFill>
                  <a:cs typeface="Arial" charset="0"/>
                </a:endParaRPr>
              </a:p>
            </p:txBody>
          </p:sp>
          <p:sp>
            <p:nvSpPr>
              <p:cNvPr id="15" name="Rectangle 207"/>
              <p:cNvSpPr>
                <a:spLocks noChangeArrowheads="1"/>
              </p:cNvSpPr>
              <p:nvPr/>
            </p:nvSpPr>
            <p:spPr bwMode="auto">
              <a:xfrm>
                <a:off x="626295" y="5797550"/>
                <a:ext cx="1565225" cy="357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defTabSz="957263"/>
                <a:r>
                  <a:rPr lang="en-US" sz="1400" b="1" i="1" dirty="0">
                    <a:solidFill>
                      <a:srgbClr val="E47E1A"/>
                    </a:solidFill>
                  </a:rPr>
                  <a:t>Focused On</a:t>
                </a:r>
              </a:p>
            </p:txBody>
          </p:sp>
          <p:sp>
            <p:nvSpPr>
              <p:cNvPr id="16" name="Rectangle 208"/>
              <p:cNvSpPr>
                <a:spLocks noChangeArrowheads="1"/>
              </p:cNvSpPr>
              <p:nvPr/>
            </p:nvSpPr>
            <p:spPr bwMode="auto">
              <a:xfrm>
                <a:off x="5211996" y="5310189"/>
                <a:ext cx="1977561" cy="357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defTabSz="957263"/>
                <a:r>
                  <a:rPr lang="en-US" sz="1400" b="1" i="1" dirty="0">
                    <a:solidFill>
                      <a:srgbClr val="009ACC"/>
                    </a:solidFill>
                  </a:rPr>
                  <a:t>Delivered Using</a:t>
                </a:r>
              </a:p>
            </p:txBody>
          </p:sp>
          <p:sp>
            <p:nvSpPr>
              <p:cNvPr id="17" name="Rectangle 209"/>
              <p:cNvSpPr>
                <a:spLocks noChangeArrowheads="1"/>
              </p:cNvSpPr>
              <p:nvPr/>
            </p:nvSpPr>
            <p:spPr bwMode="auto">
              <a:xfrm>
                <a:off x="9774238" y="4614863"/>
                <a:ext cx="2165350" cy="357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957263"/>
                <a:r>
                  <a:rPr lang="en-US" sz="1400" b="1" i="1" dirty="0">
                    <a:solidFill>
                      <a:srgbClr val="6A9529"/>
                    </a:solidFill>
                  </a:rPr>
                  <a:t>Generating</a:t>
                </a:r>
              </a:p>
            </p:txBody>
          </p:sp>
          <p:sp>
            <p:nvSpPr>
              <p:cNvPr id="18" name="Rounded Rectangle 17"/>
              <p:cNvSpPr>
                <a:spLocks noChangeArrowheads="1"/>
              </p:cNvSpPr>
              <p:nvPr/>
            </p:nvSpPr>
            <p:spPr bwMode="auto">
              <a:xfrm>
                <a:off x="9952038" y="1014413"/>
                <a:ext cx="1924050" cy="3289300"/>
              </a:xfrm>
              <a:prstGeom prst="roundRect">
                <a:avLst>
                  <a:gd name="adj" fmla="val 2893"/>
                </a:avLst>
              </a:prstGeom>
              <a:solidFill>
                <a:schemeClr val="bg1"/>
              </a:solidFill>
              <a:ln w="6350">
                <a:solidFill>
                  <a:schemeClr val="bg2"/>
                </a:solidFill>
                <a:miter lim="800000"/>
                <a:headEnd/>
                <a:tailEnd/>
              </a:ln>
              <a:effectLst>
                <a:outerShdw blurRad="50800" dist="38100" dir="2700000" algn="tl" rotWithShape="0">
                  <a:prstClr val="black">
                    <a:alpha val="40000"/>
                  </a:prstClr>
                </a:outerShdw>
              </a:effectLst>
            </p:spPr>
            <p:txBody>
              <a:bodyPr anchorCtr="1"/>
              <a:lstStyle/>
              <a:p>
                <a:pPr marL="166664" lvl="1" indent="-166664" defTabSz="957263">
                  <a:buClr>
                    <a:srgbClr val="009ACC"/>
                  </a:buClr>
                  <a:buFont typeface="Wingdings" pitchFamily="2" charset="2"/>
                  <a:buChar char="§"/>
                  <a:defRPr/>
                </a:pPr>
                <a:endParaRPr lang="en-US" sz="1200" dirty="0">
                  <a:solidFill>
                    <a:srgbClr val="000000"/>
                  </a:solidFill>
                  <a:cs typeface="Arial" charset="0"/>
                </a:endParaRPr>
              </a:p>
            </p:txBody>
          </p:sp>
          <p:sp>
            <p:nvSpPr>
              <p:cNvPr id="19" name="TextBox 212"/>
              <p:cNvSpPr txBox="1">
                <a:spLocks noChangeArrowheads="1"/>
              </p:cNvSpPr>
              <p:nvPr/>
            </p:nvSpPr>
            <p:spPr bwMode="auto">
              <a:xfrm>
                <a:off x="1081089" y="2139950"/>
                <a:ext cx="832917" cy="178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263" eaLnBrk="0" hangingPunct="0">
                  <a:defRPr>
                    <a:solidFill>
                      <a:schemeClr val="tx1"/>
                    </a:solidFill>
                    <a:latin typeface="Arial" pitchFamily="34" charset="0"/>
                  </a:defRPr>
                </a:lvl1pPr>
                <a:lvl2pPr marL="742950" indent="-285750" defTabSz="957263" eaLnBrk="0" hangingPunct="0">
                  <a:defRPr>
                    <a:solidFill>
                      <a:schemeClr val="tx1"/>
                    </a:solidFill>
                    <a:latin typeface="Arial" pitchFamily="34" charset="0"/>
                  </a:defRPr>
                </a:lvl2pPr>
                <a:lvl3pPr marL="1143000" indent="-228600" defTabSz="957263" eaLnBrk="0" hangingPunct="0">
                  <a:defRPr>
                    <a:solidFill>
                      <a:schemeClr val="tx1"/>
                    </a:solidFill>
                    <a:latin typeface="Arial" pitchFamily="34" charset="0"/>
                  </a:defRPr>
                </a:lvl3pPr>
                <a:lvl4pPr marL="1600200" indent="-228600" defTabSz="957263" eaLnBrk="0" hangingPunct="0">
                  <a:defRPr>
                    <a:solidFill>
                      <a:schemeClr val="tx1"/>
                    </a:solidFill>
                    <a:latin typeface="Arial" pitchFamily="34" charset="0"/>
                  </a:defRPr>
                </a:lvl4pPr>
                <a:lvl5pPr marL="2057400" indent="-228600" defTabSz="957263" eaLnBrk="0" hangingPunct="0">
                  <a:defRPr>
                    <a:solidFill>
                      <a:schemeClr val="tx1"/>
                    </a:solidFill>
                    <a:latin typeface="Arial" pitchFamily="34" charset="0"/>
                  </a:defRPr>
                </a:lvl5pPr>
                <a:lvl6pPr marL="2514600" indent="-228600" defTabSz="957263" eaLnBrk="0" fontAlgn="base" hangingPunct="0">
                  <a:spcBef>
                    <a:spcPct val="0"/>
                  </a:spcBef>
                  <a:spcAft>
                    <a:spcPct val="0"/>
                  </a:spcAft>
                  <a:defRPr>
                    <a:solidFill>
                      <a:schemeClr val="tx1"/>
                    </a:solidFill>
                    <a:latin typeface="Arial" pitchFamily="34" charset="0"/>
                  </a:defRPr>
                </a:lvl6pPr>
                <a:lvl7pPr marL="2971800" indent="-228600" defTabSz="957263" eaLnBrk="0" fontAlgn="base" hangingPunct="0">
                  <a:spcBef>
                    <a:spcPct val="0"/>
                  </a:spcBef>
                  <a:spcAft>
                    <a:spcPct val="0"/>
                  </a:spcAft>
                  <a:defRPr>
                    <a:solidFill>
                      <a:schemeClr val="tx1"/>
                    </a:solidFill>
                    <a:latin typeface="Arial" pitchFamily="34" charset="0"/>
                  </a:defRPr>
                </a:lvl7pPr>
                <a:lvl8pPr marL="3429000" indent="-228600" defTabSz="957263" eaLnBrk="0" fontAlgn="base" hangingPunct="0">
                  <a:spcBef>
                    <a:spcPct val="0"/>
                  </a:spcBef>
                  <a:spcAft>
                    <a:spcPct val="0"/>
                  </a:spcAft>
                  <a:defRPr>
                    <a:solidFill>
                      <a:schemeClr val="tx1"/>
                    </a:solidFill>
                    <a:latin typeface="Arial" pitchFamily="34" charset="0"/>
                  </a:defRPr>
                </a:lvl8pPr>
                <a:lvl9pPr marL="3886200" indent="-228600" defTabSz="957263" eaLnBrk="0" fontAlgn="base" hangingPunct="0">
                  <a:spcBef>
                    <a:spcPct val="0"/>
                  </a:spcBef>
                  <a:spcAft>
                    <a:spcPct val="0"/>
                  </a:spcAft>
                  <a:defRPr>
                    <a:solidFill>
                      <a:schemeClr val="tx1"/>
                    </a:solidFill>
                    <a:latin typeface="Arial" pitchFamily="34" charset="0"/>
                  </a:defRPr>
                </a:lvl9pPr>
              </a:lstStyle>
              <a:p>
                <a:pPr eaLnBrk="1" hangingPunct="1">
                  <a:spcAft>
                    <a:spcPts val="600"/>
                  </a:spcAft>
                </a:pPr>
                <a:r>
                  <a:rPr lang="en-US" sz="1000" b="1" dirty="0">
                    <a:solidFill>
                      <a:srgbClr val="000000"/>
                    </a:solidFill>
                    <a:latin typeface="Arial"/>
                  </a:rPr>
                  <a:t>Innovation</a:t>
                </a:r>
              </a:p>
            </p:txBody>
          </p:sp>
          <p:sp>
            <p:nvSpPr>
              <p:cNvPr id="20" name="Freeform 676"/>
              <p:cNvSpPr>
                <a:spLocks noChangeAspect="1" noEditPoints="1"/>
              </p:cNvSpPr>
              <p:nvPr/>
            </p:nvSpPr>
            <p:spPr bwMode="auto">
              <a:xfrm>
                <a:off x="471488" y="2027238"/>
                <a:ext cx="430212" cy="412750"/>
              </a:xfrm>
              <a:custGeom>
                <a:avLst/>
                <a:gdLst>
                  <a:gd name="T0" fmla="*/ 118 w 143"/>
                  <a:gd name="T1" fmla="*/ 56 h 170"/>
                  <a:gd name="T2" fmla="*/ 143 w 143"/>
                  <a:gd name="T3" fmla="*/ 42 h 170"/>
                  <a:gd name="T4" fmla="*/ 117 w 143"/>
                  <a:gd name="T5" fmla="*/ 109 h 170"/>
                  <a:gd name="T6" fmla="*/ 141 w 143"/>
                  <a:gd name="T7" fmla="*/ 123 h 170"/>
                  <a:gd name="T8" fmla="*/ 25 w 143"/>
                  <a:gd name="T9" fmla="*/ 107 h 170"/>
                  <a:gd name="T10" fmla="*/ 0 w 143"/>
                  <a:gd name="T11" fmla="*/ 121 h 170"/>
                  <a:gd name="T12" fmla="*/ 26 w 143"/>
                  <a:gd name="T13" fmla="*/ 54 h 170"/>
                  <a:gd name="T14" fmla="*/ 2 w 143"/>
                  <a:gd name="T15" fmla="*/ 39 h 170"/>
                  <a:gd name="T16" fmla="*/ 73 w 143"/>
                  <a:gd name="T17" fmla="*/ 28 h 170"/>
                  <a:gd name="T18" fmla="*/ 73 w 143"/>
                  <a:gd name="T19" fmla="*/ 0 h 170"/>
                  <a:gd name="T20" fmla="*/ 49 w 143"/>
                  <a:gd name="T21" fmla="*/ 83 h 170"/>
                  <a:gd name="T22" fmla="*/ 76 w 143"/>
                  <a:gd name="T23" fmla="*/ 56 h 170"/>
                  <a:gd name="T24" fmla="*/ 91 w 143"/>
                  <a:gd name="T25" fmla="*/ 115 h 170"/>
                  <a:gd name="T26" fmla="*/ 111 w 143"/>
                  <a:gd name="T27" fmla="*/ 81 h 170"/>
                  <a:gd name="T28" fmla="*/ 73 w 143"/>
                  <a:gd name="T29" fmla="*/ 42 h 170"/>
                  <a:gd name="T30" fmla="*/ 34 w 143"/>
                  <a:gd name="T31" fmla="*/ 81 h 170"/>
                  <a:gd name="T32" fmla="*/ 54 w 143"/>
                  <a:gd name="T33" fmla="*/ 115 h 170"/>
                  <a:gd name="T34" fmla="*/ 54 w 143"/>
                  <a:gd name="T35" fmla="*/ 134 h 170"/>
                  <a:gd name="T36" fmla="*/ 91 w 143"/>
                  <a:gd name="T37" fmla="*/ 134 h 170"/>
                  <a:gd name="T38" fmla="*/ 91 w 143"/>
                  <a:gd name="T39" fmla="*/ 154 h 170"/>
                  <a:gd name="T40" fmla="*/ 83 w 143"/>
                  <a:gd name="T41" fmla="*/ 163 h 170"/>
                  <a:gd name="T42" fmla="*/ 83 w 143"/>
                  <a:gd name="T43" fmla="*/ 163 h 170"/>
                  <a:gd name="T44" fmla="*/ 73 w 143"/>
                  <a:gd name="T45" fmla="*/ 170 h 170"/>
                  <a:gd name="T46" fmla="*/ 62 w 143"/>
                  <a:gd name="T47" fmla="*/ 163 h 170"/>
                  <a:gd name="T48" fmla="*/ 62 w 143"/>
                  <a:gd name="T49" fmla="*/ 163 h 170"/>
                  <a:gd name="T50" fmla="*/ 54 w 143"/>
                  <a:gd name="T51" fmla="*/ 154 h 170"/>
                  <a:gd name="T52" fmla="*/ 54 w 143"/>
                  <a:gd name="T53" fmla="*/ 147 h 17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43"/>
                  <a:gd name="T82" fmla="*/ 0 h 170"/>
                  <a:gd name="T83" fmla="*/ 143 w 143"/>
                  <a:gd name="T84" fmla="*/ 170 h 17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43" h="170">
                    <a:moveTo>
                      <a:pt x="118" y="56"/>
                    </a:moveTo>
                    <a:cubicBezTo>
                      <a:pt x="143" y="42"/>
                      <a:pt x="143" y="42"/>
                      <a:pt x="143" y="42"/>
                    </a:cubicBezTo>
                    <a:moveTo>
                      <a:pt x="117" y="109"/>
                    </a:moveTo>
                    <a:cubicBezTo>
                      <a:pt x="141" y="123"/>
                      <a:pt x="141" y="123"/>
                      <a:pt x="141" y="123"/>
                    </a:cubicBezTo>
                    <a:moveTo>
                      <a:pt x="25" y="107"/>
                    </a:moveTo>
                    <a:cubicBezTo>
                      <a:pt x="0" y="121"/>
                      <a:pt x="0" y="121"/>
                      <a:pt x="0" y="121"/>
                    </a:cubicBezTo>
                    <a:moveTo>
                      <a:pt x="26" y="54"/>
                    </a:moveTo>
                    <a:cubicBezTo>
                      <a:pt x="2" y="39"/>
                      <a:pt x="2" y="39"/>
                      <a:pt x="2" y="39"/>
                    </a:cubicBezTo>
                    <a:moveTo>
                      <a:pt x="73" y="28"/>
                    </a:moveTo>
                    <a:cubicBezTo>
                      <a:pt x="73" y="0"/>
                      <a:pt x="73" y="0"/>
                      <a:pt x="73" y="0"/>
                    </a:cubicBezTo>
                    <a:moveTo>
                      <a:pt x="49" y="83"/>
                    </a:moveTo>
                    <a:cubicBezTo>
                      <a:pt x="49" y="68"/>
                      <a:pt x="61" y="56"/>
                      <a:pt x="76" y="56"/>
                    </a:cubicBezTo>
                    <a:moveTo>
                      <a:pt x="91" y="115"/>
                    </a:moveTo>
                    <a:cubicBezTo>
                      <a:pt x="103" y="109"/>
                      <a:pt x="111" y="96"/>
                      <a:pt x="111" y="81"/>
                    </a:cubicBezTo>
                    <a:cubicBezTo>
                      <a:pt x="111" y="60"/>
                      <a:pt x="94" y="42"/>
                      <a:pt x="73" y="42"/>
                    </a:cubicBezTo>
                    <a:cubicBezTo>
                      <a:pt x="51" y="42"/>
                      <a:pt x="34" y="60"/>
                      <a:pt x="34" y="81"/>
                    </a:cubicBezTo>
                    <a:cubicBezTo>
                      <a:pt x="34" y="96"/>
                      <a:pt x="42" y="109"/>
                      <a:pt x="54" y="115"/>
                    </a:cubicBezTo>
                    <a:cubicBezTo>
                      <a:pt x="54" y="134"/>
                      <a:pt x="54" y="134"/>
                      <a:pt x="54" y="134"/>
                    </a:cubicBezTo>
                    <a:cubicBezTo>
                      <a:pt x="91" y="134"/>
                      <a:pt x="91" y="134"/>
                      <a:pt x="91" y="134"/>
                    </a:cubicBezTo>
                    <a:cubicBezTo>
                      <a:pt x="91" y="154"/>
                      <a:pt x="91" y="154"/>
                      <a:pt x="91" y="154"/>
                    </a:cubicBezTo>
                    <a:cubicBezTo>
                      <a:pt x="91" y="158"/>
                      <a:pt x="88" y="161"/>
                      <a:pt x="83" y="163"/>
                    </a:cubicBezTo>
                    <a:cubicBezTo>
                      <a:pt x="83" y="163"/>
                      <a:pt x="83" y="163"/>
                      <a:pt x="83" y="163"/>
                    </a:cubicBezTo>
                    <a:cubicBezTo>
                      <a:pt x="83" y="167"/>
                      <a:pt x="78" y="170"/>
                      <a:pt x="73" y="170"/>
                    </a:cubicBezTo>
                    <a:cubicBezTo>
                      <a:pt x="67" y="170"/>
                      <a:pt x="62" y="167"/>
                      <a:pt x="62" y="163"/>
                    </a:cubicBezTo>
                    <a:cubicBezTo>
                      <a:pt x="62" y="163"/>
                      <a:pt x="62" y="163"/>
                      <a:pt x="62" y="163"/>
                    </a:cubicBezTo>
                    <a:cubicBezTo>
                      <a:pt x="57" y="161"/>
                      <a:pt x="54" y="158"/>
                      <a:pt x="54" y="154"/>
                    </a:cubicBezTo>
                    <a:cubicBezTo>
                      <a:pt x="54" y="147"/>
                      <a:pt x="54" y="147"/>
                      <a:pt x="54" y="147"/>
                    </a:cubicBezTo>
                  </a:path>
                </a:pathLst>
              </a:custGeom>
              <a:noFill/>
              <a:ln w="12700" cap="rnd">
                <a:solidFill>
                  <a:srgbClr val="1D80A7"/>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prstClr val="black"/>
                  </a:solidFill>
                </a:endParaRPr>
              </a:p>
            </p:txBody>
          </p:sp>
          <p:sp>
            <p:nvSpPr>
              <p:cNvPr id="21" name="TextBox 214"/>
              <p:cNvSpPr txBox="1">
                <a:spLocks noChangeArrowheads="1"/>
              </p:cNvSpPr>
              <p:nvPr/>
            </p:nvSpPr>
            <p:spPr bwMode="auto">
              <a:xfrm>
                <a:off x="1081089" y="1128713"/>
                <a:ext cx="995790" cy="357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263" eaLnBrk="0" hangingPunct="0">
                  <a:defRPr>
                    <a:solidFill>
                      <a:schemeClr val="tx1"/>
                    </a:solidFill>
                    <a:latin typeface="Arial" pitchFamily="34" charset="0"/>
                  </a:defRPr>
                </a:lvl1pPr>
                <a:lvl2pPr marL="742950" indent="-285750" defTabSz="957263" eaLnBrk="0" hangingPunct="0">
                  <a:defRPr>
                    <a:solidFill>
                      <a:schemeClr val="tx1"/>
                    </a:solidFill>
                    <a:latin typeface="Arial" pitchFamily="34" charset="0"/>
                  </a:defRPr>
                </a:lvl2pPr>
                <a:lvl3pPr marL="1143000" indent="-228600" defTabSz="957263" eaLnBrk="0" hangingPunct="0">
                  <a:defRPr>
                    <a:solidFill>
                      <a:schemeClr val="tx1"/>
                    </a:solidFill>
                    <a:latin typeface="Arial" pitchFamily="34" charset="0"/>
                  </a:defRPr>
                </a:lvl3pPr>
                <a:lvl4pPr marL="1600200" indent="-228600" defTabSz="957263" eaLnBrk="0" hangingPunct="0">
                  <a:defRPr>
                    <a:solidFill>
                      <a:schemeClr val="tx1"/>
                    </a:solidFill>
                    <a:latin typeface="Arial" pitchFamily="34" charset="0"/>
                  </a:defRPr>
                </a:lvl4pPr>
                <a:lvl5pPr marL="2057400" indent="-228600" defTabSz="957263" eaLnBrk="0" hangingPunct="0">
                  <a:defRPr>
                    <a:solidFill>
                      <a:schemeClr val="tx1"/>
                    </a:solidFill>
                    <a:latin typeface="Arial" pitchFamily="34" charset="0"/>
                  </a:defRPr>
                </a:lvl5pPr>
                <a:lvl6pPr marL="2514600" indent="-228600" defTabSz="957263" eaLnBrk="0" fontAlgn="base" hangingPunct="0">
                  <a:spcBef>
                    <a:spcPct val="0"/>
                  </a:spcBef>
                  <a:spcAft>
                    <a:spcPct val="0"/>
                  </a:spcAft>
                  <a:defRPr>
                    <a:solidFill>
                      <a:schemeClr val="tx1"/>
                    </a:solidFill>
                    <a:latin typeface="Arial" pitchFamily="34" charset="0"/>
                  </a:defRPr>
                </a:lvl6pPr>
                <a:lvl7pPr marL="2971800" indent="-228600" defTabSz="957263" eaLnBrk="0" fontAlgn="base" hangingPunct="0">
                  <a:spcBef>
                    <a:spcPct val="0"/>
                  </a:spcBef>
                  <a:spcAft>
                    <a:spcPct val="0"/>
                  </a:spcAft>
                  <a:defRPr>
                    <a:solidFill>
                      <a:schemeClr val="tx1"/>
                    </a:solidFill>
                    <a:latin typeface="Arial" pitchFamily="34" charset="0"/>
                  </a:defRPr>
                </a:lvl7pPr>
                <a:lvl8pPr marL="3429000" indent="-228600" defTabSz="957263" eaLnBrk="0" fontAlgn="base" hangingPunct="0">
                  <a:spcBef>
                    <a:spcPct val="0"/>
                  </a:spcBef>
                  <a:spcAft>
                    <a:spcPct val="0"/>
                  </a:spcAft>
                  <a:defRPr>
                    <a:solidFill>
                      <a:schemeClr val="tx1"/>
                    </a:solidFill>
                    <a:latin typeface="Arial" pitchFamily="34" charset="0"/>
                  </a:defRPr>
                </a:lvl8pPr>
                <a:lvl9pPr marL="3886200" indent="-228600" defTabSz="957263" eaLnBrk="0" fontAlgn="base" hangingPunct="0">
                  <a:spcBef>
                    <a:spcPct val="0"/>
                  </a:spcBef>
                  <a:spcAft>
                    <a:spcPct val="0"/>
                  </a:spcAft>
                  <a:defRPr>
                    <a:solidFill>
                      <a:schemeClr val="tx1"/>
                    </a:solidFill>
                    <a:latin typeface="Arial" pitchFamily="34" charset="0"/>
                  </a:defRPr>
                </a:lvl9pPr>
              </a:lstStyle>
              <a:p>
                <a:pPr eaLnBrk="1" hangingPunct="1">
                  <a:spcAft>
                    <a:spcPts val="600"/>
                  </a:spcAft>
                </a:pPr>
                <a:r>
                  <a:rPr lang="en-US" sz="1000" b="1" dirty="0">
                    <a:solidFill>
                      <a:srgbClr val="000000"/>
                    </a:solidFill>
                    <a:latin typeface="Arial"/>
                  </a:rPr>
                  <a:t>Drive to </a:t>
                </a:r>
                <a:br>
                  <a:rPr lang="en-US" sz="1000" b="1" dirty="0">
                    <a:solidFill>
                      <a:srgbClr val="000000"/>
                    </a:solidFill>
                    <a:latin typeface="Arial"/>
                  </a:rPr>
                </a:br>
                <a:r>
                  <a:rPr lang="en-US" sz="1000" b="1" dirty="0">
                    <a:solidFill>
                      <a:srgbClr val="000000"/>
                    </a:solidFill>
                    <a:latin typeface="Arial"/>
                  </a:rPr>
                  <a:t>Zero Defects</a:t>
                </a:r>
              </a:p>
            </p:txBody>
          </p:sp>
          <p:grpSp>
            <p:nvGrpSpPr>
              <p:cNvPr id="25" name="Group 68"/>
              <p:cNvGrpSpPr>
                <a:grpSpLocks/>
              </p:cNvGrpSpPr>
              <p:nvPr/>
            </p:nvGrpSpPr>
            <p:grpSpPr bwMode="auto">
              <a:xfrm>
                <a:off x="447675" y="1117600"/>
                <a:ext cx="438150" cy="290513"/>
                <a:chOff x="5887217" y="2461547"/>
                <a:chExt cx="500968" cy="316668"/>
              </a:xfrm>
            </p:grpSpPr>
            <p:sp>
              <p:nvSpPr>
                <p:cNvPr id="135" name="Freeform 553"/>
                <p:cNvSpPr>
                  <a:spLocks/>
                </p:cNvSpPr>
                <p:nvPr/>
              </p:nvSpPr>
              <p:spPr bwMode="auto">
                <a:xfrm>
                  <a:off x="5887217" y="2461547"/>
                  <a:ext cx="500968" cy="316668"/>
                </a:xfrm>
                <a:custGeom>
                  <a:avLst/>
                  <a:gdLst>
                    <a:gd name="T0" fmla="*/ 0 w 162"/>
                    <a:gd name="T1" fmla="*/ 0 h 95"/>
                    <a:gd name="T2" fmla="*/ 0 w 162"/>
                    <a:gd name="T3" fmla="*/ 95 h 95"/>
                    <a:gd name="T4" fmla="*/ 162 w 162"/>
                    <a:gd name="T5" fmla="*/ 95 h 95"/>
                    <a:gd name="T6" fmla="*/ 0 60000 65536"/>
                    <a:gd name="T7" fmla="*/ 0 60000 65536"/>
                    <a:gd name="T8" fmla="*/ 0 60000 65536"/>
                    <a:gd name="T9" fmla="*/ 0 w 162"/>
                    <a:gd name="T10" fmla="*/ 0 h 95"/>
                    <a:gd name="T11" fmla="*/ 162 w 162"/>
                    <a:gd name="T12" fmla="*/ 95 h 95"/>
                  </a:gdLst>
                  <a:ahLst/>
                  <a:cxnLst>
                    <a:cxn ang="T6">
                      <a:pos x="T0" y="T1"/>
                    </a:cxn>
                    <a:cxn ang="T7">
                      <a:pos x="T2" y="T3"/>
                    </a:cxn>
                    <a:cxn ang="T8">
                      <a:pos x="T4" y="T5"/>
                    </a:cxn>
                  </a:cxnLst>
                  <a:rect l="T9" t="T10" r="T11" b="T12"/>
                  <a:pathLst>
                    <a:path w="162" h="95">
                      <a:moveTo>
                        <a:pt x="0" y="0"/>
                      </a:moveTo>
                      <a:lnTo>
                        <a:pt x="0" y="95"/>
                      </a:lnTo>
                      <a:lnTo>
                        <a:pt x="162" y="95"/>
                      </a:lnTo>
                    </a:path>
                  </a:pathLst>
                </a:custGeom>
                <a:noFill/>
                <a:ln w="12700" cap="sq">
                  <a:solidFill>
                    <a:srgbClr val="1D80A7"/>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prstClr val="black"/>
                    </a:solidFill>
                  </a:endParaRPr>
                </a:p>
              </p:txBody>
            </p:sp>
            <p:sp>
              <p:nvSpPr>
                <p:cNvPr id="136" name="Freeform 555"/>
                <p:cNvSpPr>
                  <a:spLocks/>
                </p:cNvSpPr>
                <p:nvPr/>
              </p:nvSpPr>
              <p:spPr bwMode="auto">
                <a:xfrm rot="5400000">
                  <a:off x="6237053" y="2621859"/>
                  <a:ext cx="103334" cy="110001"/>
                </a:xfrm>
                <a:custGeom>
                  <a:avLst/>
                  <a:gdLst>
                    <a:gd name="T0" fmla="*/ 0 w 31"/>
                    <a:gd name="T1" fmla="*/ 0 h 33"/>
                    <a:gd name="T2" fmla="*/ 31 w 31"/>
                    <a:gd name="T3" fmla="*/ 0 h 33"/>
                    <a:gd name="T4" fmla="*/ 31 w 31"/>
                    <a:gd name="T5" fmla="*/ 33 h 33"/>
                    <a:gd name="T6" fmla="*/ 0 60000 65536"/>
                    <a:gd name="T7" fmla="*/ 0 60000 65536"/>
                    <a:gd name="T8" fmla="*/ 0 60000 65536"/>
                    <a:gd name="T9" fmla="*/ 0 w 31"/>
                    <a:gd name="T10" fmla="*/ 0 h 33"/>
                    <a:gd name="T11" fmla="*/ 31 w 31"/>
                    <a:gd name="T12" fmla="*/ 33 h 33"/>
                  </a:gdLst>
                  <a:ahLst/>
                  <a:cxnLst>
                    <a:cxn ang="T6">
                      <a:pos x="T0" y="T1"/>
                    </a:cxn>
                    <a:cxn ang="T7">
                      <a:pos x="T2" y="T3"/>
                    </a:cxn>
                    <a:cxn ang="T8">
                      <a:pos x="T4" y="T5"/>
                    </a:cxn>
                  </a:cxnLst>
                  <a:rect l="T9" t="T10" r="T11" b="T12"/>
                  <a:pathLst>
                    <a:path w="31" h="33">
                      <a:moveTo>
                        <a:pt x="0" y="0"/>
                      </a:moveTo>
                      <a:lnTo>
                        <a:pt x="31" y="0"/>
                      </a:lnTo>
                      <a:lnTo>
                        <a:pt x="31" y="33"/>
                      </a:lnTo>
                    </a:path>
                  </a:pathLst>
                </a:custGeom>
                <a:noFill/>
                <a:ln w="12700" cap="sq">
                  <a:solidFill>
                    <a:srgbClr val="1D80A7"/>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prstClr val="black"/>
                    </a:solidFill>
                  </a:endParaRPr>
                </a:p>
              </p:txBody>
            </p:sp>
            <p:sp>
              <p:nvSpPr>
                <p:cNvPr id="137" name="Freeform 554"/>
                <p:cNvSpPr>
                  <a:spLocks/>
                </p:cNvSpPr>
                <p:nvPr/>
              </p:nvSpPr>
              <p:spPr bwMode="auto">
                <a:xfrm rot="5400000">
                  <a:off x="6027444" y="2402330"/>
                  <a:ext cx="197597" cy="373344"/>
                </a:xfrm>
                <a:custGeom>
                  <a:avLst/>
                  <a:gdLst>
                    <a:gd name="T0" fmla="*/ 0 w 5389"/>
                    <a:gd name="T1" fmla="*/ 373344 h 15556"/>
                    <a:gd name="T2" fmla="*/ 131450 w 5389"/>
                    <a:gd name="T3" fmla="*/ 210024 h 15556"/>
                    <a:gd name="T4" fmla="*/ 75680 w 5389"/>
                    <a:gd name="T5" fmla="*/ 121896 h 15556"/>
                    <a:gd name="T6" fmla="*/ 197597 w 5389"/>
                    <a:gd name="T7" fmla="*/ 0 h 155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389" h="15556">
                      <a:moveTo>
                        <a:pt x="0" y="15556"/>
                      </a:moveTo>
                      <a:lnTo>
                        <a:pt x="3585" y="8751"/>
                      </a:lnTo>
                      <a:lnTo>
                        <a:pt x="2064" y="5079"/>
                      </a:lnTo>
                      <a:lnTo>
                        <a:pt x="5389" y="0"/>
                      </a:lnTo>
                    </a:path>
                  </a:pathLst>
                </a:custGeom>
                <a:noFill/>
                <a:ln w="12700" cap="sq">
                  <a:solidFill>
                    <a:srgbClr val="1D80A7"/>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prstClr val="black"/>
                    </a:solidFill>
                  </a:endParaRPr>
                </a:p>
              </p:txBody>
            </p:sp>
          </p:grpSp>
          <p:sp>
            <p:nvSpPr>
              <p:cNvPr id="23" name="TextBox 216"/>
              <p:cNvSpPr txBox="1">
                <a:spLocks noChangeArrowheads="1"/>
              </p:cNvSpPr>
              <p:nvPr/>
            </p:nvSpPr>
            <p:spPr bwMode="auto">
              <a:xfrm>
                <a:off x="1081089" y="3733800"/>
                <a:ext cx="787560" cy="357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263" eaLnBrk="0" hangingPunct="0">
                  <a:defRPr>
                    <a:solidFill>
                      <a:schemeClr val="tx1"/>
                    </a:solidFill>
                    <a:latin typeface="Arial" pitchFamily="34" charset="0"/>
                  </a:defRPr>
                </a:lvl1pPr>
                <a:lvl2pPr marL="742950" indent="-285750" defTabSz="957263" eaLnBrk="0" hangingPunct="0">
                  <a:defRPr>
                    <a:solidFill>
                      <a:schemeClr val="tx1"/>
                    </a:solidFill>
                    <a:latin typeface="Arial" pitchFamily="34" charset="0"/>
                  </a:defRPr>
                </a:lvl2pPr>
                <a:lvl3pPr marL="1143000" indent="-228600" defTabSz="957263" eaLnBrk="0" hangingPunct="0">
                  <a:defRPr>
                    <a:solidFill>
                      <a:schemeClr val="tx1"/>
                    </a:solidFill>
                    <a:latin typeface="Arial" pitchFamily="34" charset="0"/>
                  </a:defRPr>
                </a:lvl3pPr>
                <a:lvl4pPr marL="1600200" indent="-228600" defTabSz="957263" eaLnBrk="0" hangingPunct="0">
                  <a:defRPr>
                    <a:solidFill>
                      <a:schemeClr val="tx1"/>
                    </a:solidFill>
                    <a:latin typeface="Arial" pitchFamily="34" charset="0"/>
                  </a:defRPr>
                </a:lvl4pPr>
                <a:lvl5pPr marL="2057400" indent="-228600" defTabSz="957263" eaLnBrk="0" hangingPunct="0">
                  <a:defRPr>
                    <a:solidFill>
                      <a:schemeClr val="tx1"/>
                    </a:solidFill>
                    <a:latin typeface="Arial" pitchFamily="34" charset="0"/>
                  </a:defRPr>
                </a:lvl5pPr>
                <a:lvl6pPr marL="2514600" indent="-228600" defTabSz="957263" eaLnBrk="0" fontAlgn="base" hangingPunct="0">
                  <a:spcBef>
                    <a:spcPct val="0"/>
                  </a:spcBef>
                  <a:spcAft>
                    <a:spcPct val="0"/>
                  </a:spcAft>
                  <a:defRPr>
                    <a:solidFill>
                      <a:schemeClr val="tx1"/>
                    </a:solidFill>
                    <a:latin typeface="Arial" pitchFamily="34" charset="0"/>
                  </a:defRPr>
                </a:lvl6pPr>
                <a:lvl7pPr marL="2971800" indent="-228600" defTabSz="957263" eaLnBrk="0" fontAlgn="base" hangingPunct="0">
                  <a:spcBef>
                    <a:spcPct val="0"/>
                  </a:spcBef>
                  <a:spcAft>
                    <a:spcPct val="0"/>
                  </a:spcAft>
                  <a:defRPr>
                    <a:solidFill>
                      <a:schemeClr val="tx1"/>
                    </a:solidFill>
                    <a:latin typeface="Arial" pitchFamily="34" charset="0"/>
                  </a:defRPr>
                </a:lvl7pPr>
                <a:lvl8pPr marL="3429000" indent="-228600" defTabSz="957263" eaLnBrk="0" fontAlgn="base" hangingPunct="0">
                  <a:spcBef>
                    <a:spcPct val="0"/>
                  </a:spcBef>
                  <a:spcAft>
                    <a:spcPct val="0"/>
                  </a:spcAft>
                  <a:defRPr>
                    <a:solidFill>
                      <a:schemeClr val="tx1"/>
                    </a:solidFill>
                    <a:latin typeface="Arial" pitchFamily="34" charset="0"/>
                  </a:defRPr>
                </a:lvl8pPr>
                <a:lvl9pPr marL="3886200" indent="-228600" defTabSz="957263" eaLnBrk="0" fontAlgn="base" hangingPunct="0">
                  <a:spcBef>
                    <a:spcPct val="0"/>
                  </a:spcBef>
                  <a:spcAft>
                    <a:spcPct val="0"/>
                  </a:spcAft>
                  <a:defRPr>
                    <a:solidFill>
                      <a:schemeClr val="tx1"/>
                    </a:solidFill>
                    <a:latin typeface="Arial" pitchFamily="34" charset="0"/>
                  </a:defRPr>
                </a:lvl9pPr>
              </a:lstStyle>
              <a:p>
                <a:pPr eaLnBrk="1" hangingPunct="1">
                  <a:spcAft>
                    <a:spcPts val="600"/>
                  </a:spcAft>
                </a:pPr>
                <a:r>
                  <a:rPr lang="en-US" sz="1000" b="1" dirty="0">
                    <a:solidFill>
                      <a:srgbClr val="000000"/>
                    </a:solidFill>
                    <a:latin typeface="Arial"/>
                  </a:rPr>
                  <a:t>No-Shore </a:t>
                </a:r>
                <a:br>
                  <a:rPr lang="en-US" sz="1000" b="1" dirty="0">
                    <a:solidFill>
                      <a:srgbClr val="000000"/>
                    </a:solidFill>
                    <a:latin typeface="Arial"/>
                  </a:rPr>
                </a:br>
                <a:r>
                  <a:rPr lang="en-US" sz="1000" b="1" dirty="0">
                    <a:solidFill>
                      <a:srgbClr val="000000"/>
                    </a:solidFill>
                    <a:latin typeface="Arial"/>
                  </a:rPr>
                  <a:t>Delivery</a:t>
                </a:r>
              </a:p>
            </p:txBody>
          </p:sp>
          <p:sp>
            <p:nvSpPr>
              <p:cNvPr id="24" name="TextBox 217"/>
              <p:cNvSpPr txBox="1">
                <a:spLocks noChangeArrowheads="1"/>
              </p:cNvSpPr>
              <p:nvPr/>
            </p:nvSpPr>
            <p:spPr bwMode="auto">
              <a:xfrm>
                <a:off x="1081089" y="4318000"/>
                <a:ext cx="750450" cy="357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263" eaLnBrk="0" hangingPunct="0">
                  <a:defRPr>
                    <a:solidFill>
                      <a:schemeClr val="tx1"/>
                    </a:solidFill>
                    <a:latin typeface="Arial" pitchFamily="34" charset="0"/>
                  </a:defRPr>
                </a:lvl1pPr>
                <a:lvl2pPr marL="742950" indent="-285750" defTabSz="957263" eaLnBrk="0" hangingPunct="0">
                  <a:defRPr>
                    <a:solidFill>
                      <a:schemeClr val="tx1"/>
                    </a:solidFill>
                    <a:latin typeface="Arial" pitchFamily="34" charset="0"/>
                  </a:defRPr>
                </a:lvl2pPr>
                <a:lvl3pPr marL="1143000" indent="-228600" defTabSz="957263" eaLnBrk="0" hangingPunct="0">
                  <a:defRPr>
                    <a:solidFill>
                      <a:schemeClr val="tx1"/>
                    </a:solidFill>
                    <a:latin typeface="Arial" pitchFamily="34" charset="0"/>
                  </a:defRPr>
                </a:lvl3pPr>
                <a:lvl4pPr marL="1600200" indent="-228600" defTabSz="957263" eaLnBrk="0" hangingPunct="0">
                  <a:defRPr>
                    <a:solidFill>
                      <a:schemeClr val="tx1"/>
                    </a:solidFill>
                    <a:latin typeface="Arial" pitchFamily="34" charset="0"/>
                  </a:defRPr>
                </a:lvl4pPr>
                <a:lvl5pPr marL="2057400" indent="-228600" defTabSz="957263" eaLnBrk="0" hangingPunct="0">
                  <a:defRPr>
                    <a:solidFill>
                      <a:schemeClr val="tx1"/>
                    </a:solidFill>
                    <a:latin typeface="Arial" pitchFamily="34" charset="0"/>
                  </a:defRPr>
                </a:lvl5pPr>
                <a:lvl6pPr marL="2514600" indent="-228600" defTabSz="957263" eaLnBrk="0" fontAlgn="base" hangingPunct="0">
                  <a:spcBef>
                    <a:spcPct val="0"/>
                  </a:spcBef>
                  <a:spcAft>
                    <a:spcPct val="0"/>
                  </a:spcAft>
                  <a:defRPr>
                    <a:solidFill>
                      <a:schemeClr val="tx1"/>
                    </a:solidFill>
                    <a:latin typeface="Arial" pitchFamily="34" charset="0"/>
                  </a:defRPr>
                </a:lvl6pPr>
                <a:lvl7pPr marL="2971800" indent="-228600" defTabSz="957263" eaLnBrk="0" fontAlgn="base" hangingPunct="0">
                  <a:spcBef>
                    <a:spcPct val="0"/>
                  </a:spcBef>
                  <a:spcAft>
                    <a:spcPct val="0"/>
                  </a:spcAft>
                  <a:defRPr>
                    <a:solidFill>
                      <a:schemeClr val="tx1"/>
                    </a:solidFill>
                    <a:latin typeface="Arial" pitchFamily="34" charset="0"/>
                  </a:defRPr>
                </a:lvl7pPr>
                <a:lvl8pPr marL="3429000" indent="-228600" defTabSz="957263" eaLnBrk="0" fontAlgn="base" hangingPunct="0">
                  <a:spcBef>
                    <a:spcPct val="0"/>
                  </a:spcBef>
                  <a:spcAft>
                    <a:spcPct val="0"/>
                  </a:spcAft>
                  <a:defRPr>
                    <a:solidFill>
                      <a:schemeClr val="tx1"/>
                    </a:solidFill>
                    <a:latin typeface="Arial" pitchFamily="34" charset="0"/>
                  </a:defRPr>
                </a:lvl8pPr>
                <a:lvl9pPr marL="3886200" indent="-228600" defTabSz="957263" eaLnBrk="0" fontAlgn="base" hangingPunct="0">
                  <a:spcBef>
                    <a:spcPct val="0"/>
                  </a:spcBef>
                  <a:spcAft>
                    <a:spcPct val="0"/>
                  </a:spcAft>
                  <a:defRPr>
                    <a:solidFill>
                      <a:schemeClr val="tx1"/>
                    </a:solidFill>
                    <a:latin typeface="Arial" pitchFamily="34" charset="0"/>
                  </a:defRPr>
                </a:lvl9pPr>
              </a:lstStyle>
              <a:p>
                <a:pPr eaLnBrk="1" hangingPunct="1">
                  <a:spcAft>
                    <a:spcPts val="600"/>
                  </a:spcAft>
                </a:pPr>
                <a:r>
                  <a:rPr lang="en-US" sz="1000" b="1" dirty="0">
                    <a:solidFill>
                      <a:srgbClr val="000000"/>
                    </a:solidFill>
                    <a:latin typeface="Arial"/>
                  </a:rPr>
                  <a:t>Flexible </a:t>
                </a:r>
                <a:br>
                  <a:rPr lang="en-US" sz="1000" b="1" dirty="0">
                    <a:solidFill>
                      <a:srgbClr val="000000"/>
                    </a:solidFill>
                    <a:latin typeface="Arial"/>
                  </a:rPr>
                </a:br>
                <a:r>
                  <a:rPr lang="en-US" sz="1000" b="1" dirty="0">
                    <a:solidFill>
                      <a:srgbClr val="000000"/>
                    </a:solidFill>
                    <a:latin typeface="Arial"/>
                  </a:rPr>
                  <a:t>Solutions</a:t>
                </a:r>
              </a:p>
            </p:txBody>
          </p:sp>
          <p:grpSp>
            <p:nvGrpSpPr>
              <p:cNvPr id="26" name="Group 56"/>
              <p:cNvGrpSpPr>
                <a:grpSpLocks/>
              </p:cNvGrpSpPr>
              <p:nvPr/>
            </p:nvGrpSpPr>
            <p:grpSpPr bwMode="auto">
              <a:xfrm>
                <a:off x="431800" y="3681413"/>
                <a:ext cx="490538" cy="374650"/>
                <a:chOff x="7290618" y="5022082"/>
                <a:chExt cx="706968" cy="664592"/>
              </a:xfrm>
            </p:grpSpPr>
            <p:sp>
              <p:nvSpPr>
                <p:cNvPr id="132" name="Freeform 426"/>
                <p:cNvSpPr>
                  <a:spLocks/>
                </p:cNvSpPr>
                <p:nvPr/>
              </p:nvSpPr>
              <p:spPr bwMode="auto">
                <a:xfrm>
                  <a:off x="7785926" y="5022082"/>
                  <a:ext cx="211660" cy="311920"/>
                </a:xfrm>
                <a:custGeom>
                  <a:avLst/>
                  <a:gdLst>
                    <a:gd name="T0" fmla="*/ 56 w 113"/>
                    <a:gd name="T1" fmla="*/ 166 h 166"/>
                    <a:gd name="T2" fmla="*/ 113 w 113"/>
                    <a:gd name="T3" fmla="*/ 153 h 166"/>
                    <a:gd name="T4" fmla="*/ 69 w 113"/>
                    <a:gd name="T5" fmla="*/ 65 h 166"/>
                    <a:gd name="T6" fmla="*/ 85 w 113"/>
                    <a:gd name="T7" fmla="*/ 34 h 166"/>
                    <a:gd name="T8" fmla="*/ 57 w 113"/>
                    <a:gd name="T9" fmla="*/ 0 h 166"/>
                    <a:gd name="T10" fmla="*/ 29 w 113"/>
                    <a:gd name="T11" fmla="*/ 34 h 166"/>
                    <a:gd name="T12" fmla="*/ 44 w 113"/>
                    <a:gd name="T13" fmla="*/ 65 h 166"/>
                    <a:gd name="T14" fmla="*/ 0 w 113"/>
                    <a:gd name="T15" fmla="*/ 153 h 166"/>
                    <a:gd name="T16" fmla="*/ 0 60000 65536"/>
                    <a:gd name="T17" fmla="*/ 0 60000 65536"/>
                    <a:gd name="T18" fmla="*/ 0 60000 65536"/>
                    <a:gd name="T19" fmla="*/ 0 60000 65536"/>
                    <a:gd name="T20" fmla="*/ 0 60000 65536"/>
                    <a:gd name="T21" fmla="*/ 0 60000 65536"/>
                    <a:gd name="T22" fmla="*/ 0 60000 65536"/>
                    <a:gd name="T23" fmla="*/ 0 60000 65536"/>
                    <a:gd name="T24" fmla="*/ 0 w 113"/>
                    <a:gd name="T25" fmla="*/ 0 h 166"/>
                    <a:gd name="T26" fmla="*/ 113 w 113"/>
                    <a:gd name="T27" fmla="*/ 166 h 16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3" h="166">
                      <a:moveTo>
                        <a:pt x="56" y="166"/>
                      </a:moveTo>
                      <a:cubicBezTo>
                        <a:pt x="85" y="166"/>
                        <a:pt x="113" y="158"/>
                        <a:pt x="113" y="153"/>
                      </a:cubicBezTo>
                      <a:cubicBezTo>
                        <a:pt x="113" y="111"/>
                        <a:pt x="102" y="75"/>
                        <a:pt x="69" y="65"/>
                      </a:cubicBezTo>
                      <a:cubicBezTo>
                        <a:pt x="76" y="59"/>
                        <a:pt x="85" y="46"/>
                        <a:pt x="85" y="34"/>
                      </a:cubicBezTo>
                      <a:cubicBezTo>
                        <a:pt x="85" y="14"/>
                        <a:pt x="72" y="0"/>
                        <a:pt x="57" y="0"/>
                      </a:cubicBezTo>
                      <a:cubicBezTo>
                        <a:pt x="41" y="0"/>
                        <a:pt x="29" y="14"/>
                        <a:pt x="29" y="34"/>
                      </a:cubicBezTo>
                      <a:cubicBezTo>
                        <a:pt x="29" y="46"/>
                        <a:pt x="37" y="59"/>
                        <a:pt x="44" y="65"/>
                      </a:cubicBezTo>
                      <a:cubicBezTo>
                        <a:pt x="12" y="75"/>
                        <a:pt x="0" y="111"/>
                        <a:pt x="0" y="153"/>
                      </a:cubicBezTo>
                    </a:path>
                  </a:pathLst>
                </a:custGeom>
                <a:solidFill>
                  <a:schemeClr val="bg1"/>
                </a:solidFill>
                <a:ln w="7938" cap="rnd">
                  <a:solidFill>
                    <a:srgbClr val="1D80A7"/>
                  </a:solidFill>
                  <a:prstDash val="solid"/>
                  <a:round/>
                  <a:headEnd/>
                  <a:tailEnd/>
                </a:ln>
              </p:spPr>
              <p:txBody>
                <a:bodyPr/>
                <a:lstStyle/>
                <a:p>
                  <a:endParaRPr lang="en-US" dirty="0">
                    <a:solidFill>
                      <a:prstClr val="black"/>
                    </a:solidFill>
                  </a:endParaRPr>
                </a:p>
              </p:txBody>
            </p:sp>
            <p:sp>
              <p:nvSpPr>
                <p:cNvPr id="133" name="Freeform 751"/>
                <p:cNvSpPr>
                  <a:spLocks noChangeAspect="1" noEditPoints="1"/>
                </p:cNvSpPr>
                <p:nvPr/>
              </p:nvSpPr>
              <p:spPr bwMode="auto">
                <a:xfrm>
                  <a:off x="7396879" y="5101758"/>
                  <a:ext cx="540000" cy="540000"/>
                </a:xfrm>
                <a:custGeom>
                  <a:avLst/>
                  <a:gdLst>
                    <a:gd name="T0" fmla="*/ 86 w 171"/>
                    <a:gd name="T1" fmla="*/ 170 h 170"/>
                    <a:gd name="T2" fmla="*/ 86 w 171"/>
                    <a:gd name="T3" fmla="*/ 0 h 170"/>
                    <a:gd name="T4" fmla="*/ 0 w 171"/>
                    <a:gd name="T5" fmla="*/ 85 h 170"/>
                    <a:gd name="T6" fmla="*/ 171 w 171"/>
                    <a:gd name="T7" fmla="*/ 85 h 170"/>
                    <a:gd name="T8" fmla="*/ 132 w 171"/>
                    <a:gd name="T9" fmla="*/ 85 h 170"/>
                    <a:gd name="T10" fmla="*/ 86 w 171"/>
                    <a:gd name="T11" fmla="*/ 170 h 170"/>
                    <a:gd name="T12" fmla="*/ 40 w 171"/>
                    <a:gd name="T13" fmla="*/ 85 h 170"/>
                    <a:gd name="T14" fmla="*/ 86 w 171"/>
                    <a:gd name="T15" fmla="*/ 0 h 170"/>
                    <a:gd name="T16" fmla="*/ 132 w 171"/>
                    <a:gd name="T17" fmla="*/ 85 h 170"/>
                    <a:gd name="T18" fmla="*/ 150 w 171"/>
                    <a:gd name="T19" fmla="*/ 139 h 170"/>
                    <a:gd name="T20" fmla="*/ 86 w 171"/>
                    <a:gd name="T21" fmla="*/ 125 h 170"/>
                    <a:gd name="T22" fmla="*/ 20 w 171"/>
                    <a:gd name="T23" fmla="*/ 139 h 170"/>
                    <a:gd name="T24" fmla="*/ 20 w 171"/>
                    <a:gd name="T25" fmla="*/ 30 h 170"/>
                    <a:gd name="T26" fmla="*/ 85 w 171"/>
                    <a:gd name="T27" fmla="*/ 45 h 170"/>
                    <a:gd name="T28" fmla="*/ 150 w 171"/>
                    <a:gd name="T29" fmla="*/ 30 h 170"/>
                    <a:gd name="T30" fmla="*/ 20 w 171"/>
                    <a:gd name="T31" fmla="*/ 30 h 170"/>
                    <a:gd name="T32" fmla="*/ 86 w 171"/>
                    <a:gd name="T33" fmla="*/ 0 h 170"/>
                    <a:gd name="T34" fmla="*/ 150 w 171"/>
                    <a:gd name="T35" fmla="*/ 30 h 170"/>
                    <a:gd name="T36" fmla="*/ 20 w 171"/>
                    <a:gd name="T37" fmla="*/ 30 h 170"/>
                    <a:gd name="T38" fmla="*/ 0 w 171"/>
                    <a:gd name="T39" fmla="*/ 85 h 170"/>
                    <a:gd name="T40" fmla="*/ 86 w 171"/>
                    <a:gd name="T41" fmla="*/ 170 h 170"/>
                    <a:gd name="T42" fmla="*/ 127 w 171"/>
                    <a:gd name="T43" fmla="*/ 159 h 170"/>
                    <a:gd name="T44" fmla="*/ 151 w 171"/>
                    <a:gd name="T45" fmla="*/ 139 h 170"/>
                    <a:gd name="T46" fmla="*/ 171 w 171"/>
                    <a:gd name="T47" fmla="*/ 85 h 170"/>
                    <a:gd name="T48" fmla="*/ 150 w 171"/>
                    <a:gd name="T49" fmla="*/ 30 h 17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71"/>
                    <a:gd name="T76" fmla="*/ 0 h 170"/>
                    <a:gd name="T77" fmla="*/ 171 w 171"/>
                    <a:gd name="T78" fmla="*/ 170 h 17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71" h="170">
                      <a:moveTo>
                        <a:pt x="86" y="170"/>
                      </a:moveTo>
                      <a:cubicBezTo>
                        <a:pt x="86" y="0"/>
                        <a:pt x="86" y="0"/>
                        <a:pt x="86" y="0"/>
                      </a:cubicBezTo>
                      <a:moveTo>
                        <a:pt x="0" y="85"/>
                      </a:moveTo>
                      <a:cubicBezTo>
                        <a:pt x="171" y="85"/>
                        <a:pt x="171" y="85"/>
                        <a:pt x="171" y="85"/>
                      </a:cubicBezTo>
                      <a:moveTo>
                        <a:pt x="132" y="85"/>
                      </a:moveTo>
                      <a:cubicBezTo>
                        <a:pt x="132" y="132"/>
                        <a:pt x="111" y="170"/>
                        <a:pt x="86" y="170"/>
                      </a:cubicBezTo>
                      <a:cubicBezTo>
                        <a:pt x="60" y="170"/>
                        <a:pt x="40" y="132"/>
                        <a:pt x="40" y="85"/>
                      </a:cubicBezTo>
                      <a:cubicBezTo>
                        <a:pt x="40" y="38"/>
                        <a:pt x="60" y="0"/>
                        <a:pt x="86" y="0"/>
                      </a:cubicBezTo>
                      <a:cubicBezTo>
                        <a:pt x="111" y="0"/>
                        <a:pt x="132" y="38"/>
                        <a:pt x="132" y="85"/>
                      </a:cubicBezTo>
                      <a:close/>
                      <a:moveTo>
                        <a:pt x="150" y="139"/>
                      </a:moveTo>
                      <a:cubicBezTo>
                        <a:pt x="135" y="130"/>
                        <a:pt x="112" y="125"/>
                        <a:pt x="86" y="125"/>
                      </a:cubicBezTo>
                      <a:cubicBezTo>
                        <a:pt x="59" y="125"/>
                        <a:pt x="36" y="130"/>
                        <a:pt x="20" y="139"/>
                      </a:cubicBezTo>
                      <a:moveTo>
                        <a:pt x="20" y="30"/>
                      </a:moveTo>
                      <a:cubicBezTo>
                        <a:pt x="36" y="39"/>
                        <a:pt x="59" y="45"/>
                        <a:pt x="85" y="45"/>
                      </a:cubicBezTo>
                      <a:cubicBezTo>
                        <a:pt x="111" y="45"/>
                        <a:pt x="135" y="39"/>
                        <a:pt x="150" y="30"/>
                      </a:cubicBezTo>
                      <a:moveTo>
                        <a:pt x="20" y="30"/>
                      </a:moveTo>
                      <a:cubicBezTo>
                        <a:pt x="36" y="12"/>
                        <a:pt x="59" y="0"/>
                        <a:pt x="86" y="0"/>
                      </a:cubicBezTo>
                      <a:cubicBezTo>
                        <a:pt x="112" y="0"/>
                        <a:pt x="135" y="12"/>
                        <a:pt x="150" y="30"/>
                      </a:cubicBezTo>
                      <a:moveTo>
                        <a:pt x="20" y="30"/>
                      </a:moveTo>
                      <a:cubicBezTo>
                        <a:pt x="8" y="45"/>
                        <a:pt x="0" y="64"/>
                        <a:pt x="0" y="85"/>
                      </a:cubicBezTo>
                      <a:cubicBezTo>
                        <a:pt x="0" y="132"/>
                        <a:pt x="39" y="170"/>
                        <a:pt x="86" y="170"/>
                      </a:cubicBezTo>
                      <a:moveTo>
                        <a:pt x="127" y="159"/>
                      </a:moveTo>
                      <a:cubicBezTo>
                        <a:pt x="136" y="154"/>
                        <a:pt x="144" y="147"/>
                        <a:pt x="151" y="139"/>
                      </a:cubicBezTo>
                      <a:cubicBezTo>
                        <a:pt x="163" y="125"/>
                        <a:pt x="171" y="106"/>
                        <a:pt x="171" y="85"/>
                      </a:cubicBezTo>
                      <a:cubicBezTo>
                        <a:pt x="171" y="64"/>
                        <a:pt x="163" y="45"/>
                        <a:pt x="150" y="30"/>
                      </a:cubicBezTo>
                    </a:path>
                  </a:pathLst>
                </a:custGeom>
                <a:solidFill>
                  <a:schemeClr val="bg1"/>
                </a:solidFill>
                <a:ln w="12700" cap="rnd">
                  <a:solidFill>
                    <a:srgbClr val="1D80A7"/>
                  </a:solidFill>
                  <a:prstDash val="solid"/>
                  <a:round/>
                  <a:headEnd/>
                  <a:tailEnd/>
                </a:ln>
              </p:spPr>
              <p:txBody>
                <a:bodyPr/>
                <a:lstStyle/>
                <a:p>
                  <a:endParaRPr lang="en-US" dirty="0">
                    <a:solidFill>
                      <a:prstClr val="black"/>
                    </a:solidFill>
                  </a:endParaRPr>
                </a:p>
              </p:txBody>
            </p:sp>
            <p:sp>
              <p:nvSpPr>
                <p:cNvPr id="134" name="Freeform 426"/>
                <p:cNvSpPr>
                  <a:spLocks/>
                </p:cNvSpPr>
                <p:nvPr/>
              </p:nvSpPr>
              <p:spPr bwMode="auto">
                <a:xfrm>
                  <a:off x="7290618" y="5288779"/>
                  <a:ext cx="270002" cy="397895"/>
                </a:xfrm>
                <a:custGeom>
                  <a:avLst/>
                  <a:gdLst>
                    <a:gd name="T0" fmla="*/ 56 w 113"/>
                    <a:gd name="T1" fmla="*/ 166 h 166"/>
                    <a:gd name="T2" fmla="*/ 113 w 113"/>
                    <a:gd name="T3" fmla="*/ 153 h 166"/>
                    <a:gd name="T4" fmla="*/ 69 w 113"/>
                    <a:gd name="T5" fmla="*/ 65 h 166"/>
                    <a:gd name="T6" fmla="*/ 85 w 113"/>
                    <a:gd name="T7" fmla="*/ 34 h 166"/>
                    <a:gd name="T8" fmla="*/ 57 w 113"/>
                    <a:gd name="T9" fmla="*/ 0 h 166"/>
                    <a:gd name="T10" fmla="*/ 29 w 113"/>
                    <a:gd name="T11" fmla="*/ 34 h 166"/>
                    <a:gd name="T12" fmla="*/ 44 w 113"/>
                    <a:gd name="T13" fmla="*/ 65 h 166"/>
                    <a:gd name="T14" fmla="*/ 0 w 113"/>
                    <a:gd name="T15" fmla="*/ 153 h 166"/>
                    <a:gd name="T16" fmla="*/ 0 60000 65536"/>
                    <a:gd name="T17" fmla="*/ 0 60000 65536"/>
                    <a:gd name="T18" fmla="*/ 0 60000 65536"/>
                    <a:gd name="T19" fmla="*/ 0 60000 65536"/>
                    <a:gd name="T20" fmla="*/ 0 60000 65536"/>
                    <a:gd name="T21" fmla="*/ 0 60000 65536"/>
                    <a:gd name="T22" fmla="*/ 0 60000 65536"/>
                    <a:gd name="T23" fmla="*/ 0 60000 65536"/>
                    <a:gd name="T24" fmla="*/ 0 w 113"/>
                    <a:gd name="T25" fmla="*/ 0 h 166"/>
                    <a:gd name="T26" fmla="*/ 113 w 113"/>
                    <a:gd name="T27" fmla="*/ 166 h 16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3" h="166">
                      <a:moveTo>
                        <a:pt x="56" y="166"/>
                      </a:moveTo>
                      <a:cubicBezTo>
                        <a:pt x="85" y="166"/>
                        <a:pt x="113" y="158"/>
                        <a:pt x="113" y="153"/>
                      </a:cubicBezTo>
                      <a:cubicBezTo>
                        <a:pt x="113" y="111"/>
                        <a:pt x="102" y="75"/>
                        <a:pt x="69" y="65"/>
                      </a:cubicBezTo>
                      <a:cubicBezTo>
                        <a:pt x="76" y="59"/>
                        <a:pt x="85" y="46"/>
                        <a:pt x="85" y="34"/>
                      </a:cubicBezTo>
                      <a:cubicBezTo>
                        <a:pt x="85" y="14"/>
                        <a:pt x="72" y="0"/>
                        <a:pt x="57" y="0"/>
                      </a:cubicBezTo>
                      <a:cubicBezTo>
                        <a:pt x="41" y="0"/>
                        <a:pt x="29" y="14"/>
                        <a:pt x="29" y="34"/>
                      </a:cubicBezTo>
                      <a:cubicBezTo>
                        <a:pt x="29" y="46"/>
                        <a:pt x="37" y="59"/>
                        <a:pt x="44" y="65"/>
                      </a:cubicBezTo>
                      <a:cubicBezTo>
                        <a:pt x="12" y="75"/>
                        <a:pt x="0" y="111"/>
                        <a:pt x="0" y="153"/>
                      </a:cubicBezTo>
                    </a:path>
                  </a:pathLst>
                </a:custGeom>
                <a:solidFill>
                  <a:schemeClr val="bg1"/>
                </a:solidFill>
                <a:ln w="7938" cap="rnd">
                  <a:solidFill>
                    <a:srgbClr val="1D80A7"/>
                  </a:solidFill>
                  <a:prstDash val="solid"/>
                  <a:round/>
                  <a:headEnd/>
                  <a:tailEnd/>
                </a:ln>
              </p:spPr>
              <p:txBody>
                <a:bodyPr/>
                <a:lstStyle/>
                <a:p>
                  <a:endParaRPr lang="en-US" dirty="0">
                    <a:solidFill>
                      <a:prstClr val="black"/>
                    </a:solidFill>
                  </a:endParaRPr>
                </a:p>
              </p:txBody>
            </p:sp>
          </p:grpSp>
          <p:grpSp>
            <p:nvGrpSpPr>
              <p:cNvPr id="30" name="Group 87"/>
              <p:cNvGrpSpPr>
                <a:grpSpLocks/>
              </p:cNvGrpSpPr>
              <p:nvPr/>
            </p:nvGrpSpPr>
            <p:grpSpPr bwMode="auto">
              <a:xfrm>
                <a:off x="431800" y="4214813"/>
                <a:ext cx="523875" cy="436562"/>
                <a:chOff x="8637050" y="441307"/>
                <a:chExt cx="832365" cy="852467"/>
              </a:xfrm>
            </p:grpSpPr>
            <p:sp>
              <p:nvSpPr>
                <p:cNvPr id="128" name="Freeform 15"/>
                <p:cNvSpPr>
                  <a:spLocks/>
                </p:cNvSpPr>
                <p:nvPr/>
              </p:nvSpPr>
              <p:spPr bwMode="auto">
                <a:xfrm rot="1435412">
                  <a:off x="9155161" y="441307"/>
                  <a:ext cx="314254" cy="441166"/>
                </a:xfrm>
                <a:custGeom>
                  <a:avLst/>
                  <a:gdLst>
                    <a:gd name="T0" fmla="*/ 118163 w 1976"/>
                    <a:gd name="T1" fmla="*/ 38501 h 2773"/>
                    <a:gd name="T2" fmla="*/ 126910 w 1976"/>
                    <a:gd name="T3" fmla="*/ 48523 h 2773"/>
                    <a:gd name="T4" fmla="*/ 135021 w 1976"/>
                    <a:gd name="T5" fmla="*/ 55683 h 2773"/>
                    <a:gd name="T6" fmla="*/ 132158 w 1976"/>
                    <a:gd name="T7" fmla="*/ 61887 h 2773"/>
                    <a:gd name="T8" fmla="*/ 0 w 1976"/>
                    <a:gd name="T9" fmla="*/ 63001 h 2773"/>
                    <a:gd name="T10" fmla="*/ 1431 w 1976"/>
                    <a:gd name="T11" fmla="*/ 196639 h 2773"/>
                    <a:gd name="T12" fmla="*/ 6839 w 1976"/>
                    <a:gd name="T13" fmla="*/ 198867 h 2773"/>
                    <a:gd name="T14" fmla="*/ 13041 w 1976"/>
                    <a:gd name="T15" fmla="*/ 192344 h 2773"/>
                    <a:gd name="T16" fmla="*/ 20675 w 1976"/>
                    <a:gd name="T17" fmla="*/ 183912 h 2773"/>
                    <a:gd name="T18" fmla="*/ 33397 w 1976"/>
                    <a:gd name="T19" fmla="*/ 179776 h 2773"/>
                    <a:gd name="T20" fmla="*/ 47552 w 1976"/>
                    <a:gd name="T21" fmla="*/ 184071 h 2773"/>
                    <a:gd name="T22" fmla="*/ 59320 w 1976"/>
                    <a:gd name="T23" fmla="*/ 198867 h 2773"/>
                    <a:gd name="T24" fmla="*/ 62978 w 1976"/>
                    <a:gd name="T25" fmla="*/ 216208 h 2773"/>
                    <a:gd name="T26" fmla="*/ 57889 w 1976"/>
                    <a:gd name="T27" fmla="*/ 236572 h 2773"/>
                    <a:gd name="T28" fmla="*/ 44848 w 1976"/>
                    <a:gd name="T29" fmla="*/ 249936 h 2773"/>
                    <a:gd name="T30" fmla="*/ 30853 w 1976"/>
                    <a:gd name="T31" fmla="*/ 252640 h 2773"/>
                    <a:gd name="T32" fmla="*/ 19243 w 1976"/>
                    <a:gd name="T33" fmla="*/ 247549 h 2773"/>
                    <a:gd name="T34" fmla="*/ 12087 w 1976"/>
                    <a:gd name="T35" fmla="*/ 238322 h 2773"/>
                    <a:gd name="T36" fmla="*/ 5884 w 1976"/>
                    <a:gd name="T37" fmla="*/ 233231 h 2773"/>
                    <a:gd name="T38" fmla="*/ 954 w 1976"/>
                    <a:gd name="T39" fmla="*/ 236890 h 2773"/>
                    <a:gd name="T40" fmla="*/ 72202 w 1976"/>
                    <a:gd name="T41" fmla="*/ 378165 h 2773"/>
                    <a:gd name="T42" fmla="*/ 142496 w 1976"/>
                    <a:gd name="T43" fmla="*/ 379756 h 2773"/>
                    <a:gd name="T44" fmla="*/ 143450 w 1976"/>
                    <a:gd name="T45" fmla="*/ 386915 h 2773"/>
                    <a:gd name="T46" fmla="*/ 134067 w 1976"/>
                    <a:gd name="T47" fmla="*/ 393756 h 2773"/>
                    <a:gd name="T48" fmla="*/ 126433 w 1976"/>
                    <a:gd name="T49" fmla="*/ 404575 h 2773"/>
                    <a:gd name="T50" fmla="*/ 125956 w 1976"/>
                    <a:gd name="T51" fmla="*/ 417620 h 2773"/>
                    <a:gd name="T52" fmla="*/ 135975 w 1976"/>
                    <a:gd name="T53" fmla="*/ 432416 h 2773"/>
                    <a:gd name="T54" fmla="*/ 154423 w 1976"/>
                    <a:gd name="T55" fmla="*/ 440371 h 2773"/>
                    <a:gd name="T56" fmla="*/ 172553 w 1976"/>
                    <a:gd name="T57" fmla="*/ 439734 h 2773"/>
                    <a:gd name="T58" fmla="*/ 189888 w 1976"/>
                    <a:gd name="T59" fmla="*/ 430507 h 2773"/>
                    <a:gd name="T60" fmla="*/ 197999 w 1976"/>
                    <a:gd name="T61" fmla="*/ 414757 h 2773"/>
                    <a:gd name="T62" fmla="*/ 196250 w 1976"/>
                    <a:gd name="T63" fmla="*/ 402347 h 2773"/>
                    <a:gd name="T64" fmla="*/ 187503 w 1976"/>
                    <a:gd name="T65" fmla="*/ 392483 h 2773"/>
                    <a:gd name="T66" fmla="*/ 179233 w 1976"/>
                    <a:gd name="T67" fmla="*/ 385324 h 2773"/>
                    <a:gd name="T68" fmla="*/ 182096 w 1976"/>
                    <a:gd name="T69" fmla="*/ 379120 h 2773"/>
                    <a:gd name="T70" fmla="*/ 314254 w 1976"/>
                    <a:gd name="T71" fmla="*/ 377847 h 2773"/>
                    <a:gd name="T72" fmla="*/ 312823 w 1976"/>
                    <a:gd name="T73" fmla="*/ 244208 h 2773"/>
                    <a:gd name="T74" fmla="*/ 307256 w 1976"/>
                    <a:gd name="T75" fmla="*/ 242140 h 2773"/>
                    <a:gd name="T76" fmla="*/ 301372 w 1976"/>
                    <a:gd name="T77" fmla="*/ 248504 h 2773"/>
                    <a:gd name="T78" fmla="*/ 293579 w 1976"/>
                    <a:gd name="T79" fmla="*/ 257254 h 2773"/>
                    <a:gd name="T80" fmla="*/ 280698 w 1976"/>
                    <a:gd name="T81" fmla="*/ 261390 h 2773"/>
                    <a:gd name="T82" fmla="*/ 266702 w 1976"/>
                    <a:gd name="T83" fmla="*/ 256777 h 2773"/>
                    <a:gd name="T84" fmla="*/ 254934 w 1976"/>
                    <a:gd name="T85" fmla="*/ 242140 h 2773"/>
                    <a:gd name="T86" fmla="*/ 251435 w 1976"/>
                    <a:gd name="T87" fmla="*/ 224799 h 2773"/>
                    <a:gd name="T88" fmla="*/ 256365 w 1976"/>
                    <a:gd name="T89" fmla="*/ 204276 h 2773"/>
                    <a:gd name="T90" fmla="*/ 269247 w 1976"/>
                    <a:gd name="T91" fmla="*/ 191230 h 2773"/>
                    <a:gd name="T92" fmla="*/ 283242 w 1976"/>
                    <a:gd name="T93" fmla="*/ 188367 h 2773"/>
                    <a:gd name="T94" fmla="*/ 295011 w 1976"/>
                    <a:gd name="T95" fmla="*/ 193617 h 2773"/>
                    <a:gd name="T96" fmla="*/ 302008 w 1976"/>
                    <a:gd name="T97" fmla="*/ 202685 h 2773"/>
                    <a:gd name="T98" fmla="*/ 308529 w 1976"/>
                    <a:gd name="T99" fmla="*/ 207617 h 2773"/>
                    <a:gd name="T100" fmla="*/ 313459 w 1976"/>
                    <a:gd name="T101" fmla="*/ 204117 h 2773"/>
                    <a:gd name="T102" fmla="*/ 241893 w 1976"/>
                    <a:gd name="T103" fmla="*/ 62842 h 2773"/>
                    <a:gd name="T104" fmla="*/ 171758 w 1976"/>
                    <a:gd name="T105" fmla="*/ 61092 h 2773"/>
                    <a:gd name="T106" fmla="*/ 170804 w 1976"/>
                    <a:gd name="T107" fmla="*/ 54251 h 2773"/>
                    <a:gd name="T108" fmla="*/ 180346 w 1976"/>
                    <a:gd name="T109" fmla="*/ 47092 h 2773"/>
                    <a:gd name="T110" fmla="*/ 187662 w 1976"/>
                    <a:gd name="T111" fmla="*/ 36432 h 2773"/>
                    <a:gd name="T112" fmla="*/ 188139 w 1976"/>
                    <a:gd name="T113" fmla="*/ 23228 h 2773"/>
                    <a:gd name="T114" fmla="*/ 178279 w 1976"/>
                    <a:gd name="T115" fmla="*/ 8591 h 2773"/>
                    <a:gd name="T116" fmla="*/ 159990 w 1976"/>
                    <a:gd name="T117" fmla="*/ 477 h 2773"/>
                    <a:gd name="T118" fmla="*/ 141701 w 1976"/>
                    <a:gd name="T119" fmla="*/ 1114 h 2773"/>
                    <a:gd name="T120" fmla="*/ 124207 w 1976"/>
                    <a:gd name="T121" fmla="*/ 10659 h 2773"/>
                    <a:gd name="T122" fmla="*/ 116255 w 1976"/>
                    <a:gd name="T123" fmla="*/ 26091 h 277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976"/>
                    <a:gd name="T187" fmla="*/ 0 h 2773"/>
                    <a:gd name="T188" fmla="*/ 1976 w 1976"/>
                    <a:gd name="T189" fmla="*/ 2773 h 277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976" h="2773">
                      <a:moveTo>
                        <a:pt x="729" y="184"/>
                      </a:moveTo>
                      <a:lnTo>
                        <a:pt x="729" y="184"/>
                      </a:lnTo>
                      <a:lnTo>
                        <a:pt x="731" y="200"/>
                      </a:lnTo>
                      <a:lnTo>
                        <a:pt x="734" y="215"/>
                      </a:lnTo>
                      <a:lnTo>
                        <a:pt x="737" y="229"/>
                      </a:lnTo>
                      <a:lnTo>
                        <a:pt x="743" y="242"/>
                      </a:lnTo>
                      <a:lnTo>
                        <a:pt x="749" y="254"/>
                      </a:lnTo>
                      <a:lnTo>
                        <a:pt x="754" y="265"/>
                      </a:lnTo>
                      <a:lnTo>
                        <a:pt x="762" y="274"/>
                      </a:lnTo>
                      <a:lnTo>
                        <a:pt x="769" y="283"/>
                      </a:lnTo>
                      <a:lnTo>
                        <a:pt x="784" y="296"/>
                      </a:lnTo>
                      <a:lnTo>
                        <a:pt x="798" y="305"/>
                      </a:lnTo>
                      <a:lnTo>
                        <a:pt x="810" y="312"/>
                      </a:lnTo>
                      <a:lnTo>
                        <a:pt x="825" y="321"/>
                      </a:lnTo>
                      <a:lnTo>
                        <a:pt x="835" y="330"/>
                      </a:lnTo>
                      <a:lnTo>
                        <a:pt x="844" y="341"/>
                      </a:lnTo>
                      <a:lnTo>
                        <a:pt x="849" y="350"/>
                      </a:lnTo>
                      <a:lnTo>
                        <a:pt x="852" y="360"/>
                      </a:lnTo>
                      <a:lnTo>
                        <a:pt x="850" y="369"/>
                      </a:lnTo>
                      <a:lnTo>
                        <a:pt x="846" y="377"/>
                      </a:lnTo>
                      <a:lnTo>
                        <a:pt x="838" y="384"/>
                      </a:lnTo>
                      <a:lnTo>
                        <a:pt x="831" y="389"/>
                      </a:lnTo>
                      <a:lnTo>
                        <a:pt x="822" y="392"/>
                      </a:lnTo>
                      <a:lnTo>
                        <a:pt x="811" y="395"/>
                      </a:lnTo>
                      <a:lnTo>
                        <a:pt x="798" y="395"/>
                      </a:lnTo>
                      <a:lnTo>
                        <a:pt x="547" y="395"/>
                      </a:lnTo>
                      <a:lnTo>
                        <a:pt x="547" y="396"/>
                      </a:lnTo>
                      <a:lnTo>
                        <a:pt x="0" y="396"/>
                      </a:lnTo>
                      <a:lnTo>
                        <a:pt x="0" y="1197"/>
                      </a:lnTo>
                      <a:lnTo>
                        <a:pt x="1" y="1209"/>
                      </a:lnTo>
                      <a:lnTo>
                        <a:pt x="3" y="1220"/>
                      </a:lnTo>
                      <a:lnTo>
                        <a:pt x="6" y="1229"/>
                      </a:lnTo>
                      <a:lnTo>
                        <a:pt x="9" y="1236"/>
                      </a:lnTo>
                      <a:lnTo>
                        <a:pt x="13" y="1242"/>
                      </a:lnTo>
                      <a:lnTo>
                        <a:pt x="19" y="1247"/>
                      </a:lnTo>
                      <a:lnTo>
                        <a:pt x="24" y="1250"/>
                      </a:lnTo>
                      <a:lnTo>
                        <a:pt x="30" y="1251"/>
                      </a:lnTo>
                      <a:lnTo>
                        <a:pt x="37" y="1251"/>
                      </a:lnTo>
                      <a:lnTo>
                        <a:pt x="43" y="1250"/>
                      </a:lnTo>
                      <a:lnTo>
                        <a:pt x="50" y="1247"/>
                      </a:lnTo>
                      <a:lnTo>
                        <a:pt x="56" y="1242"/>
                      </a:lnTo>
                      <a:lnTo>
                        <a:pt x="64" y="1236"/>
                      </a:lnTo>
                      <a:lnTo>
                        <a:pt x="70" y="1229"/>
                      </a:lnTo>
                      <a:lnTo>
                        <a:pt x="76" y="1220"/>
                      </a:lnTo>
                      <a:lnTo>
                        <a:pt x="82" y="1209"/>
                      </a:lnTo>
                      <a:lnTo>
                        <a:pt x="89" y="1197"/>
                      </a:lnTo>
                      <a:lnTo>
                        <a:pt x="98" y="1184"/>
                      </a:lnTo>
                      <a:lnTo>
                        <a:pt x="112" y="1170"/>
                      </a:lnTo>
                      <a:lnTo>
                        <a:pt x="121" y="1163"/>
                      </a:lnTo>
                      <a:lnTo>
                        <a:pt x="130" y="1156"/>
                      </a:lnTo>
                      <a:lnTo>
                        <a:pt x="142" y="1148"/>
                      </a:lnTo>
                      <a:lnTo>
                        <a:pt x="152" y="1142"/>
                      </a:lnTo>
                      <a:lnTo>
                        <a:pt x="166" y="1138"/>
                      </a:lnTo>
                      <a:lnTo>
                        <a:pt x="179" y="1133"/>
                      </a:lnTo>
                      <a:lnTo>
                        <a:pt x="194" y="1130"/>
                      </a:lnTo>
                      <a:lnTo>
                        <a:pt x="210" y="1130"/>
                      </a:lnTo>
                      <a:lnTo>
                        <a:pt x="230" y="1130"/>
                      </a:lnTo>
                      <a:lnTo>
                        <a:pt x="248" y="1135"/>
                      </a:lnTo>
                      <a:lnTo>
                        <a:pt x="266" y="1141"/>
                      </a:lnTo>
                      <a:lnTo>
                        <a:pt x="282" y="1148"/>
                      </a:lnTo>
                      <a:lnTo>
                        <a:pt x="299" y="1157"/>
                      </a:lnTo>
                      <a:lnTo>
                        <a:pt x="314" y="1169"/>
                      </a:lnTo>
                      <a:lnTo>
                        <a:pt x="328" y="1182"/>
                      </a:lnTo>
                      <a:lnTo>
                        <a:pt x="342" y="1197"/>
                      </a:lnTo>
                      <a:lnTo>
                        <a:pt x="352" y="1212"/>
                      </a:lnTo>
                      <a:lnTo>
                        <a:pt x="364" y="1230"/>
                      </a:lnTo>
                      <a:lnTo>
                        <a:pt x="373" y="1250"/>
                      </a:lnTo>
                      <a:lnTo>
                        <a:pt x="381" y="1269"/>
                      </a:lnTo>
                      <a:lnTo>
                        <a:pt x="387" y="1290"/>
                      </a:lnTo>
                      <a:lnTo>
                        <a:pt x="391" y="1312"/>
                      </a:lnTo>
                      <a:lnTo>
                        <a:pt x="394" y="1335"/>
                      </a:lnTo>
                      <a:lnTo>
                        <a:pt x="396" y="1359"/>
                      </a:lnTo>
                      <a:lnTo>
                        <a:pt x="394" y="1383"/>
                      </a:lnTo>
                      <a:lnTo>
                        <a:pt x="391" y="1405"/>
                      </a:lnTo>
                      <a:lnTo>
                        <a:pt x="387" y="1428"/>
                      </a:lnTo>
                      <a:lnTo>
                        <a:pt x="381" y="1449"/>
                      </a:lnTo>
                      <a:lnTo>
                        <a:pt x="373" y="1468"/>
                      </a:lnTo>
                      <a:lnTo>
                        <a:pt x="364" y="1487"/>
                      </a:lnTo>
                      <a:lnTo>
                        <a:pt x="352" y="1505"/>
                      </a:lnTo>
                      <a:lnTo>
                        <a:pt x="342" y="1522"/>
                      </a:lnTo>
                      <a:lnTo>
                        <a:pt x="328" y="1537"/>
                      </a:lnTo>
                      <a:lnTo>
                        <a:pt x="314" y="1549"/>
                      </a:lnTo>
                      <a:lnTo>
                        <a:pt x="299" y="1561"/>
                      </a:lnTo>
                      <a:lnTo>
                        <a:pt x="282" y="1571"/>
                      </a:lnTo>
                      <a:lnTo>
                        <a:pt x="266" y="1579"/>
                      </a:lnTo>
                      <a:lnTo>
                        <a:pt x="248" y="1583"/>
                      </a:lnTo>
                      <a:lnTo>
                        <a:pt x="230" y="1588"/>
                      </a:lnTo>
                      <a:lnTo>
                        <a:pt x="210" y="1589"/>
                      </a:lnTo>
                      <a:lnTo>
                        <a:pt x="194" y="1588"/>
                      </a:lnTo>
                      <a:lnTo>
                        <a:pt x="179" y="1585"/>
                      </a:lnTo>
                      <a:lnTo>
                        <a:pt x="166" y="1582"/>
                      </a:lnTo>
                      <a:lnTo>
                        <a:pt x="152" y="1576"/>
                      </a:lnTo>
                      <a:lnTo>
                        <a:pt x="142" y="1570"/>
                      </a:lnTo>
                      <a:lnTo>
                        <a:pt x="130" y="1564"/>
                      </a:lnTo>
                      <a:lnTo>
                        <a:pt x="121" y="1556"/>
                      </a:lnTo>
                      <a:lnTo>
                        <a:pt x="112" y="1549"/>
                      </a:lnTo>
                      <a:lnTo>
                        <a:pt x="98" y="1534"/>
                      </a:lnTo>
                      <a:lnTo>
                        <a:pt x="89" y="1520"/>
                      </a:lnTo>
                      <a:lnTo>
                        <a:pt x="82" y="1508"/>
                      </a:lnTo>
                      <a:lnTo>
                        <a:pt x="76" y="1498"/>
                      </a:lnTo>
                      <a:lnTo>
                        <a:pt x="70" y="1489"/>
                      </a:lnTo>
                      <a:lnTo>
                        <a:pt x="64" y="1481"/>
                      </a:lnTo>
                      <a:lnTo>
                        <a:pt x="56" y="1475"/>
                      </a:lnTo>
                      <a:lnTo>
                        <a:pt x="50" y="1471"/>
                      </a:lnTo>
                      <a:lnTo>
                        <a:pt x="43" y="1468"/>
                      </a:lnTo>
                      <a:lnTo>
                        <a:pt x="37" y="1466"/>
                      </a:lnTo>
                      <a:lnTo>
                        <a:pt x="30" y="1466"/>
                      </a:lnTo>
                      <a:lnTo>
                        <a:pt x="24" y="1468"/>
                      </a:lnTo>
                      <a:lnTo>
                        <a:pt x="19" y="1471"/>
                      </a:lnTo>
                      <a:lnTo>
                        <a:pt x="13" y="1475"/>
                      </a:lnTo>
                      <a:lnTo>
                        <a:pt x="9" y="1481"/>
                      </a:lnTo>
                      <a:lnTo>
                        <a:pt x="6" y="1489"/>
                      </a:lnTo>
                      <a:lnTo>
                        <a:pt x="3" y="1498"/>
                      </a:lnTo>
                      <a:lnTo>
                        <a:pt x="1" y="1508"/>
                      </a:lnTo>
                      <a:lnTo>
                        <a:pt x="0" y="1520"/>
                      </a:lnTo>
                      <a:lnTo>
                        <a:pt x="0" y="2375"/>
                      </a:lnTo>
                      <a:lnTo>
                        <a:pt x="454" y="2375"/>
                      </a:lnTo>
                      <a:lnTo>
                        <a:pt x="454" y="2377"/>
                      </a:lnTo>
                      <a:lnTo>
                        <a:pt x="856" y="2377"/>
                      </a:lnTo>
                      <a:lnTo>
                        <a:pt x="868" y="2378"/>
                      </a:lnTo>
                      <a:lnTo>
                        <a:pt x="880" y="2380"/>
                      </a:lnTo>
                      <a:lnTo>
                        <a:pt x="889" y="2383"/>
                      </a:lnTo>
                      <a:lnTo>
                        <a:pt x="896" y="2387"/>
                      </a:lnTo>
                      <a:lnTo>
                        <a:pt x="904" y="2395"/>
                      </a:lnTo>
                      <a:lnTo>
                        <a:pt x="908" y="2402"/>
                      </a:lnTo>
                      <a:lnTo>
                        <a:pt x="908" y="2413"/>
                      </a:lnTo>
                      <a:lnTo>
                        <a:pt x="907" y="2422"/>
                      </a:lnTo>
                      <a:lnTo>
                        <a:pt x="902" y="2432"/>
                      </a:lnTo>
                      <a:lnTo>
                        <a:pt x="893" y="2441"/>
                      </a:lnTo>
                      <a:lnTo>
                        <a:pt x="883" y="2450"/>
                      </a:lnTo>
                      <a:lnTo>
                        <a:pt x="868" y="2459"/>
                      </a:lnTo>
                      <a:lnTo>
                        <a:pt x="856" y="2467"/>
                      </a:lnTo>
                      <a:lnTo>
                        <a:pt x="843" y="2475"/>
                      </a:lnTo>
                      <a:lnTo>
                        <a:pt x="828" y="2489"/>
                      </a:lnTo>
                      <a:lnTo>
                        <a:pt x="820" y="2498"/>
                      </a:lnTo>
                      <a:lnTo>
                        <a:pt x="813" y="2507"/>
                      </a:lnTo>
                      <a:lnTo>
                        <a:pt x="807" y="2517"/>
                      </a:lnTo>
                      <a:lnTo>
                        <a:pt x="801" y="2529"/>
                      </a:lnTo>
                      <a:lnTo>
                        <a:pt x="795" y="2543"/>
                      </a:lnTo>
                      <a:lnTo>
                        <a:pt x="792" y="2556"/>
                      </a:lnTo>
                      <a:lnTo>
                        <a:pt x="789" y="2571"/>
                      </a:lnTo>
                      <a:lnTo>
                        <a:pt x="787" y="2588"/>
                      </a:lnTo>
                      <a:lnTo>
                        <a:pt x="789" y="2607"/>
                      </a:lnTo>
                      <a:lnTo>
                        <a:pt x="792" y="2625"/>
                      </a:lnTo>
                      <a:lnTo>
                        <a:pt x="798" y="2643"/>
                      </a:lnTo>
                      <a:lnTo>
                        <a:pt x="805" y="2659"/>
                      </a:lnTo>
                      <a:lnTo>
                        <a:pt x="816" y="2676"/>
                      </a:lnTo>
                      <a:lnTo>
                        <a:pt x="826" y="2691"/>
                      </a:lnTo>
                      <a:lnTo>
                        <a:pt x="840" y="2706"/>
                      </a:lnTo>
                      <a:lnTo>
                        <a:pt x="855" y="2718"/>
                      </a:lnTo>
                      <a:lnTo>
                        <a:pt x="871" y="2730"/>
                      </a:lnTo>
                      <a:lnTo>
                        <a:pt x="889" y="2740"/>
                      </a:lnTo>
                      <a:lnTo>
                        <a:pt x="908" y="2751"/>
                      </a:lnTo>
                      <a:lnTo>
                        <a:pt x="928" y="2758"/>
                      </a:lnTo>
                      <a:lnTo>
                        <a:pt x="949" y="2764"/>
                      </a:lnTo>
                      <a:lnTo>
                        <a:pt x="971" y="2768"/>
                      </a:lnTo>
                      <a:lnTo>
                        <a:pt x="994" y="2771"/>
                      </a:lnTo>
                      <a:lnTo>
                        <a:pt x="1018" y="2773"/>
                      </a:lnTo>
                      <a:lnTo>
                        <a:pt x="1040" y="2771"/>
                      </a:lnTo>
                      <a:lnTo>
                        <a:pt x="1064" y="2768"/>
                      </a:lnTo>
                      <a:lnTo>
                        <a:pt x="1085" y="2764"/>
                      </a:lnTo>
                      <a:lnTo>
                        <a:pt x="1106" y="2758"/>
                      </a:lnTo>
                      <a:lnTo>
                        <a:pt x="1127" y="2751"/>
                      </a:lnTo>
                      <a:lnTo>
                        <a:pt x="1145" y="2740"/>
                      </a:lnTo>
                      <a:lnTo>
                        <a:pt x="1163" y="2730"/>
                      </a:lnTo>
                      <a:lnTo>
                        <a:pt x="1179" y="2718"/>
                      </a:lnTo>
                      <a:lnTo>
                        <a:pt x="1194" y="2706"/>
                      </a:lnTo>
                      <a:lnTo>
                        <a:pt x="1207" y="2691"/>
                      </a:lnTo>
                      <a:lnTo>
                        <a:pt x="1219" y="2676"/>
                      </a:lnTo>
                      <a:lnTo>
                        <a:pt x="1228" y="2659"/>
                      </a:lnTo>
                      <a:lnTo>
                        <a:pt x="1236" y="2643"/>
                      </a:lnTo>
                      <a:lnTo>
                        <a:pt x="1242" y="2625"/>
                      </a:lnTo>
                      <a:lnTo>
                        <a:pt x="1245" y="2607"/>
                      </a:lnTo>
                      <a:lnTo>
                        <a:pt x="1246" y="2588"/>
                      </a:lnTo>
                      <a:lnTo>
                        <a:pt x="1246" y="2571"/>
                      </a:lnTo>
                      <a:lnTo>
                        <a:pt x="1243" y="2556"/>
                      </a:lnTo>
                      <a:lnTo>
                        <a:pt x="1239" y="2543"/>
                      </a:lnTo>
                      <a:lnTo>
                        <a:pt x="1234" y="2529"/>
                      </a:lnTo>
                      <a:lnTo>
                        <a:pt x="1228" y="2517"/>
                      </a:lnTo>
                      <a:lnTo>
                        <a:pt x="1221" y="2507"/>
                      </a:lnTo>
                      <a:lnTo>
                        <a:pt x="1213" y="2498"/>
                      </a:lnTo>
                      <a:lnTo>
                        <a:pt x="1206" y="2489"/>
                      </a:lnTo>
                      <a:lnTo>
                        <a:pt x="1191" y="2475"/>
                      </a:lnTo>
                      <a:lnTo>
                        <a:pt x="1179" y="2467"/>
                      </a:lnTo>
                      <a:lnTo>
                        <a:pt x="1166" y="2459"/>
                      </a:lnTo>
                      <a:lnTo>
                        <a:pt x="1152" y="2450"/>
                      </a:lnTo>
                      <a:lnTo>
                        <a:pt x="1140" y="2441"/>
                      </a:lnTo>
                      <a:lnTo>
                        <a:pt x="1133" y="2432"/>
                      </a:lnTo>
                      <a:lnTo>
                        <a:pt x="1127" y="2422"/>
                      </a:lnTo>
                      <a:lnTo>
                        <a:pt x="1125" y="2413"/>
                      </a:lnTo>
                      <a:lnTo>
                        <a:pt x="1127" y="2402"/>
                      </a:lnTo>
                      <a:lnTo>
                        <a:pt x="1131" y="2395"/>
                      </a:lnTo>
                      <a:lnTo>
                        <a:pt x="1137" y="2387"/>
                      </a:lnTo>
                      <a:lnTo>
                        <a:pt x="1145" y="2383"/>
                      </a:lnTo>
                      <a:lnTo>
                        <a:pt x="1155" y="2380"/>
                      </a:lnTo>
                      <a:lnTo>
                        <a:pt x="1166" y="2378"/>
                      </a:lnTo>
                      <a:lnTo>
                        <a:pt x="1177" y="2377"/>
                      </a:lnTo>
                      <a:lnTo>
                        <a:pt x="1429" y="2377"/>
                      </a:lnTo>
                      <a:lnTo>
                        <a:pt x="1429" y="2375"/>
                      </a:lnTo>
                      <a:lnTo>
                        <a:pt x="1976" y="2375"/>
                      </a:lnTo>
                      <a:lnTo>
                        <a:pt x="1976" y="1574"/>
                      </a:lnTo>
                      <a:lnTo>
                        <a:pt x="1976" y="1562"/>
                      </a:lnTo>
                      <a:lnTo>
                        <a:pt x="1974" y="1552"/>
                      </a:lnTo>
                      <a:lnTo>
                        <a:pt x="1971" y="1543"/>
                      </a:lnTo>
                      <a:lnTo>
                        <a:pt x="1967" y="1535"/>
                      </a:lnTo>
                      <a:lnTo>
                        <a:pt x="1962" y="1531"/>
                      </a:lnTo>
                      <a:lnTo>
                        <a:pt x="1958" y="1526"/>
                      </a:lnTo>
                      <a:lnTo>
                        <a:pt x="1952" y="1523"/>
                      </a:lnTo>
                      <a:lnTo>
                        <a:pt x="1946" y="1522"/>
                      </a:lnTo>
                      <a:lnTo>
                        <a:pt x="1940" y="1520"/>
                      </a:lnTo>
                      <a:lnTo>
                        <a:pt x="1932" y="1522"/>
                      </a:lnTo>
                      <a:lnTo>
                        <a:pt x="1926" y="1525"/>
                      </a:lnTo>
                      <a:lnTo>
                        <a:pt x="1919" y="1529"/>
                      </a:lnTo>
                      <a:lnTo>
                        <a:pt x="1913" y="1535"/>
                      </a:lnTo>
                      <a:lnTo>
                        <a:pt x="1905" y="1543"/>
                      </a:lnTo>
                      <a:lnTo>
                        <a:pt x="1899" y="1552"/>
                      </a:lnTo>
                      <a:lnTo>
                        <a:pt x="1895" y="1562"/>
                      </a:lnTo>
                      <a:lnTo>
                        <a:pt x="1887" y="1574"/>
                      </a:lnTo>
                      <a:lnTo>
                        <a:pt x="1877" y="1588"/>
                      </a:lnTo>
                      <a:lnTo>
                        <a:pt x="1864" y="1602"/>
                      </a:lnTo>
                      <a:lnTo>
                        <a:pt x="1855" y="1610"/>
                      </a:lnTo>
                      <a:lnTo>
                        <a:pt x="1846" y="1617"/>
                      </a:lnTo>
                      <a:lnTo>
                        <a:pt x="1835" y="1623"/>
                      </a:lnTo>
                      <a:lnTo>
                        <a:pt x="1823" y="1629"/>
                      </a:lnTo>
                      <a:lnTo>
                        <a:pt x="1811" y="1635"/>
                      </a:lnTo>
                      <a:lnTo>
                        <a:pt x="1796" y="1638"/>
                      </a:lnTo>
                      <a:lnTo>
                        <a:pt x="1781" y="1641"/>
                      </a:lnTo>
                      <a:lnTo>
                        <a:pt x="1765" y="1643"/>
                      </a:lnTo>
                      <a:lnTo>
                        <a:pt x="1747" y="1641"/>
                      </a:lnTo>
                      <a:lnTo>
                        <a:pt x="1728" y="1638"/>
                      </a:lnTo>
                      <a:lnTo>
                        <a:pt x="1710" y="1632"/>
                      </a:lnTo>
                      <a:lnTo>
                        <a:pt x="1693" y="1625"/>
                      </a:lnTo>
                      <a:lnTo>
                        <a:pt x="1677" y="1614"/>
                      </a:lnTo>
                      <a:lnTo>
                        <a:pt x="1662" y="1602"/>
                      </a:lnTo>
                      <a:lnTo>
                        <a:pt x="1648" y="1591"/>
                      </a:lnTo>
                      <a:lnTo>
                        <a:pt x="1635" y="1576"/>
                      </a:lnTo>
                      <a:lnTo>
                        <a:pt x="1623" y="1559"/>
                      </a:lnTo>
                      <a:lnTo>
                        <a:pt x="1612" y="1541"/>
                      </a:lnTo>
                      <a:lnTo>
                        <a:pt x="1603" y="1522"/>
                      </a:lnTo>
                      <a:lnTo>
                        <a:pt x="1596" y="1502"/>
                      </a:lnTo>
                      <a:lnTo>
                        <a:pt x="1589" y="1481"/>
                      </a:lnTo>
                      <a:lnTo>
                        <a:pt x="1584" y="1459"/>
                      </a:lnTo>
                      <a:lnTo>
                        <a:pt x="1583" y="1437"/>
                      </a:lnTo>
                      <a:lnTo>
                        <a:pt x="1581" y="1413"/>
                      </a:lnTo>
                      <a:lnTo>
                        <a:pt x="1583" y="1389"/>
                      </a:lnTo>
                      <a:lnTo>
                        <a:pt x="1584" y="1366"/>
                      </a:lnTo>
                      <a:lnTo>
                        <a:pt x="1589" y="1345"/>
                      </a:lnTo>
                      <a:lnTo>
                        <a:pt x="1596" y="1323"/>
                      </a:lnTo>
                      <a:lnTo>
                        <a:pt x="1603" y="1304"/>
                      </a:lnTo>
                      <a:lnTo>
                        <a:pt x="1612" y="1284"/>
                      </a:lnTo>
                      <a:lnTo>
                        <a:pt x="1623" y="1268"/>
                      </a:lnTo>
                      <a:lnTo>
                        <a:pt x="1635" y="1251"/>
                      </a:lnTo>
                      <a:lnTo>
                        <a:pt x="1648" y="1236"/>
                      </a:lnTo>
                      <a:lnTo>
                        <a:pt x="1662" y="1223"/>
                      </a:lnTo>
                      <a:lnTo>
                        <a:pt x="1677" y="1211"/>
                      </a:lnTo>
                      <a:lnTo>
                        <a:pt x="1693" y="1202"/>
                      </a:lnTo>
                      <a:lnTo>
                        <a:pt x="1710" y="1194"/>
                      </a:lnTo>
                      <a:lnTo>
                        <a:pt x="1728" y="1188"/>
                      </a:lnTo>
                      <a:lnTo>
                        <a:pt x="1747" y="1185"/>
                      </a:lnTo>
                      <a:lnTo>
                        <a:pt x="1765" y="1184"/>
                      </a:lnTo>
                      <a:lnTo>
                        <a:pt x="1781" y="1184"/>
                      </a:lnTo>
                      <a:lnTo>
                        <a:pt x="1796" y="1187"/>
                      </a:lnTo>
                      <a:lnTo>
                        <a:pt x="1811" y="1191"/>
                      </a:lnTo>
                      <a:lnTo>
                        <a:pt x="1823" y="1196"/>
                      </a:lnTo>
                      <a:lnTo>
                        <a:pt x="1835" y="1202"/>
                      </a:lnTo>
                      <a:lnTo>
                        <a:pt x="1846" y="1209"/>
                      </a:lnTo>
                      <a:lnTo>
                        <a:pt x="1855" y="1217"/>
                      </a:lnTo>
                      <a:lnTo>
                        <a:pt x="1864" y="1224"/>
                      </a:lnTo>
                      <a:lnTo>
                        <a:pt x="1877" y="1238"/>
                      </a:lnTo>
                      <a:lnTo>
                        <a:pt x="1887" y="1251"/>
                      </a:lnTo>
                      <a:lnTo>
                        <a:pt x="1895" y="1263"/>
                      </a:lnTo>
                      <a:lnTo>
                        <a:pt x="1899" y="1274"/>
                      </a:lnTo>
                      <a:lnTo>
                        <a:pt x="1905" y="1283"/>
                      </a:lnTo>
                      <a:lnTo>
                        <a:pt x="1913" y="1290"/>
                      </a:lnTo>
                      <a:lnTo>
                        <a:pt x="1919" y="1296"/>
                      </a:lnTo>
                      <a:lnTo>
                        <a:pt x="1926" y="1301"/>
                      </a:lnTo>
                      <a:lnTo>
                        <a:pt x="1932" y="1304"/>
                      </a:lnTo>
                      <a:lnTo>
                        <a:pt x="1940" y="1305"/>
                      </a:lnTo>
                      <a:lnTo>
                        <a:pt x="1946" y="1305"/>
                      </a:lnTo>
                      <a:lnTo>
                        <a:pt x="1952" y="1304"/>
                      </a:lnTo>
                      <a:lnTo>
                        <a:pt x="1958" y="1301"/>
                      </a:lnTo>
                      <a:lnTo>
                        <a:pt x="1962" y="1296"/>
                      </a:lnTo>
                      <a:lnTo>
                        <a:pt x="1967" y="1290"/>
                      </a:lnTo>
                      <a:lnTo>
                        <a:pt x="1971" y="1283"/>
                      </a:lnTo>
                      <a:lnTo>
                        <a:pt x="1974" y="1274"/>
                      </a:lnTo>
                      <a:lnTo>
                        <a:pt x="1976" y="1263"/>
                      </a:lnTo>
                      <a:lnTo>
                        <a:pt x="1976" y="1253"/>
                      </a:lnTo>
                      <a:lnTo>
                        <a:pt x="1976" y="396"/>
                      </a:lnTo>
                      <a:lnTo>
                        <a:pt x="1521" y="396"/>
                      </a:lnTo>
                      <a:lnTo>
                        <a:pt x="1521" y="395"/>
                      </a:lnTo>
                      <a:lnTo>
                        <a:pt x="1119" y="395"/>
                      </a:lnTo>
                      <a:lnTo>
                        <a:pt x="1107" y="395"/>
                      </a:lnTo>
                      <a:lnTo>
                        <a:pt x="1097" y="392"/>
                      </a:lnTo>
                      <a:lnTo>
                        <a:pt x="1088" y="389"/>
                      </a:lnTo>
                      <a:lnTo>
                        <a:pt x="1080" y="384"/>
                      </a:lnTo>
                      <a:lnTo>
                        <a:pt x="1073" y="377"/>
                      </a:lnTo>
                      <a:lnTo>
                        <a:pt x="1068" y="369"/>
                      </a:lnTo>
                      <a:lnTo>
                        <a:pt x="1067" y="360"/>
                      </a:lnTo>
                      <a:lnTo>
                        <a:pt x="1068" y="350"/>
                      </a:lnTo>
                      <a:lnTo>
                        <a:pt x="1074" y="341"/>
                      </a:lnTo>
                      <a:lnTo>
                        <a:pt x="1082" y="330"/>
                      </a:lnTo>
                      <a:lnTo>
                        <a:pt x="1094" y="321"/>
                      </a:lnTo>
                      <a:lnTo>
                        <a:pt x="1109" y="312"/>
                      </a:lnTo>
                      <a:lnTo>
                        <a:pt x="1121" y="305"/>
                      </a:lnTo>
                      <a:lnTo>
                        <a:pt x="1134" y="296"/>
                      </a:lnTo>
                      <a:lnTo>
                        <a:pt x="1148" y="283"/>
                      </a:lnTo>
                      <a:lnTo>
                        <a:pt x="1155" y="274"/>
                      </a:lnTo>
                      <a:lnTo>
                        <a:pt x="1163" y="265"/>
                      </a:lnTo>
                      <a:lnTo>
                        <a:pt x="1170" y="254"/>
                      </a:lnTo>
                      <a:lnTo>
                        <a:pt x="1176" y="242"/>
                      </a:lnTo>
                      <a:lnTo>
                        <a:pt x="1180" y="229"/>
                      </a:lnTo>
                      <a:lnTo>
                        <a:pt x="1185" y="215"/>
                      </a:lnTo>
                      <a:lnTo>
                        <a:pt x="1188" y="200"/>
                      </a:lnTo>
                      <a:lnTo>
                        <a:pt x="1188" y="184"/>
                      </a:lnTo>
                      <a:lnTo>
                        <a:pt x="1186" y="164"/>
                      </a:lnTo>
                      <a:lnTo>
                        <a:pt x="1183" y="146"/>
                      </a:lnTo>
                      <a:lnTo>
                        <a:pt x="1177" y="129"/>
                      </a:lnTo>
                      <a:lnTo>
                        <a:pt x="1170" y="112"/>
                      </a:lnTo>
                      <a:lnTo>
                        <a:pt x="1161" y="96"/>
                      </a:lnTo>
                      <a:lnTo>
                        <a:pt x="1149" y="81"/>
                      </a:lnTo>
                      <a:lnTo>
                        <a:pt x="1136" y="67"/>
                      </a:lnTo>
                      <a:lnTo>
                        <a:pt x="1121" y="54"/>
                      </a:lnTo>
                      <a:lnTo>
                        <a:pt x="1104" y="42"/>
                      </a:lnTo>
                      <a:lnTo>
                        <a:pt x="1088" y="31"/>
                      </a:lnTo>
                      <a:lnTo>
                        <a:pt x="1068" y="22"/>
                      </a:lnTo>
                      <a:lnTo>
                        <a:pt x="1049" y="13"/>
                      </a:lnTo>
                      <a:lnTo>
                        <a:pt x="1027" y="7"/>
                      </a:lnTo>
                      <a:lnTo>
                        <a:pt x="1006" y="3"/>
                      </a:lnTo>
                      <a:lnTo>
                        <a:pt x="983" y="0"/>
                      </a:lnTo>
                      <a:lnTo>
                        <a:pt x="959" y="0"/>
                      </a:lnTo>
                      <a:lnTo>
                        <a:pt x="935" y="0"/>
                      </a:lnTo>
                      <a:lnTo>
                        <a:pt x="913" y="3"/>
                      </a:lnTo>
                      <a:lnTo>
                        <a:pt x="891" y="7"/>
                      </a:lnTo>
                      <a:lnTo>
                        <a:pt x="870" y="13"/>
                      </a:lnTo>
                      <a:lnTo>
                        <a:pt x="850" y="22"/>
                      </a:lnTo>
                      <a:lnTo>
                        <a:pt x="831" y="31"/>
                      </a:lnTo>
                      <a:lnTo>
                        <a:pt x="813" y="42"/>
                      </a:lnTo>
                      <a:lnTo>
                        <a:pt x="796" y="54"/>
                      </a:lnTo>
                      <a:lnTo>
                        <a:pt x="781" y="67"/>
                      </a:lnTo>
                      <a:lnTo>
                        <a:pt x="769" y="81"/>
                      </a:lnTo>
                      <a:lnTo>
                        <a:pt x="757" y="96"/>
                      </a:lnTo>
                      <a:lnTo>
                        <a:pt x="747" y="112"/>
                      </a:lnTo>
                      <a:lnTo>
                        <a:pt x="740" y="129"/>
                      </a:lnTo>
                      <a:lnTo>
                        <a:pt x="734" y="146"/>
                      </a:lnTo>
                      <a:lnTo>
                        <a:pt x="731" y="164"/>
                      </a:lnTo>
                      <a:lnTo>
                        <a:pt x="729" y="184"/>
                      </a:lnTo>
                      <a:close/>
                    </a:path>
                  </a:pathLst>
                </a:custGeom>
                <a:noFill/>
                <a:ln w="12700">
                  <a:solidFill>
                    <a:srgbClr val="1D80A7"/>
                  </a:solidFill>
                  <a:prstDash val="solid"/>
                  <a:round/>
                  <a:headEnd/>
                  <a:tailEnd/>
                </a:ln>
                <a:extLst>
                  <a:ext uri="{909E8E84-426E-40DD-AFC4-6F175D3DCCD1}">
                    <a14:hiddenFill xmlns:a14="http://schemas.microsoft.com/office/drawing/2010/main">
                      <a:solidFill>
                        <a:srgbClr val="FFFFFF"/>
                      </a:solidFill>
                    </a14:hiddenFill>
                  </a:ext>
                </a:extLst>
              </p:spPr>
              <p:txBody>
                <a:bodyPr anchor="ctr"/>
                <a:lstStyle/>
                <a:p>
                  <a:endParaRPr lang="en-US" dirty="0">
                    <a:solidFill>
                      <a:prstClr val="black"/>
                    </a:solidFill>
                  </a:endParaRPr>
                </a:p>
              </p:txBody>
            </p:sp>
            <p:sp>
              <p:nvSpPr>
                <p:cNvPr id="129" name="Freeform 15"/>
                <p:cNvSpPr>
                  <a:spLocks/>
                </p:cNvSpPr>
                <p:nvPr/>
              </p:nvSpPr>
              <p:spPr bwMode="auto">
                <a:xfrm rot="5400000">
                  <a:off x="9016954" y="852385"/>
                  <a:ext cx="314255" cy="441166"/>
                </a:xfrm>
                <a:custGeom>
                  <a:avLst/>
                  <a:gdLst>
                    <a:gd name="T0" fmla="*/ 118164 w 1976"/>
                    <a:gd name="T1" fmla="*/ 38501 h 2773"/>
                    <a:gd name="T2" fmla="*/ 126911 w 1976"/>
                    <a:gd name="T3" fmla="*/ 48523 h 2773"/>
                    <a:gd name="T4" fmla="*/ 135022 w 1976"/>
                    <a:gd name="T5" fmla="*/ 55683 h 2773"/>
                    <a:gd name="T6" fmla="*/ 132159 w 1976"/>
                    <a:gd name="T7" fmla="*/ 61887 h 2773"/>
                    <a:gd name="T8" fmla="*/ 0 w 1976"/>
                    <a:gd name="T9" fmla="*/ 63001 h 2773"/>
                    <a:gd name="T10" fmla="*/ 1431 w 1976"/>
                    <a:gd name="T11" fmla="*/ 196639 h 2773"/>
                    <a:gd name="T12" fmla="*/ 6839 w 1976"/>
                    <a:gd name="T13" fmla="*/ 198867 h 2773"/>
                    <a:gd name="T14" fmla="*/ 13041 w 1976"/>
                    <a:gd name="T15" fmla="*/ 192344 h 2773"/>
                    <a:gd name="T16" fmla="*/ 20675 w 1976"/>
                    <a:gd name="T17" fmla="*/ 183912 h 2773"/>
                    <a:gd name="T18" fmla="*/ 33398 w 1976"/>
                    <a:gd name="T19" fmla="*/ 179776 h 2773"/>
                    <a:gd name="T20" fmla="*/ 47552 w 1976"/>
                    <a:gd name="T21" fmla="*/ 184071 h 2773"/>
                    <a:gd name="T22" fmla="*/ 59320 w 1976"/>
                    <a:gd name="T23" fmla="*/ 198867 h 2773"/>
                    <a:gd name="T24" fmla="*/ 62978 w 1976"/>
                    <a:gd name="T25" fmla="*/ 216208 h 2773"/>
                    <a:gd name="T26" fmla="*/ 57889 w 1976"/>
                    <a:gd name="T27" fmla="*/ 236572 h 2773"/>
                    <a:gd name="T28" fmla="*/ 44848 w 1976"/>
                    <a:gd name="T29" fmla="*/ 249936 h 2773"/>
                    <a:gd name="T30" fmla="*/ 30853 w 1976"/>
                    <a:gd name="T31" fmla="*/ 252640 h 2773"/>
                    <a:gd name="T32" fmla="*/ 19243 w 1976"/>
                    <a:gd name="T33" fmla="*/ 247549 h 2773"/>
                    <a:gd name="T34" fmla="*/ 12087 w 1976"/>
                    <a:gd name="T35" fmla="*/ 238322 h 2773"/>
                    <a:gd name="T36" fmla="*/ 5884 w 1976"/>
                    <a:gd name="T37" fmla="*/ 233231 h 2773"/>
                    <a:gd name="T38" fmla="*/ 954 w 1976"/>
                    <a:gd name="T39" fmla="*/ 236890 h 2773"/>
                    <a:gd name="T40" fmla="*/ 72202 w 1976"/>
                    <a:gd name="T41" fmla="*/ 378165 h 2773"/>
                    <a:gd name="T42" fmla="*/ 142496 w 1976"/>
                    <a:gd name="T43" fmla="*/ 379756 h 2773"/>
                    <a:gd name="T44" fmla="*/ 143450 w 1976"/>
                    <a:gd name="T45" fmla="*/ 386915 h 2773"/>
                    <a:gd name="T46" fmla="*/ 134067 w 1976"/>
                    <a:gd name="T47" fmla="*/ 393756 h 2773"/>
                    <a:gd name="T48" fmla="*/ 126434 w 1976"/>
                    <a:gd name="T49" fmla="*/ 404575 h 2773"/>
                    <a:gd name="T50" fmla="*/ 125956 w 1976"/>
                    <a:gd name="T51" fmla="*/ 417620 h 2773"/>
                    <a:gd name="T52" fmla="*/ 135976 w 1976"/>
                    <a:gd name="T53" fmla="*/ 432416 h 2773"/>
                    <a:gd name="T54" fmla="*/ 154424 w 1976"/>
                    <a:gd name="T55" fmla="*/ 440371 h 2773"/>
                    <a:gd name="T56" fmla="*/ 172554 w 1976"/>
                    <a:gd name="T57" fmla="*/ 439734 h 2773"/>
                    <a:gd name="T58" fmla="*/ 189889 w 1976"/>
                    <a:gd name="T59" fmla="*/ 430507 h 2773"/>
                    <a:gd name="T60" fmla="*/ 198000 w 1976"/>
                    <a:gd name="T61" fmla="*/ 414757 h 2773"/>
                    <a:gd name="T62" fmla="*/ 196250 w 1976"/>
                    <a:gd name="T63" fmla="*/ 402347 h 2773"/>
                    <a:gd name="T64" fmla="*/ 187503 w 1976"/>
                    <a:gd name="T65" fmla="*/ 392483 h 2773"/>
                    <a:gd name="T66" fmla="*/ 179234 w 1976"/>
                    <a:gd name="T67" fmla="*/ 385324 h 2773"/>
                    <a:gd name="T68" fmla="*/ 182096 w 1976"/>
                    <a:gd name="T69" fmla="*/ 379120 h 2773"/>
                    <a:gd name="T70" fmla="*/ 314255 w 1976"/>
                    <a:gd name="T71" fmla="*/ 377847 h 2773"/>
                    <a:gd name="T72" fmla="*/ 312824 w 1976"/>
                    <a:gd name="T73" fmla="*/ 244208 h 2773"/>
                    <a:gd name="T74" fmla="*/ 307257 w 1976"/>
                    <a:gd name="T75" fmla="*/ 242140 h 2773"/>
                    <a:gd name="T76" fmla="*/ 301373 w 1976"/>
                    <a:gd name="T77" fmla="*/ 248504 h 2773"/>
                    <a:gd name="T78" fmla="*/ 293580 w 1976"/>
                    <a:gd name="T79" fmla="*/ 257254 h 2773"/>
                    <a:gd name="T80" fmla="*/ 280698 w 1976"/>
                    <a:gd name="T81" fmla="*/ 261390 h 2773"/>
                    <a:gd name="T82" fmla="*/ 266703 w 1976"/>
                    <a:gd name="T83" fmla="*/ 256777 h 2773"/>
                    <a:gd name="T84" fmla="*/ 254935 w 1976"/>
                    <a:gd name="T85" fmla="*/ 242140 h 2773"/>
                    <a:gd name="T86" fmla="*/ 251436 w 1976"/>
                    <a:gd name="T87" fmla="*/ 224799 h 2773"/>
                    <a:gd name="T88" fmla="*/ 256366 w 1976"/>
                    <a:gd name="T89" fmla="*/ 204276 h 2773"/>
                    <a:gd name="T90" fmla="*/ 269248 w 1976"/>
                    <a:gd name="T91" fmla="*/ 191230 h 2773"/>
                    <a:gd name="T92" fmla="*/ 283243 w 1976"/>
                    <a:gd name="T93" fmla="*/ 188367 h 2773"/>
                    <a:gd name="T94" fmla="*/ 295012 w 1976"/>
                    <a:gd name="T95" fmla="*/ 193617 h 2773"/>
                    <a:gd name="T96" fmla="*/ 302009 w 1976"/>
                    <a:gd name="T97" fmla="*/ 202685 h 2773"/>
                    <a:gd name="T98" fmla="*/ 308530 w 1976"/>
                    <a:gd name="T99" fmla="*/ 207617 h 2773"/>
                    <a:gd name="T100" fmla="*/ 313460 w 1976"/>
                    <a:gd name="T101" fmla="*/ 204117 h 2773"/>
                    <a:gd name="T102" fmla="*/ 241894 w 1976"/>
                    <a:gd name="T103" fmla="*/ 62842 h 2773"/>
                    <a:gd name="T104" fmla="*/ 171759 w 1976"/>
                    <a:gd name="T105" fmla="*/ 61092 h 2773"/>
                    <a:gd name="T106" fmla="*/ 170805 w 1976"/>
                    <a:gd name="T107" fmla="*/ 54251 h 2773"/>
                    <a:gd name="T108" fmla="*/ 180347 w 1976"/>
                    <a:gd name="T109" fmla="*/ 47092 h 2773"/>
                    <a:gd name="T110" fmla="*/ 187662 w 1976"/>
                    <a:gd name="T111" fmla="*/ 36432 h 2773"/>
                    <a:gd name="T112" fmla="*/ 188140 w 1976"/>
                    <a:gd name="T113" fmla="*/ 23228 h 2773"/>
                    <a:gd name="T114" fmla="*/ 178279 w 1976"/>
                    <a:gd name="T115" fmla="*/ 8591 h 2773"/>
                    <a:gd name="T116" fmla="*/ 159990 w 1976"/>
                    <a:gd name="T117" fmla="*/ 477 h 2773"/>
                    <a:gd name="T118" fmla="*/ 141701 w 1976"/>
                    <a:gd name="T119" fmla="*/ 1114 h 2773"/>
                    <a:gd name="T120" fmla="*/ 124207 w 1976"/>
                    <a:gd name="T121" fmla="*/ 10659 h 2773"/>
                    <a:gd name="T122" fmla="*/ 116255 w 1976"/>
                    <a:gd name="T123" fmla="*/ 26091 h 277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976"/>
                    <a:gd name="T187" fmla="*/ 0 h 2773"/>
                    <a:gd name="T188" fmla="*/ 1976 w 1976"/>
                    <a:gd name="T189" fmla="*/ 2773 h 277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976" h="2773">
                      <a:moveTo>
                        <a:pt x="729" y="184"/>
                      </a:moveTo>
                      <a:lnTo>
                        <a:pt x="729" y="184"/>
                      </a:lnTo>
                      <a:lnTo>
                        <a:pt x="731" y="200"/>
                      </a:lnTo>
                      <a:lnTo>
                        <a:pt x="734" y="215"/>
                      </a:lnTo>
                      <a:lnTo>
                        <a:pt x="737" y="229"/>
                      </a:lnTo>
                      <a:lnTo>
                        <a:pt x="743" y="242"/>
                      </a:lnTo>
                      <a:lnTo>
                        <a:pt x="749" y="254"/>
                      </a:lnTo>
                      <a:lnTo>
                        <a:pt x="754" y="265"/>
                      </a:lnTo>
                      <a:lnTo>
                        <a:pt x="762" y="274"/>
                      </a:lnTo>
                      <a:lnTo>
                        <a:pt x="769" y="283"/>
                      </a:lnTo>
                      <a:lnTo>
                        <a:pt x="784" y="296"/>
                      </a:lnTo>
                      <a:lnTo>
                        <a:pt x="798" y="305"/>
                      </a:lnTo>
                      <a:lnTo>
                        <a:pt x="810" y="312"/>
                      </a:lnTo>
                      <a:lnTo>
                        <a:pt x="825" y="321"/>
                      </a:lnTo>
                      <a:lnTo>
                        <a:pt x="835" y="330"/>
                      </a:lnTo>
                      <a:lnTo>
                        <a:pt x="844" y="341"/>
                      </a:lnTo>
                      <a:lnTo>
                        <a:pt x="849" y="350"/>
                      </a:lnTo>
                      <a:lnTo>
                        <a:pt x="852" y="360"/>
                      </a:lnTo>
                      <a:lnTo>
                        <a:pt x="850" y="369"/>
                      </a:lnTo>
                      <a:lnTo>
                        <a:pt x="846" y="377"/>
                      </a:lnTo>
                      <a:lnTo>
                        <a:pt x="838" y="384"/>
                      </a:lnTo>
                      <a:lnTo>
                        <a:pt x="831" y="389"/>
                      </a:lnTo>
                      <a:lnTo>
                        <a:pt x="822" y="392"/>
                      </a:lnTo>
                      <a:lnTo>
                        <a:pt x="811" y="395"/>
                      </a:lnTo>
                      <a:lnTo>
                        <a:pt x="798" y="395"/>
                      </a:lnTo>
                      <a:lnTo>
                        <a:pt x="547" y="395"/>
                      </a:lnTo>
                      <a:lnTo>
                        <a:pt x="547" y="396"/>
                      </a:lnTo>
                      <a:lnTo>
                        <a:pt x="0" y="396"/>
                      </a:lnTo>
                      <a:lnTo>
                        <a:pt x="0" y="1197"/>
                      </a:lnTo>
                      <a:lnTo>
                        <a:pt x="1" y="1209"/>
                      </a:lnTo>
                      <a:lnTo>
                        <a:pt x="3" y="1220"/>
                      </a:lnTo>
                      <a:lnTo>
                        <a:pt x="6" y="1229"/>
                      </a:lnTo>
                      <a:lnTo>
                        <a:pt x="9" y="1236"/>
                      </a:lnTo>
                      <a:lnTo>
                        <a:pt x="13" y="1242"/>
                      </a:lnTo>
                      <a:lnTo>
                        <a:pt x="19" y="1247"/>
                      </a:lnTo>
                      <a:lnTo>
                        <a:pt x="24" y="1250"/>
                      </a:lnTo>
                      <a:lnTo>
                        <a:pt x="30" y="1251"/>
                      </a:lnTo>
                      <a:lnTo>
                        <a:pt x="37" y="1251"/>
                      </a:lnTo>
                      <a:lnTo>
                        <a:pt x="43" y="1250"/>
                      </a:lnTo>
                      <a:lnTo>
                        <a:pt x="50" y="1247"/>
                      </a:lnTo>
                      <a:lnTo>
                        <a:pt x="56" y="1242"/>
                      </a:lnTo>
                      <a:lnTo>
                        <a:pt x="64" y="1236"/>
                      </a:lnTo>
                      <a:lnTo>
                        <a:pt x="70" y="1229"/>
                      </a:lnTo>
                      <a:lnTo>
                        <a:pt x="76" y="1220"/>
                      </a:lnTo>
                      <a:lnTo>
                        <a:pt x="82" y="1209"/>
                      </a:lnTo>
                      <a:lnTo>
                        <a:pt x="89" y="1197"/>
                      </a:lnTo>
                      <a:lnTo>
                        <a:pt x="98" y="1184"/>
                      </a:lnTo>
                      <a:lnTo>
                        <a:pt x="112" y="1170"/>
                      </a:lnTo>
                      <a:lnTo>
                        <a:pt x="121" y="1163"/>
                      </a:lnTo>
                      <a:lnTo>
                        <a:pt x="130" y="1156"/>
                      </a:lnTo>
                      <a:lnTo>
                        <a:pt x="142" y="1148"/>
                      </a:lnTo>
                      <a:lnTo>
                        <a:pt x="152" y="1142"/>
                      </a:lnTo>
                      <a:lnTo>
                        <a:pt x="166" y="1138"/>
                      </a:lnTo>
                      <a:lnTo>
                        <a:pt x="179" y="1133"/>
                      </a:lnTo>
                      <a:lnTo>
                        <a:pt x="194" y="1130"/>
                      </a:lnTo>
                      <a:lnTo>
                        <a:pt x="210" y="1130"/>
                      </a:lnTo>
                      <a:lnTo>
                        <a:pt x="230" y="1130"/>
                      </a:lnTo>
                      <a:lnTo>
                        <a:pt x="248" y="1135"/>
                      </a:lnTo>
                      <a:lnTo>
                        <a:pt x="266" y="1141"/>
                      </a:lnTo>
                      <a:lnTo>
                        <a:pt x="282" y="1148"/>
                      </a:lnTo>
                      <a:lnTo>
                        <a:pt x="299" y="1157"/>
                      </a:lnTo>
                      <a:lnTo>
                        <a:pt x="314" y="1169"/>
                      </a:lnTo>
                      <a:lnTo>
                        <a:pt x="328" y="1182"/>
                      </a:lnTo>
                      <a:lnTo>
                        <a:pt x="342" y="1197"/>
                      </a:lnTo>
                      <a:lnTo>
                        <a:pt x="352" y="1212"/>
                      </a:lnTo>
                      <a:lnTo>
                        <a:pt x="364" y="1230"/>
                      </a:lnTo>
                      <a:lnTo>
                        <a:pt x="373" y="1250"/>
                      </a:lnTo>
                      <a:lnTo>
                        <a:pt x="381" y="1269"/>
                      </a:lnTo>
                      <a:lnTo>
                        <a:pt x="387" y="1290"/>
                      </a:lnTo>
                      <a:lnTo>
                        <a:pt x="391" y="1312"/>
                      </a:lnTo>
                      <a:lnTo>
                        <a:pt x="394" y="1335"/>
                      </a:lnTo>
                      <a:lnTo>
                        <a:pt x="396" y="1359"/>
                      </a:lnTo>
                      <a:lnTo>
                        <a:pt x="394" y="1383"/>
                      </a:lnTo>
                      <a:lnTo>
                        <a:pt x="391" y="1405"/>
                      </a:lnTo>
                      <a:lnTo>
                        <a:pt x="387" y="1428"/>
                      </a:lnTo>
                      <a:lnTo>
                        <a:pt x="381" y="1449"/>
                      </a:lnTo>
                      <a:lnTo>
                        <a:pt x="373" y="1468"/>
                      </a:lnTo>
                      <a:lnTo>
                        <a:pt x="364" y="1487"/>
                      </a:lnTo>
                      <a:lnTo>
                        <a:pt x="352" y="1505"/>
                      </a:lnTo>
                      <a:lnTo>
                        <a:pt x="342" y="1522"/>
                      </a:lnTo>
                      <a:lnTo>
                        <a:pt x="328" y="1537"/>
                      </a:lnTo>
                      <a:lnTo>
                        <a:pt x="314" y="1549"/>
                      </a:lnTo>
                      <a:lnTo>
                        <a:pt x="299" y="1561"/>
                      </a:lnTo>
                      <a:lnTo>
                        <a:pt x="282" y="1571"/>
                      </a:lnTo>
                      <a:lnTo>
                        <a:pt x="266" y="1579"/>
                      </a:lnTo>
                      <a:lnTo>
                        <a:pt x="248" y="1583"/>
                      </a:lnTo>
                      <a:lnTo>
                        <a:pt x="230" y="1588"/>
                      </a:lnTo>
                      <a:lnTo>
                        <a:pt x="210" y="1589"/>
                      </a:lnTo>
                      <a:lnTo>
                        <a:pt x="194" y="1588"/>
                      </a:lnTo>
                      <a:lnTo>
                        <a:pt x="179" y="1585"/>
                      </a:lnTo>
                      <a:lnTo>
                        <a:pt x="166" y="1582"/>
                      </a:lnTo>
                      <a:lnTo>
                        <a:pt x="152" y="1576"/>
                      </a:lnTo>
                      <a:lnTo>
                        <a:pt x="142" y="1570"/>
                      </a:lnTo>
                      <a:lnTo>
                        <a:pt x="130" y="1564"/>
                      </a:lnTo>
                      <a:lnTo>
                        <a:pt x="121" y="1556"/>
                      </a:lnTo>
                      <a:lnTo>
                        <a:pt x="112" y="1549"/>
                      </a:lnTo>
                      <a:lnTo>
                        <a:pt x="98" y="1534"/>
                      </a:lnTo>
                      <a:lnTo>
                        <a:pt x="89" y="1520"/>
                      </a:lnTo>
                      <a:lnTo>
                        <a:pt x="82" y="1508"/>
                      </a:lnTo>
                      <a:lnTo>
                        <a:pt x="76" y="1498"/>
                      </a:lnTo>
                      <a:lnTo>
                        <a:pt x="70" y="1489"/>
                      </a:lnTo>
                      <a:lnTo>
                        <a:pt x="64" y="1481"/>
                      </a:lnTo>
                      <a:lnTo>
                        <a:pt x="56" y="1475"/>
                      </a:lnTo>
                      <a:lnTo>
                        <a:pt x="50" y="1471"/>
                      </a:lnTo>
                      <a:lnTo>
                        <a:pt x="43" y="1468"/>
                      </a:lnTo>
                      <a:lnTo>
                        <a:pt x="37" y="1466"/>
                      </a:lnTo>
                      <a:lnTo>
                        <a:pt x="30" y="1466"/>
                      </a:lnTo>
                      <a:lnTo>
                        <a:pt x="24" y="1468"/>
                      </a:lnTo>
                      <a:lnTo>
                        <a:pt x="19" y="1471"/>
                      </a:lnTo>
                      <a:lnTo>
                        <a:pt x="13" y="1475"/>
                      </a:lnTo>
                      <a:lnTo>
                        <a:pt x="9" y="1481"/>
                      </a:lnTo>
                      <a:lnTo>
                        <a:pt x="6" y="1489"/>
                      </a:lnTo>
                      <a:lnTo>
                        <a:pt x="3" y="1498"/>
                      </a:lnTo>
                      <a:lnTo>
                        <a:pt x="1" y="1508"/>
                      </a:lnTo>
                      <a:lnTo>
                        <a:pt x="0" y="1520"/>
                      </a:lnTo>
                      <a:lnTo>
                        <a:pt x="0" y="2375"/>
                      </a:lnTo>
                      <a:lnTo>
                        <a:pt x="454" y="2375"/>
                      </a:lnTo>
                      <a:lnTo>
                        <a:pt x="454" y="2377"/>
                      </a:lnTo>
                      <a:lnTo>
                        <a:pt x="856" y="2377"/>
                      </a:lnTo>
                      <a:lnTo>
                        <a:pt x="868" y="2378"/>
                      </a:lnTo>
                      <a:lnTo>
                        <a:pt x="880" y="2380"/>
                      </a:lnTo>
                      <a:lnTo>
                        <a:pt x="889" y="2383"/>
                      </a:lnTo>
                      <a:lnTo>
                        <a:pt x="896" y="2387"/>
                      </a:lnTo>
                      <a:lnTo>
                        <a:pt x="904" y="2395"/>
                      </a:lnTo>
                      <a:lnTo>
                        <a:pt x="908" y="2402"/>
                      </a:lnTo>
                      <a:lnTo>
                        <a:pt x="908" y="2413"/>
                      </a:lnTo>
                      <a:lnTo>
                        <a:pt x="907" y="2422"/>
                      </a:lnTo>
                      <a:lnTo>
                        <a:pt x="902" y="2432"/>
                      </a:lnTo>
                      <a:lnTo>
                        <a:pt x="893" y="2441"/>
                      </a:lnTo>
                      <a:lnTo>
                        <a:pt x="883" y="2450"/>
                      </a:lnTo>
                      <a:lnTo>
                        <a:pt x="868" y="2459"/>
                      </a:lnTo>
                      <a:lnTo>
                        <a:pt x="856" y="2467"/>
                      </a:lnTo>
                      <a:lnTo>
                        <a:pt x="843" y="2475"/>
                      </a:lnTo>
                      <a:lnTo>
                        <a:pt x="828" y="2489"/>
                      </a:lnTo>
                      <a:lnTo>
                        <a:pt x="820" y="2498"/>
                      </a:lnTo>
                      <a:lnTo>
                        <a:pt x="813" y="2507"/>
                      </a:lnTo>
                      <a:lnTo>
                        <a:pt x="807" y="2517"/>
                      </a:lnTo>
                      <a:lnTo>
                        <a:pt x="801" y="2529"/>
                      </a:lnTo>
                      <a:lnTo>
                        <a:pt x="795" y="2543"/>
                      </a:lnTo>
                      <a:lnTo>
                        <a:pt x="792" y="2556"/>
                      </a:lnTo>
                      <a:lnTo>
                        <a:pt x="789" y="2571"/>
                      </a:lnTo>
                      <a:lnTo>
                        <a:pt x="787" y="2588"/>
                      </a:lnTo>
                      <a:lnTo>
                        <a:pt x="789" y="2607"/>
                      </a:lnTo>
                      <a:lnTo>
                        <a:pt x="792" y="2625"/>
                      </a:lnTo>
                      <a:lnTo>
                        <a:pt x="798" y="2643"/>
                      </a:lnTo>
                      <a:lnTo>
                        <a:pt x="805" y="2659"/>
                      </a:lnTo>
                      <a:lnTo>
                        <a:pt x="816" y="2676"/>
                      </a:lnTo>
                      <a:lnTo>
                        <a:pt x="826" y="2691"/>
                      </a:lnTo>
                      <a:lnTo>
                        <a:pt x="840" y="2706"/>
                      </a:lnTo>
                      <a:lnTo>
                        <a:pt x="855" y="2718"/>
                      </a:lnTo>
                      <a:lnTo>
                        <a:pt x="871" y="2730"/>
                      </a:lnTo>
                      <a:lnTo>
                        <a:pt x="889" y="2740"/>
                      </a:lnTo>
                      <a:lnTo>
                        <a:pt x="908" y="2751"/>
                      </a:lnTo>
                      <a:lnTo>
                        <a:pt x="928" y="2758"/>
                      </a:lnTo>
                      <a:lnTo>
                        <a:pt x="949" y="2764"/>
                      </a:lnTo>
                      <a:lnTo>
                        <a:pt x="971" y="2768"/>
                      </a:lnTo>
                      <a:lnTo>
                        <a:pt x="994" y="2771"/>
                      </a:lnTo>
                      <a:lnTo>
                        <a:pt x="1018" y="2773"/>
                      </a:lnTo>
                      <a:lnTo>
                        <a:pt x="1040" y="2771"/>
                      </a:lnTo>
                      <a:lnTo>
                        <a:pt x="1064" y="2768"/>
                      </a:lnTo>
                      <a:lnTo>
                        <a:pt x="1085" y="2764"/>
                      </a:lnTo>
                      <a:lnTo>
                        <a:pt x="1106" y="2758"/>
                      </a:lnTo>
                      <a:lnTo>
                        <a:pt x="1127" y="2751"/>
                      </a:lnTo>
                      <a:lnTo>
                        <a:pt x="1145" y="2740"/>
                      </a:lnTo>
                      <a:lnTo>
                        <a:pt x="1163" y="2730"/>
                      </a:lnTo>
                      <a:lnTo>
                        <a:pt x="1179" y="2718"/>
                      </a:lnTo>
                      <a:lnTo>
                        <a:pt x="1194" y="2706"/>
                      </a:lnTo>
                      <a:lnTo>
                        <a:pt x="1207" y="2691"/>
                      </a:lnTo>
                      <a:lnTo>
                        <a:pt x="1219" y="2676"/>
                      </a:lnTo>
                      <a:lnTo>
                        <a:pt x="1228" y="2659"/>
                      </a:lnTo>
                      <a:lnTo>
                        <a:pt x="1236" y="2643"/>
                      </a:lnTo>
                      <a:lnTo>
                        <a:pt x="1242" y="2625"/>
                      </a:lnTo>
                      <a:lnTo>
                        <a:pt x="1245" y="2607"/>
                      </a:lnTo>
                      <a:lnTo>
                        <a:pt x="1246" y="2588"/>
                      </a:lnTo>
                      <a:lnTo>
                        <a:pt x="1246" y="2571"/>
                      </a:lnTo>
                      <a:lnTo>
                        <a:pt x="1243" y="2556"/>
                      </a:lnTo>
                      <a:lnTo>
                        <a:pt x="1239" y="2543"/>
                      </a:lnTo>
                      <a:lnTo>
                        <a:pt x="1234" y="2529"/>
                      </a:lnTo>
                      <a:lnTo>
                        <a:pt x="1228" y="2517"/>
                      </a:lnTo>
                      <a:lnTo>
                        <a:pt x="1221" y="2507"/>
                      </a:lnTo>
                      <a:lnTo>
                        <a:pt x="1213" y="2498"/>
                      </a:lnTo>
                      <a:lnTo>
                        <a:pt x="1206" y="2489"/>
                      </a:lnTo>
                      <a:lnTo>
                        <a:pt x="1191" y="2475"/>
                      </a:lnTo>
                      <a:lnTo>
                        <a:pt x="1179" y="2467"/>
                      </a:lnTo>
                      <a:lnTo>
                        <a:pt x="1166" y="2459"/>
                      </a:lnTo>
                      <a:lnTo>
                        <a:pt x="1152" y="2450"/>
                      </a:lnTo>
                      <a:lnTo>
                        <a:pt x="1140" y="2441"/>
                      </a:lnTo>
                      <a:lnTo>
                        <a:pt x="1133" y="2432"/>
                      </a:lnTo>
                      <a:lnTo>
                        <a:pt x="1127" y="2422"/>
                      </a:lnTo>
                      <a:lnTo>
                        <a:pt x="1125" y="2413"/>
                      </a:lnTo>
                      <a:lnTo>
                        <a:pt x="1127" y="2402"/>
                      </a:lnTo>
                      <a:lnTo>
                        <a:pt x="1131" y="2395"/>
                      </a:lnTo>
                      <a:lnTo>
                        <a:pt x="1137" y="2387"/>
                      </a:lnTo>
                      <a:lnTo>
                        <a:pt x="1145" y="2383"/>
                      </a:lnTo>
                      <a:lnTo>
                        <a:pt x="1155" y="2380"/>
                      </a:lnTo>
                      <a:lnTo>
                        <a:pt x="1166" y="2378"/>
                      </a:lnTo>
                      <a:lnTo>
                        <a:pt x="1177" y="2377"/>
                      </a:lnTo>
                      <a:lnTo>
                        <a:pt x="1429" y="2377"/>
                      </a:lnTo>
                      <a:lnTo>
                        <a:pt x="1429" y="2375"/>
                      </a:lnTo>
                      <a:lnTo>
                        <a:pt x="1976" y="2375"/>
                      </a:lnTo>
                      <a:lnTo>
                        <a:pt x="1976" y="1574"/>
                      </a:lnTo>
                      <a:lnTo>
                        <a:pt x="1976" y="1562"/>
                      </a:lnTo>
                      <a:lnTo>
                        <a:pt x="1974" y="1552"/>
                      </a:lnTo>
                      <a:lnTo>
                        <a:pt x="1971" y="1543"/>
                      </a:lnTo>
                      <a:lnTo>
                        <a:pt x="1967" y="1535"/>
                      </a:lnTo>
                      <a:lnTo>
                        <a:pt x="1962" y="1531"/>
                      </a:lnTo>
                      <a:lnTo>
                        <a:pt x="1958" y="1526"/>
                      </a:lnTo>
                      <a:lnTo>
                        <a:pt x="1952" y="1523"/>
                      </a:lnTo>
                      <a:lnTo>
                        <a:pt x="1946" y="1522"/>
                      </a:lnTo>
                      <a:lnTo>
                        <a:pt x="1940" y="1520"/>
                      </a:lnTo>
                      <a:lnTo>
                        <a:pt x="1932" y="1522"/>
                      </a:lnTo>
                      <a:lnTo>
                        <a:pt x="1926" y="1525"/>
                      </a:lnTo>
                      <a:lnTo>
                        <a:pt x="1919" y="1529"/>
                      </a:lnTo>
                      <a:lnTo>
                        <a:pt x="1913" y="1535"/>
                      </a:lnTo>
                      <a:lnTo>
                        <a:pt x="1905" y="1543"/>
                      </a:lnTo>
                      <a:lnTo>
                        <a:pt x="1899" y="1552"/>
                      </a:lnTo>
                      <a:lnTo>
                        <a:pt x="1895" y="1562"/>
                      </a:lnTo>
                      <a:lnTo>
                        <a:pt x="1887" y="1574"/>
                      </a:lnTo>
                      <a:lnTo>
                        <a:pt x="1877" y="1588"/>
                      </a:lnTo>
                      <a:lnTo>
                        <a:pt x="1864" y="1602"/>
                      </a:lnTo>
                      <a:lnTo>
                        <a:pt x="1855" y="1610"/>
                      </a:lnTo>
                      <a:lnTo>
                        <a:pt x="1846" y="1617"/>
                      </a:lnTo>
                      <a:lnTo>
                        <a:pt x="1835" y="1623"/>
                      </a:lnTo>
                      <a:lnTo>
                        <a:pt x="1823" y="1629"/>
                      </a:lnTo>
                      <a:lnTo>
                        <a:pt x="1811" y="1635"/>
                      </a:lnTo>
                      <a:lnTo>
                        <a:pt x="1796" y="1638"/>
                      </a:lnTo>
                      <a:lnTo>
                        <a:pt x="1781" y="1641"/>
                      </a:lnTo>
                      <a:lnTo>
                        <a:pt x="1765" y="1643"/>
                      </a:lnTo>
                      <a:lnTo>
                        <a:pt x="1747" y="1641"/>
                      </a:lnTo>
                      <a:lnTo>
                        <a:pt x="1728" y="1638"/>
                      </a:lnTo>
                      <a:lnTo>
                        <a:pt x="1710" y="1632"/>
                      </a:lnTo>
                      <a:lnTo>
                        <a:pt x="1693" y="1625"/>
                      </a:lnTo>
                      <a:lnTo>
                        <a:pt x="1677" y="1614"/>
                      </a:lnTo>
                      <a:lnTo>
                        <a:pt x="1662" y="1602"/>
                      </a:lnTo>
                      <a:lnTo>
                        <a:pt x="1648" y="1591"/>
                      </a:lnTo>
                      <a:lnTo>
                        <a:pt x="1635" y="1576"/>
                      </a:lnTo>
                      <a:lnTo>
                        <a:pt x="1623" y="1559"/>
                      </a:lnTo>
                      <a:lnTo>
                        <a:pt x="1612" y="1541"/>
                      </a:lnTo>
                      <a:lnTo>
                        <a:pt x="1603" y="1522"/>
                      </a:lnTo>
                      <a:lnTo>
                        <a:pt x="1596" y="1502"/>
                      </a:lnTo>
                      <a:lnTo>
                        <a:pt x="1589" y="1481"/>
                      </a:lnTo>
                      <a:lnTo>
                        <a:pt x="1584" y="1459"/>
                      </a:lnTo>
                      <a:lnTo>
                        <a:pt x="1583" y="1437"/>
                      </a:lnTo>
                      <a:lnTo>
                        <a:pt x="1581" y="1413"/>
                      </a:lnTo>
                      <a:lnTo>
                        <a:pt x="1583" y="1389"/>
                      </a:lnTo>
                      <a:lnTo>
                        <a:pt x="1584" y="1366"/>
                      </a:lnTo>
                      <a:lnTo>
                        <a:pt x="1589" y="1345"/>
                      </a:lnTo>
                      <a:lnTo>
                        <a:pt x="1596" y="1323"/>
                      </a:lnTo>
                      <a:lnTo>
                        <a:pt x="1603" y="1304"/>
                      </a:lnTo>
                      <a:lnTo>
                        <a:pt x="1612" y="1284"/>
                      </a:lnTo>
                      <a:lnTo>
                        <a:pt x="1623" y="1268"/>
                      </a:lnTo>
                      <a:lnTo>
                        <a:pt x="1635" y="1251"/>
                      </a:lnTo>
                      <a:lnTo>
                        <a:pt x="1648" y="1236"/>
                      </a:lnTo>
                      <a:lnTo>
                        <a:pt x="1662" y="1223"/>
                      </a:lnTo>
                      <a:lnTo>
                        <a:pt x="1677" y="1211"/>
                      </a:lnTo>
                      <a:lnTo>
                        <a:pt x="1693" y="1202"/>
                      </a:lnTo>
                      <a:lnTo>
                        <a:pt x="1710" y="1194"/>
                      </a:lnTo>
                      <a:lnTo>
                        <a:pt x="1728" y="1188"/>
                      </a:lnTo>
                      <a:lnTo>
                        <a:pt x="1747" y="1185"/>
                      </a:lnTo>
                      <a:lnTo>
                        <a:pt x="1765" y="1184"/>
                      </a:lnTo>
                      <a:lnTo>
                        <a:pt x="1781" y="1184"/>
                      </a:lnTo>
                      <a:lnTo>
                        <a:pt x="1796" y="1187"/>
                      </a:lnTo>
                      <a:lnTo>
                        <a:pt x="1811" y="1191"/>
                      </a:lnTo>
                      <a:lnTo>
                        <a:pt x="1823" y="1196"/>
                      </a:lnTo>
                      <a:lnTo>
                        <a:pt x="1835" y="1202"/>
                      </a:lnTo>
                      <a:lnTo>
                        <a:pt x="1846" y="1209"/>
                      </a:lnTo>
                      <a:lnTo>
                        <a:pt x="1855" y="1217"/>
                      </a:lnTo>
                      <a:lnTo>
                        <a:pt x="1864" y="1224"/>
                      </a:lnTo>
                      <a:lnTo>
                        <a:pt x="1877" y="1238"/>
                      </a:lnTo>
                      <a:lnTo>
                        <a:pt x="1887" y="1251"/>
                      </a:lnTo>
                      <a:lnTo>
                        <a:pt x="1895" y="1263"/>
                      </a:lnTo>
                      <a:lnTo>
                        <a:pt x="1899" y="1274"/>
                      </a:lnTo>
                      <a:lnTo>
                        <a:pt x="1905" y="1283"/>
                      </a:lnTo>
                      <a:lnTo>
                        <a:pt x="1913" y="1290"/>
                      </a:lnTo>
                      <a:lnTo>
                        <a:pt x="1919" y="1296"/>
                      </a:lnTo>
                      <a:lnTo>
                        <a:pt x="1926" y="1301"/>
                      </a:lnTo>
                      <a:lnTo>
                        <a:pt x="1932" y="1304"/>
                      </a:lnTo>
                      <a:lnTo>
                        <a:pt x="1940" y="1305"/>
                      </a:lnTo>
                      <a:lnTo>
                        <a:pt x="1946" y="1305"/>
                      </a:lnTo>
                      <a:lnTo>
                        <a:pt x="1952" y="1304"/>
                      </a:lnTo>
                      <a:lnTo>
                        <a:pt x="1958" y="1301"/>
                      </a:lnTo>
                      <a:lnTo>
                        <a:pt x="1962" y="1296"/>
                      </a:lnTo>
                      <a:lnTo>
                        <a:pt x="1967" y="1290"/>
                      </a:lnTo>
                      <a:lnTo>
                        <a:pt x="1971" y="1283"/>
                      </a:lnTo>
                      <a:lnTo>
                        <a:pt x="1974" y="1274"/>
                      </a:lnTo>
                      <a:lnTo>
                        <a:pt x="1976" y="1263"/>
                      </a:lnTo>
                      <a:lnTo>
                        <a:pt x="1976" y="1253"/>
                      </a:lnTo>
                      <a:lnTo>
                        <a:pt x="1976" y="396"/>
                      </a:lnTo>
                      <a:lnTo>
                        <a:pt x="1521" y="396"/>
                      </a:lnTo>
                      <a:lnTo>
                        <a:pt x="1521" y="395"/>
                      </a:lnTo>
                      <a:lnTo>
                        <a:pt x="1119" y="395"/>
                      </a:lnTo>
                      <a:lnTo>
                        <a:pt x="1107" y="395"/>
                      </a:lnTo>
                      <a:lnTo>
                        <a:pt x="1097" y="392"/>
                      </a:lnTo>
                      <a:lnTo>
                        <a:pt x="1088" y="389"/>
                      </a:lnTo>
                      <a:lnTo>
                        <a:pt x="1080" y="384"/>
                      </a:lnTo>
                      <a:lnTo>
                        <a:pt x="1073" y="377"/>
                      </a:lnTo>
                      <a:lnTo>
                        <a:pt x="1068" y="369"/>
                      </a:lnTo>
                      <a:lnTo>
                        <a:pt x="1067" y="360"/>
                      </a:lnTo>
                      <a:lnTo>
                        <a:pt x="1068" y="350"/>
                      </a:lnTo>
                      <a:lnTo>
                        <a:pt x="1074" y="341"/>
                      </a:lnTo>
                      <a:lnTo>
                        <a:pt x="1082" y="330"/>
                      </a:lnTo>
                      <a:lnTo>
                        <a:pt x="1094" y="321"/>
                      </a:lnTo>
                      <a:lnTo>
                        <a:pt x="1109" y="312"/>
                      </a:lnTo>
                      <a:lnTo>
                        <a:pt x="1121" y="305"/>
                      </a:lnTo>
                      <a:lnTo>
                        <a:pt x="1134" y="296"/>
                      </a:lnTo>
                      <a:lnTo>
                        <a:pt x="1148" y="283"/>
                      </a:lnTo>
                      <a:lnTo>
                        <a:pt x="1155" y="274"/>
                      </a:lnTo>
                      <a:lnTo>
                        <a:pt x="1163" y="265"/>
                      </a:lnTo>
                      <a:lnTo>
                        <a:pt x="1170" y="254"/>
                      </a:lnTo>
                      <a:lnTo>
                        <a:pt x="1176" y="242"/>
                      </a:lnTo>
                      <a:lnTo>
                        <a:pt x="1180" y="229"/>
                      </a:lnTo>
                      <a:lnTo>
                        <a:pt x="1185" y="215"/>
                      </a:lnTo>
                      <a:lnTo>
                        <a:pt x="1188" y="200"/>
                      </a:lnTo>
                      <a:lnTo>
                        <a:pt x="1188" y="184"/>
                      </a:lnTo>
                      <a:lnTo>
                        <a:pt x="1186" y="164"/>
                      </a:lnTo>
                      <a:lnTo>
                        <a:pt x="1183" y="146"/>
                      </a:lnTo>
                      <a:lnTo>
                        <a:pt x="1177" y="129"/>
                      </a:lnTo>
                      <a:lnTo>
                        <a:pt x="1170" y="112"/>
                      </a:lnTo>
                      <a:lnTo>
                        <a:pt x="1161" y="96"/>
                      </a:lnTo>
                      <a:lnTo>
                        <a:pt x="1149" y="81"/>
                      </a:lnTo>
                      <a:lnTo>
                        <a:pt x="1136" y="67"/>
                      </a:lnTo>
                      <a:lnTo>
                        <a:pt x="1121" y="54"/>
                      </a:lnTo>
                      <a:lnTo>
                        <a:pt x="1104" y="42"/>
                      </a:lnTo>
                      <a:lnTo>
                        <a:pt x="1088" y="31"/>
                      </a:lnTo>
                      <a:lnTo>
                        <a:pt x="1068" y="22"/>
                      </a:lnTo>
                      <a:lnTo>
                        <a:pt x="1049" y="13"/>
                      </a:lnTo>
                      <a:lnTo>
                        <a:pt x="1027" y="7"/>
                      </a:lnTo>
                      <a:lnTo>
                        <a:pt x="1006" y="3"/>
                      </a:lnTo>
                      <a:lnTo>
                        <a:pt x="983" y="0"/>
                      </a:lnTo>
                      <a:lnTo>
                        <a:pt x="959" y="0"/>
                      </a:lnTo>
                      <a:lnTo>
                        <a:pt x="935" y="0"/>
                      </a:lnTo>
                      <a:lnTo>
                        <a:pt x="913" y="3"/>
                      </a:lnTo>
                      <a:lnTo>
                        <a:pt x="891" y="7"/>
                      </a:lnTo>
                      <a:lnTo>
                        <a:pt x="870" y="13"/>
                      </a:lnTo>
                      <a:lnTo>
                        <a:pt x="850" y="22"/>
                      </a:lnTo>
                      <a:lnTo>
                        <a:pt x="831" y="31"/>
                      </a:lnTo>
                      <a:lnTo>
                        <a:pt x="813" y="42"/>
                      </a:lnTo>
                      <a:lnTo>
                        <a:pt x="796" y="54"/>
                      </a:lnTo>
                      <a:lnTo>
                        <a:pt x="781" y="67"/>
                      </a:lnTo>
                      <a:lnTo>
                        <a:pt x="769" y="81"/>
                      </a:lnTo>
                      <a:lnTo>
                        <a:pt x="757" y="96"/>
                      </a:lnTo>
                      <a:lnTo>
                        <a:pt x="747" y="112"/>
                      </a:lnTo>
                      <a:lnTo>
                        <a:pt x="740" y="129"/>
                      </a:lnTo>
                      <a:lnTo>
                        <a:pt x="734" y="146"/>
                      </a:lnTo>
                      <a:lnTo>
                        <a:pt x="731" y="164"/>
                      </a:lnTo>
                      <a:lnTo>
                        <a:pt x="729" y="184"/>
                      </a:lnTo>
                      <a:close/>
                    </a:path>
                  </a:pathLst>
                </a:custGeom>
                <a:noFill/>
                <a:ln w="12700">
                  <a:solidFill>
                    <a:srgbClr val="1D80A7"/>
                  </a:solidFill>
                  <a:prstDash val="solid"/>
                  <a:round/>
                  <a:headEnd/>
                  <a:tailEnd/>
                </a:ln>
                <a:extLst>
                  <a:ext uri="{909E8E84-426E-40DD-AFC4-6F175D3DCCD1}">
                    <a14:hiddenFill xmlns:a14="http://schemas.microsoft.com/office/drawing/2010/main">
                      <a:solidFill>
                        <a:srgbClr val="FFFFFF"/>
                      </a:solidFill>
                    </a14:hiddenFill>
                  </a:ext>
                </a:extLst>
              </p:spPr>
              <p:txBody>
                <a:bodyPr anchor="ctr"/>
                <a:lstStyle/>
                <a:p>
                  <a:endParaRPr lang="en-US" dirty="0">
                    <a:solidFill>
                      <a:prstClr val="black"/>
                    </a:solidFill>
                  </a:endParaRPr>
                </a:p>
              </p:txBody>
            </p:sp>
            <p:sp>
              <p:nvSpPr>
                <p:cNvPr id="130" name="Freeform 15"/>
                <p:cNvSpPr>
                  <a:spLocks/>
                </p:cNvSpPr>
                <p:nvPr/>
              </p:nvSpPr>
              <p:spPr bwMode="auto">
                <a:xfrm rot="5400000">
                  <a:off x="8700505" y="546412"/>
                  <a:ext cx="314255" cy="441166"/>
                </a:xfrm>
                <a:custGeom>
                  <a:avLst/>
                  <a:gdLst>
                    <a:gd name="T0" fmla="*/ 118164 w 1976"/>
                    <a:gd name="T1" fmla="*/ 38501 h 2773"/>
                    <a:gd name="T2" fmla="*/ 126911 w 1976"/>
                    <a:gd name="T3" fmla="*/ 48523 h 2773"/>
                    <a:gd name="T4" fmla="*/ 135022 w 1976"/>
                    <a:gd name="T5" fmla="*/ 55683 h 2773"/>
                    <a:gd name="T6" fmla="*/ 132159 w 1976"/>
                    <a:gd name="T7" fmla="*/ 61887 h 2773"/>
                    <a:gd name="T8" fmla="*/ 0 w 1976"/>
                    <a:gd name="T9" fmla="*/ 63001 h 2773"/>
                    <a:gd name="T10" fmla="*/ 1431 w 1976"/>
                    <a:gd name="T11" fmla="*/ 196639 h 2773"/>
                    <a:gd name="T12" fmla="*/ 6839 w 1976"/>
                    <a:gd name="T13" fmla="*/ 198867 h 2773"/>
                    <a:gd name="T14" fmla="*/ 13041 w 1976"/>
                    <a:gd name="T15" fmla="*/ 192344 h 2773"/>
                    <a:gd name="T16" fmla="*/ 20675 w 1976"/>
                    <a:gd name="T17" fmla="*/ 183912 h 2773"/>
                    <a:gd name="T18" fmla="*/ 33398 w 1976"/>
                    <a:gd name="T19" fmla="*/ 179776 h 2773"/>
                    <a:gd name="T20" fmla="*/ 47552 w 1976"/>
                    <a:gd name="T21" fmla="*/ 184071 h 2773"/>
                    <a:gd name="T22" fmla="*/ 59320 w 1976"/>
                    <a:gd name="T23" fmla="*/ 198867 h 2773"/>
                    <a:gd name="T24" fmla="*/ 62978 w 1976"/>
                    <a:gd name="T25" fmla="*/ 216208 h 2773"/>
                    <a:gd name="T26" fmla="*/ 57889 w 1976"/>
                    <a:gd name="T27" fmla="*/ 236572 h 2773"/>
                    <a:gd name="T28" fmla="*/ 44848 w 1976"/>
                    <a:gd name="T29" fmla="*/ 249936 h 2773"/>
                    <a:gd name="T30" fmla="*/ 30853 w 1976"/>
                    <a:gd name="T31" fmla="*/ 252640 h 2773"/>
                    <a:gd name="T32" fmla="*/ 19243 w 1976"/>
                    <a:gd name="T33" fmla="*/ 247549 h 2773"/>
                    <a:gd name="T34" fmla="*/ 12087 w 1976"/>
                    <a:gd name="T35" fmla="*/ 238322 h 2773"/>
                    <a:gd name="T36" fmla="*/ 5884 w 1976"/>
                    <a:gd name="T37" fmla="*/ 233231 h 2773"/>
                    <a:gd name="T38" fmla="*/ 954 w 1976"/>
                    <a:gd name="T39" fmla="*/ 236890 h 2773"/>
                    <a:gd name="T40" fmla="*/ 72202 w 1976"/>
                    <a:gd name="T41" fmla="*/ 378165 h 2773"/>
                    <a:gd name="T42" fmla="*/ 142496 w 1976"/>
                    <a:gd name="T43" fmla="*/ 379756 h 2773"/>
                    <a:gd name="T44" fmla="*/ 143450 w 1976"/>
                    <a:gd name="T45" fmla="*/ 386915 h 2773"/>
                    <a:gd name="T46" fmla="*/ 134067 w 1976"/>
                    <a:gd name="T47" fmla="*/ 393756 h 2773"/>
                    <a:gd name="T48" fmla="*/ 126434 w 1976"/>
                    <a:gd name="T49" fmla="*/ 404575 h 2773"/>
                    <a:gd name="T50" fmla="*/ 125956 w 1976"/>
                    <a:gd name="T51" fmla="*/ 417620 h 2773"/>
                    <a:gd name="T52" fmla="*/ 135976 w 1976"/>
                    <a:gd name="T53" fmla="*/ 432416 h 2773"/>
                    <a:gd name="T54" fmla="*/ 154424 w 1976"/>
                    <a:gd name="T55" fmla="*/ 440371 h 2773"/>
                    <a:gd name="T56" fmla="*/ 172554 w 1976"/>
                    <a:gd name="T57" fmla="*/ 439734 h 2773"/>
                    <a:gd name="T58" fmla="*/ 189889 w 1976"/>
                    <a:gd name="T59" fmla="*/ 430507 h 2773"/>
                    <a:gd name="T60" fmla="*/ 198000 w 1976"/>
                    <a:gd name="T61" fmla="*/ 414757 h 2773"/>
                    <a:gd name="T62" fmla="*/ 196250 w 1976"/>
                    <a:gd name="T63" fmla="*/ 402347 h 2773"/>
                    <a:gd name="T64" fmla="*/ 187503 w 1976"/>
                    <a:gd name="T65" fmla="*/ 392483 h 2773"/>
                    <a:gd name="T66" fmla="*/ 179234 w 1976"/>
                    <a:gd name="T67" fmla="*/ 385324 h 2773"/>
                    <a:gd name="T68" fmla="*/ 182096 w 1976"/>
                    <a:gd name="T69" fmla="*/ 379120 h 2773"/>
                    <a:gd name="T70" fmla="*/ 314255 w 1976"/>
                    <a:gd name="T71" fmla="*/ 377847 h 2773"/>
                    <a:gd name="T72" fmla="*/ 312824 w 1976"/>
                    <a:gd name="T73" fmla="*/ 244208 h 2773"/>
                    <a:gd name="T74" fmla="*/ 307257 w 1976"/>
                    <a:gd name="T75" fmla="*/ 242140 h 2773"/>
                    <a:gd name="T76" fmla="*/ 301373 w 1976"/>
                    <a:gd name="T77" fmla="*/ 248504 h 2773"/>
                    <a:gd name="T78" fmla="*/ 293580 w 1976"/>
                    <a:gd name="T79" fmla="*/ 257254 h 2773"/>
                    <a:gd name="T80" fmla="*/ 280698 w 1976"/>
                    <a:gd name="T81" fmla="*/ 261390 h 2773"/>
                    <a:gd name="T82" fmla="*/ 266703 w 1976"/>
                    <a:gd name="T83" fmla="*/ 256777 h 2773"/>
                    <a:gd name="T84" fmla="*/ 254935 w 1976"/>
                    <a:gd name="T85" fmla="*/ 242140 h 2773"/>
                    <a:gd name="T86" fmla="*/ 251436 w 1976"/>
                    <a:gd name="T87" fmla="*/ 224799 h 2773"/>
                    <a:gd name="T88" fmla="*/ 256366 w 1976"/>
                    <a:gd name="T89" fmla="*/ 204276 h 2773"/>
                    <a:gd name="T90" fmla="*/ 269248 w 1976"/>
                    <a:gd name="T91" fmla="*/ 191230 h 2773"/>
                    <a:gd name="T92" fmla="*/ 283243 w 1976"/>
                    <a:gd name="T93" fmla="*/ 188367 h 2773"/>
                    <a:gd name="T94" fmla="*/ 295012 w 1976"/>
                    <a:gd name="T95" fmla="*/ 193617 h 2773"/>
                    <a:gd name="T96" fmla="*/ 302009 w 1976"/>
                    <a:gd name="T97" fmla="*/ 202685 h 2773"/>
                    <a:gd name="T98" fmla="*/ 308530 w 1976"/>
                    <a:gd name="T99" fmla="*/ 207617 h 2773"/>
                    <a:gd name="T100" fmla="*/ 313460 w 1976"/>
                    <a:gd name="T101" fmla="*/ 204117 h 2773"/>
                    <a:gd name="T102" fmla="*/ 241894 w 1976"/>
                    <a:gd name="T103" fmla="*/ 62842 h 2773"/>
                    <a:gd name="T104" fmla="*/ 171759 w 1976"/>
                    <a:gd name="T105" fmla="*/ 61092 h 2773"/>
                    <a:gd name="T106" fmla="*/ 170805 w 1976"/>
                    <a:gd name="T107" fmla="*/ 54251 h 2773"/>
                    <a:gd name="T108" fmla="*/ 180347 w 1976"/>
                    <a:gd name="T109" fmla="*/ 47092 h 2773"/>
                    <a:gd name="T110" fmla="*/ 187662 w 1976"/>
                    <a:gd name="T111" fmla="*/ 36432 h 2773"/>
                    <a:gd name="T112" fmla="*/ 188140 w 1976"/>
                    <a:gd name="T113" fmla="*/ 23228 h 2773"/>
                    <a:gd name="T114" fmla="*/ 178279 w 1976"/>
                    <a:gd name="T115" fmla="*/ 8591 h 2773"/>
                    <a:gd name="T116" fmla="*/ 159990 w 1976"/>
                    <a:gd name="T117" fmla="*/ 477 h 2773"/>
                    <a:gd name="T118" fmla="*/ 141701 w 1976"/>
                    <a:gd name="T119" fmla="*/ 1114 h 2773"/>
                    <a:gd name="T120" fmla="*/ 124207 w 1976"/>
                    <a:gd name="T121" fmla="*/ 10659 h 2773"/>
                    <a:gd name="T122" fmla="*/ 116255 w 1976"/>
                    <a:gd name="T123" fmla="*/ 26091 h 277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976"/>
                    <a:gd name="T187" fmla="*/ 0 h 2773"/>
                    <a:gd name="T188" fmla="*/ 1976 w 1976"/>
                    <a:gd name="T189" fmla="*/ 2773 h 277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976" h="2773">
                      <a:moveTo>
                        <a:pt x="729" y="184"/>
                      </a:moveTo>
                      <a:lnTo>
                        <a:pt x="729" y="184"/>
                      </a:lnTo>
                      <a:lnTo>
                        <a:pt x="731" y="200"/>
                      </a:lnTo>
                      <a:lnTo>
                        <a:pt x="734" y="215"/>
                      </a:lnTo>
                      <a:lnTo>
                        <a:pt x="737" y="229"/>
                      </a:lnTo>
                      <a:lnTo>
                        <a:pt x="743" y="242"/>
                      </a:lnTo>
                      <a:lnTo>
                        <a:pt x="749" y="254"/>
                      </a:lnTo>
                      <a:lnTo>
                        <a:pt x="754" y="265"/>
                      </a:lnTo>
                      <a:lnTo>
                        <a:pt x="762" y="274"/>
                      </a:lnTo>
                      <a:lnTo>
                        <a:pt x="769" y="283"/>
                      </a:lnTo>
                      <a:lnTo>
                        <a:pt x="784" y="296"/>
                      </a:lnTo>
                      <a:lnTo>
                        <a:pt x="798" y="305"/>
                      </a:lnTo>
                      <a:lnTo>
                        <a:pt x="810" y="312"/>
                      </a:lnTo>
                      <a:lnTo>
                        <a:pt x="825" y="321"/>
                      </a:lnTo>
                      <a:lnTo>
                        <a:pt x="835" y="330"/>
                      </a:lnTo>
                      <a:lnTo>
                        <a:pt x="844" y="341"/>
                      </a:lnTo>
                      <a:lnTo>
                        <a:pt x="849" y="350"/>
                      </a:lnTo>
                      <a:lnTo>
                        <a:pt x="852" y="360"/>
                      </a:lnTo>
                      <a:lnTo>
                        <a:pt x="850" y="369"/>
                      </a:lnTo>
                      <a:lnTo>
                        <a:pt x="846" y="377"/>
                      </a:lnTo>
                      <a:lnTo>
                        <a:pt x="838" y="384"/>
                      </a:lnTo>
                      <a:lnTo>
                        <a:pt x="831" y="389"/>
                      </a:lnTo>
                      <a:lnTo>
                        <a:pt x="822" y="392"/>
                      </a:lnTo>
                      <a:lnTo>
                        <a:pt x="811" y="395"/>
                      </a:lnTo>
                      <a:lnTo>
                        <a:pt x="798" y="395"/>
                      </a:lnTo>
                      <a:lnTo>
                        <a:pt x="547" y="395"/>
                      </a:lnTo>
                      <a:lnTo>
                        <a:pt x="547" y="396"/>
                      </a:lnTo>
                      <a:lnTo>
                        <a:pt x="0" y="396"/>
                      </a:lnTo>
                      <a:lnTo>
                        <a:pt x="0" y="1197"/>
                      </a:lnTo>
                      <a:lnTo>
                        <a:pt x="1" y="1209"/>
                      </a:lnTo>
                      <a:lnTo>
                        <a:pt x="3" y="1220"/>
                      </a:lnTo>
                      <a:lnTo>
                        <a:pt x="6" y="1229"/>
                      </a:lnTo>
                      <a:lnTo>
                        <a:pt x="9" y="1236"/>
                      </a:lnTo>
                      <a:lnTo>
                        <a:pt x="13" y="1242"/>
                      </a:lnTo>
                      <a:lnTo>
                        <a:pt x="19" y="1247"/>
                      </a:lnTo>
                      <a:lnTo>
                        <a:pt x="24" y="1250"/>
                      </a:lnTo>
                      <a:lnTo>
                        <a:pt x="30" y="1251"/>
                      </a:lnTo>
                      <a:lnTo>
                        <a:pt x="37" y="1251"/>
                      </a:lnTo>
                      <a:lnTo>
                        <a:pt x="43" y="1250"/>
                      </a:lnTo>
                      <a:lnTo>
                        <a:pt x="50" y="1247"/>
                      </a:lnTo>
                      <a:lnTo>
                        <a:pt x="56" y="1242"/>
                      </a:lnTo>
                      <a:lnTo>
                        <a:pt x="64" y="1236"/>
                      </a:lnTo>
                      <a:lnTo>
                        <a:pt x="70" y="1229"/>
                      </a:lnTo>
                      <a:lnTo>
                        <a:pt x="76" y="1220"/>
                      </a:lnTo>
                      <a:lnTo>
                        <a:pt x="82" y="1209"/>
                      </a:lnTo>
                      <a:lnTo>
                        <a:pt x="89" y="1197"/>
                      </a:lnTo>
                      <a:lnTo>
                        <a:pt x="98" y="1184"/>
                      </a:lnTo>
                      <a:lnTo>
                        <a:pt x="112" y="1170"/>
                      </a:lnTo>
                      <a:lnTo>
                        <a:pt x="121" y="1163"/>
                      </a:lnTo>
                      <a:lnTo>
                        <a:pt x="130" y="1156"/>
                      </a:lnTo>
                      <a:lnTo>
                        <a:pt x="142" y="1148"/>
                      </a:lnTo>
                      <a:lnTo>
                        <a:pt x="152" y="1142"/>
                      </a:lnTo>
                      <a:lnTo>
                        <a:pt x="166" y="1138"/>
                      </a:lnTo>
                      <a:lnTo>
                        <a:pt x="179" y="1133"/>
                      </a:lnTo>
                      <a:lnTo>
                        <a:pt x="194" y="1130"/>
                      </a:lnTo>
                      <a:lnTo>
                        <a:pt x="210" y="1130"/>
                      </a:lnTo>
                      <a:lnTo>
                        <a:pt x="230" y="1130"/>
                      </a:lnTo>
                      <a:lnTo>
                        <a:pt x="248" y="1135"/>
                      </a:lnTo>
                      <a:lnTo>
                        <a:pt x="266" y="1141"/>
                      </a:lnTo>
                      <a:lnTo>
                        <a:pt x="282" y="1148"/>
                      </a:lnTo>
                      <a:lnTo>
                        <a:pt x="299" y="1157"/>
                      </a:lnTo>
                      <a:lnTo>
                        <a:pt x="314" y="1169"/>
                      </a:lnTo>
                      <a:lnTo>
                        <a:pt x="328" y="1182"/>
                      </a:lnTo>
                      <a:lnTo>
                        <a:pt x="342" y="1197"/>
                      </a:lnTo>
                      <a:lnTo>
                        <a:pt x="352" y="1212"/>
                      </a:lnTo>
                      <a:lnTo>
                        <a:pt x="364" y="1230"/>
                      </a:lnTo>
                      <a:lnTo>
                        <a:pt x="373" y="1250"/>
                      </a:lnTo>
                      <a:lnTo>
                        <a:pt x="381" y="1269"/>
                      </a:lnTo>
                      <a:lnTo>
                        <a:pt x="387" y="1290"/>
                      </a:lnTo>
                      <a:lnTo>
                        <a:pt x="391" y="1312"/>
                      </a:lnTo>
                      <a:lnTo>
                        <a:pt x="394" y="1335"/>
                      </a:lnTo>
                      <a:lnTo>
                        <a:pt x="396" y="1359"/>
                      </a:lnTo>
                      <a:lnTo>
                        <a:pt x="394" y="1383"/>
                      </a:lnTo>
                      <a:lnTo>
                        <a:pt x="391" y="1405"/>
                      </a:lnTo>
                      <a:lnTo>
                        <a:pt x="387" y="1428"/>
                      </a:lnTo>
                      <a:lnTo>
                        <a:pt x="381" y="1449"/>
                      </a:lnTo>
                      <a:lnTo>
                        <a:pt x="373" y="1468"/>
                      </a:lnTo>
                      <a:lnTo>
                        <a:pt x="364" y="1487"/>
                      </a:lnTo>
                      <a:lnTo>
                        <a:pt x="352" y="1505"/>
                      </a:lnTo>
                      <a:lnTo>
                        <a:pt x="342" y="1522"/>
                      </a:lnTo>
                      <a:lnTo>
                        <a:pt x="328" y="1537"/>
                      </a:lnTo>
                      <a:lnTo>
                        <a:pt x="314" y="1549"/>
                      </a:lnTo>
                      <a:lnTo>
                        <a:pt x="299" y="1561"/>
                      </a:lnTo>
                      <a:lnTo>
                        <a:pt x="282" y="1571"/>
                      </a:lnTo>
                      <a:lnTo>
                        <a:pt x="266" y="1579"/>
                      </a:lnTo>
                      <a:lnTo>
                        <a:pt x="248" y="1583"/>
                      </a:lnTo>
                      <a:lnTo>
                        <a:pt x="230" y="1588"/>
                      </a:lnTo>
                      <a:lnTo>
                        <a:pt x="210" y="1589"/>
                      </a:lnTo>
                      <a:lnTo>
                        <a:pt x="194" y="1588"/>
                      </a:lnTo>
                      <a:lnTo>
                        <a:pt x="179" y="1585"/>
                      </a:lnTo>
                      <a:lnTo>
                        <a:pt x="166" y="1582"/>
                      </a:lnTo>
                      <a:lnTo>
                        <a:pt x="152" y="1576"/>
                      </a:lnTo>
                      <a:lnTo>
                        <a:pt x="142" y="1570"/>
                      </a:lnTo>
                      <a:lnTo>
                        <a:pt x="130" y="1564"/>
                      </a:lnTo>
                      <a:lnTo>
                        <a:pt x="121" y="1556"/>
                      </a:lnTo>
                      <a:lnTo>
                        <a:pt x="112" y="1549"/>
                      </a:lnTo>
                      <a:lnTo>
                        <a:pt x="98" y="1534"/>
                      </a:lnTo>
                      <a:lnTo>
                        <a:pt x="89" y="1520"/>
                      </a:lnTo>
                      <a:lnTo>
                        <a:pt x="82" y="1508"/>
                      </a:lnTo>
                      <a:lnTo>
                        <a:pt x="76" y="1498"/>
                      </a:lnTo>
                      <a:lnTo>
                        <a:pt x="70" y="1489"/>
                      </a:lnTo>
                      <a:lnTo>
                        <a:pt x="64" y="1481"/>
                      </a:lnTo>
                      <a:lnTo>
                        <a:pt x="56" y="1475"/>
                      </a:lnTo>
                      <a:lnTo>
                        <a:pt x="50" y="1471"/>
                      </a:lnTo>
                      <a:lnTo>
                        <a:pt x="43" y="1468"/>
                      </a:lnTo>
                      <a:lnTo>
                        <a:pt x="37" y="1466"/>
                      </a:lnTo>
                      <a:lnTo>
                        <a:pt x="30" y="1466"/>
                      </a:lnTo>
                      <a:lnTo>
                        <a:pt x="24" y="1468"/>
                      </a:lnTo>
                      <a:lnTo>
                        <a:pt x="19" y="1471"/>
                      </a:lnTo>
                      <a:lnTo>
                        <a:pt x="13" y="1475"/>
                      </a:lnTo>
                      <a:lnTo>
                        <a:pt x="9" y="1481"/>
                      </a:lnTo>
                      <a:lnTo>
                        <a:pt x="6" y="1489"/>
                      </a:lnTo>
                      <a:lnTo>
                        <a:pt x="3" y="1498"/>
                      </a:lnTo>
                      <a:lnTo>
                        <a:pt x="1" y="1508"/>
                      </a:lnTo>
                      <a:lnTo>
                        <a:pt x="0" y="1520"/>
                      </a:lnTo>
                      <a:lnTo>
                        <a:pt x="0" y="2375"/>
                      </a:lnTo>
                      <a:lnTo>
                        <a:pt x="454" y="2375"/>
                      </a:lnTo>
                      <a:lnTo>
                        <a:pt x="454" y="2377"/>
                      </a:lnTo>
                      <a:lnTo>
                        <a:pt x="856" y="2377"/>
                      </a:lnTo>
                      <a:lnTo>
                        <a:pt x="868" y="2378"/>
                      </a:lnTo>
                      <a:lnTo>
                        <a:pt x="880" y="2380"/>
                      </a:lnTo>
                      <a:lnTo>
                        <a:pt x="889" y="2383"/>
                      </a:lnTo>
                      <a:lnTo>
                        <a:pt x="896" y="2387"/>
                      </a:lnTo>
                      <a:lnTo>
                        <a:pt x="904" y="2395"/>
                      </a:lnTo>
                      <a:lnTo>
                        <a:pt x="908" y="2402"/>
                      </a:lnTo>
                      <a:lnTo>
                        <a:pt x="908" y="2413"/>
                      </a:lnTo>
                      <a:lnTo>
                        <a:pt x="907" y="2422"/>
                      </a:lnTo>
                      <a:lnTo>
                        <a:pt x="902" y="2432"/>
                      </a:lnTo>
                      <a:lnTo>
                        <a:pt x="893" y="2441"/>
                      </a:lnTo>
                      <a:lnTo>
                        <a:pt x="883" y="2450"/>
                      </a:lnTo>
                      <a:lnTo>
                        <a:pt x="868" y="2459"/>
                      </a:lnTo>
                      <a:lnTo>
                        <a:pt x="856" y="2467"/>
                      </a:lnTo>
                      <a:lnTo>
                        <a:pt x="843" y="2475"/>
                      </a:lnTo>
                      <a:lnTo>
                        <a:pt x="828" y="2489"/>
                      </a:lnTo>
                      <a:lnTo>
                        <a:pt x="820" y="2498"/>
                      </a:lnTo>
                      <a:lnTo>
                        <a:pt x="813" y="2507"/>
                      </a:lnTo>
                      <a:lnTo>
                        <a:pt x="807" y="2517"/>
                      </a:lnTo>
                      <a:lnTo>
                        <a:pt x="801" y="2529"/>
                      </a:lnTo>
                      <a:lnTo>
                        <a:pt x="795" y="2543"/>
                      </a:lnTo>
                      <a:lnTo>
                        <a:pt x="792" y="2556"/>
                      </a:lnTo>
                      <a:lnTo>
                        <a:pt x="789" y="2571"/>
                      </a:lnTo>
                      <a:lnTo>
                        <a:pt x="787" y="2588"/>
                      </a:lnTo>
                      <a:lnTo>
                        <a:pt x="789" y="2607"/>
                      </a:lnTo>
                      <a:lnTo>
                        <a:pt x="792" y="2625"/>
                      </a:lnTo>
                      <a:lnTo>
                        <a:pt x="798" y="2643"/>
                      </a:lnTo>
                      <a:lnTo>
                        <a:pt x="805" y="2659"/>
                      </a:lnTo>
                      <a:lnTo>
                        <a:pt x="816" y="2676"/>
                      </a:lnTo>
                      <a:lnTo>
                        <a:pt x="826" y="2691"/>
                      </a:lnTo>
                      <a:lnTo>
                        <a:pt x="840" y="2706"/>
                      </a:lnTo>
                      <a:lnTo>
                        <a:pt x="855" y="2718"/>
                      </a:lnTo>
                      <a:lnTo>
                        <a:pt x="871" y="2730"/>
                      </a:lnTo>
                      <a:lnTo>
                        <a:pt x="889" y="2740"/>
                      </a:lnTo>
                      <a:lnTo>
                        <a:pt x="908" y="2751"/>
                      </a:lnTo>
                      <a:lnTo>
                        <a:pt x="928" y="2758"/>
                      </a:lnTo>
                      <a:lnTo>
                        <a:pt x="949" y="2764"/>
                      </a:lnTo>
                      <a:lnTo>
                        <a:pt x="971" y="2768"/>
                      </a:lnTo>
                      <a:lnTo>
                        <a:pt x="994" y="2771"/>
                      </a:lnTo>
                      <a:lnTo>
                        <a:pt x="1018" y="2773"/>
                      </a:lnTo>
                      <a:lnTo>
                        <a:pt x="1040" y="2771"/>
                      </a:lnTo>
                      <a:lnTo>
                        <a:pt x="1064" y="2768"/>
                      </a:lnTo>
                      <a:lnTo>
                        <a:pt x="1085" y="2764"/>
                      </a:lnTo>
                      <a:lnTo>
                        <a:pt x="1106" y="2758"/>
                      </a:lnTo>
                      <a:lnTo>
                        <a:pt x="1127" y="2751"/>
                      </a:lnTo>
                      <a:lnTo>
                        <a:pt x="1145" y="2740"/>
                      </a:lnTo>
                      <a:lnTo>
                        <a:pt x="1163" y="2730"/>
                      </a:lnTo>
                      <a:lnTo>
                        <a:pt x="1179" y="2718"/>
                      </a:lnTo>
                      <a:lnTo>
                        <a:pt x="1194" y="2706"/>
                      </a:lnTo>
                      <a:lnTo>
                        <a:pt x="1207" y="2691"/>
                      </a:lnTo>
                      <a:lnTo>
                        <a:pt x="1219" y="2676"/>
                      </a:lnTo>
                      <a:lnTo>
                        <a:pt x="1228" y="2659"/>
                      </a:lnTo>
                      <a:lnTo>
                        <a:pt x="1236" y="2643"/>
                      </a:lnTo>
                      <a:lnTo>
                        <a:pt x="1242" y="2625"/>
                      </a:lnTo>
                      <a:lnTo>
                        <a:pt x="1245" y="2607"/>
                      </a:lnTo>
                      <a:lnTo>
                        <a:pt x="1246" y="2588"/>
                      </a:lnTo>
                      <a:lnTo>
                        <a:pt x="1246" y="2571"/>
                      </a:lnTo>
                      <a:lnTo>
                        <a:pt x="1243" y="2556"/>
                      </a:lnTo>
                      <a:lnTo>
                        <a:pt x="1239" y="2543"/>
                      </a:lnTo>
                      <a:lnTo>
                        <a:pt x="1234" y="2529"/>
                      </a:lnTo>
                      <a:lnTo>
                        <a:pt x="1228" y="2517"/>
                      </a:lnTo>
                      <a:lnTo>
                        <a:pt x="1221" y="2507"/>
                      </a:lnTo>
                      <a:lnTo>
                        <a:pt x="1213" y="2498"/>
                      </a:lnTo>
                      <a:lnTo>
                        <a:pt x="1206" y="2489"/>
                      </a:lnTo>
                      <a:lnTo>
                        <a:pt x="1191" y="2475"/>
                      </a:lnTo>
                      <a:lnTo>
                        <a:pt x="1179" y="2467"/>
                      </a:lnTo>
                      <a:lnTo>
                        <a:pt x="1166" y="2459"/>
                      </a:lnTo>
                      <a:lnTo>
                        <a:pt x="1152" y="2450"/>
                      </a:lnTo>
                      <a:lnTo>
                        <a:pt x="1140" y="2441"/>
                      </a:lnTo>
                      <a:lnTo>
                        <a:pt x="1133" y="2432"/>
                      </a:lnTo>
                      <a:lnTo>
                        <a:pt x="1127" y="2422"/>
                      </a:lnTo>
                      <a:lnTo>
                        <a:pt x="1125" y="2413"/>
                      </a:lnTo>
                      <a:lnTo>
                        <a:pt x="1127" y="2402"/>
                      </a:lnTo>
                      <a:lnTo>
                        <a:pt x="1131" y="2395"/>
                      </a:lnTo>
                      <a:lnTo>
                        <a:pt x="1137" y="2387"/>
                      </a:lnTo>
                      <a:lnTo>
                        <a:pt x="1145" y="2383"/>
                      </a:lnTo>
                      <a:lnTo>
                        <a:pt x="1155" y="2380"/>
                      </a:lnTo>
                      <a:lnTo>
                        <a:pt x="1166" y="2378"/>
                      </a:lnTo>
                      <a:lnTo>
                        <a:pt x="1177" y="2377"/>
                      </a:lnTo>
                      <a:lnTo>
                        <a:pt x="1429" y="2377"/>
                      </a:lnTo>
                      <a:lnTo>
                        <a:pt x="1429" y="2375"/>
                      </a:lnTo>
                      <a:lnTo>
                        <a:pt x="1976" y="2375"/>
                      </a:lnTo>
                      <a:lnTo>
                        <a:pt x="1976" y="1574"/>
                      </a:lnTo>
                      <a:lnTo>
                        <a:pt x="1976" y="1562"/>
                      </a:lnTo>
                      <a:lnTo>
                        <a:pt x="1974" y="1552"/>
                      </a:lnTo>
                      <a:lnTo>
                        <a:pt x="1971" y="1543"/>
                      </a:lnTo>
                      <a:lnTo>
                        <a:pt x="1967" y="1535"/>
                      </a:lnTo>
                      <a:lnTo>
                        <a:pt x="1962" y="1531"/>
                      </a:lnTo>
                      <a:lnTo>
                        <a:pt x="1958" y="1526"/>
                      </a:lnTo>
                      <a:lnTo>
                        <a:pt x="1952" y="1523"/>
                      </a:lnTo>
                      <a:lnTo>
                        <a:pt x="1946" y="1522"/>
                      </a:lnTo>
                      <a:lnTo>
                        <a:pt x="1940" y="1520"/>
                      </a:lnTo>
                      <a:lnTo>
                        <a:pt x="1932" y="1522"/>
                      </a:lnTo>
                      <a:lnTo>
                        <a:pt x="1926" y="1525"/>
                      </a:lnTo>
                      <a:lnTo>
                        <a:pt x="1919" y="1529"/>
                      </a:lnTo>
                      <a:lnTo>
                        <a:pt x="1913" y="1535"/>
                      </a:lnTo>
                      <a:lnTo>
                        <a:pt x="1905" y="1543"/>
                      </a:lnTo>
                      <a:lnTo>
                        <a:pt x="1899" y="1552"/>
                      </a:lnTo>
                      <a:lnTo>
                        <a:pt x="1895" y="1562"/>
                      </a:lnTo>
                      <a:lnTo>
                        <a:pt x="1887" y="1574"/>
                      </a:lnTo>
                      <a:lnTo>
                        <a:pt x="1877" y="1588"/>
                      </a:lnTo>
                      <a:lnTo>
                        <a:pt x="1864" y="1602"/>
                      </a:lnTo>
                      <a:lnTo>
                        <a:pt x="1855" y="1610"/>
                      </a:lnTo>
                      <a:lnTo>
                        <a:pt x="1846" y="1617"/>
                      </a:lnTo>
                      <a:lnTo>
                        <a:pt x="1835" y="1623"/>
                      </a:lnTo>
                      <a:lnTo>
                        <a:pt x="1823" y="1629"/>
                      </a:lnTo>
                      <a:lnTo>
                        <a:pt x="1811" y="1635"/>
                      </a:lnTo>
                      <a:lnTo>
                        <a:pt x="1796" y="1638"/>
                      </a:lnTo>
                      <a:lnTo>
                        <a:pt x="1781" y="1641"/>
                      </a:lnTo>
                      <a:lnTo>
                        <a:pt x="1765" y="1643"/>
                      </a:lnTo>
                      <a:lnTo>
                        <a:pt x="1747" y="1641"/>
                      </a:lnTo>
                      <a:lnTo>
                        <a:pt x="1728" y="1638"/>
                      </a:lnTo>
                      <a:lnTo>
                        <a:pt x="1710" y="1632"/>
                      </a:lnTo>
                      <a:lnTo>
                        <a:pt x="1693" y="1625"/>
                      </a:lnTo>
                      <a:lnTo>
                        <a:pt x="1677" y="1614"/>
                      </a:lnTo>
                      <a:lnTo>
                        <a:pt x="1662" y="1602"/>
                      </a:lnTo>
                      <a:lnTo>
                        <a:pt x="1648" y="1591"/>
                      </a:lnTo>
                      <a:lnTo>
                        <a:pt x="1635" y="1576"/>
                      </a:lnTo>
                      <a:lnTo>
                        <a:pt x="1623" y="1559"/>
                      </a:lnTo>
                      <a:lnTo>
                        <a:pt x="1612" y="1541"/>
                      </a:lnTo>
                      <a:lnTo>
                        <a:pt x="1603" y="1522"/>
                      </a:lnTo>
                      <a:lnTo>
                        <a:pt x="1596" y="1502"/>
                      </a:lnTo>
                      <a:lnTo>
                        <a:pt x="1589" y="1481"/>
                      </a:lnTo>
                      <a:lnTo>
                        <a:pt x="1584" y="1459"/>
                      </a:lnTo>
                      <a:lnTo>
                        <a:pt x="1583" y="1437"/>
                      </a:lnTo>
                      <a:lnTo>
                        <a:pt x="1581" y="1413"/>
                      </a:lnTo>
                      <a:lnTo>
                        <a:pt x="1583" y="1389"/>
                      </a:lnTo>
                      <a:lnTo>
                        <a:pt x="1584" y="1366"/>
                      </a:lnTo>
                      <a:lnTo>
                        <a:pt x="1589" y="1345"/>
                      </a:lnTo>
                      <a:lnTo>
                        <a:pt x="1596" y="1323"/>
                      </a:lnTo>
                      <a:lnTo>
                        <a:pt x="1603" y="1304"/>
                      </a:lnTo>
                      <a:lnTo>
                        <a:pt x="1612" y="1284"/>
                      </a:lnTo>
                      <a:lnTo>
                        <a:pt x="1623" y="1268"/>
                      </a:lnTo>
                      <a:lnTo>
                        <a:pt x="1635" y="1251"/>
                      </a:lnTo>
                      <a:lnTo>
                        <a:pt x="1648" y="1236"/>
                      </a:lnTo>
                      <a:lnTo>
                        <a:pt x="1662" y="1223"/>
                      </a:lnTo>
                      <a:lnTo>
                        <a:pt x="1677" y="1211"/>
                      </a:lnTo>
                      <a:lnTo>
                        <a:pt x="1693" y="1202"/>
                      </a:lnTo>
                      <a:lnTo>
                        <a:pt x="1710" y="1194"/>
                      </a:lnTo>
                      <a:lnTo>
                        <a:pt x="1728" y="1188"/>
                      </a:lnTo>
                      <a:lnTo>
                        <a:pt x="1747" y="1185"/>
                      </a:lnTo>
                      <a:lnTo>
                        <a:pt x="1765" y="1184"/>
                      </a:lnTo>
                      <a:lnTo>
                        <a:pt x="1781" y="1184"/>
                      </a:lnTo>
                      <a:lnTo>
                        <a:pt x="1796" y="1187"/>
                      </a:lnTo>
                      <a:lnTo>
                        <a:pt x="1811" y="1191"/>
                      </a:lnTo>
                      <a:lnTo>
                        <a:pt x="1823" y="1196"/>
                      </a:lnTo>
                      <a:lnTo>
                        <a:pt x="1835" y="1202"/>
                      </a:lnTo>
                      <a:lnTo>
                        <a:pt x="1846" y="1209"/>
                      </a:lnTo>
                      <a:lnTo>
                        <a:pt x="1855" y="1217"/>
                      </a:lnTo>
                      <a:lnTo>
                        <a:pt x="1864" y="1224"/>
                      </a:lnTo>
                      <a:lnTo>
                        <a:pt x="1877" y="1238"/>
                      </a:lnTo>
                      <a:lnTo>
                        <a:pt x="1887" y="1251"/>
                      </a:lnTo>
                      <a:lnTo>
                        <a:pt x="1895" y="1263"/>
                      </a:lnTo>
                      <a:lnTo>
                        <a:pt x="1899" y="1274"/>
                      </a:lnTo>
                      <a:lnTo>
                        <a:pt x="1905" y="1283"/>
                      </a:lnTo>
                      <a:lnTo>
                        <a:pt x="1913" y="1290"/>
                      </a:lnTo>
                      <a:lnTo>
                        <a:pt x="1919" y="1296"/>
                      </a:lnTo>
                      <a:lnTo>
                        <a:pt x="1926" y="1301"/>
                      </a:lnTo>
                      <a:lnTo>
                        <a:pt x="1932" y="1304"/>
                      </a:lnTo>
                      <a:lnTo>
                        <a:pt x="1940" y="1305"/>
                      </a:lnTo>
                      <a:lnTo>
                        <a:pt x="1946" y="1305"/>
                      </a:lnTo>
                      <a:lnTo>
                        <a:pt x="1952" y="1304"/>
                      </a:lnTo>
                      <a:lnTo>
                        <a:pt x="1958" y="1301"/>
                      </a:lnTo>
                      <a:lnTo>
                        <a:pt x="1962" y="1296"/>
                      </a:lnTo>
                      <a:lnTo>
                        <a:pt x="1967" y="1290"/>
                      </a:lnTo>
                      <a:lnTo>
                        <a:pt x="1971" y="1283"/>
                      </a:lnTo>
                      <a:lnTo>
                        <a:pt x="1974" y="1274"/>
                      </a:lnTo>
                      <a:lnTo>
                        <a:pt x="1976" y="1263"/>
                      </a:lnTo>
                      <a:lnTo>
                        <a:pt x="1976" y="1253"/>
                      </a:lnTo>
                      <a:lnTo>
                        <a:pt x="1976" y="396"/>
                      </a:lnTo>
                      <a:lnTo>
                        <a:pt x="1521" y="396"/>
                      </a:lnTo>
                      <a:lnTo>
                        <a:pt x="1521" y="395"/>
                      </a:lnTo>
                      <a:lnTo>
                        <a:pt x="1119" y="395"/>
                      </a:lnTo>
                      <a:lnTo>
                        <a:pt x="1107" y="395"/>
                      </a:lnTo>
                      <a:lnTo>
                        <a:pt x="1097" y="392"/>
                      </a:lnTo>
                      <a:lnTo>
                        <a:pt x="1088" y="389"/>
                      </a:lnTo>
                      <a:lnTo>
                        <a:pt x="1080" y="384"/>
                      </a:lnTo>
                      <a:lnTo>
                        <a:pt x="1073" y="377"/>
                      </a:lnTo>
                      <a:lnTo>
                        <a:pt x="1068" y="369"/>
                      </a:lnTo>
                      <a:lnTo>
                        <a:pt x="1067" y="360"/>
                      </a:lnTo>
                      <a:lnTo>
                        <a:pt x="1068" y="350"/>
                      </a:lnTo>
                      <a:lnTo>
                        <a:pt x="1074" y="341"/>
                      </a:lnTo>
                      <a:lnTo>
                        <a:pt x="1082" y="330"/>
                      </a:lnTo>
                      <a:lnTo>
                        <a:pt x="1094" y="321"/>
                      </a:lnTo>
                      <a:lnTo>
                        <a:pt x="1109" y="312"/>
                      </a:lnTo>
                      <a:lnTo>
                        <a:pt x="1121" y="305"/>
                      </a:lnTo>
                      <a:lnTo>
                        <a:pt x="1134" y="296"/>
                      </a:lnTo>
                      <a:lnTo>
                        <a:pt x="1148" y="283"/>
                      </a:lnTo>
                      <a:lnTo>
                        <a:pt x="1155" y="274"/>
                      </a:lnTo>
                      <a:lnTo>
                        <a:pt x="1163" y="265"/>
                      </a:lnTo>
                      <a:lnTo>
                        <a:pt x="1170" y="254"/>
                      </a:lnTo>
                      <a:lnTo>
                        <a:pt x="1176" y="242"/>
                      </a:lnTo>
                      <a:lnTo>
                        <a:pt x="1180" y="229"/>
                      </a:lnTo>
                      <a:lnTo>
                        <a:pt x="1185" y="215"/>
                      </a:lnTo>
                      <a:lnTo>
                        <a:pt x="1188" y="200"/>
                      </a:lnTo>
                      <a:lnTo>
                        <a:pt x="1188" y="184"/>
                      </a:lnTo>
                      <a:lnTo>
                        <a:pt x="1186" y="164"/>
                      </a:lnTo>
                      <a:lnTo>
                        <a:pt x="1183" y="146"/>
                      </a:lnTo>
                      <a:lnTo>
                        <a:pt x="1177" y="129"/>
                      </a:lnTo>
                      <a:lnTo>
                        <a:pt x="1170" y="112"/>
                      </a:lnTo>
                      <a:lnTo>
                        <a:pt x="1161" y="96"/>
                      </a:lnTo>
                      <a:lnTo>
                        <a:pt x="1149" y="81"/>
                      </a:lnTo>
                      <a:lnTo>
                        <a:pt x="1136" y="67"/>
                      </a:lnTo>
                      <a:lnTo>
                        <a:pt x="1121" y="54"/>
                      </a:lnTo>
                      <a:lnTo>
                        <a:pt x="1104" y="42"/>
                      </a:lnTo>
                      <a:lnTo>
                        <a:pt x="1088" y="31"/>
                      </a:lnTo>
                      <a:lnTo>
                        <a:pt x="1068" y="22"/>
                      </a:lnTo>
                      <a:lnTo>
                        <a:pt x="1049" y="13"/>
                      </a:lnTo>
                      <a:lnTo>
                        <a:pt x="1027" y="7"/>
                      </a:lnTo>
                      <a:lnTo>
                        <a:pt x="1006" y="3"/>
                      </a:lnTo>
                      <a:lnTo>
                        <a:pt x="983" y="0"/>
                      </a:lnTo>
                      <a:lnTo>
                        <a:pt x="959" y="0"/>
                      </a:lnTo>
                      <a:lnTo>
                        <a:pt x="935" y="0"/>
                      </a:lnTo>
                      <a:lnTo>
                        <a:pt x="913" y="3"/>
                      </a:lnTo>
                      <a:lnTo>
                        <a:pt x="891" y="7"/>
                      </a:lnTo>
                      <a:lnTo>
                        <a:pt x="870" y="13"/>
                      </a:lnTo>
                      <a:lnTo>
                        <a:pt x="850" y="22"/>
                      </a:lnTo>
                      <a:lnTo>
                        <a:pt x="831" y="31"/>
                      </a:lnTo>
                      <a:lnTo>
                        <a:pt x="813" y="42"/>
                      </a:lnTo>
                      <a:lnTo>
                        <a:pt x="796" y="54"/>
                      </a:lnTo>
                      <a:lnTo>
                        <a:pt x="781" y="67"/>
                      </a:lnTo>
                      <a:lnTo>
                        <a:pt x="769" y="81"/>
                      </a:lnTo>
                      <a:lnTo>
                        <a:pt x="757" y="96"/>
                      </a:lnTo>
                      <a:lnTo>
                        <a:pt x="747" y="112"/>
                      </a:lnTo>
                      <a:lnTo>
                        <a:pt x="740" y="129"/>
                      </a:lnTo>
                      <a:lnTo>
                        <a:pt x="734" y="146"/>
                      </a:lnTo>
                      <a:lnTo>
                        <a:pt x="731" y="164"/>
                      </a:lnTo>
                      <a:lnTo>
                        <a:pt x="729" y="184"/>
                      </a:lnTo>
                      <a:close/>
                    </a:path>
                  </a:pathLst>
                </a:custGeom>
                <a:noFill/>
                <a:ln w="12700">
                  <a:solidFill>
                    <a:srgbClr val="1D80A7"/>
                  </a:solidFill>
                  <a:prstDash val="solid"/>
                  <a:round/>
                  <a:headEnd/>
                  <a:tailEnd/>
                </a:ln>
                <a:extLst>
                  <a:ext uri="{909E8E84-426E-40DD-AFC4-6F175D3DCCD1}">
                    <a14:hiddenFill xmlns:a14="http://schemas.microsoft.com/office/drawing/2010/main">
                      <a:solidFill>
                        <a:srgbClr val="FFFFFF"/>
                      </a:solidFill>
                    </a14:hiddenFill>
                  </a:ext>
                </a:extLst>
              </p:spPr>
              <p:txBody>
                <a:bodyPr anchor="ctr"/>
                <a:lstStyle/>
                <a:p>
                  <a:endParaRPr lang="en-US" dirty="0">
                    <a:solidFill>
                      <a:prstClr val="black"/>
                    </a:solidFill>
                  </a:endParaRPr>
                </a:p>
              </p:txBody>
            </p:sp>
            <p:sp>
              <p:nvSpPr>
                <p:cNvPr id="131" name="Freeform 15"/>
                <p:cNvSpPr>
                  <a:spLocks/>
                </p:cNvSpPr>
                <p:nvPr/>
              </p:nvSpPr>
              <p:spPr bwMode="auto">
                <a:xfrm>
                  <a:off x="8702995" y="852608"/>
                  <a:ext cx="314255" cy="441166"/>
                </a:xfrm>
                <a:custGeom>
                  <a:avLst/>
                  <a:gdLst>
                    <a:gd name="T0" fmla="*/ 118164 w 1976"/>
                    <a:gd name="T1" fmla="*/ 38501 h 2773"/>
                    <a:gd name="T2" fmla="*/ 126911 w 1976"/>
                    <a:gd name="T3" fmla="*/ 48523 h 2773"/>
                    <a:gd name="T4" fmla="*/ 135022 w 1976"/>
                    <a:gd name="T5" fmla="*/ 55683 h 2773"/>
                    <a:gd name="T6" fmla="*/ 132159 w 1976"/>
                    <a:gd name="T7" fmla="*/ 61887 h 2773"/>
                    <a:gd name="T8" fmla="*/ 0 w 1976"/>
                    <a:gd name="T9" fmla="*/ 63001 h 2773"/>
                    <a:gd name="T10" fmla="*/ 1431 w 1976"/>
                    <a:gd name="T11" fmla="*/ 196639 h 2773"/>
                    <a:gd name="T12" fmla="*/ 6839 w 1976"/>
                    <a:gd name="T13" fmla="*/ 198867 h 2773"/>
                    <a:gd name="T14" fmla="*/ 13041 w 1976"/>
                    <a:gd name="T15" fmla="*/ 192344 h 2773"/>
                    <a:gd name="T16" fmla="*/ 20675 w 1976"/>
                    <a:gd name="T17" fmla="*/ 183912 h 2773"/>
                    <a:gd name="T18" fmla="*/ 33398 w 1976"/>
                    <a:gd name="T19" fmla="*/ 179776 h 2773"/>
                    <a:gd name="T20" fmla="*/ 47552 w 1976"/>
                    <a:gd name="T21" fmla="*/ 184071 h 2773"/>
                    <a:gd name="T22" fmla="*/ 59320 w 1976"/>
                    <a:gd name="T23" fmla="*/ 198867 h 2773"/>
                    <a:gd name="T24" fmla="*/ 62978 w 1976"/>
                    <a:gd name="T25" fmla="*/ 216208 h 2773"/>
                    <a:gd name="T26" fmla="*/ 57889 w 1976"/>
                    <a:gd name="T27" fmla="*/ 236572 h 2773"/>
                    <a:gd name="T28" fmla="*/ 44848 w 1976"/>
                    <a:gd name="T29" fmla="*/ 249936 h 2773"/>
                    <a:gd name="T30" fmla="*/ 30853 w 1976"/>
                    <a:gd name="T31" fmla="*/ 252640 h 2773"/>
                    <a:gd name="T32" fmla="*/ 19243 w 1976"/>
                    <a:gd name="T33" fmla="*/ 247549 h 2773"/>
                    <a:gd name="T34" fmla="*/ 12087 w 1976"/>
                    <a:gd name="T35" fmla="*/ 238322 h 2773"/>
                    <a:gd name="T36" fmla="*/ 5884 w 1976"/>
                    <a:gd name="T37" fmla="*/ 233231 h 2773"/>
                    <a:gd name="T38" fmla="*/ 954 w 1976"/>
                    <a:gd name="T39" fmla="*/ 236890 h 2773"/>
                    <a:gd name="T40" fmla="*/ 72202 w 1976"/>
                    <a:gd name="T41" fmla="*/ 378165 h 2773"/>
                    <a:gd name="T42" fmla="*/ 142496 w 1976"/>
                    <a:gd name="T43" fmla="*/ 379756 h 2773"/>
                    <a:gd name="T44" fmla="*/ 143450 w 1976"/>
                    <a:gd name="T45" fmla="*/ 386915 h 2773"/>
                    <a:gd name="T46" fmla="*/ 134067 w 1976"/>
                    <a:gd name="T47" fmla="*/ 393756 h 2773"/>
                    <a:gd name="T48" fmla="*/ 126434 w 1976"/>
                    <a:gd name="T49" fmla="*/ 404575 h 2773"/>
                    <a:gd name="T50" fmla="*/ 125956 w 1976"/>
                    <a:gd name="T51" fmla="*/ 417620 h 2773"/>
                    <a:gd name="T52" fmla="*/ 135976 w 1976"/>
                    <a:gd name="T53" fmla="*/ 432416 h 2773"/>
                    <a:gd name="T54" fmla="*/ 154424 w 1976"/>
                    <a:gd name="T55" fmla="*/ 440371 h 2773"/>
                    <a:gd name="T56" fmla="*/ 172554 w 1976"/>
                    <a:gd name="T57" fmla="*/ 439734 h 2773"/>
                    <a:gd name="T58" fmla="*/ 189889 w 1976"/>
                    <a:gd name="T59" fmla="*/ 430507 h 2773"/>
                    <a:gd name="T60" fmla="*/ 198000 w 1976"/>
                    <a:gd name="T61" fmla="*/ 414757 h 2773"/>
                    <a:gd name="T62" fmla="*/ 196250 w 1976"/>
                    <a:gd name="T63" fmla="*/ 402347 h 2773"/>
                    <a:gd name="T64" fmla="*/ 187503 w 1976"/>
                    <a:gd name="T65" fmla="*/ 392483 h 2773"/>
                    <a:gd name="T66" fmla="*/ 179234 w 1976"/>
                    <a:gd name="T67" fmla="*/ 385324 h 2773"/>
                    <a:gd name="T68" fmla="*/ 182096 w 1976"/>
                    <a:gd name="T69" fmla="*/ 379120 h 2773"/>
                    <a:gd name="T70" fmla="*/ 314255 w 1976"/>
                    <a:gd name="T71" fmla="*/ 377847 h 2773"/>
                    <a:gd name="T72" fmla="*/ 312824 w 1976"/>
                    <a:gd name="T73" fmla="*/ 244208 h 2773"/>
                    <a:gd name="T74" fmla="*/ 307257 w 1976"/>
                    <a:gd name="T75" fmla="*/ 242140 h 2773"/>
                    <a:gd name="T76" fmla="*/ 301373 w 1976"/>
                    <a:gd name="T77" fmla="*/ 248504 h 2773"/>
                    <a:gd name="T78" fmla="*/ 293580 w 1976"/>
                    <a:gd name="T79" fmla="*/ 257254 h 2773"/>
                    <a:gd name="T80" fmla="*/ 280698 w 1976"/>
                    <a:gd name="T81" fmla="*/ 261390 h 2773"/>
                    <a:gd name="T82" fmla="*/ 266703 w 1976"/>
                    <a:gd name="T83" fmla="*/ 256777 h 2773"/>
                    <a:gd name="T84" fmla="*/ 254935 w 1976"/>
                    <a:gd name="T85" fmla="*/ 242140 h 2773"/>
                    <a:gd name="T86" fmla="*/ 251436 w 1976"/>
                    <a:gd name="T87" fmla="*/ 224799 h 2773"/>
                    <a:gd name="T88" fmla="*/ 256366 w 1976"/>
                    <a:gd name="T89" fmla="*/ 204276 h 2773"/>
                    <a:gd name="T90" fmla="*/ 269248 w 1976"/>
                    <a:gd name="T91" fmla="*/ 191230 h 2773"/>
                    <a:gd name="T92" fmla="*/ 283243 w 1976"/>
                    <a:gd name="T93" fmla="*/ 188367 h 2773"/>
                    <a:gd name="T94" fmla="*/ 295012 w 1976"/>
                    <a:gd name="T95" fmla="*/ 193617 h 2773"/>
                    <a:gd name="T96" fmla="*/ 302009 w 1976"/>
                    <a:gd name="T97" fmla="*/ 202685 h 2773"/>
                    <a:gd name="T98" fmla="*/ 308530 w 1976"/>
                    <a:gd name="T99" fmla="*/ 207617 h 2773"/>
                    <a:gd name="T100" fmla="*/ 313460 w 1976"/>
                    <a:gd name="T101" fmla="*/ 204117 h 2773"/>
                    <a:gd name="T102" fmla="*/ 241894 w 1976"/>
                    <a:gd name="T103" fmla="*/ 62842 h 2773"/>
                    <a:gd name="T104" fmla="*/ 171759 w 1976"/>
                    <a:gd name="T105" fmla="*/ 61092 h 2773"/>
                    <a:gd name="T106" fmla="*/ 170805 w 1976"/>
                    <a:gd name="T107" fmla="*/ 54251 h 2773"/>
                    <a:gd name="T108" fmla="*/ 180347 w 1976"/>
                    <a:gd name="T109" fmla="*/ 47092 h 2773"/>
                    <a:gd name="T110" fmla="*/ 187662 w 1976"/>
                    <a:gd name="T111" fmla="*/ 36432 h 2773"/>
                    <a:gd name="T112" fmla="*/ 188140 w 1976"/>
                    <a:gd name="T113" fmla="*/ 23228 h 2773"/>
                    <a:gd name="T114" fmla="*/ 178279 w 1976"/>
                    <a:gd name="T115" fmla="*/ 8591 h 2773"/>
                    <a:gd name="T116" fmla="*/ 159990 w 1976"/>
                    <a:gd name="T117" fmla="*/ 477 h 2773"/>
                    <a:gd name="T118" fmla="*/ 141701 w 1976"/>
                    <a:gd name="T119" fmla="*/ 1114 h 2773"/>
                    <a:gd name="T120" fmla="*/ 124207 w 1976"/>
                    <a:gd name="T121" fmla="*/ 10659 h 2773"/>
                    <a:gd name="T122" fmla="*/ 116255 w 1976"/>
                    <a:gd name="T123" fmla="*/ 26091 h 277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976"/>
                    <a:gd name="T187" fmla="*/ 0 h 2773"/>
                    <a:gd name="T188" fmla="*/ 1976 w 1976"/>
                    <a:gd name="T189" fmla="*/ 2773 h 277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976" h="2773">
                      <a:moveTo>
                        <a:pt x="729" y="184"/>
                      </a:moveTo>
                      <a:lnTo>
                        <a:pt x="729" y="184"/>
                      </a:lnTo>
                      <a:lnTo>
                        <a:pt x="731" y="200"/>
                      </a:lnTo>
                      <a:lnTo>
                        <a:pt x="734" y="215"/>
                      </a:lnTo>
                      <a:lnTo>
                        <a:pt x="737" y="229"/>
                      </a:lnTo>
                      <a:lnTo>
                        <a:pt x="743" y="242"/>
                      </a:lnTo>
                      <a:lnTo>
                        <a:pt x="749" y="254"/>
                      </a:lnTo>
                      <a:lnTo>
                        <a:pt x="754" y="265"/>
                      </a:lnTo>
                      <a:lnTo>
                        <a:pt x="762" y="274"/>
                      </a:lnTo>
                      <a:lnTo>
                        <a:pt x="769" y="283"/>
                      </a:lnTo>
                      <a:lnTo>
                        <a:pt x="784" y="296"/>
                      </a:lnTo>
                      <a:lnTo>
                        <a:pt x="798" y="305"/>
                      </a:lnTo>
                      <a:lnTo>
                        <a:pt x="810" y="312"/>
                      </a:lnTo>
                      <a:lnTo>
                        <a:pt x="825" y="321"/>
                      </a:lnTo>
                      <a:lnTo>
                        <a:pt x="835" y="330"/>
                      </a:lnTo>
                      <a:lnTo>
                        <a:pt x="844" y="341"/>
                      </a:lnTo>
                      <a:lnTo>
                        <a:pt x="849" y="350"/>
                      </a:lnTo>
                      <a:lnTo>
                        <a:pt x="852" y="360"/>
                      </a:lnTo>
                      <a:lnTo>
                        <a:pt x="850" y="369"/>
                      </a:lnTo>
                      <a:lnTo>
                        <a:pt x="846" y="377"/>
                      </a:lnTo>
                      <a:lnTo>
                        <a:pt x="838" y="384"/>
                      </a:lnTo>
                      <a:lnTo>
                        <a:pt x="831" y="389"/>
                      </a:lnTo>
                      <a:lnTo>
                        <a:pt x="822" y="392"/>
                      </a:lnTo>
                      <a:lnTo>
                        <a:pt x="811" y="395"/>
                      </a:lnTo>
                      <a:lnTo>
                        <a:pt x="798" y="395"/>
                      </a:lnTo>
                      <a:lnTo>
                        <a:pt x="547" y="395"/>
                      </a:lnTo>
                      <a:lnTo>
                        <a:pt x="547" y="396"/>
                      </a:lnTo>
                      <a:lnTo>
                        <a:pt x="0" y="396"/>
                      </a:lnTo>
                      <a:lnTo>
                        <a:pt x="0" y="1197"/>
                      </a:lnTo>
                      <a:lnTo>
                        <a:pt x="1" y="1209"/>
                      </a:lnTo>
                      <a:lnTo>
                        <a:pt x="3" y="1220"/>
                      </a:lnTo>
                      <a:lnTo>
                        <a:pt x="6" y="1229"/>
                      </a:lnTo>
                      <a:lnTo>
                        <a:pt x="9" y="1236"/>
                      </a:lnTo>
                      <a:lnTo>
                        <a:pt x="13" y="1242"/>
                      </a:lnTo>
                      <a:lnTo>
                        <a:pt x="19" y="1247"/>
                      </a:lnTo>
                      <a:lnTo>
                        <a:pt x="24" y="1250"/>
                      </a:lnTo>
                      <a:lnTo>
                        <a:pt x="30" y="1251"/>
                      </a:lnTo>
                      <a:lnTo>
                        <a:pt x="37" y="1251"/>
                      </a:lnTo>
                      <a:lnTo>
                        <a:pt x="43" y="1250"/>
                      </a:lnTo>
                      <a:lnTo>
                        <a:pt x="50" y="1247"/>
                      </a:lnTo>
                      <a:lnTo>
                        <a:pt x="56" y="1242"/>
                      </a:lnTo>
                      <a:lnTo>
                        <a:pt x="64" y="1236"/>
                      </a:lnTo>
                      <a:lnTo>
                        <a:pt x="70" y="1229"/>
                      </a:lnTo>
                      <a:lnTo>
                        <a:pt x="76" y="1220"/>
                      </a:lnTo>
                      <a:lnTo>
                        <a:pt x="82" y="1209"/>
                      </a:lnTo>
                      <a:lnTo>
                        <a:pt x="89" y="1197"/>
                      </a:lnTo>
                      <a:lnTo>
                        <a:pt x="98" y="1184"/>
                      </a:lnTo>
                      <a:lnTo>
                        <a:pt x="112" y="1170"/>
                      </a:lnTo>
                      <a:lnTo>
                        <a:pt x="121" y="1163"/>
                      </a:lnTo>
                      <a:lnTo>
                        <a:pt x="130" y="1156"/>
                      </a:lnTo>
                      <a:lnTo>
                        <a:pt x="142" y="1148"/>
                      </a:lnTo>
                      <a:lnTo>
                        <a:pt x="152" y="1142"/>
                      </a:lnTo>
                      <a:lnTo>
                        <a:pt x="166" y="1138"/>
                      </a:lnTo>
                      <a:lnTo>
                        <a:pt x="179" y="1133"/>
                      </a:lnTo>
                      <a:lnTo>
                        <a:pt x="194" y="1130"/>
                      </a:lnTo>
                      <a:lnTo>
                        <a:pt x="210" y="1130"/>
                      </a:lnTo>
                      <a:lnTo>
                        <a:pt x="230" y="1130"/>
                      </a:lnTo>
                      <a:lnTo>
                        <a:pt x="248" y="1135"/>
                      </a:lnTo>
                      <a:lnTo>
                        <a:pt x="266" y="1141"/>
                      </a:lnTo>
                      <a:lnTo>
                        <a:pt x="282" y="1148"/>
                      </a:lnTo>
                      <a:lnTo>
                        <a:pt x="299" y="1157"/>
                      </a:lnTo>
                      <a:lnTo>
                        <a:pt x="314" y="1169"/>
                      </a:lnTo>
                      <a:lnTo>
                        <a:pt x="328" y="1182"/>
                      </a:lnTo>
                      <a:lnTo>
                        <a:pt x="342" y="1197"/>
                      </a:lnTo>
                      <a:lnTo>
                        <a:pt x="352" y="1212"/>
                      </a:lnTo>
                      <a:lnTo>
                        <a:pt x="364" y="1230"/>
                      </a:lnTo>
                      <a:lnTo>
                        <a:pt x="373" y="1250"/>
                      </a:lnTo>
                      <a:lnTo>
                        <a:pt x="381" y="1269"/>
                      </a:lnTo>
                      <a:lnTo>
                        <a:pt x="387" y="1290"/>
                      </a:lnTo>
                      <a:lnTo>
                        <a:pt x="391" y="1312"/>
                      </a:lnTo>
                      <a:lnTo>
                        <a:pt x="394" y="1335"/>
                      </a:lnTo>
                      <a:lnTo>
                        <a:pt x="396" y="1359"/>
                      </a:lnTo>
                      <a:lnTo>
                        <a:pt x="394" y="1383"/>
                      </a:lnTo>
                      <a:lnTo>
                        <a:pt x="391" y="1405"/>
                      </a:lnTo>
                      <a:lnTo>
                        <a:pt x="387" y="1428"/>
                      </a:lnTo>
                      <a:lnTo>
                        <a:pt x="381" y="1449"/>
                      </a:lnTo>
                      <a:lnTo>
                        <a:pt x="373" y="1468"/>
                      </a:lnTo>
                      <a:lnTo>
                        <a:pt x="364" y="1487"/>
                      </a:lnTo>
                      <a:lnTo>
                        <a:pt x="352" y="1505"/>
                      </a:lnTo>
                      <a:lnTo>
                        <a:pt x="342" y="1522"/>
                      </a:lnTo>
                      <a:lnTo>
                        <a:pt x="328" y="1537"/>
                      </a:lnTo>
                      <a:lnTo>
                        <a:pt x="314" y="1549"/>
                      </a:lnTo>
                      <a:lnTo>
                        <a:pt x="299" y="1561"/>
                      </a:lnTo>
                      <a:lnTo>
                        <a:pt x="282" y="1571"/>
                      </a:lnTo>
                      <a:lnTo>
                        <a:pt x="266" y="1579"/>
                      </a:lnTo>
                      <a:lnTo>
                        <a:pt x="248" y="1583"/>
                      </a:lnTo>
                      <a:lnTo>
                        <a:pt x="230" y="1588"/>
                      </a:lnTo>
                      <a:lnTo>
                        <a:pt x="210" y="1589"/>
                      </a:lnTo>
                      <a:lnTo>
                        <a:pt x="194" y="1588"/>
                      </a:lnTo>
                      <a:lnTo>
                        <a:pt x="179" y="1585"/>
                      </a:lnTo>
                      <a:lnTo>
                        <a:pt x="166" y="1582"/>
                      </a:lnTo>
                      <a:lnTo>
                        <a:pt x="152" y="1576"/>
                      </a:lnTo>
                      <a:lnTo>
                        <a:pt x="142" y="1570"/>
                      </a:lnTo>
                      <a:lnTo>
                        <a:pt x="130" y="1564"/>
                      </a:lnTo>
                      <a:lnTo>
                        <a:pt x="121" y="1556"/>
                      </a:lnTo>
                      <a:lnTo>
                        <a:pt x="112" y="1549"/>
                      </a:lnTo>
                      <a:lnTo>
                        <a:pt x="98" y="1534"/>
                      </a:lnTo>
                      <a:lnTo>
                        <a:pt x="89" y="1520"/>
                      </a:lnTo>
                      <a:lnTo>
                        <a:pt x="82" y="1508"/>
                      </a:lnTo>
                      <a:lnTo>
                        <a:pt x="76" y="1498"/>
                      </a:lnTo>
                      <a:lnTo>
                        <a:pt x="70" y="1489"/>
                      </a:lnTo>
                      <a:lnTo>
                        <a:pt x="64" y="1481"/>
                      </a:lnTo>
                      <a:lnTo>
                        <a:pt x="56" y="1475"/>
                      </a:lnTo>
                      <a:lnTo>
                        <a:pt x="50" y="1471"/>
                      </a:lnTo>
                      <a:lnTo>
                        <a:pt x="43" y="1468"/>
                      </a:lnTo>
                      <a:lnTo>
                        <a:pt x="37" y="1466"/>
                      </a:lnTo>
                      <a:lnTo>
                        <a:pt x="30" y="1466"/>
                      </a:lnTo>
                      <a:lnTo>
                        <a:pt x="24" y="1468"/>
                      </a:lnTo>
                      <a:lnTo>
                        <a:pt x="19" y="1471"/>
                      </a:lnTo>
                      <a:lnTo>
                        <a:pt x="13" y="1475"/>
                      </a:lnTo>
                      <a:lnTo>
                        <a:pt x="9" y="1481"/>
                      </a:lnTo>
                      <a:lnTo>
                        <a:pt x="6" y="1489"/>
                      </a:lnTo>
                      <a:lnTo>
                        <a:pt x="3" y="1498"/>
                      </a:lnTo>
                      <a:lnTo>
                        <a:pt x="1" y="1508"/>
                      </a:lnTo>
                      <a:lnTo>
                        <a:pt x="0" y="1520"/>
                      </a:lnTo>
                      <a:lnTo>
                        <a:pt x="0" y="2375"/>
                      </a:lnTo>
                      <a:lnTo>
                        <a:pt x="454" y="2375"/>
                      </a:lnTo>
                      <a:lnTo>
                        <a:pt x="454" y="2377"/>
                      </a:lnTo>
                      <a:lnTo>
                        <a:pt x="856" y="2377"/>
                      </a:lnTo>
                      <a:lnTo>
                        <a:pt x="868" y="2378"/>
                      </a:lnTo>
                      <a:lnTo>
                        <a:pt x="880" y="2380"/>
                      </a:lnTo>
                      <a:lnTo>
                        <a:pt x="889" y="2383"/>
                      </a:lnTo>
                      <a:lnTo>
                        <a:pt x="896" y="2387"/>
                      </a:lnTo>
                      <a:lnTo>
                        <a:pt x="904" y="2395"/>
                      </a:lnTo>
                      <a:lnTo>
                        <a:pt x="908" y="2402"/>
                      </a:lnTo>
                      <a:lnTo>
                        <a:pt x="908" y="2413"/>
                      </a:lnTo>
                      <a:lnTo>
                        <a:pt x="907" y="2422"/>
                      </a:lnTo>
                      <a:lnTo>
                        <a:pt x="902" y="2432"/>
                      </a:lnTo>
                      <a:lnTo>
                        <a:pt x="893" y="2441"/>
                      </a:lnTo>
                      <a:lnTo>
                        <a:pt x="883" y="2450"/>
                      </a:lnTo>
                      <a:lnTo>
                        <a:pt x="868" y="2459"/>
                      </a:lnTo>
                      <a:lnTo>
                        <a:pt x="856" y="2467"/>
                      </a:lnTo>
                      <a:lnTo>
                        <a:pt x="843" y="2475"/>
                      </a:lnTo>
                      <a:lnTo>
                        <a:pt x="828" y="2489"/>
                      </a:lnTo>
                      <a:lnTo>
                        <a:pt x="820" y="2498"/>
                      </a:lnTo>
                      <a:lnTo>
                        <a:pt x="813" y="2507"/>
                      </a:lnTo>
                      <a:lnTo>
                        <a:pt x="807" y="2517"/>
                      </a:lnTo>
                      <a:lnTo>
                        <a:pt x="801" y="2529"/>
                      </a:lnTo>
                      <a:lnTo>
                        <a:pt x="795" y="2543"/>
                      </a:lnTo>
                      <a:lnTo>
                        <a:pt x="792" y="2556"/>
                      </a:lnTo>
                      <a:lnTo>
                        <a:pt x="789" y="2571"/>
                      </a:lnTo>
                      <a:lnTo>
                        <a:pt x="787" y="2588"/>
                      </a:lnTo>
                      <a:lnTo>
                        <a:pt x="789" y="2607"/>
                      </a:lnTo>
                      <a:lnTo>
                        <a:pt x="792" y="2625"/>
                      </a:lnTo>
                      <a:lnTo>
                        <a:pt x="798" y="2643"/>
                      </a:lnTo>
                      <a:lnTo>
                        <a:pt x="805" y="2659"/>
                      </a:lnTo>
                      <a:lnTo>
                        <a:pt x="816" y="2676"/>
                      </a:lnTo>
                      <a:lnTo>
                        <a:pt x="826" y="2691"/>
                      </a:lnTo>
                      <a:lnTo>
                        <a:pt x="840" y="2706"/>
                      </a:lnTo>
                      <a:lnTo>
                        <a:pt x="855" y="2718"/>
                      </a:lnTo>
                      <a:lnTo>
                        <a:pt x="871" y="2730"/>
                      </a:lnTo>
                      <a:lnTo>
                        <a:pt x="889" y="2740"/>
                      </a:lnTo>
                      <a:lnTo>
                        <a:pt x="908" y="2751"/>
                      </a:lnTo>
                      <a:lnTo>
                        <a:pt x="928" y="2758"/>
                      </a:lnTo>
                      <a:lnTo>
                        <a:pt x="949" y="2764"/>
                      </a:lnTo>
                      <a:lnTo>
                        <a:pt x="971" y="2768"/>
                      </a:lnTo>
                      <a:lnTo>
                        <a:pt x="994" y="2771"/>
                      </a:lnTo>
                      <a:lnTo>
                        <a:pt x="1018" y="2773"/>
                      </a:lnTo>
                      <a:lnTo>
                        <a:pt x="1040" y="2771"/>
                      </a:lnTo>
                      <a:lnTo>
                        <a:pt x="1064" y="2768"/>
                      </a:lnTo>
                      <a:lnTo>
                        <a:pt x="1085" y="2764"/>
                      </a:lnTo>
                      <a:lnTo>
                        <a:pt x="1106" y="2758"/>
                      </a:lnTo>
                      <a:lnTo>
                        <a:pt x="1127" y="2751"/>
                      </a:lnTo>
                      <a:lnTo>
                        <a:pt x="1145" y="2740"/>
                      </a:lnTo>
                      <a:lnTo>
                        <a:pt x="1163" y="2730"/>
                      </a:lnTo>
                      <a:lnTo>
                        <a:pt x="1179" y="2718"/>
                      </a:lnTo>
                      <a:lnTo>
                        <a:pt x="1194" y="2706"/>
                      </a:lnTo>
                      <a:lnTo>
                        <a:pt x="1207" y="2691"/>
                      </a:lnTo>
                      <a:lnTo>
                        <a:pt x="1219" y="2676"/>
                      </a:lnTo>
                      <a:lnTo>
                        <a:pt x="1228" y="2659"/>
                      </a:lnTo>
                      <a:lnTo>
                        <a:pt x="1236" y="2643"/>
                      </a:lnTo>
                      <a:lnTo>
                        <a:pt x="1242" y="2625"/>
                      </a:lnTo>
                      <a:lnTo>
                        <a:pt x="1245" y="2607"/>
                      </a:lnTo>
                      <a:lnTo>
                        <a:pt x="1246" y="2588"/>
                      </a:lnTo>
                      <a:lnTo>
                        <a:pt x="1246" y="2571"/>
                      </a:lnTo>
                      <a:lnTo>
                        <a:pt x="1243" y="2556"/>
                      </a:lnTo>
                      <a:lnTo>
                        <a:pt x="1239" y="2543"/>
                      </a:lnTo>
                      <a:lnTo>
                        <a:pt x="1234" y="2529"/>
                      </a:lnTo>
                      <a:lnTo>
                        <a:pt x="1228" y="2517"/>
                      </a:lnTo>
                      <a:lnTo>
                        <a:pt x="1221" y="2507"/>
                      </a:lnTo>
                      <a:lnTo>
                        <a:pt x="1213" y="2498"/>
                      </a:lnTo>
                      <a:lnTo>
                        <a:pt x="1206" y="2489"/>
                      </a:lnTo>
                      <a:lnTo>
                        <a:pt x="1191" y="2475"/>
                      </a:lnTo>
                      <a:lnTo>
                        <a:pt x="1179" y="2467"/>
                      </a:lnTo>
                      <a:lnTo>
                        <a:pt x="1166" y="2459"/>
                      </a:lnTo>
                      <a:lnTo>
                        <a:pt x="1152" y="2450"/>
                      </a:lnTo>
                      <a:lnTo>
                        <a:pt x="1140" y="2441"/>
                      </a:lnTo>
                      <a:lnTo>
                        <a:pt x="1133" y="2432"/>
                      </a:lnTo>
                      <a:lnTo>
                        <a:pt x="1127" y="2422"/>
                      </a:lnTo>
                      <a:lnTo>
                        <a:pt x="1125" y="2413"/>
                      </a:lnTo>
                      <a:lnTo>
                        <a:pt x="1127" y="2402"/>
                      </a:lnTo>
                      <a:lnTo>
                        <a:pt x="1131" y="2395"/>
                      </a:lnTo>
                      <a:lnTo>
                        <a:pt x="1137" y="2387"/>
                      </a:lnTo>
                      <a:lnTo>
                        <a:pt x="1145" y="2383"/>
                      </a:lnTo>
                      <a:lnTo>
                        <a:pt x="1155" y="2380"/>
                      </a:lnTo>
                      <a:lnTo>
                        <a:pt x="1166" y="2378"/>
                      </a:lnTo>
                      <a:lnTo>
                        <a:pt x="1177" y="2377"/>
                      </a:lnTo>
                      <a:lnTo>
                        <a:pt x="1429" y="2377"/>
                      </a:lnTo>
                      <a:lnTo>
                        <a:pt x="1429" y="2375"/>
                      </a:lnTo>
                      <a:lnTo>
                        <a:pt x="1976" y="2375"/>
                      </a:lnTo>
                      <a:lnTo>
                        <a:pt x="1976" y="1574"/>
                      </a:lnTo>
                      <a:lnTo>
                        <a:pt x="1976" y="1562"/>
                      </a:lnTo>
                      <a:lnTo>
                        <a:pt x="1974" y="1552"/>
                      </a:lnTo>
                      <a:lnTo>
                        <a:pt x="1971" y="1543"/>
                      </a:lnTo>
                      <a:lnTo>
                        <a:pt x="1967" y="1535"/>
                      </a:lnTo>
                      <a:lnTo>
                        <a:pt x="1962" y="1531"/>
                      </a:lnTo>
                      <a:lnTo>
                        <a:pt x="1958" y="1526"/>
                      </a:lnTo>
                      <a:lnTo>
                        <a:pt x="1952" y="1523"/>
                      </a:lnTo>
                      <a:lnTo>
                        <a:pt x="1946" y="1522"/>
                      </a:lnTo>
                      <a:lnTo>
                        <a:pt x="1940" y="1520"/>
                      </a:lnTo>
                      <a:lnTo>
                        <a:pt x="1932" y="1522"/>
                      </a:lnTo>
                      <a:lnTo>
                        <a:pt x="1926" y="1525"/>
                      </a:lnTo>
                      <a:lnTo>
                        <a:pt x="1919" y="1529"/>
                      </a:lnTo>
                      <a:lnTo>
                        <a:pt x="1913" y="1535"/>
                      </a:lnTo>
                      <a:lnTo>
                        <a:pt x="1905" y="1543"/>
                      </a:lnTo>
                      <a:lnTo>
                        <a:pt x="1899" y="1552"/>
                      </a:lnTo>
                      <a:lnTo>
                        <a:pt x="1895" y="1562"/>
                      </a:lnTo>
                      <a:lnTo>
                        <a:pt x="1887" y="1574"/>
                      </a:lnTo>
                      <a:lnTo>
                        <a:pt x="1877" y="1588"/>
                      </a:lnTo>
                      <a:lnTo>
                        <a:pt x="1864" y="1602"/>
                      </a:lnTo>
                      <a:lnTo>
                        <a:pt x="1855" y="1610"/>
                      </a:lnTo>
                      <a:lnTo>
                        <a:pt x="1846" y="1617"/>
                      </a:lnTo>
                      <a:lnTo>
                        <a:pt x="1835" y="1623"/>
                      </a:lnTo>
                      <a:lnTo>
                        <a:pt x="1823" y="1629"/>
                      </a:lnTo>
                      <a:lnTo>
                        <a:pt x="1811" y="1635"/>
                      </a:lnTo>
                      <a:lnTo>
                        <a:pt x="1796" y="1638"/>
                      </a:lnTo>
                      <a:lnTo>
                        <a:pt x="1781" y="1641"/>
                      </a:lnTo>
                      <a:lnTo>
                        <a:pt x="1765" y="1643"/>
                      </a:lnTo>
                      <a:lnTo>
                        <a:pt x="1747" y="1641"/>
                      </a:lnTo>
                      <a:lnTo>
                        <a:pt x="1728" y="1638"/>
                      </a:lnTo>
                      <a:lnTo>
                        <a:pt x="1710" y="1632"/>
                      </a:lnTo>
                      <a:lnTo>
                        <a:pt x="1693" y="1625"/>
                      </a:lnTo>
                      <a:lnTo>
                        <a:pt x="1677" y="1614"/>
                      </a:lnTo>
                      <a:lnTo>
                        <a:pt x="1662" y="1602"/>
                      </a:lnTo>
                      <a:lnTo>
                        <a:pt x="1648" y="1591"/>
                      </a:lnTo>
                      <a:lnTo>
                        <a:pt x="1635" y="1576"/>
                      </a:lnTo>
                      <a:lnTo>
                        <a:pt x="1623" y="1559"/>
                      </a:lnTo>
                      <a:lnTo>
                        <a:pt x="1612" y="1541"/>
                      </a:lnTo>
                      <a:lnTo>
                        <a:pt x="1603" y="1522"/>
                      </a:lnTo>
                      <a:lnTo>
                        <a:pt x="1596" y="1502"/>
                      </a:lnTo>
                      <a:lnTo>
                        <a:pt x="1589" y="1481"/>
                      </a:lnTo>
                      <a:lnTo>
                        <a:pt x="1584" y="1459"/>
                      </a:lnTo>
                      <a:lnTo>
                        <a:pt x="1583" y="1437"/>
                      </a:lnTo>
                      <a:lnTo>
                        <a:pt x="1581" y="1413"/>
                      </a:lnTo>
                      <a:lnTo>
                        <a:pt x="1583" y="1389"/>
                      </a:lnTo>
                      <a:lnTo>
                        <a:pt x="1584" y="1366"/>
                      </a:lnTo>
                      <a:lnTo>
                        <a:pt x="1589" y="1345"/>
                      </a:lnTo>
                      <a:lnTo>
                        <a:pt x="1596" y="1323"/>
                      </a:lnTo>
                      <a:lnTo>
                        <a:pt x="1603" y="1304"/>
                      </a:lnTo>
                      <a:lnTo>
                        <a:pt x="1612" y="1284"/>
                      </a:lnTo>
                      <a:lnTo>
                        <a:pt x="1623" y="1268"/>
                      </a:lnTo>
                      <a:lnTo>
                        <a:pt x="1635" y="1251"/>
                      </a:lnTo>
                      <a:lnTo>
                        <a:pt x="1648" y="1236"/>
                      </a:lnTo>
                      <a:lnTo>
                        <a:pt x="1662" y="1223"/>
                      </a:lnTo>
                      <a:lnTo>
                        <a:pt x="1677" y="1211"/>
                      </a:lnTo>
                      <a:lnTo>
                        <a:pt x="1693" y="1202"/>
                      </a:lnTo>
                      <a:lnTo>
                        <a:pt x="1710" y="1194"/>
                      </a:lnTo>
                      <a:lnTo>
                        <a:pt x="1728" y="1188"/>
                      </a:lnTo>
                      <a:lnTo>
                        <a:pt x="1747" y="1185"/>
                      </a:lnTo>
                      <a:lnTo>
                        <a:pt x="1765" y="1184"/>
                      </a:lnTo>
                      <a:lnTo>
                        <a:pt x="1781" y="1184"/>
                      </a:lnTo>
                      <a:lnTo>
                        <a:pt x="1796" y="1187"/>
                      </a:lnTo>
                      <a:lnTo>
                        <a:pt x="1811" y="1191"/>
                      </a:lnTo>
                      <a:lnTo>
                        <a:pt x="1823" y="1196"/>
                      </a:lnTo>
                      <a:lnTo>
                        <a:pt x="1835" y="1202"/>
                      </a:lnTo>
                      <a:lnTo>
                        <a:pt x="1846" y="1209"/>
                      </a:lnTo>
                      <a:lnTo>
                        <a:pt x="1855" y="1217"/>
                      </a:lnTo>
                      <a:lnTo>
                        <a:pt x="1864" y="1224"/>
                      </a:lnTo>
                      <a:lnTo>
                        <a:pt x="1877" y="1238"/>
                      </a:lnTo>
                      <a:lnTo>
                        <a:pt x="1887" y="1251"/>
                      </a:lnTo>
                      <a:lnTo>
                        <a:pt x="1895" y="1263"/>
                      </a:lnTo>
                      <a:lnTo>
                        <a:pt x="1899" y="1274"/>
                      </a:lnTo>
                      <a:lnTo>
                        <a:pt x="1905" y="1283"/>
                      </a:lnTo>
                      <a:lnTo>
                        <a:pt x="1913" y="1290"/>
                      </a:lnTo>
                      <a:lnTo>
                        <a:pt x="1919" y="1296"/>
                      </a:lnTo>
                      <a:lnTo>
                        <a:pt x="1926" y="1301"/>
                      </a:lnTo>
                      <a:lnTo>
                        <a:pt x="1932" y="1304"/>
                      </a:lnTo>
                      <a:lnTo>
                        <a:pt x="1940" y="1305"/>
                      </a:lnTo>
                      <a:lnTo>
                        <a:pt x="1946" y="1305"/>
                      </a:lnTo>
                      <a:lnTo>
                        <a:pt x="1952" y="1304"/>
                      </a:lnTo>
                      <a:lnTo>
                        <a:pt x="1958" y="1301"/>
                      </a:lnTo>
                      <a:lnTo>
                        <a:pt x="1962" y="1296"/>
                      </a:lnTo>
                      <a:lnTo>
                        <a:pt x="1967" y="1290"/>
                      </a:lnTo>
                      <a:lnTo>
                        <a:pt x="1971" y="1283"/>
                      </a:lnTo>
                      <a:lnTo>
                        <a:pt x="1974" y="1274"/>
                      </a:lnTo>
                      <a:lnTo>
                        <a:pt x="1976" y="1263"/>
                      </a:lnTo>
                      <a:lnTo>
                        <a:pt x="1976" y="1253"/>
                      </a:lnTo>
                      <a:lnTo>
                        <a:pt x="1976" y="396"/>
                      </a:lnTo>
                      <a:lnTo>
                        <a:pt x="1521" y="396"/>
                      </a:lnTo>
                      <a:lnTo>
                        <a:pt x="1521" y="395"/>
                      </a:lnTo>
                      <a:lnTo>
                        <a:pt x="1119" y="395"/>
                      </a:lnTo>
                      <a:lnTo>
                        <a:pt x="1107" y="395"/>
                      </a:lnTo>
                      <a:lnTo>
                        <a:pt x="1097" y="392"/>
                      </a:lnTo>
                      <a:lnTo>
                        <a:pt x="1088" y="389"/>
                      </a:lnTo>
                      <a:lnTo>
                        <a:pt x="1080" y="384"/>
                      </a:lnTo>
                      <a:lnTo>
                        <a:pt x="1073" y="377"/>
                      </a:lnTo>
                      <a:lnTo>
                        <a:pt x="1068" y="369"/>
                      </a:lnTo>
                      <a:lnTo>
                        <a:pt x="1067" y="360"/>
                      </a:lnTo>
                      <a:lnTo>
                        <a:pt x="1068" y="350"/>
                      </a:lnTo>
                      <a:lnTo>
                        <a:pt x="1074" y="341"/>
                      </a:lnTo>
                      <a:lnTo>
                        <a:pt x="1082" y="330"/>
                      </a:lnTo>
                      <a:lnTo>
                        <a:pt x="1094" y="321"/>
                      </a:lnTo>
                      <a:lnTo>
                        <a:pt x="1109" y="312"/>
                      </a:lnTo>
                      <a:lnTo>
                        <a:pt x="1121" y="305"/>
                      </a:lnTo>
                      <a:lnTo>
                        <a:pt x="1134" y="296"/>
                      </a:lnTo>
                      <a:lnTo>
                        <a:pt x="1148" y="283"/>
                      </a:lnTo>
                      <a:lnTo>
                        <a:pt x="1155" y="274"/>
                      </a:lnTo>
                      <a:lnTo>
                        <a:pt x="1163" y="265"/>
                      </a:lnTo>
                      <a:lnTo>
                        <a:pt x="1170" y="254"/>
                      </a:lnTo>
                      <a:lnTo>
                        <a:pt x="1176" y="242"/>
                      </a:lnTo>
                      <a:lnTo>
                        <a:pt x="1180" y="229"/>
                      </a:lnTo>
                      <a:lnTo>
                        <a:pt x="1185" y="215"/>
                      </a:lnTo>
                      <a:lnTo>
                        <a:pt x="1188" y="200"/>
                      </a:lnTo>
                      <a:lnTo>
                        <a:pt x="1188" y="184"/>
                      </a:lnTo>
                      <a:lnTo>
                        <a:pt x="1186" y="164"/>
                      </a:lnTo>
                      <a:lnTo>
                        <a:pt x="1183" y="146"/>
                      </a:lnTo>
                      <a:lnTo>
                        <a:pt x="1177" y="129"/>
                      </a:lnTo>
                      <a:lnTo>
                        <a:pt x="1170" y="112"/>
                      </a:lnTo>
                      <a:lnTo>
                        <a:pt x="1161" y="96"/>
                      </a:lnTo>
                      <a:lnTo>
                        <a:pt x="1149" y="81"/>
                      </a:lnTo>
                      <a:lnTo>
                        <a:pt x="1136" y="67"/>
                      </a:lnTo>
                      <a:lnTo>
                        <a:pt x="1121" y="54"/>
                      </a:lnTo>
                      <a:lnTo>
                        <a:pt x="1104" y="42"/>
                      </a:lnTo>
                      <a:lnTo>
                        <a:pt x="1088" y="31"/>
                      </a:lnTo>
                      <a:lnTo>
                        <a:pt x="1068" y="22"/>
                      </a:lnTo>
                      <a:lnTo>
                        <a:pt x="1049" y="13"/>
                      </a:lnTo>
                      <a:lnTo>
                        <a:pt x="1027" y="7"/>
                      </a:lnTo>
                      <a:lnTo>
                        <a:pt x="1006" y="3"/>
                      </a:lnTo>
                      <a:lnTo>
                        <a:pt x="983" y="0"/>
                      </a:lnTo>
                      <a:lnTo>
                        <a:pt x="959" y="0"/>
                      </a:lnTo>
                      <a:lnTo>
                        <a:pt x="935" y="0"/>
                      </a:lnTo>
                      <a:lnTo>
                        <a:pt x="913" y="3"/>
                      </a:lnTo>
                      <a:lnTo>
                        <a:pt x="891" y="7"/>
                      </a:lnTo>
                      <a:lnTo>
                        <a:pt x="870" y="13"/>
                      </a:lnTo>
                      <a:lnTo>
                        <a:pt x="850" y="22"/>
                      </a:lnTo>
                      <a:lnTo>
                        <a:pt x="831" y="31"/>
                      </a:lnTo>
                      <a:lnTo>
                        <a:pt x="813" y="42"/>
                      </a:lnTo>
                      <a:lnTo>
                        <a:pt x="796" y="54"/>
                      </a:lnTo>
                      <a:lnTo>
                        <a:pt x="781" y="67"/>
                      </a:lnTo>
                      <a:lnTo>
                        <a:pt x="769" y="81"/>
                      </a:lnTo>
                      <a:lnTo>
                        <a:pt x="757" y="96"/>
                      </a:lnTo>
                      <a:lnTo>
                        <a:pt x="747" y="112"/>
                      </a:lnTo>
                      <a:lnTo>
                        <a:pt x="740" y="129"/>
                      </a:lnTo>
                      <a:lnTo>
                        <a:pt x="734" y="146"/>
                      </a:lnTo>
                      <a:lnTo>
                        <a:pt x="731" y="164"/>
                      </a:lnTo>
                      <a:lnTo>
                        <a:pt x="729" y="184"/>
                      </a:lnTo>
                      <a:close/>
                    </a:path>
                  </a:pathLst>
                </a:custGeom>
                <a:solidFill>
                  <a:schemeClr val="bg1"/>
                </a:solidFill>
                <a:ln w="12700">
                  <a:solidFill>
                    <a:srgbClr val="1D80A7"/>
                  </a:solidFill>
                  <a:prstDash val="solid"/>
                  <a:round/>
                  <a:headEnd/>
                  <a:tailEnd/>
                </a:ln>
              </p:spPr>
              <p:txBody>
                <a:bodyPr anchor="ctr"/>
                <a:lstStyle/>
                <a:p>
                  <a:endParaRPr lang="en-US" dirty="0">
                    <a:solidFill>
                      <a:prstClr val="black"/>
                    </a:solidFill>
                  </a:endParaRPr>
                </a:p>
              </p:txBody>
            </p:sp>
          </p:grpSp>
          <p:sp>
            <p:nvSpPr>
              <p:cNvPr id="27" name="TextBox 220"/>
              <p:cNvSpPr txBox="1">
                <a:spLocks noChangeArrowheads="1"/>
              </p:cNvSpPr>
              <p:nvPr/>
            </p:nvSpPr>
            <p:spPr bwMode="auto">
              <a:xfrm>
                <a:off x="1081089" y="1711325"/>
                <a:ext cx="1076196" cy="178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263" eaLnBrk="0" hangingPunct="0">
                  <a:defRPr>
                    <a:solidFill>
                      <a:schemeClr val="tx1"/>
                    </a:solidFill>
                    <a:latin typeface="Arial" pitchFamily="34" charset="0"/>
                  </a:defRPr>
                </a:lvl1pPr>
                <a:lvl2pPr marL="742950" indent="-285750" defTabSz="957263" eaLnBrk="0" hangingPunct="0">
                  <a:defRPr>
                    <a:solidFill>
                      <a:schemeClr val="tx1"/>
                    </a:solidFill>
                    <a:latin typeface="Arial" pitchFamily="34" charset="0"/>
                  </a:defRPr>
                </a:lvl2pPr>
                <a:lvl3pPr marL="1143000" indent="-228600" defTabSz="957263" eaLnBrk="0" hangingPunct="0">
                  <a:defRPr>
                    <a:solidFill>
                      <a:schemeClr val="tx1"/>
                    </a:solidFill>
                    <a:latin typeface="Arial" pitchFamily="34" charset="0"/>
                  </a:defRPr>
                </a:lvl3pPr>
                <a:lvl4pPr marL="1600200" indent="-228600" defTabSz="957263" eaLnBrk="0" hangingPunct="0">
                  <a:defRPr>
                    <a:solidFill>
                      <a:schemeClr val="tx1"/>
                    </a:solidFill>
                    <a:latin typeface="Arial" pitchFamily="34" charset="0"/>
                  </a:defRPr>
                </a:lvl4pPr>
                <a:lvl5pPr marL="2057400" indent="-228600" defTabSz="957263" eaLnBrk="0" hangingPunct="0">
                  <a:defRPr>
                    <a:solidFill>
                      <a:schemeClr val="tx1"/>
                    </a:solidFill>
                    <a:latin typeface="Arial" pitchFamily="34" charset="0"/>
                  </a:defRPr>
                </a:lvl5pPr>
                <a:lvl6pPr marL="2514600" indent="-228600" defTabSz="957263" eaLnBrk="0" fontAlgn="base" hangingPunct="0">
                  <a:spcBef>
                    <a:spcPct val="0"/>
                  </a:spcBef>
                  <a:spcAft>
                    <a:spcPct val="0"/>
                  </a:spcAft>
                  <a:defRPr>
                    <a:solidFill>
                      <a:schemeClr val="tx1"/>
                    </a:solidFill>
                    <a:latin typeface="Arial" pitchFamily="34" charset="0"/>
                  </a:defRPr>
                </a:lvl6pPr>
                <a:lvl7pPr marL="2971800" indent="-228600" defTabSz="957263" eaLnBrk="0" fontAlgn="base" hangingPunct="0">
                  <a:spcBef>
                    <a:spcPct val="0"/>
                  </a:spcBef>
                  <a:spcAft>
                    <a:spcPct val="0"/>
                  </a:spcAft>
                  <a:defRPr>
                    <a:solidFill>
                      <a:schemeClr val="tx1"/>
                    </a:solidFill>
                    <a:latin typeface="Arial" pitchFamily="34" charset="0"/>
                  </a:defRPr>
                </a:lvl7pPr>
                <a:lvl8pPr marL="3429000" indent="-228600" defTabSz="957263" eaLnBrk="0" fontAlgn="base" hangingPunct="0">
                  <a:spcBef>
                    <a:spcPct val="0"/>
                  </a:spcBef>
                  <a:spcAft>
                    <a:spcPct val="0"/>
                  </a:spcAft>
                  <a:defRPr>
                    <a:solidFill>
                      <a:schemeClr val="tx1"/>
                    </a:solidFill>
                    <a:latin typeface="Arial" pitchFamily="34" charset="0"/>
                  </a:defRPr>
                </a:lvl8pPr>
                <a:lvl9pPr marL="3886200" indent="-228600" defTabSz="957263" eaLnBrk="0" fontAlgn="base" hangingPunct="0">
                  <a:spcBef>
                    <a:spcPct val="0"/>
                  </a:spcBef>
                  <a:spcAft>
                    <a:spcPct val="0"/>
                  </a:spcAft>
                  <a:defRPr>
                    <a:solidFill>
                      <a:schemeClr val="tx1"/>
                    </a:solidFill>
                    <a:latin typeface="Arial" pitchFamily="34" charset="0"/>
                  </a:defRPr>
                </a:lvl9pPr>
              </a:lstStyle>
              <a:p>
                <a:pPr eaLnBrk="1" hangingPunct="1">
                  <a:spcAft>
                    <a:spcPts val="600"/>
                  </a:spcAft>
                </a:pPr>
                <a:r>
                  <a:rPr lang="en-US" sz="1000" b="1" dirty="0">
                    <a:solidFill>
                      <a:srgbClr val="000000"/>
                    </a:solidFill>
                    <a:latin typeface="Arial"/>
                  </a:rPr>
                  <a:t>Transparency</a:t>
                </a:r>
              </a:p>
            </p:txBody>
          </p:sp>
          <p:sp>
            <p:nvSpPr>
              <p:cNvPr id="28" name="Freeform 27"/>
              <p:cNvSpPr/>
              <p:nvPr/>
            </p:nvSpPr>
            <p:spPr>
              <a:xfrm rot="17611589">
                <a:off x="553244" y="3118644"/>
                <a:ext cx="434975" cy="398463"/>
              </a:xfrm>
              <a:custGeom>
                <a:avLst/>
                <a:gdLst>
                  <a:gd name="connsiteX0" fmla="*/ 0 w 511904"/>
                  <a:gd name="connsiteY0" fmla="*/ 56999 h 201168"/>
                  <a:gd name="connsiteX1" fmla="*/ 310394 w 511904"/>
                  <a:gd name="connsiteY1" fmla="*/ 56999 h 201168"/>
                  <a:gd name="connsiteX2" fmla="*/ 310394 w 511904"/>
                  <a:gd name="connsiteY2" fmla="*/ 0 h 201168"/>
                  <a:gd name="connsiteX3" fmla="*/ 511904 w 511904"/>
                  <a:gd name="connsiteY3" fmla="*/ 100584 h 201168"/>
                  <a:gd name="connsiteX4" fmla="*/ 310394 w 511904"/>
                  <a:gd name="connsiteY4" fmla="*/ 201168 h 201168"/>
                  <a:gd name="connsiteX5" fmla="*/ 310394 w 511904"/>
                  <a:gd name="connsiteY5" fmla="*/ 144169 h 201168"/>
                  <a:gd name="connsiteX6" fmla="*/ 0 w 511904"/>
                  <a:gd name="connsiteY6" fmla="*/ 144169 h 201168"/>
                  <a:gd name="connsiteX7" fmla="*/ 0 w 511904"/>
                  <a:gd name="connsiteY7" fmla="*/ 56999 h 201168"/>
                  <a:gd name="connsiteX0" fmla="*/ 0 w 511904"/>
                  <a:gd name="connsiteY0" fmla="*/ 56999 h 201168"/>
                  <a:gd name="connsiteX1" fmla="*/ 135526 w 511904"/>
                  <a:gd name="connsiteY1" fmla="*/ 58465 h 201168"/>
                  <a:gd name="connsiteX2" fmla="*/ 310394 w 511904"/>
                  <a:gd name="connsiteY2" fmla="*/ 56999 h 201168"/>
                  <a:gd name="connsiteX3" fmla="*/ 310394 w 511904"/>
                  <a:gd name="connsiteY3" fmla="*/ 0 h 201168"/>
                  <a:gd name="connsiteX4" fmla="*/ 511904 w 511904"/>
                  <a:gd name="connsiteY4" fmla="*/ 100584 h 201168"/>
                  <a:gd name="connsiteX5" fmla="*/ 310394 w 511904"/>
                  <a:gd name="connsiteY5" fmla="*/ 201168 h 201168"/>
                  <a:gd name="connsiteX6" fmla="*/ 310394 w 511904"/>
                  <a:gd name="connsiteY6" fmla="*/ 144169 h 201168"/>
                  <a:gd name="connsiteX7" fmla="*/ 0 w 511904"/>
                  <a:gd name="connsiteY7" fmla="*/ 144169 h 201168"/>
                  <a:gd name="connsiteX8" fmla="*/ 0 w 511904"/>
                  <a:gd name="connsiteY8" fmla="*/ 56999 h 201168"/>
                  <a:gd name="connsiteX0" fmla="*/ 0 w 511904"/>
                  <a:gd name="connsiteY0" fmla="*/ 56999 h 201168"/>
                  <a:gd name="connsiteX1" fmla="*/ 135526 w 511904"/>
                  <a:gd name="connsiteY1" fmla="*/ 58465 h 201168"/>
                  <a:gd name="connsiteX2" fmla="*/ 310394 w 511904"/>
                  <a:gd name="connsiteY2" fmla="*/ 56999 h 201168"/>
                  <a:gd name="connsiteX3" fmla="*/ 310394 w 511904"/>
                  <a:gd name="connsiteY3" fmla="*/ 0 h 201168"/>
                  <a:gd name="connsiteX4" fmla="*/ 511904 w 511904"/>
                  <a:gd name="connsiteY4" fmla="*/ 100584 h 201168"/>
                  <a:gd name="connsiteX5" fmla="*/ 310394 w 511904"/>
                  <a:gd name="connsiteY5" fmla="*/ 201168 h 201168"/>
                  <a:gd name="connsiteX6" fmla="*/ 310394 w 511904"/>
                  <a:gd name="connsiteY6" fmla="*/ 144169 h 201168"/>
                  <a:gd name="connsiteX7" fmla="*/ 0 w 511904"/>
                  <a:gd name="connsiteY7" fmla="*/ 144169 h 201168"/>
                  <a:gd name="connsiteX8" fmla="*/ 0 w 511904"/>
                  <a:gd name="connsiteY8" fmla="*/ 56999 h 201168"/>
                  <a:gd name="connsiteX9" fmla="*/ 6682 w 511904"/>
                  <a:gd name="connsiteY9" fmla="*/ 54825 h 201168"/>
                  <a:gd name="connsiteX0" fmla="*/ 0 w 591362"/>
                  <a:gd name="connsiteY0" fmla="*/ 0 h 314750"/>
                  <a:gd name="connsiteX1" fmla="*/ 214984 w 591362"/>
                  <a:gd name="connsiteY1" fmla="*/ 172047 h 314750"/>
                  <a:gd name="connsiteX2" fmla="*/ 389852 w 591362"/>
                  <a:gd name="connsiteY2" fmla="*/ 170581 h 314750"/>
                  <a:gd name="connsiteX3" fmla="*/ 389852 w 591362"/>
                  <a:gd name="connsiteY3" fmla="*/ 113582 h 314750"/>
                  <a:gd name="connsiteX4" fmla="*/ 591362 w 591362"/>
                  <a:gd name="connsiteY4" fmla="*/ 214166 h 314750"/>
                  <a:gd name="connsiteX5" fmla="*/ 389852 w 591362"/>
                  <a:gd name="connsiteY5" fmla="*/ 314750 h 314750"/>
                  <a:gd name="connsiteX6" fmla="*/ 389852 w 591362"/>
                  <a:gd name="connsiteY6" fmla="*/ 257751 h 314750"/>
                  <a:gd name="connsiteX7" fmla="*/ 79458 w 591362"/>
                  <a:gd name="connsiteY7" fmla="*/ 257751 h 314750"/>
                  <a:gd name="connsiteX8" fmla="*/ 79458 w 591362"/>
                  <a:gd name="connsiteY8" fmla="*/ 170581 h 314750"/>
                  <a:gd name="connsiteX9" fmla="*/ 86140 w 591362"/>
                  <a:gd name="connsiteY9" fmla="*/ 168407 h 314750"/>
                  <a:gd name="connsiteX10" fmla="*/ 0 w 591362"/>
                  <a:gd name="connsiteY10" fmla="*/ 0 h 314750"/>
                  <a:gd name="connsiteX0" fmla="*/ 0 w 585095"/>
                  <a:gd name="connsiteY0" fmla="*/ 0 h 312285"/>
                  <a:gd name="connsiteX1" fmla="*/ 208717 w 585095"/>
                  <a:gd name="connsiteY1" fmla="*/ 169582 h 312285"/>
                  <a:gd name="connsiteX2" fmla="*/ 383585 w 585095"/>
                  <a:gd name="connsiteY2" fmla="*/ 168116 h 312285"/>
                  <a:gd name="connsiteX3" fmla="*/ 383585 w 585095"/>
                  <a:gd name="connsiteY3" fmla="*/ 111117 h 312285"/>
                  <a:gd name="connsiteX4" fmla="*/ 585095 w 585095"/>
                  <a:gd name="connsiteY4" fmla="*/ 211701 h 312285"/>
                  <a:gd name="connsiteX5" fmla="*/ 383585 w 585095"/>
                  <a:gd name="connsiteY5" fmla="*/ 312285 h 312285"/>
                  <a:gd name="connsiteX6" fmla="*/ 383585 w 585095"/>
                  <a:gd name="connsiteY6" fmla="*/ 255286 h 312285"/>
                  <a:gd name="connsiteX7" fmla="*/ 73191 w 585095"/>
                  <a:gd name="connsiteY7" fmla="*/ 255286 h 312285"/>
                  <a:gd name="connsiteX8" fmla="*/ 73191 w 585095"/>
                  <a:gd name="connsiteY8" fmla="*/ 168116 h 312285"/>
                  <a:gd name="connsiteX9" fmla="*/ 79873 w 585095"/>
                  <a:gd name="connsiteY9" fmla="*/ 165942 h 312285"/>
                  <a:gd name="connsiteX10" fmla="*/ 0 w 585095"/>
                  <a:gd name="connsiteY10" fmla="*/ 0 h 312285"/>
                  <a:gd name="connsiteX0" fmla="*/ 0 w 585095"/>
                  <a:gd name="connsiteY0" fmla="*/ 0 h 312285"/>
                  <a:gd name="connsiteX1" fmla="*/ 208717 w 585095"/>
                  <a:gd name="connsiteY1" fmla="*/ 169582 h 312285"/>
                  <a:gd name="connsiteX2" fmla="*/ 383585 w 585095"/>
                  <a:gd name="connsiteY2" fmla="*/ 168116 h 312285"/>
                  <a:gd name="connsiteX3" fmla="*/ 383585 w 585095"/>
                  <a:gd name="connsiteY3" fmla="*/ 111117 h 312285"/>
                  <a:gd name="connsiteX4" fmla="*/ 585095 w 585095"/>
                  <a:gd name="connsiteY4" fmla="*/ 211701 h 312285"/>
                  <a:gd name="connsiteX5" fmla="*/ 383585 w 585095"/>
                  <a:gd name="connsiteY5" fmla="*/ 312285 h 312285"/>
                  <a:gd name="connsiteX6" fmla="*/ 383585 w 585095"/>
                  <a:gd name="connsiteY6" fmla="*/ 255286 h 312285"/>
                  <a:gd name="connsiteX7" fmla="*/ 73191 w 585095"/>
                  <a:gd name="connsiteY7" fmla="*/ 255286 h 312285"/>
                  <a:gd name="connsiteX8" fmla="*/ 73191 w 585095"/>
                  <a:gd name="connsiteY8" fmla="*/ 168116 h 312285"/>
                  <a:gd name="connsiteX9" fmla="*/ 79873 w 585095"/>
                  <a:gd name="connsiteY9" fmla="*/ 165942 h 312285"/>
                  <a:gd name="connsiteX10" fmla="*/ 11820 w 585095"/>
                  <a:gd name="connsiteY10" fmla="*/ 21562 h 312285"/>
                  <a:gd name="connsiteX11" fmla="*/ 0 w 585095"/>
                  <a:gd name="connsiteY11" fmla="*/ 0 h 312285"/>
                  <a:gd name="connsiteX0" fmla="*/ 63185 w 648280"/>
                  <a:gd name="connsiteY0" fmla="*/ 0 h 312285"/>
                  <a:gd name="connsiteX1" fmla="*/ 271902 w 648280"/>
                  <a:gd name="connsiteY1" fmla="*/ 169582 h 312285"/>
                  <a:gd name="connsiteX2" fmla="*/ 446770 w 648280"/>
                  <a:gd name="connsiteY2" fmla="*/ 168116 h 312285"/>
                  <a:gd name="connsiteX3" fmla="*/ 446770 w 648280"/>
                  <a:gd name="connsiteY3" fmla="*/ 111117 h 312285"/>
                  <a:gd name="connsiteX4" fmla="*/ 648280 w 648280"/>
                  <a:gd name="connsiteY4" fmla="*/ 211701 h 312285"/>
                  <a:gd name="connsiteX5" fmla="*/ 446770 w 648280"/>
                  <a:gd name="connsiteY5" fmla="*/ 312285 h 312285"/>
                  <a:gd name="connsiteX6" fmla="*/ 446770 w 648280"/>
                  <a:gd name="connsiteY6" fmla="*/ 255286 h 312285"/>
                  <a:gd name="connsiteX7" fmla="*/ 136376 w 648280"/>
                  <a:gd name="connsiteY7" fmla="*/ 255286 h 312285"/>
                  <a:gd name="connsiteX8" fmla="*/ 136376 w 648280"/>
                  <a:gd name="connsiteY8" fmla="*/ 168116 h 312285"/>
                  <a:gd name="connsiteX9" fmla="*/ 143058 w 648280"/>
                  <a:gd name="connsiteY9" fmla="*/ 165942 h 312285"/>
                  <a:gd name="connsiteX10" fmla="*/ 0 w 648280"/>
                  <a:gd name="connsiteY10" fmla="*/ 28246 h 312285"/>
                  <a:gd name="connsiteX11" fmla="*/ 63185 w 648280"/>
                  <a:gd name="connsiteY11" fmla="*/ 0 h 312285"/>
                  <a:gd name="connsiteX0" fmla="*/ 67834 w 652929"/>
                  <a:gd name="connsiteY0" fmla="*/ 0 h 312285"/>
                  <a:gd name="connsiteX1" fmla="*/ 276551 w 652929"/>
                  <a:gd name="connsiteY1" fmla="*/ 169582 h 312285"/>
                  <a:gd name="connsiteX2" fmla="*/ 451419 w 652929"/>
                  <a:gd name="connsiteY2" fmla="*/ 168116 h 312285"/>
                  <a:gd name="connsiteX3" fmla="*/ 451419 w 652929"/>
                  <a:gd name="connsiteY3" fmla="*/ 111117 h 312285"/>
                  <a:gd name="connsiteX4" fmla="*/ 652929 w 652929"/>
                  <a:gd name="connsiteY4" fmla="*/ 211701 h 312285"/>
                  <a:gd name="connsiteX5" fmla="*/ 451419 w 652929"/>
                  <a:gd name="connsiteY5" fmla="*/ 312285 h 312285"/>
                  <a:gd name="connsiteX6" fmla="*/ 451419 w 652929"/>
                  <a:gd name="connsiteY6" fmla="*/ 255286 h 312285"/>
                  <a:gd name="connsiteX7" fmla="*/ 141025 w 652929"/>
                  <a:gd name="connsiteY7" fmla="*/ 255286 h 312285"/>
                  <a:gd name="connsiteX8" fmla="*/ 141025 w 652929"/>
                  <a:gd name="connsiteY8" fmla="*/ 168116 h 312285"/>
                  <a:gd name="connsiteX9" fmla="*/ 147707 w 652929"/>
                  <a:gd name="connsiteY9" fmla="*/ 165942 h 312285"/>
                  <a:gd name="connsiteX10" fmla="*/ 4649 w 652929"/>
                  <a:gd name="connsiteY10" fmla="*/ 28246 h 312285"/>
                  <a:gd name="connsiteX11" fmla="*/ 0 w 652929"/>
                  <a:gd name="connsiteY11" fmla="*/ 35463 h 312285"/>
                  <a:gd name="connsiteX12" fmla="*/ 67834 w 652929"/>
                  <a:gd name="connsiteY12" fmla="*/ 0 h 312285"/>
                  <a:gd name="connsiteX0" fmla="*/ 63185 w 648280"/>
                  <a:gd name="connsiteY0" fmla="*/ 0 h 312285"/>
                  <a:gd name="connsiteX1" fmla="*/ 271902 w 648280"/>
                  <a:gd name="connsiteY1" fmla="*/ 169582 h 312285"/>
                  <a:gd name="connsiteX2" fmla="*/ 446770 w 648280"/>
                  <a:gd name="connsiteY2" fmla="*/ 168116 h 312285"/>
                  <a:gd name="connsiteX3" fmla="*/ 446770 w 648280"/>
                  <a:gd name="connsiteY3" fmla="*/ 111117 h 312285"/>
                  <a:gd name="connsiteX4" fmla="*/ 648280 w 648280"/>
                  <a:gd name="connsiteY4" fmla="*/ 211701 h 312285"/>
                  <a:gd name="connsiteX5" fmla="*/ 446770 w 648280"/>
                  <a:gd name="connsiteY5" fmla="*/ 312285 h 312285"/>
                  <a:gd name="connsiteX6" fmla="*/ 446770 w 648280"/>
                  <a:gd name="connsiteY6" fmla="*/ 255286 h 312285"/>
                  <a:gd name="connsiteX7" fmla="*/ 136376 w 648280"/>
                  <a:gd name="connsiteY7" fmla="*/ 255286 h 312285"/>
                  <a:gd name="connsiteX8" fmla="*/ 136376 w 648280"/>
                  <a:gd name="connsiteY8" fmla="*/ 168116 h 312285"/>
                  <a:gd name="connsiteX9" fmla="*/ 143058 w 648280"/>
                  <a:gd name="connsiteY9" fmla="*/ 165942 h 312285"/>
                  <a:gd name="connsiteX10" fmla="*/ 0 w 648280"/>
                  <a:gd name="connsiteY10" fmla="*/ 28246 h 312285"/>
                  <a:gd name="connsiteX11" fmla="*/ 74423 w 648280"/>
                  <a:gd name="connsiteY11" fmla="*/ 193226 h 312285"/>
                  <a:gd name="connsiteX12" fmla="*/ 63185 w 648280"/>
                  <a:gd name="connsiteY12" fmla="*/ 0 h 312285"/>
                  <a:gd name="connsiteX0" fmla="*/ 70507 w 655602"/>
                  <a:gd name="connsiteY0" fmla="*/ 0 h 312285"/>
                  <a:gd name="connsiteX1" fmla="*/ 279224 w 655602"/>
                  <a:gd name="connsiteY1" fmla="*/ 169582 h 312285"/>
                  <a:gd name="connsiteX2" fmla="*/ 454092 w 655602"/>
                  <a:gd name="connsiteY2" fmla="*/ 168116 h 312285"/>
                  <a:gd name="connsiteX3" fmla="*/ 454092 w 655602"/>
                  <a:gd name="connsiteY3" fmla="*/ 111117 h 312285"/>
                  <a:gd name="connsiteX4" fmla="*/ 655602 w 655602"/>
                  <a:gd name="connsiteY4" fmla="*/ 211701 h 312285"/>
                  <a:gd name="connsiteX5" fmla="*/ 454092 w 655602"/>
                  <a:gd name="connsiteY5" fmla="*/ 312285 h 312285"/>
                  <a:gd name="connsiteX6" fmla="*/ 454092 w 655602"/>
                  <a:gd name="connsiteY6" fmla="*/ 255286 h 312285"/>
                  <a:gd name="connsiteX7" fmla="*/ 143698 w 655602"/>
                  <a:gd name="connsiteY7" fmla="*/ 255286 h 312285"/>
                  <a:gd name="connsiteX8" fmla="*/ 143698 w 655602"/>
                  <a:gd name="connsiteY8" fmla="*/ 168116 h 312285"/>
                  <a:gd name="connsiteX9" fmla="*/ 150380 w 655602"/>
                  <a:gd name="connsiteY9" fmla="*/ 165942 h 312285"/>
                  <a:gd name="connsiteX10" fmla="*/ 7322 w 655602"/>
                  <a:gd name="connsiteY10" fmla="*/ 28246 h 312285"/>
                  <a:gd name="connsiteX11" fmla="*/ 0 w 655602"/>
                  <a:gd name="connsiteY11" fmla="*/ 5462 h 312285"/>
                  <a:gd name="connsiteX12" fmla="*/ 70507 w 655602"/>
                  <a:gd name="connsiteY12" fmla="*/ 0 h 312285"/>
                  <a:gd name="connsiteX0" fmla="*/ 70507 w 655602"/>
                  <a:gd name="connsiteY0" fmla="*/ 0 h 312285"/>
                  <a:gd name="connsiteX1" fmla="*/ 279224 w 655602"/>
                  <a:gd name="connsiteY1" fmla="*/ 169582 h 312285"/>
                  <a:gd name="connsiteX2" fmla="*/ 454092 w 655602"/>
                  <a:gd name="connsiteY2" fmla="*/ 168116 h 312285"/>
                  <a:gd name="connsiteX3" fmla="*/ 454092 w 655602"/>
                  <a:gd name="connsiteY3" fmla="*/ 111117 h 312285"/>
                  <a:gd name="connsiteX4" fmla="*/ 655602 w 655602"/>
                  <a:gd name="connsiteY4" fmla="*/ 211701 h 312285"/>
                  <a:gd name="connsiteX5" fmla="*/ 454092 w 655602"/>
                  <a:gd name="connsiteY5" fmla="*/ 312285 h 312285"/>
                  <a:gd name="connsiteX6" fmla="*/ 454092 w 655602"/>
                  <a:gd name="connsiteY6" fmla="*/ 255286 h 312285"/>
                  <a:gd name="connsiteX7" fmla="*/ 143698 w 655602"/>
                  <a:gd name="connsiteY7" fmla="*/ 255286 h 312285"/>
                  <a:gd name="connsiteX8" fmla="*/ 143698 w 655602"/>
                  <a:gd name="connsiteY8" fmla="*/ 168116 h 312285"/>
                  <a:gd name="connsiteX9" fmla="*/ 150380 w 655602"/>
                  <a:gd name="connsiteY9" fmla="*/ 165942 h 312285"/>
                  <a:gd name="connsiteX10" fmla="*/ 82696 w 655602"/>
                  <a:gd name="connsiteY10" fmla="*/ 195411 h 312285"/>
                  <a:gd name="connsiteX11" fmla="*/ 0 w 655602"/>
                  <a:gd name="connsiteY11" fmla="*/ 5462 h 312285"/>
                  <a:gd name="connsiteX12" fmla="*/ 70507 w 655602"/>
                  <a:gd name="connsiteY12" fmla="*/ 0 h 312285"/>
                  <a:gd name="connsiteX0" fmla="*/ 58819 w 643914"/>
                  <a:gd name="connsiteY0" fmla="*/ 0 h 312285"/>
                  <a:gd name="connsiteX1" fmla="*/ 267536 w 643914"/>
                  <a:gd name="connsiteY1" fmla="*/ 169582 h 312285"/>
                  <a:gd name="connsiteX2" fmla="*/ 442404 w 643914"/>
                  <a:gd name="connsiteY2" fmla="*/ 168116 h 312285"/>
                  <a:gd name="connsiteX3" fmla="*/ 442404 w 643914"/>
                  <a:gd name="connsiteY3" fmla="*/ 111117 h 312285"/>
                  <a:gd name="connsiteX4" fmla="*/ 643914 w 643914"/>
                  <a:gd name="connsiteY4" fmla="*/ 211701 h 312285"/>
                  <a:gd name="connsiteX5" fmla="*/ 442404 w 643914"/>
                  <a:gd name="connsiteY5" fmla="*/ 312285 h 312285"/>
                  <a:gd name="connsiteX6" fmla="*/ 442404 w 643914"/>
                  <a:gd name="connsiteY6" fmla="*/ 255286 h 312285"/>
                  <a:gd name="connsiteX7" fmla="*/ 132010 w 643914"/>
                  <a:gd name="connsiteY7" fmla="*/ 255286 h 312285"/>
                  <a:gd name="connsiteX8" fmla="*/ 132010 w 643914"/>
                  <a:gd name="connsiteY8" fmla="*/ 168116 h 312285"/>
                  <a:gd name="connsiteX9" fmla="*/ 138692 w 643914"/>
                  <a:gd name="connsiteY9" fmla="*/ 165942 h 312285"/>
                  <a:gd name="connsiteX10" fmla="*/ 71008 w 643914"/>
                  <a:gd name="connsiteY10" fmla="*/ 195411 h 312285"/>
                  <a:gd name="connsiteX11" fmla="*/ 0 w 643914"/>
                  <a:gd name="connsiteY11" fmla="*/ 26344 h 312285"/>
                  <a:gd name="connsiteX12" fmla="*/ 58819 w 643914"/>
                  <a:gd name="connsiteY12" fmla="*/ 0 h 312285"/>
                  <a:gd name="connsiteX0" fmla="*/ 58819 w 643914"/>
                  <a:gd name="connsiteY0" fmla="*/ 0 h 312285"/>
                  <a:gd name="connsiteX1" fmla="*/ 267536 w 643914"/>
                  <a:gd name="connsiteY1" fmla="*/ 169582 h 312285"/>
                  <a:gd name="connsiteX2" fmla="*/ 442404 w 643914"/>
                  <a:gd name="connsiteY2" fmla="*/ 168116 h 312285"/>
                  <a:gd name="connsiteX3" fmla="*/ 442404 w 643914"/>
                  <a:gd name="connsiteY3" fmla="*/ 111117 h 312285"/>
                  <a:gd name="connsiteX4" fmla="*/ 643914 w 643914"/>
                  <a:gd name="connsiteY4" fmla="*/ 211701 h 312285"/>
                  <a:gd name="connsiteX5" fmla="*/ 442404 w 643914"/>
                  <a:gd name="connsiteY5" fmla="*/ 312285 h 312285"/>
                  <a:gd name="connsiteX6" fmla="*/ 442404 w 643914"/>
                  <a:gd name="connsiteY6" fmla="*/ 255286 h 312285"/>
                  <a:gd name="connsiteX7" fmla="*/ 132010 w 643914"/>
                  <a:gd name="connsiteY7" fmla="*/ 255286 h 312285"/>
                  <a:gd name="connsiteX8" fmla="*/ 132010 w 643914"/>
                  <a:gd name="connsiteY8" fmla="*/ 168116 h 312285"/>
                  <a:gd name="connsiteX9" fmla="*/ 138692 w 643914"/>
                  <a:gd name="connsiteY9" fmla="*/ 165942 h 312285"/>
                  <a:gd name="connsiteX10" fmla="*/ 71008 w 643914"/>
                  <a:gd name="connsiteY10" fmla="*/ 195411 h 312285"/>
                  <a:gd name="connsiteX11" fmla="*/ 68543 w 643914"/>
                  <a:gd name="connsiteY11" fmla="*/ 201675 h 312285"/>
                  <a:gd name="connsiteX12" fmla="*/ 0 w 643914"/>
                  <a:gd name="connsiteY12" fmla="*/ 26344 h 312285"/>
                  <a:gd name="connsiteX13" fmla="*/ 58819 w 643914"/>
                  <a:gd name="connsiteY13" fmla="*/ 0 h 312285"/>
                  <a:gd name="connsiteX0" fmla="*/ 58819 w 643914"/>
                  <a:gd name="connsiteY0" fmla="*/ 0 h 312285"/>
                  <a:gd name="connsiteX1" fmla="*/ 267536 w 643914"/>
                  <a:gd name="connsiteY1" fmla="*/ 169582 h 312285"/>
                  <a:gd name="connsiteX2" fmla="*/ 442404 w 643914"/>
                  <a:gd name="connsiteY2" fmla="*/ 168116 h 312285"/>
                  <a:gd name="connsiteX3" fmla="*/ 442404 w 643914"/>
                  <a:gd name="connsiteY3" fmla="*/ 111117 h 312285"/>
                  <a:gd name="connsiteX4" fmla="*/ 643914 w 643914"/>
                  <a:gd name="connsiteY4" fmla="*/ 211701 h 312285"/>
                  <a:gd name="connsiteX5" fmla="*/ 442404 w 643914"/>
                  <a:gd name="connsiteY5" fmla="*/ 312285 h 312285"/>
                  <a:gd name="connsiteX6" fmla="*/ 442404 w 643914"/>
                  <a:gd name="connsiteY6" fmla="*/ 255286 h 312285"/>
                  <a:gd name="connsiteX7" fmla="*/ 132010 w 643914"/>
                  <a:gd name="connsiteY7" fmla="*/ 255286 h 312285"/>
                  <a:gd name="connsiteX8" fmla="*/ 132010 w 643914"/>
                  <a:gd name="connsiteY8" fmla="*/ 168116 h 312285"/>
                  <a:gd name="connsiteX9" fmla="*/ 138692 w 643914"/>
                  <a:gd name="connsiteY9" fmla="*/ 165942 h 312285"/>
                  <a:gd name="connsiteX10" fmla="*/ 71008 w 643914"/>
                  <a:gd name="connsiteY10" fmla="*/ 195411 h 312285"/>
                  <a:gd name="connsiteX11" fmla="*/ 38644 w 643914"/>
                  <a:gd name="connsiteY11" fmla="*/ 222483 h 312285"/>
                  <a:gd name="connsiteX12" fmla="*/ 0 w 643914"/>
                  <a:gd name="connsiteY12" fmla="*/ 26344 h 312285"/>
                  <a:gd name="connsiteX13" fmla="*/ 58819 w 643914"/>
                  <a:gd name="connsiteY13" fmla="*/ 0 h 312285"/>
                  <a:gd name="connsiteX0" fmla="*/ 58819 w 643914"/>
                  <a:gd name="connsiteY0" fmla="*/ 0 h 404059"/>
                  <a:gd name="connsiteX1" fmla="*/ 267536 w 643914"/>
                  <a:gd name="connsiteY1" fmla="*/ 169582 h 404059"/>
                  <a:gd name="connsiteX2" fmla="*/ 442404 w 643914"/>
                  <a:gd name="connsiteY2" fmla="*/ 168116 h 404059"/>
                  <a:gd name="connsiteX3" fmla="*/ 442404 w 643914"/>
                  <a:gd name="connsiteY3" fmla="*/ 111117 h 404059"/>
                  <a:gd name="connsiteX4" fmla="*/ 643914 w 643914"/>
                  <a:gd name="connsiteY4" fmla="*/ 211701 h 404059"/>
                  <a:gd name="connsiteX5" fmla="*/ 442404 w 643914"/>
                  <a:gd name="connsiteY5" fmla="*/ 312285 h 404059"/>
                  <a:gd name="connsiteX6" fmla="*/ 442404 w 643914"/>
                  <a:gd name="connsiteY6" fmla="*/ 255286 h 404059"/>
                  <a:gd name="connsiteX7" fmla="*/ 132010 w 643914"/>
                  <a:gd name="connsiteY7" fmla="*/ 255286 h 404059"/>
                  <a:gd name="connsiteX8" fmla="*/ 132010 w 643914"/>
                  <a:gd name="connsiteY8" fmla="*/ 168116 h 404059"/>
                  <a:gd name="connsiteX9" fmla="*/ 138692 w 643914"/>
                  <a:gd name="connsiteY9" fmla="*/ 165942 h 404059"/>
                  <a:gd name="connsiteX10" fmla="*/ 164442 w 643914"/>
                  <a:gd name="connsiteY10" fmla="*/ 404059 h 404059"/>
                  <a:gd name="connsiteX11" fmla="*/ 38644 w 643914"/>
                  <a:gd name="connsiteY11" fmla="*/ 222483 h 404059"/>
                  <a:gd name="connsiteX12" fmla="*/ 0 w 643914"/>
                  <a:gd name="connsiteY12" fmla="*/ 26344 h 404059"/>
                  <a:gd name="connsiteX13" fmla="*/ 58819 w 643914"/>
                  <a:gd name="connsiteY13" fmla="*/ 0 h 404059"/>
                  <a:gd name="connsiteX0" fmla="*/ 58819 w 643914"/>
                  <a:gd name="connsiteY0" fmla="*/ 0 h 404059"/>
                  <a:gd name="connsiteX1" fmla="*/ 267536 w 643914"/>
                  <a:gd name="connsiteY1" fmla="*/ 169582 h 404059"/>
                  <a:gd name="connsiteX2" fmla="*/ 442404 w 643914"/>
                  <a:gd name="connsiteY2" fmla="*/ 168116 h 404059"/>
                  <a:gd name="connsiteX3" fmla="*/ 442404 w 643914"/>
                  <a:gd name="connsiteY3" fmla="*/ 111117 h 404059"/>
                  <a:gd name="connsiteX4" fmla="*/ 643914 w 643914"/>
                  <a:gd name="connsiteY4" fmla="*/ 211701 h 404059"/>
                  <a:gd name="connsiteX5" fmla="*/ 442404 w 643914"/>
                  <a:gd name="connsiteY5" fmla="*/ 312285 h 404059"/>
                  <a:gd name="connsiteX6" fmla="*/ 442404 w 643914"/>
                  <a:gd name="connsiteY6" fmla="*/ 255286 h 404059"/>
                  <a:gd name="connsiteX7" fmla="*/ 132010 w 643914"/>
                  <a:gd name="connsiteY7" fmla="*/ 255286 h 404059"/>
                  <a:gd name="connsiteX8" fmla="*/ 132010 w 643914"/>
                  <a:gd name="connsiteY8" fmla="*/ 168116 h 404059"/>
                  <a:gd name="connsiteX9" fmla="*/ 138692 w 643914"/>
                  <a:gd name="connsiteY9" fmla="*/ 165942 h 404059"/>
                  <a:gd name="connsiteX10" fmla="*/ 164442 w 643914"/>
                  <a:gd name="connsiteY10" fmla="*/ 404059 h 404059"/>
                  <a:gd name="connsiteX11" fmla="*/ 77661 w 643914"/>
                  <a:gd name="connsiteY11" fmla="*/ 210690 h 404059"/>
                  <a:gd name="connsiteX12" fmla="*/ 0 w 643914"/>
                  <a:gd name="connsiteY12" fmla="*/ 26344 h 404059"/>
                  <a:gd name="connsiteX13" fmla="*/ 58819 w 643914"/>
                  <a:gd name="connsiteY13" fmla="*/ 0 h 404059"/>
                  <a:gd name="connsiteX0" fmla="*/ 58819 w 643914"/>
                  <a:gd name="connsiteY0" fmla="*/ 0 h 408421"/>
                  <a:gd name="connsiteX1" fmla="*/ 267536 w 643914"/>
                  <a:gd name="connsiteY1" fmla="*/ 169582 h 408421"/>
                  <a:gd name="connsiteX2" fmla="*/ 442404 w 643914"/>
                  <a:gd name="connsiteY2" fmla="*/ 168116 h 408421"/>
                  <a:gd name="connsiteX3" fmla="*/ 442404 w 643914"/>
                  <a:gd name="connsiteY3" fmla="*/ 111117 h 408421"/>
                  <a:gd name="connsiteX4" fmla="*/ 643914 w 643914"/>
                  <a:gd name="connsiteY4" fmla="*/ 211701 h 408421"/>
                  <a:gd name="connsiteX5" fmla="*/ 442404 w 643914"/>
                  <a:gd name="connsiteY5" fmla="*/ 312285 h 408421"/>
                  <a:gd name="connsiteX6" fmla="*/ 442404 w 643914"/>
                  <a:gd name="connsiteY6" fmla="*/ 255286 h 408421"/>
                  <a:gd name="connsiteX7" fmla="*/ 132010 w 643914"/>
                  <a:gd name="connsiteY7" fmla="*/ 255286 h 408421"/>
                  <a:gd name="connsiteX8" fmla="*/ 132010 w 643914"/>
                  <a:gd name="connsiteY8" fmla="*/ 168116 h 408421"/>
                  <a:gd name="connsiteX9" fmla="*/ 138692 w 643914"/>
                  <a:gd name="connsiteY9" fmla="*/ 165942 h 408421"/>
                  <a:gd name="connsiteX10" fmla="*/ 164442 w 643914"/>
                  <a:gd name="connsiteY10" fmla="*/ 404059 h 408421"/>
                  <a:gd name="connsiteX11" fmla="*/ 166343 w 643914"/>
                  <a:gd name="connsiteY11" fmla="*/ 408421 h 408421"/>
                  <a:gd name="connsiteX12" fmla="*/ 77661 w 643914"/>
                  <a:gd name="connsiteY12" fmla="*/ 210690 h 408421"/>
                  <a:gd name="connsiteX13" fmla="*/ 0 w 643914"/>
                  <a:gd name="connsiteY13" fmla="*/ 26344 h 408421"/>
                  <a:gd name="connsiteX14" fmla="*/ 58819 w 643914"/>
                  <a:gd name="connsiteY14" fmla="*/ 0 h 408421"/>
                  <a:gd name="connsiteX0" fmla="*/ 58819 w 643914"/>
                  <a:gd name="connsiteY0" fmla="*/ 0 h 426481"/>
                  <a:gd name="connsiteX1" fmla="*/ 267536 w 643914"/>
                  <a:gd name="connsiteY1" fmla="*/ 169582 h 426481"/>
                  <a:gd name="connsiteX2" fmla="*/ 442404 w 643914"/>
                  <a:gd name="connsiteY2" fmla="*/ 168116 h 426481"/>
                  <a:gd name="connsiteX3" fmla="*/ 442404 w 643914"/>
                  <a:gd name="connsiteY3" fmla="*/ 111117 h 426481"/>
                  <a:gd name="connsiteX4" fmla="*/ 643914 w 643914"/>
                  <a:gd name="connsiteY4" fmla="*/ 211701 h 426481"/>
                  <a:gd name="connsiteX5" fmla="*/ 442404 w 643914"/>
                  <a:gd name="connsiteY5" fmla="*/ 312285 h 426481"/>
                  <a:gd name="connsiteX6" fmla="*/ 442404 w 643914"/>
                  <a:gd name="connsiteY6" fmla="*/ 255286 h 426481"/>
                  <a:gd name="connsiteX7" fmla="*/ 132010 w 643914"/>
                  <a:gd name="connsiteY7" fmla="*/ 255286 h 426481"/>
                  <a:gd name="connsiteX8" fmla="*/ 132010 w 643914"/>
                  <a:gd name="connsiteY8" fmla="*/ 168116 h 426481"/>
                  <a:gd name="connsiteX9" fmla="*/ 138692 w 643914"/>
                  <a:gd name="connsiteY9" fmla="*/ 165942 h 426481"/>
                  <a:gd name="connsiteX10" fmla="*/ 164442 w 643914"/>
                  <a:gd name="connsiteY10" fmla="*/ 404059 h 426481"/>
                  <a:gd name="connsiteX11" fmla="*/ 124861 w 643914"/>
                  <a:gd name="connsiteY11" fmla="*/ 426481 h 426481"/>
                  <a:gd name="connsiteX12" fmla="*/ 77661 w 643914"/>
                  <a:gd name="connsiteY12" fmla="*/ 210690 h 426481"/>
                  <a:gd name="connsiteX13" fmla="*/ 0 w 643914"/>
                  <a:gd name="connsiteY13" fmla="*/ 26344 h 426481"/>
                  <a:gd name="connsiteX14" fmla="*/ 58819 w 643914"/>
                  <a:gd name="connsiteY14" fmla="*/ 0 h 426481"/>
                  <a:gd name="connsiteX0" fmla="*/ 58819 w 643914"/>
                  <a:gd name="connsiteY0" fmla="*/ 0 h 404059"/>
                  <a:gd name="connsiteX1" fmla="*/ 267536 w 643914"/>
                  <a:gd name="connsiteY1" fmla="*/ 169582 h 404059"/>
                  <a:gd name="connsiteX2" fmla="*/ 442404 w 643914"/>
                  <a:gd name="connsiteY2" fmla="*/ 168116 h 404059"/>
                  <a:gd name="connsiteX3" fmla="*/ 442404 w 643914"/>
                  <a:gd name="connsiteY3" fmla="*/ 111117 h 404059"/>
                  <a:gd name="connsiteX4" fmla="*/ 643914 w 643914"/>
                  <a:gd name="connsiteY4" fmla="*/ 211701 h 404059"/>
                  <a:gd name="connsiteX5" fmla="*/ 442404 w 643914"/>
                  <a:gd name="connsiteY5" fmla="*/ 312285 h 404059"/>
                  <a:gd name="connsiteX6" fmla="*/ 442404 w 643914"/>
                  <a:gd name="connsiteY6" fmla="*/ 255286 h 404059"/>
                  <a:gd name="connsiteX7" fmla="*/ 132010 w 643914"/>
                  <a:gd name="connsiteY7" fmla="*/ 255286 h 404059"/>
                  <a:gd name="connsiteX8" fmla="*/ 132010 w 643914"/>
                  <a:gd name="connsiteY8" fmla="*/ 168116 h 404059"/>
                  <a:gd name="connsiteX9" fmla="*/ 138692 w 643914"/>
                  <a:gd name="connsiteY9" fmla="*/ 165942 h 404059"/>
                  <a:gd name="connsiteX10" fmla="*/ 164442 w 643914"/>
                  <a:gd name="connsiteY10" fmla="*/ 404059 h 404059"/>
                  <a:gd name="connsiteX11" fmla="*/ 126837 w 643914"/>
                  <a:gd name="connsiteY11" fmla="*/ 389261 h 404059"/>
                  <a:gd name="connsiteX12" fmla="*/ 77661 w 643914"/>
                  <a:gd name="connsiteY12" fmla="*/ 210690 h 404059"/>
                  <a:gd name="connsiteX13" fmla="*/ 0 w 643914"/>
                  <a:gd name="connsiteY13" fmla="*/ 26344 h 404059"/>
                  <a:gd name="connsiteX14" fmla="*/ 58819 w 643914"/>
                  <a:gd name="connsiteY14" fmla="*/ 0 h 404059"/>
                  <a:gd name="connsiteX0" fmla="*/ 58819 w 643914"/>
                  <a:gd name="connsiteY0" fmla="*/ 0 h 419936"/>
                  <a:gd name="connsiteX1" fmla="*/ 267536 w 643914"/>
                  <a:gd name="connsiteY1" fmla="*/ 169582 h 419936"/>
                  <a:gd name="connsiteX2" fmla="*/ 442404 w 643914"/>
                  <a:gd name="connsiteY2" fmla="*/ 168116 h 419936"/>
                  <a:gd name="connsiteX3" fmla="*/ 442404 w 643914"/>
                  <a:gd name="connsiteY3" fmla="*/ 111117 h 419936"/>
                  <a:gd name="connsiteX4" fmla="*/ 643914 w 643914"/>
                  <a:gd name="connsiteY4" fmla="*/ 211701 h 419936"/>
                  <a:gd name="connsiteX5" fmla="*/ 442404 w 643914"/>
                  <a:gd name="connsiteY5" fmla="*/ 312285 h 419936"/>
                  <a:gd name="connsiteX6" fmla="*/ 442404 w 643914"/>
                  <a:gd name="connsiteY6" fmla="*/ 255286 h 419936"/>
                  <a:gd name="connsiteX7" fmla="*/ 132010 w 643914"/>
                  <a:gd name="connsiteY7" fmla="*/ 255286 h 419936"/>
                  <a:gd name="connsiteX8" fmla="*/ 132010 w 643914"/>
                  <a:gd name="connsiteY8" fmla="*/ 168116 h 419936"/>
                  <a:gd name="connsiteX9" fmla="*/ 138692 w 643914"/>
                  <a:gd name="connsiteY9" fmla="*/ 165942 h 419936"/>
                  <a:gd name="connsiteX10" fmla="*/ 122008 w 643914"/>
                  <a:gd name="connsiteY10" fmla="*/ 419936 h 419936"/>
                  <a:gd name="connsiteX11" fmla="*/ 126837 w 643914"/>
                  <a:gd name="connsiteY11" fmla="*/ 389261 h 419936"/>
                  <a:gd name="connsiteX12" fmla="*/ 77661 w 643914"/>
                  <a:gd name="connsiteY12" fmla="*/ 210690 h 419936"/>
                  <a:gd name="connsiteX13" fmla="*/ 0 w 643914"/>
                  <a:gd name="connsiteY13" fmla="*/ 26344 h 419936"/>
                  <a:gd name="connsiteX14" fmla="*/ 58819 w 643914"/>
                  <a:gd name="connsiteY14" fmla="*/ 0 h 419936"/>
                  <a:gd name="connsiteX0" fmla="*/ 58819 w 643914"/>
                  <a:gd name="connsiteY0" fmla="*/ 0 h 419936"/>
                  <a:gd name="connsiteX1" fmla="*/ 267536 w 643914"/>
                  <a:gd name="connsiteY1" fmla="*/ 169582 h 419936"/>
                  <a:gd name="connsiteX2" fmla="*/ 442404 w 643914"/>
                  <a:gd name="connsiteY2" fmla="*/ 168116 h 419936"/>
                  <a:gd name="connsiteX3" fmla="*/ 442404 w 643914"/>
                  <a:gd name="connsiteY3" fmla="*/ 111117 h 419936"/>
                  <a:gd name="connsiteX4" fmla="*/ 643914 w 643914"/>
                  <a:gd name="connsiteY4" fmla="*/ 211701 h 419936"/>
                  <a:gd name="connsiteX5" fmla="*/ 442404 w 643914"/>
                  <a:gd name="connsiteY5" fmla="*/ 312285 h 419936"/>
                  <a:gd name="connsiteX6" fmla="*/ 442404 w 643914"/>
                  <a:gd name="connsiteY6" fmla="*/ 255286 h 419936"/>
                  <a:gd name="connsiteX7" fmla="*/ 132010 w 643914"/>
                  <a:gd name="connsiteY7" fmla="*/ 255286 h 419936"/>
                  <a:gd name="connsiteX8" fmla="*/ 132010 w 643914"/>
                  <a:gd name="connsiteY8" fmla="*/ 168116 h 419936"/>
                  <a:gd name="connsiteX9" fmla="*/ 138692 w 643914"/>
                  <a:gd name="connsiteY9" fmla="*/ 165942 h 419936"/>
                  <a:gd name="connsiteX10" fmla="*/ 122008 w 643914"/>
                  <a:gd name="connsiteY10" fmla="*/ 419936 h 419936"/>
                  <a:gd name="connsiteX11" fmla="*/ 100712 w 643914"/>
                  <a:gd name="connsiteY11" fmla="*/ 359080 h 419936"/>
                  <a:gd name="connsiteX12" fmla="*/ 77661 w 643914"/>
                  <a:gd name="connsiteY12" fmla="*/ 210690 h 419936"/>
                  <a:gd name="connsiteX13" fmla="*/ 0 w 643914"/>
                  <a:gd name="connsiteY13" fmla="*/ 26344 h 419936"/>
                  <a:gd name="connsiteX14" fmla="*/ 58819 w 643914"/>
                  <a:gd name="connsiteY14" fmla="*/ 0 h 419936"/>
                  <a:gd name="connsiteX0" fmla="*/ 58819 w 643914"/>
                  <a:gd name="connsiteY0" fmla="*/ 0 h 419936"/>
                  <a:gd name="connsiteX1" fmla="*/ 267536 w 643914"/>
                  <a:gd name="connsiteY1" fmla="*/ 169582 h 419936"/>
                  <a:gd name="connsiteX2" fmla="*/ 442404 w 643914"/>
                  <a:gd name="connsiteY2" fmla="*/ 168116 h 419936"/>
                  <a:gd name="connsiteX3" fmla="*/ 442404 w 643914"/>
                  <a:gd name="connsiteY3" fmla="*/ 111117 h 419936"/>
                  <a:gd name="connsiteX4" fmla="*/ 643914 w 643914"/>
                  <a:gd name="connsiteY4" fmla="*/ 211701 h 419936"/>
                  <a:gd name="connsiteX5" fmla="*/ 442404 w 643914"/>
                  <a:gd name="connsiteY5" fmla="*/ 312285 h 419936"/>
                  <a:gd name="connsiteX6" fmla="*/ 442404 w 643914"/>
                  <a:gd name="connsiteY6" fmla="*/ 255286 h 419936"/>
                  <a:gd name="connsiteX7" fmla="*/ 132010 w 643914"/>
                  <a:gd name="connsiteY7" fmla="*/ 255286 h 419936"/>
                  <a:gd name="connsiteX8" fmla="*/ 132010 w 643914"/>
                  <a:gd name="connsiteY8" fmla="*/ 168116 h 419936"/>
                  <a:gd name="connsiteX9" fmla="*/ 138692 w 643914"/>
                  <a:gd name="connsiteY9" fmla="*/ 165942 h 419936"/>
                  <a:gd name="connsiteX10" fmla="*/ 122008 w 643914"/>
                  <a:gd name="connsiteY10" fmla="*/ 419936 h 419936"/>
                  <a:gd name="connsiteX11" fmla="*/ 161310 w 643914"/>
                  <a:gd name="connsiteY11" fmla="*/ 402821 h 419936"/>
                  <a:gd name="connsiteX12" fmla="*/ 77661 w 643914"/>
                  <a:gd name="connsiteY12" fmla="*/ 210690 h 419936"/>
                  <a:gd name="connsiteX13" fmla="*/ 0 w 643914"/>
                  <a:gd name="connsiteY13" fmla="*/ 26344 h 419936"/>
                  <a:gd name="connsiteX14" fmla="*/ 58819 w 643914"/>
                  <a:gd name="connsiteY14" fmla="*/ 0 h 419936"/>
                  <a:gd name="connsiteX0" fmla="*/ 58819 w 643914"/>
                  <a:gd name="connsiteY0" fmla="*/ 0 h 419936"/>
                  <a:gd name="connsiteX1" fmla="*/ 267536 w 643914"/>
                  <a:gd name="connsiteY1" fmla="*/ 169582 h 419936"/>
                  <a:gd name="connsiteX2" fmla="*/ 442404 w 643914"/>
                  <a:gd name="connsiteY2" fmla="*/ 168116 h 419936"/>
                  <a:gd name="connsiteX3" fmla="*/ 442404 w 643914"/>
                  <a:gd name="connsiteY3" fmla="*/ 111117 h 419936"/>
                  <a:gd name="connsiteX4" fmla="*/ 643914 w 643914"/>
                  <a:gd name="connsiteY4" fmla="*/ 211701 h 419936"/>
                  <a:gd name="connsiteX5" fmla="*/ 442404 w 643914"/>
                  <a:gd name="connsiteY5" fmla="*/ 312285 h 419936"/>
                  <a:gd name="connsiteX6" fmla="*/ 442404 w 643914"/>
                  <a:gd name="connsiteY6" fmla="*/ 255286 h 419936"/>
                  <a:gd name="connsiteX7" fmla="*/ 132010 w 643914"/>
                  <a:gd name="connsiteY7" fmla="*/ 255286 h 419936"/>
                  <a:gd name="connsiteX8" fmla="*/ 132010 w 643914"/>
                  <a:gd name="connsiteY8" fmla="*/ 168116 h 419936"/>
                  <a:gd name="connsiteX9" fmla="*/ 138692 w 643914"/>
                  <a:gd name="connsiteY9" fmla="*/ 165942 h 419936"/>
                  <a:gd name="connsiteX10" fmla="*/ 122008 w 643914"/>
                  <a:gd name="connsiteY10" fmla="*/ 419936 h 419936"/>
                  <a:gd name="connsiteX11" fmla="*/ 121060 w 643914"/>
                  <a:gd name="connsiteY11" fmla="*/ 417747 h 419936"/>
                  <a:gd name="connsiteX12" fmla="*/ 161310 w 643914"/>
                  <a:gd name="connsiteY12" fmla="*/ 402821 h 419936"/>
                  <a:gd name="connsiteX13" fmla="*/ 77661 w 643914"/>
                  <a:gd name="connsiteY13" fmla="*/ 210690 h 419936"/>
                  <a:gd name="connsiteX14" fmla="*/ 0 w 643914"/>
                  <a:gd name="connsiteY14" fmla="*/ 26344 h 419936"/>
                  <a:gd name="connsiteX15" fmla="*/ 58819 w 643914"/>
                  <a:gd name="connsiteY15" fmla="*/ 0 h 419936"/>
                  <a:gd name="connsiteX0" fmla="*/ 58819 w 643914"/>
                  <a:gd name="connsiteY0" fmla="*/ 0 h 465065"/>
                  <a:gd name="connsiteX1" fmla="*/ 267536 w 643914"/>
                  <a:gd name="connsiteY1" fmla="*/ 169582 h 465065"/>
                  <a:gd name="connsiteX2" fmla="*/ 442404 w 643914"/>
                  <a:gd name="connsiteY2" fmla="*/ 168116 h 465065"/>
                  <a:gd name="connsiteX3" fmla="*/ 442404 w 643914"/>
                  <a:gd name="connsiteY3" fmla="*/ 111117 h 465065"/>
                  <a:gd name="connsiteX4" fmla="*/ 643914 w 643914"/>
                  <a:gd name="connsiteY4" fmla="*/ 211701 h 465065"/>
                  <a:gd name="connsiteX5" fmla="*/ 442404 w 643914"/>
                  <a:gd name="connsiteY5" fmla="*/ 312285 h 465065"/>
                  <a:gd name="connsiteX6" fmla="*/ 442404 w 643914"/>
                  <a:gd name="connsiteY6" fmla="*/ 255286 h 465065"/>
                  <a:gd name="connsiteX7" fmla="*/ 132010 w 643914"/>
                  <a:gd name="connsiteY7" fmla="*/ 255286 h 465065"/>
                  <a:gd name="connsiteX8" fmla="*/ 132010 w 643914"/>
                  <a:gd name="connsiteY8" fmla="*/ 168116 h 465065"/>
                  <a:gd name="connsiteX9" fmla="*/ 138692 w 643914"/>
                  <a:gd name="connsiteY9" fmla="*/ 165942 h 465065"/>
                  <a:gd name="connsiteX10" fmla="*/ 122008 w 643914"/>
                  <a:gd name="connsiteY10" fmla="*/ 419936 h 465065"/>
                  <a:gd name="connsiteX11" fmla="*/ 48164 w 643914"/>
                  <a:gd name="connsiteY11" fmla="*/ 465065 h 465065"/>
                  <a:gd name="connsiteX12" fmla="*/ 161310 w 643914"/>
                  <a:gd name="connsiteY12" fmla="*/ 402821 h 465065"/>
                  <a:gd name="connsiteX13" fmla="*/ 77661 w 643914"/>
                  <a:gd name="connsiteY13" fmla="*/ 210690 h 465065"/>
                  <a:gd name="connsiteX14" fmla="*/ 0 w 643914"/>
                  <a:gd name="connsiteY14" fmla="*/ 26344 h 465065"/>
                  <a:gd name="connsiteX15" fmla="*/ 58819 w 643914"/>
                  <a:gd name="connsiteY15" fmla="*/ 0 h 465065"/>
                  <a:gd name="connsiteX0" fmla="*/ 58819 w 643914"/>
                  <a:gd name="connsiteY0" fmla="*/ 0 h 465065"/>
                  <a:gd name="connsiteX1" fmla="*/ 267536 w 643914"/>
                  <a:gd name="connsiteY1" fmla="*/ 169582 h 465065"/>
                  <a:gd name="connsiteX2" fmla="*/ 442404 w 643914"/>
                  <a:gd name="connsiteY2" fmla="*/ 168116 h 465065"/>
                  <a:gd name="connsiteX3" fmla="*/ 442404 w 643914"/>
                  <a:gd name="connsiteY3" fmla="*/ 111117 h 465065"/>
                  <a:gd name="connsiteX4" fmla="*/ 643914 w 643914"/>
                  <a:gd name="connsiteY4" fmla="*/ 211701 h 465065"/>
                  <a:gd name="connsiteX5" fmla="*/ 442404 w 643914"/>
                  <a:gd name="connsiteY5" fmla="*/ 312285 h 465065"/>
                  <a:gd name="connsiteX6" fmla="*/ 442404 w 643914"/>
                  <a:gd name="connsiteY6" fmla="*/ 255286 h 465065"/>
                  <a:gd name="connsiteX7" fmla="*/ 132010 w 643914"/>
                  <a:gd name="connsiteY7" fmla="*/ 255286 h 465065"/>
                  <a:gd name="connsiteX8" fmla="*/ 132010 w 643914"/>
                  <a:gd name="connsiteY8" fmla="*/ 168116 h 465065"/>
                  <a:gd name="connsiteX9" fmla="*/ 138692 w 643914"/>
                  <a:gd name="connsiteY9" fmla="*/ 165942 h 465065"/>
                  <a:gd name="connsiteX10" fmla="*/ 72432 w 643914"/>
                  <a:gd name="connsiteY10" fmla="*/ 389577 h 465065"/>
                  <a:gd name="connsiteX11" fmla="*/ 48164 w 643914"/>
                  <a:gd name="connsiteY11" fmla="*/ 465065 h 465065"/>
                  <a:gd name="connsiteX12" fmla="*/ 161310 w 643914"/>
                  <a:gd name="connsiteY12" fmla="*/ 402821 h 465065"/>
                  <a:gd name="connsiteX13" fmla="*/ 77661 w 643914"/>
                  <a:gd name="connsiteY13" fmla="*/ 210690 h 465065"/>
                  <a:gd name="connsiteX14" fmla="*/ 0 w 643914"/>
                  <a:gd name="connsiteY14" fmla="*/ 26344 h 465065"/>
                  <a:gd name="connsiteX15" fmla="*/ 58819 w 643914"/>
                  <a:gd name="connsiteY15" fmla="*/ 0 h 465065"/>
                  <a:gd name="connsiteX0" fmla="*/ 58819 w 643914"/>
                  <a:gd name="connsiteY0" fmla="*/ 0 h 480261"/>
                  <a:gd name="connsiteX1" fmla="*/ 267536 w 643914"/>
                  <a:gd name="connsiteY1" fmla="*/ 169582 h 480261"/>
                  <a:gd name="connsiteX2" fmla="*/ 442404 w 643914"/>
                  <a:gd name="connsiteY2" fmla="*/ 168116 h 480261"/>
                  <a:gd name="connsiteX3" fmla="*/ 442404 w 643914"/>
                  <a:gd name="connsiteY3" fmla="*/ 111117 h 480261"/>
                  <a:gd name="connsiteX4" fmla="*/ 643914 w 643914"/>
                  <a:gd name="connsiteY4" fmla="*/ 211701 h 480261"/>
                  <a:gd name="connsiteX5" fmla="*/ 442404 w 643914"/>
                  <a:gd name="connsiteY5" fmla="*/ 312285 h 480261"/>
                  <a:gd name="connsiteX6" fmla="*/ 442404 w 643914"/>
                  <a:gd name="connsiteY6" fmla="*/ 255286 h 480261"/>
                  <a:gd name="connsiteX7" fmla="*/ 132010 w 643914"/>
                  <a:gd name="connsiteY7" fmla="*/ 255286 h 480261"/>
                  <a:gd name="connsiteX8" fmla="*/ 132010 w 643914"/>
                  <a:gd name="connsiteY8" fmla="*/ 168116 h 480261"/>
                  <a:gd name="connsiteX9" fmla="*/ 138692 w 643914"/>
                  <a:gd name="connsiteY9" fmla="*/ 165942 h 480261"/>
                  <a:gd name="connsiteX10" fmla="*/ 72432 w 643914"/>
                  <a:gd name="connsiteY10" fmla="*/ 389577 h 480261"/>
                  <a:gd name="connsiteX11" fmla="*/ 233982 w 643914"/>
                  <a:gd name="connsiteY11" fmla="*/ 480261 h 480261"/>
                  <a:gd name="connsiteX12" fmla="*/ 161310 w 643914"/>
                  <a:gd name="connsiteY12" fmla="*/ 402821 h 480261"/>
                  <a:gd name="connsiteX13" fmla="*/ 77661 w 643914"/>
                  <a:gd name="connsiteY13" fmla="*/ 210690 h 480261"/>
                  <a:gd name="connsiteX14" fmla="*/ 0 w 643914"/>
                  <a:gd name="connsiteY14" fmla="*/ 26344 h 480261"/>
                  <a:gd name="connsiteX15" fmla="*/ 58819 w 643914"/>
                  <a:gd name="connsiteY15" fmla="*/ 0 h 480261"/>
                  <a:gd name="connsiteX0" fmla="*/ 58819 w 643914"/>
                  <a:gd name="connsiteY0" fmla="*/ 0 h 480261"/>
                  <a:gd name="connsiteX1" fmla="*/ 267536 w 643914"/>
                  <a:gd name="connsiteY1" fmla="*/ 169582 h 480261"/>
                  <a:gd name="connsiteX2" fmla="*/ 442404 w 643914"/>
                  <a:gd name="connsiteY2" fmla="*/ 168116 h 480261"/>
                  <a:gd name="connsiteX3" fmla="*/ 442404 w 643914"/>
                  <a:gd name="connsiteY3" fmla="*/ 111117 h 480261"/>
                  <a:gd name="connsiteX4" fmla="*/ 643914 w 643914"/>
                  <a:gd name="connsiteY4" fmla="*/ 211701 h 480261"/>
                  <a:gd name="connsiteX5" fmla="*/ 442404 w 643914"/>
                  <a:gd name="connsiteY5" fmla="*/ 312285 h 480261"/>
                  <a:gd name="connsiteX6" fmla="*/ 442404 w 643914"/>
                  <a:gd name="connsiteY6" fmla="*/ 255286 h 480261"/>
                  <a:gd name="connsiteX7" fmla="*/ 132010 w 643914"/>
                  <a:gd name="connsiteY7" fmla="*/ 255286 h 480261"/>
                  <a:gd name="connsiteX8" fmla="*/ 132010 w 643914"/>
                  <a:gd name="connsiteY8" fmla="*/ 168116 h 480261"/>
                  <a:gd name="connsiteX9" fmla="*/ 138692 w 643914"/>
                  <a:gd name="connsiteY9" fmla="*/ 165942 h 480261"/>
                  <a:gd name="connsiteX10" fmla="*/ 53243 w 643914"/>
                  <a:gd name="connsiteY10" fmla="*/ 369362 h 480261"/>
                  <a:gd name="connsiteX11" fmla="*/ 233982 w 643914"/>
                  <a:gd name="connsiteY11" fmla="*/ 480261 h 480261"/>
                  <a:gd name="connsiteX12" fmla="*/ 161310 w 643914"/>
                  <a:gd name="connsiteY12" fmla="*/ 402821 h 480261"/>
                  <a:gd name="connsiteX13" fmla="*/ 77661 w 643914"/>
                  <a:gd name="connsiteY13" fmla="*/ 210690 h 480261"/>
                  <a:gd name="connsiteX14" fmla="*/ 0 w 643914"/>
                  <a:gd name="connsiteY14" fmla="*/ 26344 h 480261"/>
                  <a:gd name="connsiteX15" fmla="*/ 58819 w 643914"/>
                  <a:gd name="connsiteY15" fmla="*/ 0 h 480261"/>
                  <a:gd name="connsiteX0" fmla="*/ 58819 w 643914"/>
                  <a:gd name="connsiteY0" fmla="*/ 0 h 576880"/>
                  <a:gd name="connsiteX1" fmla="*/ 267536 w 643914"/>
                  <a:gd name="connsiteY1" fmla="*/ 169582 h 576880"/>
                  <a:gd name="connsiteX2" fmla="*/ 442404 w 643914"/>
                  <a:gd name="connsiteY2" fmla="*/ 168116 h 576880"/>
                  <a:gd name="connsiteX3" fmla="*/ 442404 w 643914"/>
                  <a:gd name="connsiteY3" fmla="*/ 111117 h 576880"/>
                  <a:gd name="connsiteX4" fmla="*/ 643914 w 643914"/>
                  <a:gd name="connsiteY4" fmla="*/ 211701 h 576880"/>
                  <a:gd name="connsiteX5" fmla="*/ 442404 w 643914"/>
                  <a:gd name="connsiteY5" fmla="*/ 312285 h 576880"/>
                  <a:gd name="connsiteX6" fmla="*/ 442404 w 643914"/>
                  <a:gd name="connsiteY6" fmla="*/ 255286 h 576880"/>
                  <a:gd name="connsiteX7" fmla="*/ 132010 w 643914"/>
                  <a:gd name="connsiteY7" fmla="*/ 255286 h 576880"/>
                  <a:gd name="connsiteX8" fmla="*/ 132010 w 643914"/>
                  <a:gd name="connsiteY8" fmla="*/ 168116 h 576880"/>
                  <a:gd name="connsiteX9" fmla="*/ 138692 w 643914"/>
                  <a:gd name="connsiteY9" fmla="*/ 165942 h 576880"/>
                  <a:gd name="connsiteX10" fmla="*/ 125409 w 643914"/>
                  <a:gd name="connsiteY10" fmla="*/ 576880 h 576880"/>
                  <a:gd name="connsiteX11" fmla="*/ 233982 w 643914"/>
                  <a:gd name="connsiteY11" fmla="*/ 480261 h 576880"/>
                  <a:gd name="connsiteX12" fmla="*/ 161310 w 643914"/>
                  <a:gd name="connsiteY12" fmla="*/ 402821 h 576880"/>
                  <a:gd name="connsiteX13" fmla="*/ 77661 w 643914"/>
                  <a:gd name="connsiteY13" fmla="*/ 210690 h 576880"/>
                  <a:gd name="connsiteX14" fmla="*/ 0 w 643914"/>
                  <a:gd name="connsiteY14" fmla="*/ 26344 h 576880"/>
                  <a:gd name="connsiteX15" fmla="*/ 58819 w 643914"/>
                  <a:gd name="connsiteY15" fmla="*/ 0 h 576880"/>
                  <a:gd name="connsiteX0" fmla="*/ 58819 w 643914"/>
                  <a:gd name="connsiteY0" fmla="*/ 0 h 576880"/>
                  <a:gd name="connsiteX1" fmla="*/ 267536 w 643914"/>
                  <a:gd name="connsiteY1" fmla="*/ 169582 h 576880"/>
                  <a:gd name="connsiteX2" fmla="*/ 442404 w 643914"/>
                  <a:gd name="connsiteY2" fmla="*/ 168116 h 576880"/>
                  <a:gd name="connsiteX3" fmla="*/ 442404 w 643914"/>
                  <a:gd name="connsiteY3" fmla="*/ 111117 h 576880"/>
                  <a:gd name="connsiteX4" fmla="*/ 643914 w 643914"/>
                  <a:gd name="connsiteY4" fmla="*/ 211701 h 576880"/>
                  <a:gd name="connsiteX5" fmla="*/ 442404 w 643914"/>
                  <a:gd name="connsiteY5" fmla="*/ 312285 h 576880"/>
                  <a:gd name="connsiteX6" fmla="*/ 442404 w 643914"/>
                  <a:gd name="connsiteY6" fmla="*/ 255286 h 576880"/>
                  <a:gd name="connsiteX7" fmla="*/ 132010 w 643914"/>
                  <a:gd name="connsiteY7" fmla="*/ 255286 h 576880"/>
                  <a:gd name="connsiteX8" fmla="*/ 132010 w 643914"/>
                  <a:gd name="connsiteY8" fmla="*/ 168116 h 576880"/>
                  <a:gd name="connsiteX9" fmla="*/ 138692 w 643914"/>
                  <a:gd name="connsiteY9" fmla="*/ 165942 h 576880"/>
                  <a:gd name="connsiteX10" fmla="*/ 125409 w 643914"/>
                  <a:gd name="connsiteY10" fmla="*/ 576880 h 576880"/>
                  <a:gd name="connsiteX11" fmla="*/ 121164 w 643914"/>
                  <a:gd name="connsiteY11" fmla="*/ 435881 h 576880"/>
                  <a:gd name="connsiteX12" fmla="*/ 161310 w 643914"/>
                  <a:gd name="connsiteY12" fmla="*/ 402821 h 576880"/>
                  <a:gd name="connsiteX13" fmla="*/ 77661 w 643914"/>
                  <a:gd name="connsiteY13" fmla="*/ 210690 h 576880"/>
                  <a:gd name="connsiteX14" fmla="*/ 0 w 643914"/>
                  <a:gd name="connsiteY14" fmla="*/ 26344 h 576880"/>
                  <a:gd name="connsiteX15" fmla="*/ 58819 w 643914"/>
                  <a:gd name="connsiteY15" fmla="*/ 0 h 576880"/>
                  <a:gd name="connsiteX0" fmla="*/ 58819 w 643914"/>
                  <a:gd name="connsiteY0" fmla="*/ 0 h 483683"/>
                  <a:gd name="connsiteX1" fmla="*/ 267536 w 643914"/>
                  <a:gd name="connsiteY1" fmla="*/ 169582 h 483683"/>
                  <a:gd name="connsiteX2" fmla="*/ 442404 w 643914"/>
                  <a:gd name="connsiteY2" fmla="*/ 168116 h 483683"/>
                  <a:gd name="connsiteX3" fmla="*/ 442404 w 643914"/>
                  <a:gd name="connsiteY3" fmla="*/ 111117 h 483683"/>
                  <a:gd name="connsiteX4" fmla="*/ 643914 w 643914"/>
                  <a:gd name="connsiteY4" fmla="*/ 211701 h 483683"/>
                  <a:gd name="connsiteX5" fmla="*/ 442404 w 643914"/>
                  <a:gd name="connsiteY5" fmla="*/ 312285 h 483683"/>
                  <a:gd name="connsiteX6" fmla="*/ 442404 w 643914"/>
                  <a:gd name="connsiteY6" fmla="*/ 255286 h 483683"/>
                  <a:gd name="connsiteX7" fmla="*/ 132010 w 643914"/>
                  <a:gd name="connsiteY7" fmla="*/ 255286 h 483683"/>
                  <a:gd name="connsiteX8" fmla="*/ 132010 w 643914"/>
                  <a:gd name="connsiteY8" fmla="*/ 168116 h 483683"/>
                  <a:gd name="connsiteX9" fmla="*/ 138692 w 643914"/>
                  <a:gd name="connsiteY9" fmla="*/ 165942 h 483683"/>
                  <a:gd name="connsiteX10" fmla="*/ 238065 w 643914"/>
                  <a:gd name="connsiteY10" fmla="*/ 483683 h 483683"/>
                  <a:gd name="connsiteX11" fmla="*/ 121164 w 643914"/>
                  <a:gd name="connsiteY11" fmla="*/ 435881 h 483683"/>
                  <a:gd name="connsiteX12" fmla="*/ 161310 w 643914"/>
                  <a:gd name="connsiteY12" fmla="*/ 402821 h 483683"/>
                  <a:gd name="connsiteX13" fmla="*/ 77661 w 643914"/>
                  <a:gd name="connsiteY13" fmla="*/ 210690 h 483683"/>
                  <a:gd name="connsiteX14" fmla="*/ 0 w 643914"/>
                  <a:gd name="connsiteY14" fmla="*/ 26344 h 483683"/>
                  <a:gd name="connsiteX15" fmla="*/ 58819 w 643914"/>
                  <a:gd name="connsiteY15" fmla="*/ 0 h 483683"/>
                  <a:gd name="connsiteX0" fmla="*/ 58819 w 643914"/>
                  <a:gd name="connsiteY0" fmla="*/ 0 h 483683"/>
                  <a:gd name="connsiteX1" fmla="*/ 267536 w 643914"/>
                  <a:gd name="connsiteY1" fmla="*/ 169582 h 483683"/>
                  <a:gd name="connsiteX2" fmla="*/ 442404 w 643914"/>
                  <a:gd name="connsiteY2" fmla="*/ 168116 h 483683"/>
                  <a:gd name="connsiteX3" fmla="*/ 442404 w 643914"/>
                  <a:gd name="connsiteY3" fmla="*/ 111117 h 483683"/>
                  <a:gd name="connsiteX4" fmla="*/ 643914 w 643914"/>
                  <a:gd name="connsiteY4" fmla="*/ 211701 h 483683"/>
                  <a:gd name="connsiteX5" fmla="*/ 442404 w 643914"/>
                  <a:gd name="connsiteY5" fmla="*/ 312285 h 483683"/>
                  <a:gd name="connsiteX6" fmla="*/ 442404 w 643914"/>
                  <a:gd name="connsiteY6" fmla="*/ 255286 h 483683"/>
                  <a:gd name="connsiteX7" fmla="*/ 132010 w 643914"/>
                  <a:gd name="connsiteY7" fmla="*/ 255286 h 483683"/>
                  <a:gd name="connsiteX8" fmla="*/ 132010 w 643914"/>
                  <a:gd name="connsiteY8" fmla="*/ 168116 h 483683"/>
                  <a:gd name="connsiteX9" fmla="*/ 138692 w 643914"/>
                  <a:gd name="connsiteY9" fmla="*/ 165942 h 483683"/>
                  <a:gd name="connsiteX10" fmla="*/ 238065 w 643914"/>
                  <a:gd name="connsiteY10" fmla="*/ 483683 h 483683"/>
                  <a:gd name="connsiteX11" fmla="*/ 121164 w 643914"/>
                  <a:gd name="connsiteY11" fmla="*/ 435881 h 483683"/>
                  <a:gd name="connsiteX12" fmla="*/ 161310 w 643914"/>
                  <a:gd name="connsiteY12" fmla="*/ 402821 h 483683"/>
                  <a:gd name="connsiteX13" fmla="*/ 77661 w 643914"/>
                  <a:gd name="connsiteY13" fmla="*/ 210690 h 483683"/>
                  <a:gd name="connsiteX14" fmla="*/ 0 w 643914"/>
                  <a:gd name="connsiteY14" fmla="*/ 26344 h 483683"/>
                  <a:gd name="connsiteX15" fmla="*/ 58819 w 643914"/>
                  <a:gd name="connsiteY15" fmla="*/ 0 h 483683"/>
                  <a:gd name="connsiteX0" fmla="*/ 58819 w 643914"/>
                  <a:gd name="connsiteY0" fmla="*/ 0 h 483683"/>
                  <a:gd name="connsiteX1" fmla="*/ 267536 w 643914"/>
                  <a:gd name="connsiteY1" fmla="*/ 169582 h 483683"/>
                  <a:gd name="connsiteX2" fmla="*/ 442404 w 643914"/>
                  <a:gd name="connsiteY2" fmla="*/ 168116 h 483683"/>
                  <a:gd name="connsiteX3" fmla="*/ 442404 w 643914"/>
                  <a:gd name="connsiteY3" fmla="*/ 111117 h 483683"/>
                  <a:gd name="connsiteX4" fmla="*/ 643914 w 643914"/>
                  <a:gd name="connsiteY4" fmla="*/ 211701 h 483683"/>
                  <a:gd name="connsiteX5" fmla="*/ 442404 w 643914"/>
                  <a:gd name="connsiteY5" fmla="*/ 312285 h 483683"/>
                  <a:gd name="connsiteX6" fmla="*/ 442404 w 643914"/>
                  <a:gd name="connsiteY6" fmla="*/ 255286 h 483683"/>
                  <a:gd name="connsiteX7" fmla="*/ 132010 w 643914"/>
                  <a:gd name="connsiteY7" fmla="*/ 255286 h 483683"/>
                  <a:gd name="connsiteX8" fmla="*/ 132010 w 643914"/>
                  <a:gd name="connsiteY8" fmla="*/ 168116 h 483683"/>
                  <a:gd name="connsiteX9" fmla="*/ 138692 w 643914"/>
                  <a:gd name="connsiteY9" fmla="*/ 165942 h 483683"/>
                  <a:gd name="connsiteX10" fmla="*/ 238065 w 643914"/>
                  <a:gd name="connsiteY10" fmla="*/ 483683 h 483683"/>
                  <a:gd name="connsiteX11" fmla="*/ 121164 w 643914"/>
                  <a:gd name="connsiteY11" fmla="*/ 435881 h 483683"/>
                  <a:gd name="connsiteX12" fmla="*/ 161310 w 643914"/>
                  <a:gd name="connsiteY12" fmla="*/ 402821 h 483683"/>
                  <a:gd name="connsiteX13" fmla="*/ 77661 w 643914"/>
                  <a:gd name="connsiteY13" fmla="*/ 210690 h 483683"/>
                  <a:gd name="connsiteX14" fmla="*/ 0 w 643914"/>
                  <a:gd name="connsiteY14" fmla="*/ 26344 h 483683"/>
                  <a:gd name="connsiteX15" fmla="*/ 58819 w 643914"/>
                  <a:gd name="connsiteY15" fmla="*/ 0 h 483683"/>
                  <a:gd name="connsiteX0" fmla="*/ 58819 w 643914"/>
                  <a:gd name="connsiteY0" fmla="*/ 0 h 483683"/>
                  <a:gd name="connsiteX1" fmla="*/ 267536 w 643914"/>
                  <a:gd name="connsiteY1" fmla="*/ 169582 h 483683"/>
                  <a:gd name="connsiteX2" fmla="*/ 442404 w 643914"/>
                  <a:gd name="connsiteY2" fmla="*/ 168116 h 483683"/>
                  <a:gd name="connsiteX3" fmla="*/ 442404 w 643914"/>
                  <a:gd name="connsiteY3" fmla="*/ 111117 h 483683"/>
                  <a:gd name="connsiteX4" fmla="*/ 643914 w 643914"/>
                  <a:gd name="connsiteY4" fmla="*/ 211701 h 483683"/>
                  <a:gd name="connsiteX5" fmla="*/ 442404 w 643914"/>
                  <a:gd name="connsiteY5" fmla="*/ 312285 h 483683"/>
                  <a:gd name="connsiteX6" fmla="*/ 442404 w 643914"/>
                  <a:gd name="connsiteY6" fmla="*/ 255286 h 483683"/>
                  <a:gd name="connsiteX7" fmla="*/ 132010 w 643914"/>
                  <a:gd name="connsiteY7" fmla="*/ 255286 h 483683"/>
                  <a:gd name="connsiteX8" fmla="*/ 132010 w 643914"/>
                  <a:gd name="connsiteY8" fmla="*/ 168116 h 483683"/>
                  <a:gd name="connsiteX9" fmla="*/ 138692 w 643914"/>
                  <a:gd name="connsiteY9" fmla="*/ 165942 h 483683"/>
                  <a:gd name="connsiteX10" fmla="*/ 238065 w 643914"/>
                  <a:gd name="connsiteY10" fmla="*/ 483683 h 483683"/>
                  <a:gd name="connsiteX11" fmla="*/ 121164 w 643914"/>
                  <a:gd name="connsiteY11" fmla="*/ 435881 h 483683"/>
                  <a:gd name="connsiteX12" fmla="*/ 161310 w 643914"/>
                  <a:gd name="connsiteY12" fmla="*/ 402821 h 483683"/>
                  <a:gd name="connsiteX13" fmla="*/ 77661 w 643914"/>
                  <a:gd name="connsiteY13" fmla="*/ 210690 h 483683"/>
                  <a:gd name="connsiteX14" fmla="*/ 0 w 643914"/>
                  <a:gd name="connsiteY14" fmla="*/ 26344 h 483683"/>
                  <a:gd name="connsiteX15" fmla="*/ 58819 w 643914"/>
                  <a:gd name="connsiteY15" fmla="*/ 0 h 483683"/>
                  <a:gd name="connsiteX0" fmla="*/ 58819 w 643914"/>
                  <a:gd name="connsiteY0" fmla="*/ 0 h 483683"/>
                  <a:gd name="connsiteX1" fmla="*/ 267536 w 643914"/>
                  <a:gd name="connsiteY1" fmla="*/ 169582 h 483683"/>
                  <a:gd name="connsiteX2" fmla="*/ 442404 w 643914"/>
                  <a:gd name="connsiteY2" fmla="*/ 168116 h 483683"/>
                  <a:gd name="connsiteX3" fmla="*/ 442404 w 643914"/>
                  <a:gd name="connsiteY3" fmla="*/ 111117 h 483683"/>
                  <a:gd name="connsiteX4" fmla="*/ 643914 w 643914"/>
                  <a:gd name="connsiteY4" fmla="*/ 211701 h 483683"/>
                  <a:gd name="connsiteX5" fmla="*/ 442404 w 643914"/>
                  <a:gd name="connsiteY5" fmla="*/ 312285 h 483683"/>
                  <a:gd name="connsiteX6" fmla="*/ 442404 w 643914"/>
                  <a:gd name="connsiteY6" fmla="*/ 255286 h 483683"/>
                  <a:gd name="connsiteX7" fmla="*/ 132010 w 643914"/>
                  <a:gd name="connsiteY7" fmla="*/ 255286 h 483683"/>
                  <a:gd name="connsiteX8" fmla="*/ 132010 w 643914"/>
                  <a:gd name="connsiteY8" fmla="*/ 168116 h 483683"/>
                  <a:gd name="connsiteX9" fmla="*/ 138692 w 643914"/>
                  <a:gd name="connsiteY9" fmla="*/ 165942 h 483683"/>
                  <a:gd name="connsiteX10" fmla="*/ 238065 w 643914"/>
                  <a:gd name="connsiteY10" fmla="*/ 483683 h 483683"/>
                  <a:gd name="connsiteX11" fmla="*/ 121164 w 643914"/>
                  <a:gd name="connsiteY11" fmla="*/ 435881 h 483683"/>
                  <a:gd name="connsiteX12" fmla="*/ 161310 w 643914"/>
                  <a:gd name="connsiteY12" fmla="*/ 402821 h 483683"/>
                  <a:gd name="connsiteX13" fmla="*/ 77661 w 643914"/>
                  <a:gd name="connsiteY13" fmla="*/ 210690 h 483683"/>
                  <a:gd name="connsiteX14" fmla="*/ 0 w 643914"/>
                  <a:gd name="connsiteY14" fmla="*/ 26344 h 483683"/>
                  <a:gd name="connsiteX15" fmla="*/ 58819 w 643914"/>
                  <a:gd name="connsiteY15" fmla="*/ 0 h 483683"/>
                  <a:gd name="connsiteX0" fmla="*/ 58819 w 643914"/>
                  <a:gd name="connsiteY0" fmla="*/ 0 h 483683"/>
                  <a:gd name="connsiteX1" fmla="*/ 267536 w 643914"/>
                  <a:gd name="connsiteY1" fmla="*/ 169582 h 483683"/>
                  <a:gd name="connsiteX2" fmla="*/ 442404 w 643914"/>
                  <a:gd name="connsiteY2" fmla="*/ 168116 h 483683"/>
                  <a:gd name="connsiteX3" fmla="*/ 442404 w 643914"/>
                  <a:gd name="connsiteY3" fmla="*/ 111117 h 483683"/>
                  <a:gd name="connsiteX4" fmla="*/ 643914 w 643914"/>
                  <a:gd name="connsiteY4" fmla="*/ 211701 h 483683"/>
                  <a:gd name="connsiteX5" fmla="*/ 442404 w 643914"/>
                  <a:gd name="connsiteY5" fmla="*/ 312285 h 483683"/>
                  <a:gd name="connsiteX6" fmla="*/ 442404 w 643914"/>
                  <a:gd name="connsiteY6" fmla="*/ 255286 h 483683"/>
                  <a:gd name="connsiteX7" fmla="*/ 132010 w 643914"/>
                  <a:gd name="connsiteY7" fmla="*/ 255286 h 483683"/>
                  <a:gd name="connsiteX8" fmla="*/ 132010 w 643914"/>
                  <a:gd name="connsiteY8" fmla="*/ 168116 h 483683"/>
                  <a:gd name="connsiteX9" fmla="*/ 138692 w 643914"/>
                  <a:gd name="connsiteY9" fmla="*/ 165942 h 483683"/>
                  <a:gd name="connsiteX10" fmla="*/ 238065 w 643914"/>
                  <a:gd name="connsiteY10" fmla="*/ 483683 h 483683"/>
                  <a:gd name="connsiteX11" fmla="*/ 121164 w 643914"/>
                  <a:gd name="connsiteY11" fmla="*/ 435881 h 483683"/>
                  <a:gd name="connsiteX12" fmla="*/ 161310 w 643914"/>
                  <a:gd name="connsiteY12" fmla="*/ 402821 h 483683"/>
                  <a:gd name="connsiteX13" fmla="*/ 77661 w 643914"/>
                  <a:gd name="connsiteY13" fmla="*/ 210690 h 483683"/>
                  <a:gd name="connsiteX14" fmla="*/ 0 w 643914"/>
                  <a:gd name="connsiteY14" fmla="*/ 26344 h 483683"/>
                  <a:gd name="connsiteX15" fmla="*/ 58819 w 643914"/>
                  <a:gd name="connsiteY15" fmla="*/ 0 h 483683"/>
                  <a:gd name="connsiteX0" fmla="*/ 58819 w 643914"/>
                  <a:gd name="connsiteY0" fmla="*/ 0 h 483683"/>
                  <a:gd name="connsiteX1" fmla="*/ 267536 w 643914"/>
                  <a:gd name="connsiteY1" fmla="*/ 169582 h 483683"/>
                  <a:gd name="connsiteX2" fmla="*/ 442404 w 643914"/>
                  <a:gd name="connsiteY2" fmla="*/ 168116 h 483683"/>
                  <a:gd name="connsiteX3" fmla="*/ 442404 w 643914"/>
                  <a:gd name="connsiteY3" fmla="*/ 111117 h 483683"/>
                  <a:gd name="connsiteX4" fmla="*/ 643914 w 643914"/>
                  <a:gd name="connsiteY4" fmla="*/ 211701 h 483683"/>
                  <a:gd name="connsiteX5" fmla="*/ 442404 w 643914"/>
                  <a:gd name="connsiteY5" fmla="*/ 312285 h 483683"/>
                  <a:gd name="connsiteX6" fmla="*/ 442404 w 643914"/>
                  <a:gd name="connsiteY6" fmla="*/ 255286 h 483683"/>
                  <a:gd name="connsiteX7" fmla="*/ 132010 w 643914"/>
                  <a:gd name="connsiteY7" fmla="*/ 255286 h 483683"/>
                  <a:gd name="connsiteX8" fmla="*/ 132010 w 643914"/>
                  <a:gd name="connsiteY8" fmla="*/ 168116 h 483683"/>
                  <a:gd name="connsiteX9" fmla="*/ 138692 w 643914"/>
                  <a:gd name="connsiteY9" fmla="*/ 165942 h 483683"/>
                  <a:gd name="connsiteX10" fmla="*/ 238065 w 643914"/>
                  <a:gd name="connsiteY10" fmla="*/ 483683 h 483683"/>
                  <a:gd name="connsiteX11" fmla="*/ 121164 w 643914"/>
                  <a:gd name="connsiteY11" fmla="*/ 435881 h 483683"/>
                  <a:gd name="connsiteX12" fmla="*/ 161310 w 643914"/>
                  <a:gd name="connsiteY12" fmla="*/ 402821 h 483683"/>
                  <a:gd name="connsiteX13" fmla="*/ 77661 w 643914"/>
                  <a:gd name="connsiteY13" fmla="*/ 210690 h 483683"/>
                  <a:gd name="connsiteX14" fmla="*/ 0 w 643914"/>
                  <a:gd name="connsiteY14" fmla="*/ 26344 h 483683"/>
                  <a:gd name="connsiteX15" fmla="*/ 58819 w 643914"/>
                  <a:gd name="connsiteY15" fmla="*/ 0 h 483683"/>
                  <a:gd name="connsiteX0" fmla="*/ 58819 w 643914"/>
                  <a:gd name="connsiteY0" fmla="*/ 0 h 483683"/>
                  <a:gd name="connsiteX1" fmla="*/ 267536 w 643914"/>
                  <a:gd name="connsiteY1" fmla="*/ 169582 h 483683"/>
                  <a:gd name="connsiteX2" fmla="*/ 442404 w 643914"/>
                  <a:gd name="connsiteY2" fmla="*/ 168116 h 483683"/>
                  <a:gd name="connsiteX3" fmla="*/ 442404 w 643914"/>
                  <a:gd name="connsiteY3" fmla="*/ 111117 h 483683"/>
                  <a:gd name="connsiteX4" fmla="*/ 643914 w 643914"/>
                  <a:gd name="connsiteY4" fmla="*/ 211701 h 483683"/>
                  <a:gd name="connsiteX5" fmla="*/ 442404 w 643914"/>
                  <a:gd name="connsiteY5" fmla="*/ 312285 h 483683"/>
                  <a:gd name="connsiteX6" fmla="*/ 442404 w 643914"/>
                  <a:gd name="connsiteY6" fmla="*/ 255286 h 483683"/>
                  <a:gd name="connsiteX7" fmla="*/ 132010 w 643914"/>
                  <a:gd name="connsiteY7" fmla="*/ 255286 h 483683"/>
                  <a:gd name="connsiteX8" fmla="*/ 132010 w 643914"/>
                  <a:gd name="connsiteY8" fmla="*/ 168116 h 483683"/>
                  <a:gd name="connsiteX9" fmla="*/ 138692 w 643914"/>
                  <a:gd name="connsiteY9" fmla="*/ 165942 h 483683"/>
                  <a:gd name="connsiteX10" fmla="*/ 238065 w 643914"/>
                  <a:gd name="connsiteY10" fmla="*/ 483683 h 483683"/>
                  <a:gd name="connsiteX11" fmla="*/ 233031 w 643914"/>
                  <a:gd name="connsiteY11" fmla="*/ 478079 h 483683"/>
                  <a:gd name="connsiteX12" fmla="*/ 121164 w 643914"/>
                  <a:gd name="connsiteY12" fmla="*/ 435881 h 483683"/>
                  <a:gd name="connsiteX13" fmla="*/ 161310 w 643914"/>
                  <a:gd name="connsiteY13" fmla="*/ 402821 h 483683"/>
                  <a:gd name="connsiteX14" fmla="*/ 77661 w 643914"/>
                  <a:gd name="connsiteY14" fmla="*/ 210690 h 483683"/>
                  <a:gd name="connsiteX15" fmla="*/ 0 w 643914"/>
                  <a:gd name="connsiteY15" fmla="*/ 26344 h 483683"/>
                  <a:gd name="connsiteX16" fmla="*/ 58819 w 643914"/>
                  <a:gd name="connsiteY16" fmla="*/ 0 h 483683"/>
                  <a:gd name="connsiteX0" fmla="*/ 58819 w 643914"/>
                  <a:gd name="connsiteY0" fmla="*/ 0 h 508853"/>
                  <a:gd name="connsiteX1" fmla="*/ 267536 w 643914"/>
                  <a:gd name="connsiteY1" fmla="*/ 169582 h 508853"/>
                  <a:gd name="connsiteX2" fmla="*/ 442404 w 643914"/>
                  <a:gd name="connsiteY2" fmla="*/ 168116 h 508853"/>
                  <a:gd name="connsiteX3" fmla="*/ 442404 w 643914"/>
                  <a:gd name="connsiteY3" fmla="*/ 111117 h 508853"/>
                  <a:gd name="connsiteX4" fmla="*/ 643914 w 643914"/>
                  <a:gd name="connsiteY4" fmla="*/ 211701 h 508853"/>
                  <a:gd name="connsiteX5" fmla="*/ 442404 w 643914"/>
                  <a:gd name="connsiteY5" fmla="*/ 312285 h 508853"/>
                  <a:gd name="connsiteX6" fmla="*/ 442404 w 643914"/>
                  <a:gd name="connsiteY6" fmla="*/ 255286 h 508853"/>
                  <a:gd name="connsiteX7" fmla="*/ 132010 w 643914"/>
                  <a:gd name="connsiteY7" fmla="*/ 255286 h 508853"/>
                  <a:gd name="connsiteX8" fmla="*/ 132010 w 643914"/>
                  <a:gd name="connsiteY8" fmla="*/ 168116 h 508853"/>
                  <a:gd name="connsiteX9" fmla="*/ 138692 w 643914"/>
                  <a:gd name="connsiteY9" fmla="*/ 165942 h 508853"/>
                  <a:gd name="connsiteX10" fmla="*/ 238065 w 643914"/>
                  <a:gd name="connsiteY10" fmla="*/ 483683 h 508853"/>
                  <a:gd name="connsiteX11" fmla="*/ 210067 w 643914"/>
                  <a:gd name="connsiteY11" fmla="*/ 508853 h 508853"/>
                  <a:gd name="connsiteX12" fmla="*/ 121164 w 643914"/>
                  <a:gd name="connsiteY12" fmla="*/ 435881 h 508853"/>
                  <a:gd name="connsiteX13" fmla="*/ 161310 w 643914"/>
                  <a:gd name="connsiteY13" fmla="*/ 402821 h 508853"/>
                  <a:gd name="connsiteX14" fmla="*/ 77661 w 643914"/>
                  <a:gd name="connsiteY14" fmla="*/ 210690 h 508853"/>
                  <a:gd name="connsiteX15" fmla="*/ 0 w 643914"/>
                  <a:gd name="connsiteY15" fmla="*/ 26344 h 508853"/>
                  <a:gd name="connsiteX16" fmla="*/ 58819 w 643914"/>
                  <a:gd name="connsiteY16" fmla="*/ 0 h 508853"/>
                  <a:gd name="connsiteX0" fmla="*/ 58819 w 643914"/>
                  <a:gd name="connsiteY0" fmla="*/ 0 h 508853"/>
                  <a:gd name="connsiteX1" fmla="*/ 267536 w 643914"/>
                  <a:gd name="connsiteY1" fmla="*/ 169582 h 508853"/>
                  <a:gd name="connsiteX2" fmla="*/ 442404 w 643914"/>
                  <a:gd name="connsiteY2" fmla="*/ 168116 h 508853"/>
                  <a:gd name="connsiteX3" fmla="*/ 442404 w 643914"/>
                  <a:gd name="connsiteY3" fmla="*/ 111117 h 508853"/>
                  <a:gd name="connsiteX4" fmla="*/ 643914 w 643914"/>
                  <a:gd name="connsiteY4" fmla="*/ 211701 h 508853"/>
                  <a:gd name="connsiteX5" fmla="*/ 442404 w 643914"/>
                  <a:gd name="connsiteY5" fmla="*/ 312285 h 508853"/>
                  <a:gd name="connsiteX6" fmla="*/ 442404 w 643914"/>
                  <a:gd name="connsiteY6" fmla="*/ 255286 h 508853"/>
                  <a:gd name="connsiteX7" fmla="*/ 132010 w 643914"/>
                  <a:gd name="connsiteY7" fmla="*/ 255286 h 508853"/>
                  <a:gd name="connsiteX8" fmla="*/ 132010 w 643914"/>
                  <a:gd name="connsiteY8" fmla="*/ 168116 h 508853"/>
                  <a:gd name="connsiteX9" fmla="*/ 138692 w 643914"/>
                  <a:gd name="connsiteY9" fmla="*/ 165942 h 508853"/>
                  <a:gd name="connsiteX10" fmla="*/ 266776 w 643914"/>
                  <a:gd name="connsiteY10" fmla="*/ 364701 h 508853"/>
                  <a:gd name="connsiteX11" fmla="*/ 210067 w 643914"/>
                  <a:gd name="connsiteY11" fmla="*/ 508853 h 508853"/>
                  <a:gd name="connsiteX12" fmla="*/ 121164 w 643914"/>
                  <a:gd name="connsiteY12" fmla="*/ 435881 h 508853"/>
                  <a:gd name="connsiteX13" fmla="*/ 161310 w 643914"/>
                  <a:gd name="connsiteY13" fmla="*/ 402821 h 508853"/>
                  <a:gd name="connsiteX14" fmla="*/ 77661 w 643914"/>
                  <a:gd name="connsiteY14" fmla="*/ 210690 h 508853"/>
                  <a:gd name="connsiteX15" fmla="*/ 0 w 643914"/>
                  <a:gd name="connsiteY15" fmla="*/ 26344 h 508853"/>
                  <a:gd name="connsiteX16" fmla="*/ 58819 w 643914"/>
                  <a:gd name="connsiteY16" fmla="*/ 0 h 508853"/>
                  <a:gd name="connsiteX0" fmla="*/ 58819 w 643914"/>
                  <a:gd name="connsiteY0" fmla="*/ 0 h 481494"/>
                  <a:gd name="connsiteX1" fmla="*/ 267536 w 643914"/>
                  <a:gd name="connsiteY1" fmla="*/ 169582 h 481494"/>
                  <a:gd name="connsiteX2" fmla="*/ 442404 w 643914"/>
                  <a:gd name="connsiteY2" fmla="*/ 168116 h 481494"/>
                  <a:gd name="connsiteX3" fmla="*/ 442404 w 643914"/>
                  <a:gd name="connsiteY3" fmla="*/ 111117 h 481494"/>
                  <a:gd name="connsiteX4" fmla="*/ 643914 w 643914"/>
                  <a:gd name="connsiteY4" fmla="*/ 211701 h 481494"/>
                  <a:gd name="connsiteX5" fmla="*/ 442404 w 643914"/>
                  <a:gd name="connsiteY5" fmla="*/ 312285 h 481494"/>
                  <a:gd name="connsiteX6" fmla="*/ 442404 w 643914"/>
                  <a:gd name="connsiteY6" fmla="*/ 255286 h 481494"/>
                  <a:gd name="connsiteX7" fmla="*/ 132010 w 643914"/>
                  <a:gd name="connsiteY7" fmla="*/ 255286 h 481494"/>
                  <a:gd name="connsiteX8" fmla="*/ 132010 w 643914"/>
                  <a:gd name="connsiteY8" fmla="*/ 168116 h 481494"/>
                  <a:gd name="connsiteX9" fmla="*/ 138692 w 643914"/>
                  <a:gd name="connsiteY9" fmla="*/ 165942 h 481494"/>
                  <a:gd name="connsiteX10" fmla="*/ 266776 w 643914"/>
                  <a:gd name="connsiteY10" fmla="*/ 364701 h 481494"/>
                  <a:gd name="connsiteX11" fmla="*/ 237114 w 643914"/>
                  <a:gd name="connsiteY11" fmla="*/ 481494 h 481494"/>
                  <a:gd name="connsiteX12" fmla="*/ 121164 w 643914"/>
                  <a:gd name="connsiteY12" fmla="*/ 435881 h 481494"/>
                  <a:gd name="connsiteX13" fmla="*/ 161310 w 643914"/>
                  <a:gd name="connsiteY13" fmla="*/ 402821 h 481494"/>
                  <a:gd name="connsiteX14" fmla="*/ 77661 w 643914"/>
                  <a:gd name="connsiteY14" fmla="*/ 210690 h 481494"/>
                  <a:gd name="connsiteX15" fmla="*/ 0 w 643914"/>
                  <a:gd name="connsiteY15" fmla="*/ 26344 h 481494"/>
                  <a:gd name="connsiteX16" fmla="*/ 58819 w 643914"/>
                  <a:gd name="connsiteY16" fmla="*/ 0 h 481494"/>
                  <a:gd name="connsiteX0" fmla="*/ 58819 w 643914"/>
                  <a:gd name="connsiteY0" fmla="*/ 0 h 481494"/>
                  <a:gd name="connsiteX1" fmla="*/ 267536 w 643914"/>
                  <a:gd name="connsiteY1" fmla="*/ 169582 h 481494"/>
                  <a:gd name="connsiteX2" fmla="*/ 442404 w 643914"/>
                  <a:gd name="connsiteY2" fmla="*/ 168116 h 481494"/>
                  <a:gd name="connsiteX3" fmla="*/ 442404 w 643914"/>
                  <a:gd name="connsiteY3" fmla="*/ 111117 h 481494"/>
                  <a:gd name="connsiteX4" fmla="*/ 643914 w 643914"/>
                  <a:gd name="connsiteY4" fmla="*/ 211701 h 481494"/>
                  <a:gd name="connsiteX5" fmla="*/ 442404 w 643914"/>
                  <a:gd name="connsiteY5" fmla="*/ 312285 h 481494"/>
                  <a:gd name="connsiteX6" fmla="*/ 442404 w 643914"/>
                  <a:gd name="connsiteY6" fmla="*/ 255286 h 481494"/>
                  <a:gd name="connsiteX7" fmla="*/ 132010 w 643914"/>
                  <a:gd name="connsiteY7" fmla="*/ 255286 h 481494"/>
                  <a:gd name="connsiteX8" fmla="*/ 132010 w 643914"/>
                  <a:gd name="connsiteY8" fmla="*/ 168116 h 481494"/>
                  <a:gd name="connsiteX9" fmla="*/ 138692 w 643914"/>
                  <a:gd name="connsiteY9" fmla="*/ 165942 h 481494"/>
                  <a:gd name="connsiteX10" fmla="*/ 266776 w 643914"/>
                  <a:gd name="connsiteY10" fmla="*/ 364701 h 481494"/>
                  <a:gd name="connsiteX11" fmla="*/ 263644 w 643914"/>
                  <a:gd name="connsiteY11" fmla="*/ 363462 h 481494"/>
                  <a:gd name="connsiteX12" fmla="*/ 237114 w 643914"/>
                  <a:gd name="connsiteY12" fmla="*/ 481494 h 481494"/>
                  <a:gd name="connsiteX13" fmla="*/ 121164 w 643914"/>
                  <a:gd name="connsiteY13" fmla="*/ 435881 h 481494"/>
                  <a:gd name="connsiteX14" fmla="*/ 161310 w 643914"/>
                  <a:gd name="connsiteY14" fmla="*/ 402821 h 481494"/>
                  <a:gd name="connsiteX15" fmla="*/ 77661 w 643914"/>
                  <a:gd name="connsiteY15" fmla="*/ 210690 h 481494"/>
                  <a:gd name="connsiteX16" fmla="*/ 0 w 643914"/>
                  <a:gd name="connsiteY16" fmla="*/ 26344 h 481494"/>
                  <a:gd name="connsiteX17" fmla="*/ 58819 w 643914"/>
                  <a:gd name="connsiteY17" fmla="*/ 0 h 481494"/>
                  <a:gd name="connsiteX0" fmla="*/ 58819 w 643914"/>
                  <a:gd name="connsiteY0" fmla="*/ 0 h 481494"/>
                  <a:gd name="connsiteX1" fmla="*/ 267536 w 643914"/>
                  <a:gd name="connsiteY1" fmla="*/ 169582 h 481494"/>
                  <a:gd name="connsiteX2" fmla="*/ 442404 w 643914"/>
                  <a:gd name="connsiteY2" fmla="*/ 168116 h 481494"/>
                  <a:gd name="connsiteX3" fmla="*/ 442404 w 643914"/>
                  <a:gd name="connsiteY3" fmla="*/ 111117 h 481494"/>
                  <a:gd name="connsiteX4" fmla="*/ 643914 w 643914"/>
                  <a:gd name="connsiteY4" fmla="*/ 211701 h 481494"/>
                  <a:gd name="connsiteX5" fmla="*/ 442404 w 643914"/>
                  <a:gd name="connsiteY5" fmla="*/ 312285 h 481494"/>
                  <a:gd name="connsiteX6" fmla="*/ 442404 w 643914"/>
                  <a:gd name="connsiteY6" fmla="*/ 255286 h 481494"/>
                  <a:gd name="connsiteX7" fmla="*/ 132010 w 643914"/>
                  <a:gd name="connsiteY7" fmla="*/ 255286 h 481494"/>
                  <a:gd name="connsiteX8" fmla="*/ 132010 w 643914"/>
                  <a:gd name="connsiteY8" fmla="*/ 168116 h 481494"/>
                  <a:gd name="connsiteX9" fmla="*/ 138692 w 643914"/>
                  <a:gd name="connsiteY9" fmla="*/ 165942 h 481494"/>
                  <a:gd name="connsiteX10" fmla="*/ 266776 w 643914"/>
                  <a:gd name="connsiteY10" fmla="*/ 364701 h 481494"/>
                  <a:gd name="connsiteX11" fmla="*/ 318435 w 643914"/>
                  <a:gd name="connsiteY11" fmla="*/ 375969 h 481494"/>
                  <a:gd name="connsiteX12" fmla="*/ 237114 w 643914"/>
                  <a:gd name="connsiteY12" fmla="*/ 481494 h 481494"/>
                  <a:gd name="connsiteX13" fmla="*/ 121164 w 643914"/>
                  <a:gd name="connsiteY13" fmla="*/ 435881 h 481494"/>
                  <a:gd name="connsiteX14" fmla="*/ 161310 w 643914"/>
                  <a:gd name="connsiteY14" fmla="*/ 402821 h 481494"/>
                  <a:gd name="connsiteX15" fmla="*/ 77661 w 643914"/>
                  <a:gd name="connsiteY15" fmla="*/ 210690 h 481494"/>
                  <a:gd name="connsiteX16" fmla="*/ 0 w 643914"/>
                  <a:gd name="connsiteY16" fmla="*/ 26344 h 481494"/>
                  <a:gd name="connsiteX17" fmla="*/ 58819 w 643914"/>
                  <a:gd name="connsiteY17" fmla="*/ 0 h 481494"/>
                  <a:gd name="connsiteX0" fmla="*/ 58819 w 643914"/>
                  <a:gd name="connsiteY0" fmla="*/ 0 h 481494"/>
                  <a:gd name="connsiteX1" fmla="*/ 267536 w 643914"/>
                  <a:gd name="connsiteY1" fmla="*/ 169582 h 481494"/>
                  <a:gd name="connsiteX2" fmla="*/ 442404 w 643914"/>
                  <a:gd name="connsiteY2" fmla="*/ 168116 h 481494"/>
                  <a:gd name="connsiteX3" fmla="*/ 442404 w 643914"/>
                  <a:gd name="connsiteY3" fmla="*/ 111117 h 481494"/>
                  <a:gd name="connsiteX4" fmla="*/ 643914 w 643914"/>
                  <a:gd name="connsiteY4" fmla="*/ 211701 h 481494"/>
                  <a:gd name="connsiteX5" fmla="*/ 442404 w 643914"/>
                  <a:gd name="connsiteY5" fmla="*/ 312285 h 481494"/>
                  <a:gd name="connsiteX6" fmla="*/ 442404 w 643914"/>
                  <a:gd name="connsiteY6" fmla="*/ 255286 h 481494"/>
                  <a:gd name="connsiteX7" fmla="*/ 132010 w 643914"/>
                  <a:gd name="connsiteY7" fmla="*/ 255286 h 481494"/>
                  <a:gd name="connsiteX8" fmla="*/ 132010 w 643914"/>
                  <a:gd name="connsiteY8" fmla="*/ 168116 h 481494"/>
                  <a:gd name="connsiteX9" fmla="*/ 138692 w 643914"/>
                  <a:gd name="connsiteY9" fmla="*/ 165942 h 481494"/>
                  <a:gd name="connsiteX10" fmla="*/ 226526 w 643914"/>
                  <a:gd name="connsiteY10" fmla="*/ 379628 h 481494"/>
                  <a:gd name="connsiteX11" fmla="*/ 318435 w 643914"/>
                  <a:gd name="connsiteY11" fmla="*/ 375969 h 481494"/>
                  <a:gd name="connsiteX12" fmla="*/ 237114 w 643914"/>
                  <a:gd name="connsiteY12" fmla="*/ 481494 h 481494"/>
                  <a:gd name="connsiteX13" fmla="*/ 121164 w 643914"/>
                  <a:gd name="connsiteY13" fmla="*/ 435881 h 481494"/>
                  <a:gd name="connsiteX14" fmla="*/ 161310 w 643914"/>
                  <a:gd name="connsiteY14" fmla="*/ 402821 h 481494"/>
                  <a:gd name="connsiteX15" fmla="*/ 77661 w 643914"/>
                  <a:gd name="connsiteY15" fmla="*/ 210690 h 481494"/>
                  <a:gd name="connsiteX16" fmla="*/ 0 w 643914"/>
                  <a:gd name="connsiteY16" fmla="*/ 26344 h 481494"/>
                  <a:gd name="connsiteX17" fmla="*/ 58819 w 643914"/>
                  <a:gd name="connsiteY17" fmla="*/ 0 h 481494"/>
                  <a:gd name="connsiteX0" fmla="*/ 58819 w 643914"/>
                  <a:gd name="connsiteY0" fmla="*/ 0 h 481494"/>
                  <a:gd name="connsiteX1" fmla="*/ 267536 w 643914"/>
                  <a:gd name="connsiteY1" fmla="*/ 169582 h 481494"/>
                  <a:gd name="connsiteX2" fmla="*/ 442404 w 643914"/>
                  <a:gd name="connsiteY2" fmla="*/ 168116 h 481494"/>
                  <a:gd name="connsiteX3" fmla="*/ 442404 w 643914"/>
                  <a:gd name="connsiteY3" fmla="*/ 111117 h 481494"/>
                  <a:gd name="connsiteX4" fmla="*/ 643914 w 643914"/>
                  <a:gd name="connsiteY4" fmla="*/ 211701 h 481494"/>
                  <a:gd name="connsiteX5" fmla="*/ 442404 w 643914"/>
                  <a:gd name="connsiteY5" fmla="*/ 312285 h 481494"/>
                  <a:gd name="connsiteX6" fmla="*/ 442404 w 643914"/>
                  <a:gd name="connsiteY6" fmla="*/ 255286 h 481494"/>
                  <a:gd name="connsiteX7" fmla="*/ 132010 w 643914"/>
                  <a:gd name="connsiteY7" fmla="*/ 255286 h 481494"/>
                  <a:gd name="connsiteX8" fmla="*/ 132010 w 643914"/>
                  <a:gd name="connsiteY8" fmla="*/ 168116 h 481494"/>
                  <a:gd name="connsiteX9" fmla="*/ 138692 w 643914"/>
                  <a:gd name="connsiteY9" fmla="*/ 165942 h 481494"/>
                  <a:gd name="connsiteX10" fmla="*/ 226526 w 643914"/>
                  <a:gd name="connsiteY10" fmla="*/ 379628 h 481494"/>
                  <a:gd name="connsiteX11" fmla="*/ 266496 w 643914"/>
                  <a:gd name="connsiteY11" fmla="*/ 370012 h 481494"/>
                  <a:gd name="connsiteX12" fmla="*/ 237114 w 643914"/>
                  <a:gd name="connsiteY12" fmla="*/ 481494 h 481494"/>
                  <a:gd name="connsiteX13" fmla="*/ 121164 w 643914"/>
                  <a:gd name="connsiteY13" fmla="*/ 435881 h 481494"/>
                  <a:gd name="connsiteX14" fmla="*/ 161310 w 643914"/>
                  <a:gd name="connsiteY14" fmla="*/ 402821 h 481494"/>
                  <a:gd name="connsiteX15" fmla="*/ 77661 w 643914"/>
                  <a:gd name="connsiteY15" fmla="*/ 210690 h 481494"/>
                  <a:gd name="connsiteX16" fmla="*/ 0 w 643914"/>
                  <a:gd name="connsiteY16" fmla="*/ 26344 h 481494"/>
                  <a:gd name="connsiteX17" fmla="*/ 58819 w 643914"/>
                  <a:gd name="connsiteY17" fmla="*/ 0 h 481494"/>
                  <a:gd name="connsiteX0" fmla="*/ 58819 w 643914"/>
                  <a:gd name="connsiteY0" fmla="*/ 0 h 481494"/>
                  <a:gd name="connsiteX1" fmla="*/ 267536 w 643914"/>
                  <a:gd name="connsiteY1" fmla="*/ 169582 h 481494"/>
                  <a:gd name="connsiteX2" fmla="*/ 442404 w 643914"/>
                  <a:gd name="connsiteY2" fmla="*/ 168116 h 481494"/>
                  <a:gd name="connsiteX3" fmla="*/ 442404 w 643914"/>
                  <a:gd name="connsiteY3" fmla="*/ 111117 h 481494"/>
                  <a:gd name="connsiteX4" fmla="*/ 643914 w 643914"/>
                  <a:gd name="connsiteY4" fmla="*/ 211701 h 481494"/>
                  <a:gd name="connsiteX5" fmla="*/ 442404 w 643914"/>
                  <a:gd name="connsiteY5" fmla="*/ 312285 h 481494"/>
                  <a:gd name="connsiteX6" fmla="*/ 442404 w 643914"/>
                  <a:gd name="connsiteY6" fmla="*/ 255286 h 481494"/>
                  <a:gd name="connsiteX7" fmla="*/ 132010 w 643914"/>
                  <a:gd name="connsiteY7" fmla="*/ 255286 h 481494"/>
                  <a:gd name="connsiteX8" fmla="*/ 132010 w 643914"/>
                  <a:gd name="connsiteY8" fmla="*/ 168116 h 481494"/>
                  <a:gd name="connsiteX9" fmla="*/ 166021 w 643914"/>
                  <a:gd name="connsiteY9" fmla="*/ 133267 h 481494"/>
                  <a:gd name="connsiteX10" fmla="*/ 226526 w 643914"/>
                  <a:gd name="connsiteY10" fmla="*/ 379628 h 481494"/>
                  <a:gd name="connsiteX11" fmla="*/ 266496 w 643914"/>
                  <a:gd name="connsiteY11" fmla="*/ 370012 h 481494"/>
                  <a:gd name="connsiteX12" fmla="*/ 237114 w 643914"/>
                  <a:gd name="connsiteY12" fmla="*/ 481494 h 481494"/>
                  <a:gd name="connsiteX13" fmla="*/ 121164 w 643914"/>
                  <a:gd name="connsiteY13" fmla="*/ 435881 h 481494"/>
                  <a:gd name="connsiteX14" fmla="*/ 161310 w 643914"/>
                  <a:gd name="connsiteY14" fmla="*/ 402821 h 481494"/>
                  <a:gd name="connsiteX15" fmla="*/ 77661 w 643914"/>
                  <a:gd name="connsiteY15" fmla="*/ 210690 h 481494"/>
                  <a:gd name="connsiteX16" fmla="*/ 0 w 643914"/>
                  <a:gd name="connsiteY16" fmla="*/ 26344 h 481494"/>
                  <a:gd name="connsiteX17" fmla="*/ 58819 w 643914"/>
                  <a:gd name="connsiteY17" fmla="*/ 0 h 481494"/>
                  <a:gd name="connsiteX0" fmla="*/ 58819 w 643914"/>
                  <a:gd name="connsiteY0" fmla="*/ 0 h 481494"/>
                  <a:gd name="connsiteX1" fmla="*/ 267536 w 643914"/>
                  <a:gd name="connsiteY1" fmla="*/ 169582 h 481494"/>
                  <a:gd name="connsiteX2" fmla="*/ 442404 w 643914"/>
                  <a:gd name="connsiteY2" fmla="*/ 168116 h 481494"/>
                  <a:gd name="connsiteX3" fmla="*/ 442404 w 643914"/>
                  <a:gd name="connsiteY3" fmla="*/ 111117 h 481494"/>
                  <a:gd name="connsiteX4" fmla="*/ 643914 w 643914"/>
                  <a:gd name="connsiteY4" fmla="*/ 211701 h 481494"/>
                  <a:gd name="connsiteX5" fmla="*/ 442404 w 643914"/>
                  <a:gd name="connsiteY5" fmla="*/ 312285 h 481494"/>
                  <a:gd name="connsiteX6" fmla="*/ 442404 w 643914"/>
                  <a:gd name="connsiteY6" fmla="*/ 255286 h 481494"/>
                  <a:gd name="connsiteX7" fmla="*/ 171414 w 643914"/>
                  <a:gd name="connsiteY7" fmla="*/ 256311 h 481494"/>
                  <a:gd name="connsiteX8" fmla="*/ 132010 w 643914"/>
                  <a:gd name="connsiteY8" fmla="*/ 168116 h 481494"/>
                  <a:gd name="connsiteX9" fmla="*/ 166021 w 643914"/>
                  <a:gd name="connsiteY9" fmla="*/ 133267 h 481494"/>
                  <a:gd name="connsiteX10" fmla="*/ 226526 w 643914"/>
                  <a:gd name="connsiteY10" fmla="*/ 379628 h 481494"/>
                  <a:gd name="connsiteX11" fmla="*/ 266496 w 643914"/>
                  <a:gd name="connsiteY11" fmla="*/ 370012 h 481494"/>
                  <a:gd name="connsiteX12" fmla="*/ 237114 w 643914"/>
                  <a:gd name="connsiteY12" fmla="*/ 481494 h 481494"/>
                  <a:gd name="connsiteX13" fmla="*/ 121164 w 643914"/>
                  <a:gd name="connsiteY13" fmla="*/ 435881 h 481494"/>
                  <a:gd name="connsiteX14" fmla="*/ 161310 w 643914"/>
                  <a:gd name="connsiteY14" fmla="*/ 402821 h 481494"/>
                  <a:gd name="connsiteX15" fmla="*/ 77661 w 643914"/>
                  <a:gd name="connsiteY15" fmla="*/ 210690 h 481494"/>
                  <a:gd name="connsiteX16" fmla="*/ 0 w 643914"/>
                  <a:gd name="connsiteY16" fmla="*/ 26344 h 481494"/>
                  <a:gd name="connsiteX17" fmla="*/ 58819 w 643914"/>
                  <a:gd name="connsiteY17" fmla="*/ 0 h 481494"/>
                  <a:gd name="connsiteX0" fmla="*/ 58819 w 643914"/>
                  <a:gd name="connsiteY0" fmla="*/ 0 h 481494"/>
                  <a:gd name="connsiteX1" fmla="*/ 267536 w 643914"/>
                  <a:gd name="connsiteY1" fmla="*/ 169582 h 481494"/>
                  <a:gd name="connsiteX2" fmla="*/ 442404 w 643914"/>
                  <a:gd name="connsiteY2" fmla="*/ 168116 h 481494"/>
                  <a:gd name="connsiteX3" fmla="*/ 442404 w 643914"/>
                  <a:gd name="connsiteY3" fmla="*/ 111117 h 481494"/>
                  <a:gd name="connsiteX4" fmla="*/ 643914 w 643914"/>
                  <a:gd name="connsiteY4" fmla="*/ 211701 h 481494"/>
                  <a:gd name="connsiteX5" fmla="*/ 442404 w 643914"/>
                  <a:gd name="connsiteY5" fmla="*/ 312285 h 481494"/>
                  <a:gd name="connsiteX6" fmla="*/ 442404 w 643914"/>
                  <a:gd name="connsiteY6" fmla="*/ 255286 h 481494"/>
                  <a:gd name="connsiteX7" fmla="*/ 171414 w 643914"/>
                  <a:gd name="connsiteY7" fmla="*/ 256311 h 481494"/>
                  <a:gd name="connsiteX8" fmla="*/ 166021 w 643914"/>
                  <a:gd name="connsiteY8" fmla="*/ 133267 h 481494"/>
                  <a:gd name="connsiteX9" fmla="*/ 226526 w 643914"/>
                  <a:gd name="connsiteY9" fmla="*/ 379628 h 481494"/>
                  <a:gd name="connsiteX10" fmla="*/ 266496 w 643914"/>
                  <a:gd name="connsiteY10" fmla="*/ 370012 h 481494"/>
                  <a:gd name="connsiteX11" fmla="*/ 237114 w 643914"/>
                  <a:gd name="connsiteY11" fmla="*/ 481494 h 481494"/>
                  <a:gd name="connsiteX12" fmla="*/ 121164 w 643914"/>
                  <a:gd name="connsiteY12" fmla="*/ 435881 h 481494"/>
                  <a:gd name="connsiteX13" fmla="*/ 161310 w 643914"/>
                  <a:gd name="connsiteY13" fmla="*/ 402821 h 481494"/>
                  <a:gd name="connsiteX14" fmla="*/ 77661 w 643914"/>
                  <a:gd name="connsiteY14" fmla="*/ 210690 h 481494"/>
                  <a:gd name="connsiteX15" fmla="*/ 0 w 643914"/>
                  <a:gd name="connsiteY15" fmla="*/ 26344 h 481494"/>
                  <a:gd name="connsiteX16" fmla="*/ 58819 w 643914"/>
                  <a:gd name="connsiteY16" fmla="*/ 0 h 481494"/>
                  <a:gd name="connsiteX0" fmla="*/ 58819 w 643914"/>
                  <a:gd name="connsiteY0" fmla="*/ 0 h 481494"/>
                  <a:gd name="connsiteX1" fmla="*/ 267536 w 643914"/>
                  <a:gd name="connsiteY1" fmla="*/ 169582 h 481494"/>
                  <a:gd name="connsiteX2" fmla="*/ 442404 w 643914"/>
                  <a:gd name="connsiteY2" fmla="*/ 168116 h 481494"/>
                  <a:gd name="connsiteX3" fmla="*/ 442404 w 643914"/>
                  <a:gd name="connsiteY3" fmla="*/ 111117 h 481494"/>
                  <a:gd name="connsiteX4" fmla="*/ 643914 w 643914"/>
                  <a:gd name="connsiteY4" fmla="*/ 211701 h 481494"/>
                  <a:gd name="connsiteX5" fmla="*/ 442404 w 643914"/>
                  <a:gd name="connsiteY5" fmla="*/ 312285 h 481494"/>
                  <a:gd name="connsiteX6" fmla="*/ 442404 w 643914"/>
                  <a:gd name="connsiteY6" fmla="*/ 255286 h 481494"/>
                  <a:gd name="connsiteX7" fmla="*/ 171414 w 643914"/>
                  <a:gd name="connsiteY7" fmla="*/ 256311 h 481494"/>
                  <a:gd name="connsiteX8" fmla="*/ 226526 w 643914"/>
                  <a:gd name="connsiteY8" fmla="*/ 379628 h 481494"/>
                  <a:gd name="connsiteX9" fmla="*/ 266496 w 643914"/>
                  <a:gd name="connsiteY9" fmla="*/ 370012 h 481494"/>
                  <a:gd name="connsiteX10" fmla="*/ 237114 w 643914"/>
                  <a:gd name="connsiteY10" fmla="*/ 481494 h 481494"/>
                  <a:gd name="connsiteX11" fmla="*/ 121164 w 643914"/>
                  <a:gd name="connsiteY11" fmla="*/ 435881 h 481494"/>
                  <a:gd name="connsiteX12" fmla="*/ 161310 w 643914"/>
                  <a:gd name="connsiteY12" fmla="*/ 402821 h 481494"/>
                  <a:gd name="connsiteX13" fmla="*/ 77661 w 643914"/>
                  <a:gd name="connsiteY13" fmla="*/ 210690 h 481494"/>
                  <a:gd name="connsiteX14" fmla="*/ 0 w 643914"/>
                  <a:gd name="connsiteY14" fmla="*/ 26344 h 481494"/>
                  <a:gd name="connsiteX15" fmla="*/ 58819 w 643914"/>
                  <a:gd name="connsiteY15" fmla="*/ 0 h 481494"/>
                  <a:gd name="connsiteX0" fmla="*/ 58819 w 643914"/>
                  <a:gd name="connsiteY0" fmla="*/ 0 h 481494"/>
                  <a:gd name="connsiteX1" fmla="*/ 134325 w 643914"/>
                  <a:gd name="connsiteY1" fmla="*/ 167843 h 481494"/>
                  <a:gd name="connsiteX2" fmla="*/ 442404 w 643914"/>
                  <a:gd name="connsiteY2" fmla="*/ 168116 h 481494"/>
                  <a:gd name="connsiteX3" fmla="*/ 442404 w 643914"/>
                  <a:gd name="connsiteY3" fmla="*/ 111117 h 481494"/>
                  <a:gd name="connsiteX4" fmla="*/ 643914 w 643914"/>
                  <a:gd name="connsiteY4" fmla="*/ 211701 h 481494"/>
                  <a:gd name="connsiteX5" fmla="*/ 442404 w 643914"/>
                  <a:gd name="connsiteY5" fmla="*/ 312285 h 481494"/>
                  <a:gd name="connsiteX6" fmla="*/ 442404 w 643914"/>
                  <a:gd name="connsiteY6" fmla="*/ 255286 h 481494"/>
                  <a:gd name="connsiteX7" fmla="*/ 171414 w 643914"/>
                  <a:gd name="connsiteY7" fmla="*/ 256311 h 481494"/>
                  <a:gd name="connsiteX8" fmla="*/ 226526 w 643914"/>
                  <a:gd name="connsiteY8" fmla="*/ 379628 h 481494"/>
                  <a:gd name="connsiteX9" fmla="*/ 266496 w 643914"/>
                  <a:gd name="connsiteY9" fmla="*/ 370012 h 481494"/>
                  <a:gd name="connsiteX10" fmla="*/ 237114 w 643914"/>
                  <a:gd name="connsiteY10" fmla="*/ 481494 h 481494"/>
                  <a:gd name="connsiteX11" fmla="*/ 121164 w 643914"/>
                  <a:gd name="connsiteY11" fmla="*/ 435881 h 481494"/>
                  <a:gd name="connsiteX12" fmla="*/ 161310 w 643914"/>
                  <a:gd name="connsiteY12" fmla="*/ 402821 h 481494"/>
                  <a:gd name="connsiteX13" fmla="*/ 77661 w 643914"/>
                  <a:gd name="connsiteY13" fmla="*/ 210690 h 481494"/>
                  <a:gd name="connsiteX14" fmla="*/ 0 w 643914"/>
                  <a:gd name="connsiteY14" fmla="*/ 26344 h 481494"/>
                  <a:gd name="connsiteX15" fmla="*/ 58819 w 643914"/>
                  <a:gd name="connsiteY15" fmla="*/ 0 h 481494"/>
                  <a:gd name="connsiteX0" fmla="*/ 58819 w 643914"/>
                  <a:gd name="connsiteY0" fmla="*/ 0 h 481494"/>
                  <a:gd name="connsiteX1" fmla="*/ 134325 w 643914"/>
                  <a:gd name="connsiteY1" fmla="*/ 167843 h 481494"/>
                  <a:gd name="connsiteX2" fmla="*/ 442404 w 643914"/>
                  <a:gd name="connsiteY2" fmla="*/ 168116 h 481494"/>
                  <a:gd name="connsiteX3" fmla="*/ 442404 w 643914"/>
                  <a:gd name="connsiteY3" fmla="*/ 111117 h 481494"/>
                  <a:gd name="connsiteX4" fmla="*/ 643914 w 643914"/>
                  <a:gd name="connsiteY4" fmla="*/ 211701 h 481494"/>
                  <a:gd name="connsiteX5" fmla="*/ 442404 w 643914"/>
                  <a:gd name="connsiteY5" fmla="*/ 312285 h 481494"/>
                  <a:gd name="connsiteX6" fmla="*/ 442404 w 643914"/>
                  <a:gd name="connsiteY6" fmla="*/ 255286 h 481494"/>
                  <a:gd name="connsiteX7" fmla="*/ 171414 w 643914"/>
                  <a:gd name="connsiteY7" fmla="*/ 256311 h 481494"/>
                  <a:gd name="connsiteX8" fmla="*/ 226526 w 643914"/>
                  <a:gd name="connsiteY8" fmla="*/ 379628 h 481494"/>
                  <a:gd name="connsiteX9" fmla="*/ 266496 w 643914"/>
                  <a:gd name="connsiteY9" fmla="*/ 370012 h 481494"/>
                  <a:gd name="connsiteX10" fmla="*/ 237114 w 643914"/>
                  <a:gd name="connsiteY10" fmla="*/ 481494 h 481494"/>
                  <a:gd name="connsiteX11" fmla="*/ 121164 w 643914"/>
                  <a:gd name="connsiteY11" fmla="*/ 435881 h 481494"/>
                  <a:gd name="connsiteX12" fmla="*/ 160745 w 643914"/>
                  <a:gd name="connsiteY12" fmla="*/ 413455 h 481494"/>
                  <a:gd name="connsiteX13" fmla="*/ 77661 w 643914"/>
                  <a:gd name="connsiteY13" fmla="*/ 210690 h 481494"/>
                  <a:gd name="connsiteX14" fmla="*/ 0 w 643914"/>
                  <a:gd name="connsiteY14" fmla="*/ 26344 h 481494"/>
                  <a:gd name="connsiteX15" fmla="*/ 58819 w 643914"/>
                  <a:gd name="connsiteY15" fmla="*/ 0 h 481494"/>
                  <a:gd name="connsiteX0" fmla="*/ 58819 w 643914"/>
                  <a:gd name="connsiteY0" fmla="*/ 0 h 481494"/>
                  <a:gd name="connsiteX1" fmla="*/ 134325 w 643914"/>
                  <a:gd name="connsiteY1" fmla="*/ 167843 h 481494"/>
                  <a:gd name="connsiteX2" fmla="*/ 442404 w 643914"/>
                  <a:gd name="connsiteY2" fmla="*/ 168116 h 481494"/>
                  <a:gd name="connsiteX3" fmla="*/ 442404 w 643914"/>
                  <a:gd name="connsiteY3" fmla="*/ 111117 h 481494"/>
                  <a:gd name="connsiteX4" fmla="*/ 643914 w 643914"/>
                  <a:gd name="connsiteY4" fmla="*/ 211701 h 481494"/>
                  <a:gd name="connsiteX5" fmla="*/ 442404 w 643914"/>
                  <a:gd name="connsiteY5" fmla="*/ 312285 h 481494"/>
                  <a:gd name="connsiteX6" fmla="*/ 442404 w 643914"/>
                  <a:gd name="connsiteY6" fmla="*/ 255286 h 481494"/>
                  <a:gd name="connsiteX7" fmla="*/ 171414 w 643914"/>
                  <a:gd name="connsiteY7" fmla="*/ 256311 h 481494"/>
                  <a:gd name="connsiteX8" fmla="*/ 226526 w 643914"/>
                  <a:gd name="connsiteY8" fmla="*/ 379628 h 481494"/>
                  <a:gd name="connsiteX9" fmla="*/ 266496 w 643914"/>
                  <a:gd name="connsiteY9" fmla="*/ 370012 h 481494"/>
                  <a:gd name="connsiteX10" fmla="*/ 237114 w 643914"/>
                  <a:gd name="connsiteY10" fmla="*/ 481494 h 481494"/>
                  <a:gd name="connsiteX11" fmla="*/ 117361 w 643914"/>
                  <a:gd name="connsiteY11" fmla="*/ 427148 h 481494"/>
                  <a:gd name="connsiteX12" fmla="*/ 160745 w 643914"/>
                  <a:gd name="connsiteY12" fmla="*/ 413455 h 481494"/>
                  <a:gd name="connsiteX13" fmla="*/ 77661 w 643914"/>
                  <a:gd name="connsiteY13" fmla="*/ 210690 h 481494"/>
                  <a:gd name="connsiteX14" fmla="*/ 0 w 643914"/>
                  <a:gd name="connsiteY14" fmla="*/ 26344 h 481494"/>
                  <a:gd name="connsiteX15" fmla="*/ 58819 w 643914"/>
                  <a:gd name="connsiteY15" fmla="*/ 0 h 481494"/>
                  <a:gd name="connsiteX0" fmla="*/ 58819 w 643914"/>
                  <a:gd name="connsiteY0" fmla="*/ 0 h 478079"/>
                  <a:gd name="connsiteX1" fmla="*/ 134325 w 643914"/>
                  <a:gd name="connsiteY1" fmla="*/ 167843 h 478079"/>
                  <a:gd name="connsiteX2" fmla="*/ 442404 w 643914"/>
                  <a:gd name="connsiteY2" fmla="*/ 168116 h 478079"/>
                  <a:gd name="connsiteX3" fmla="*/ 442404 w 643914"/>
                  <a:gd name="connsiteY3" fmla="*/ 111117 h 478079"/>
                  <a:gd name="connsiteX4" fmla="*/ 643914 w 643914"/>
                  <a:gd name="connsiteY4" fmla="*/ 211701 h 478079"/>
                  <a:gd name="connsiteX5" fmla="*/ 442404 w 643914"/>
                  <a:gd name="connsiteY5" fmla="*/ 312285 h 478079"/>
                  <a:gd name="connsiteX6" fmla="*/ 442404 w 643914"/>
                  <a:gd name="connsiteY6" fmla="*/ 255286 h 478079"/>
                  <a:gd name="connsiteX7" fmla="*/ 171414 w 643914"/>
                  <a:gd name="connsiteY7" fmla="*/ 256311 h 478079"/>
                  <a:gd name="connsiteX8" fmla="*/ 226526 w 643914"/>
                  <a:gd name="connsiteY8" fmla="*/ 379628 h 478079"/>
                  <a:gd name="connsiteX9" fmla="*/ 266496 w 643914"/>
                  <a:gd name="connsiteY9" fmla="*/ 370012 h 478079"/>
                  <a:gd name="connsiteX10" fmla="*/ 233029 w 643914"/>
                  <a:gd name="connsiteY10" fmla="*/ 478079 h 478079"/>
                  <a:gd name="connsiteX11" fmla="*/ 117361 w 643914"/>
                  <a:gd name="connsiteY11" fmla="*/ 427148 h 478079"/>
                  <a:gd name="connsiteX12" fmla="*/ 160745 w 643914"/>
                  <a:gd name="connsiteY12" fmla="*/ 413455 h 478079"/>
                  <a:gd name="connsiteX13" fmla="*/ 77661 w 643914"/>
                  <a:gd name="connsiteY13" fmla="*/ 210690 h 478079"/>
                  <a:gd name="connsiteX14" fmla="*/ 0 w 643914"/>
                  <a:gd name="connsiteY14" fmla="*/ 26344 h 478079"/>
                  <a:gd name="connsiteX15" fmla="*/ 58819 w 643914"/>
                  <a:gd name="connsiteY15" fmla="*/ 0 h 478079"/>
                  <a:gd name="connsiteX0" fmla="*/ 58819 w 643914"/>
                  <a:gd name="connsiteY0" fmla="*/ 0 h 481213"/>
                  <a:gd name="connsiteX1" fmla="*/ 134325 w 643914"/>
                  <a:gd name="connsiteY1" fmla="*/ 167843 h 481213"/>
                  <a:gd name="connsiteX2" fmla="*/ 442404 w 643914"/>
                  <a:gd name="connsiteY2" fmla="*/ 168116 h 481213"/>
                  <a:gd name="connsiteX3" fmla="*/ 442404 w 643914"/>
                  <a:gd name="connsiteY3" fmla="*/ 111117 h 481213"/>
                  <a:gd name="connsiteX4" fmla="*/ 643914 w 643914"/>
                  <a:gd name="connsiteY4" fmla="*/ 211701 h 481213"/>
                  <a:gd name="connsiteX5" fmla="*/ 442404 w 643914"/>
                  <a:gd name="connsiteY5" fmla="*/ 312285 h 481213"/>
                  <a:gd name="connsiteX6" fmla="*/ 442404 w 643914"/>
                  <a:gd name="connsiteY6" fmla="*/ 255286 h 481213"/>
                  <a:gd name="connsiteX7" fmla="*/ 171414 w 643914"/>
                  <a:gd name="connsiteY7" fmla="*/ 256311 h 481213"/>
                  <a:gd name="connsiteX8" fmla="*/ 226526 w 643914"/>
                  <a:gd name="connsiteY8" fmla="*/ 379628 h 481213"/>
                  <a:gd name="connsiteX9" fmla="*/ 266496 w 643914"/>
                  <a:gd name="connsiteY9" fmla="*/ 370012 h 481213"/>
                  <a:gd name="connsiteX10" fmla="*/ 231796 w 643914"/>
                  <a:gd name="connsiteY10" fmla="*/ 481213 h 481213"/>
                  <a:gd name="connsiteX11" fmla="*/ 117361 w 643914"/>
                  <a:gd name="connsiteY11" fmla="*/ 427148 h 481213"/>
                  <a:gd name="connsiteX12" fmla="*/ 160745 w 643914"/>
                  <a:gd name="connsiteY12" fmla="*/ 413455 h 481213"/>
                  <a:gd name="connsiteX13" fmla="*/ 77661 w 643914"/>
                  <a:gd name="connsiteY13" fmla="*/ 210690 h 481213"/>
                  <a:gd name="connsiteX14" fmla="*/ 0 w 643914"/>
                  <a:gd name="connsiteY14" fmla="*/ 26344 h 481213"/>
                  <a:gd name="connsiteX15" fmla="*/ 58819 w 643914"/>
                  <a:gd name="connsiteY15" fmla="*/ 0 h 481213"/>
                  <a:gd name="connsiteX0" fmla="*/ 58819 w 643914"/>
                  <a:gd name="connsiteY0" fmla="*/ 0 h 481213"/>
                  <a:gd name="connsiteX1" fmla="*/ 134325 w 643914"/>
                  <a:gd name="connsiteY1" fmla="*/ 167843 h 481213"/>
                  <a:gd name="connsiteX2" fmla="*/ 442404 w 643914"/>
                  <a:gd name="connsiteY2" fmla="*/ 168116 h 481213"/>
                  <a:gd name="connsiteX3" fmla="*/ 442404 w 643914"/>
                  <a:gd name="connsiteY3" fmla="*/ 111117 h 481213"/>
                  <a:gd name="connsiteX4" fmla="*/ 643914 w 643914"/>
                  <a:gd name="connsiteY4" fmla="*/ 211701 h 481213"/>
                  <a:gd name="connsiteX5" fmla="*/ 442404 w 643914"/>
                  <a:gd name="connsiteY5" fmla="*/ 312285 h 481213"/>
                  <a:gd name="connsiteX6" fmla="*/ 442404 w 643914"/>
                  <a:gd name="connsiteY6" fmla="*/ 255286 h 481213"/>
                  <a:gd name="connsiteX7" fmla="*/ 171414 w 643914"/>
                  <a:gd name="connsiteY7" fmla="*/ 256311 h 481213"/>
                  <a:gd name="connsiteX8" fmla="*/ 226526 w 643914"/>
                  <a:gd name="connsiteY8" fmla="*/ 379628 h 481213"/>
                  <a:gd name="connsiteX9" fmla="*/ 267625 w 643914"/>
                  <a:gd name="connsiteY9" fmla="*/ 348744 h 481213"/>
                  <a:gd name="connsiteX10" fmla="*/ 231796 w 643914"/>
                  <a:gd name="connsiteY10" fmla="*/ 481213 h 481213"/>
                  <a:gd name="connsiteX11" fmla="*/ 117361 w 643914"/>
                  <a:gd name="connsiteY11" fmla="*/ 427148 h 481213"/>
                  <a:gd name="connsiteX12" fmla="*/ 160745 w 643914"/>
                  <a:gd name="connsiteY12" fmla="*/ 413455 h 481213"/>
                  <a:gd name="connsiteX13" fmla="*/ 77661 w 643914"/>
                  <a:gd name="connsiteY13" fmla="*/ 210690 h 481213"/>
                  <a:gd name="connsiteX14" fmla="*/ 0 w 643914"/>
                  <a:gd name="connsiteY14" fmla="*/ 26344 h 481213"/>
                  <a:gd name="connsiteX15" fmla="*/ 58819 w 643914"/>
                  <a:gd name="connsiteY15" fmla="*/ 0 h 481213"/>
                  <a:gd name="connsiteX0" fmla="*/ 58819 w 643914"/>
                  <a:gd name="connsiteY0" fmla="*/ 0 h 481213"/>
                  <a:gd name="connsiteX1" fmla="*/ 134325 w 643914"/>
                  <a:gd name="connsiteY1" fmla="*/ 167843 h 481213"/>
                  <a:gd name="connsiteX2" fmla="*/ 442404 w 643914"/>
                  <a:gd name="connsiteY2" fmla="*/ 168116 h 481213"/>
                  <a:gd name="connsiteX3" fmla="*/ 442404 w 643914"/>
                  <a:gd name="connsiteY3" fmla="*/ 111117 h 481213"/>
                  <a:gd name="connsiteX4" fmla="*/ 643914 w 643914"/>
                  <a:gd name="connsiteY4" fmla="*/ 211701 h 481213"/>
                  <a:gd name="connsiteX5" fmla="*/ 442404 w 643914"/>
                  <a:gd name="connsiteY5" fmla="*/ 312285 h 481213"/>
                  <a:gd name="connsiteX6" fmla="*/ 442404 w 643914"/>
                  <a:gd name="connsiteY6" fmla="*/ 255286 h 481213"/>
                  <a:gd name="connsiteX7" fmla="*/ 171414 w 643914"/>
                  <a:gd name="connsiteY7" fmla="*/ 256311 h 481213"/>
                  <a:gd name="connsiteX8" fmla="*/ 226526 w 643914"/>
                  <a:gd name="connsiteY8" fmla="*/ 379628 h 481213"/>
                  <a:gd name="connsiteX9" fmla="*/ 344427 w 643914"/>
                  <a:gd name="connsiteY9" fmla="*/ 328294 h 481213"/>
                  <a:gd name="connsiteX10" fmla="*/ 231796 w 643914"/>
                  <a:gd name="connsiteY10" fmla="*/ 481213 h 481213"/>
                  <a:gd name="connsiteX11" fmla="*/ 117361 w 643914"/>
                  <a:gd name="connsiteY11" fmla="*/ 427148 h 481213"/>
                  <a:gd name="connsiteX12" fmla="*/ 160745 w 643914"/>
                  <a:gd name="connsiteY12" fmla="*/ 413455 h 481213"/>
                  <a:gd name="connsiteX13" fmla="*/ 77661 w 643914"/>
                  <a:gd name="connsiteY13" fmla="*/ 210690 h 481213"/>
                  <a:gd name="connsiteX14" fmla="*/ 0 w 643914"/>
                  <a:gd name="connsiteY14" fmla="*/ 26344 h 481213"/>
                  <a:gd name="connsiteX15" fmla="*/ 58819 w 643914"/>
                  <a:gd name="connsiteY15" fmla="*/ 0 h 481213"/>
                  <a:gd name="connsiteX0" fmla="*/ 58819 w 643914"/>
                  <a:gd name="connsiteY0" fmla="*/ 0 h 481213"/>
                  <a:gd name="connsiteX1" fmla="*/ 134325 w 643914"/>
                  <a:gd name="connsiteY1" fmla="*/ 167843 h 481213"/>
                  <a:gd name="connsiteX2" fmla="*/ 442404 w 643914"/>
                  <a:gd name="connsiteY2" fmla="*/ 168116 h 481213"/>
                  <a:gd name="connsiteX3" fmla="*/ 442404 w 643914"/>
                  <a:gd name="connsiteY3" fmla="*/ 111117 h 481213"/>
                  <a:gd name="connsiteX4" fmla="*/ 643914 w 643914"/>
                  <a:gd name="connsiteY4" fmla="*/ 211701 h 481213"/>
                  <a:gd name="connsiteX5" fmla="*/ 442404 w 643914"/>
                  <a:gd name="connsiteY5" fmla="*/ 312285 h 481213"/>
                  <a:gd name="connsiteX6" fmla="*/ 442404 w 643914"/>
                  <a:gd name="connsiteY6" fmla="*/ 255286 h 481213"/>
                  <a:gd name="connsiteX7" fmla="*/ 171414 w 643914"/>
                  <a:gd name="connsiteY7" fmla="*/ 256311 h 481213"/>
                  <a:gd name="connsiteX8" fmla="*/ 226526 w 643914"/>
                  <a:gd name="connsiteY8" fmla="*/ 379628 h 481213"/>
                  <a:gd name="connsiteX9" fmla="*/ 341754 w 643914"/>
                  <a:gd name="connsiteY9" fmla="*/ 298292 h 481213"/>
                  <a:gd name="connsiteX10" fmla="*/ 231796 w 643914"/>
                  <a:gd name="connsiteY10" fmla="*/ 481213 h 481213"/>
                  <a:gd name="connsiteX11" fmla="*/ 117361 w 643914"/>
                  <a:gd name="connsiteY11" fmla="*/ 427148 h 481213"/>
                  <a:gd name="connsiteX12" fmla="*/ 160745 w 643914"/>
                  <a:gd name="connsiteY12" fmla="*/ 413455 h 481213"/>
                  <a:gd name="connsiteX13" fmla="*/ 77661 w 643914"/>
                  <a:gd name="connsiteY13" fmla="*/ 210690 h 481213"/>
                  <a:gd name="connsiteX14" fmla="*/ 0 w 643914"/>
                  <a:gd name="connsiteY14" fmla="*/ 26344 h 481213"/>
                  <a:gd name="connsiteX15" fmla="*/ 58819 w 643914"/>
                  <a:gd name="connsiteY15" fmla="*/ 0 h 481213"/>
                  <a:gd name="connsiteX0" fmla="*/ 58819 w 643914"/>
                  <a:gd name="connsiteY0" fmla="*/ 0 h 481213"/>
                  <a:gd name="connsiteX1" fmla="*/ 134325 w 643914"/>
                  <a:gd name="connsiteY1" fmla="*/ 167843 h 481213"/>
                  <a:gd name="connsiteX2" fmla="*/ 442404 w 643914"/>
                  <a:gd name="connsiteY2" fmla="*/ 168116 h 481213"/>
                  <a:gd name="connsiteX3" fmla="*/ 442404 w 643914"/>
                  <a:gd name="connsiteY3" fmla="*/ 111117 h 481213"/>
                  <a:gd name="connsiteX4" fmla="*/ 643914 w 643914"/>
                  <a:gd name="connsiteY4" fmla="*/ 211701 h 481213"/>
                  <a:gd name="connsiteX5" fmla="*/ 442404 w 643914"/>
                  <a:gd name="connsiteY5" fmla="*/ 312285 h 481213"/>
                  <a:gd name="connsiteX6" fmla="*/ 442404 w 643914"/>
                  <a:gd name="connsiteY6" fmla="*/ 255286 h 481213"/>
                  <a:gd name="connsiteX7" fmla="*/ 171414 w 643914"/>
                  <a:gd name="connsiteY7" fmla="*/ 256311 h 481213"/>
                  <a:gd name="connsiteX8" fmla="*/ 226526 w 643914"/>
                  <a:gd name="connsiteY8" fmla="*/ 379628 h 481213"/>
                  <a:gd name="connsiteX9" fmla="*/ 266778 w 643914"/>
                  <a:gd name="connsiteY9" fmla="*/ 364696 h 481213"/>
                  <a:gd name="connsiteX10" fmla="*/ 231796 w 643914"/>
                  <a:gd name="connsiteY10" fmla="*/ 481213 h 481213"/>
                  <a:gd name="connsiteX11" fmla="*/ 117361 w 643914"/>
                  <a:gd name="connsiteY11" fmla="*/ 427148 h 481213"/>
                  <a:gd name="connsiteX12" fmla="*/ 160745 w 643914"/>
                  <a:gd name="connsiteY12" fmla="*/ 413455 h 481213"/>
                  <a:gd name="connsiteX13" fmla="*/ 77661 w 643914"/>
                  <a:gd name="connsiteY13" fmla="*/ 210690 h 481213"/>
                  <a:gd name="connsiteX14" fmla="*/ 0 w 643914"/>
                  <a:gd name="connsiteY14" fmla="*/ 26344 h 481213"/>
                  <a:gd name="connsiteX15" fmla="*/ 58819 w 643914"/>
                  <a:gd name="connsiteY15" fmla="*/ 0 h 481213"/>
                  <a:gd name="connsiteX0" fmla="*/ 58819 w 643914"/>
                  <a:gd name="connsiteY0" fmla="*/ 0 h 481213"/>
                  <a:gd name="connsiteX1" fmla="*/ 134325 w 643914"/>
                  <a:gd name="connsiteY1" fmla="*/ 167843 h 481213"/>
                  <a:gd name="connsiteX2" fmla="*/ 442404 w 643914"/>
                  <a:gd name="connsiteY2" fmla="*/ 168116 h 481213"/>
                  <a:gd name="connsiteX3" fmla="*/ 442404 w 643914"/>
                  <a:gd name="connsiteY3" fmla="*/ 111117 h 481213"/>
                  <a:gd name="connsiteX4" fmla="*/ 643914 w 643914"/>
                  <a:gd name="connsiteY4" fmla="*/ 211701 h 481213"/>
                  <a:gd name="connsiteX5" fmla="*/ 442404 w 643914"/>
                  <a:gd name="connsiteY5" fmla="*/ 312285 h 481213"/>
                  <a:gd name="connsiteX6" fmla="*/ 442404 w 643914"/>
                  <a:gd name="connsiteY6" fmla="*/ 255286 h 481213"/>
                  <a:gd name="connsiteX7" fmla="*/ 171414 w 643914"/>
                  <a:gd name="connsiteY7" fmla="*/ 256311 h 481213"/>
                  <a:gd name="connsiteX8" fmla="*/ 182191 w 643914"/>
                  <a:gd name="connsiteY8" fmla="*/ 391138 h 481213"/>
                  <a:gd name="connsiteX9" fmla="*/ 266778 w 643914"/>
                  <a:gd name="connsiteY9" fmla="*/ 364696 h 481213"/>
                  <a:gd name="connsiteX10" fmla="*/ 231796 w 643914"/>
                  <a:gd name="connsiteY10" fmla="*/ 481213 h 481213"/>
                  <a:gd name="connsiteX11" fmla="*/ 117361 w 643914"/>
                  <a:gd name="connsiteY11" fmla="*/ 427148 h 481213"/>
                  <a:gd name="connsiteX12" fmla="*/ 160745 w 643914"/>
                  <a:gd name="connsiteY12" fmla="*/ 413455 h 481213"/>
                  <a:gd name="connsiteX13" fmla="*/ 77661 w 643914"/>
                  <a:gd name="connsiteY13" fmla="*/ 210690 h 481213"/>
                  <a:gd name="connsiteX14" fmla="*/ 0 w 643914"/>
                  <a:gd name="connsiteY14" fmla="*/ 26344 h 481213"/>
                  <a:gd name="connsiteX15" fmla="*/ 58819 w 643914"/>
                  <a:gd name="connsiteY15" fmla="*/ 0 h 481213"/>
                  <a:gd name="connsiteX0" fmla="*/ 58819 w 643914"/>
                  <a:gd name="connsiteY0" fmla="*/ 0 h 481213"/>
                  <a:gd name="connsiteX1" fmla="*/ 134325 w 643914"/>
                  <a:gd name="connsiteY1" fmla="*/ 167843 h 481213"/>
                  <a:gd name="connsiteX2" fmla="*/ 442404 w 643914"/>
                  <a:gd name="connsiteY2" fmla="*/ 168116 h 481213"/>
                  <a:gd name="connsiteX3" fmla="*/ 442404 w 643914"/>
                  <a:gd name="connsiteY3" fmla="*/ 111117 h 481213"/>
                  <a:gd name="connsiteX4" fmla="*/ 643914 w 643914"/>
                  <a:gd name="connsiteY4" fmla="*/ 211701 h 481213"/>
                  <a:gd name="connsiteX5" fmla="*/ 442404 w 643914"/>
                  <a:gd name="connsiteY5" fmla="*/ 312285 h 481213"/>
                  <a:gd name="connsiteX6" fmla="*/ 442404 w 643914"/>
                  <a:gd name="connsiteY6" fmla="*/ 255286 h 481213"/>
                  <a:gd name="connsiteX7" fmla="*/ 171414 w 643914"/>
                  <a:gd name="connsiteY7" fmla="*/ 256311 h 481213"/>
                  <a:gd name="connsiteX8" fmla="*/ 230609 w 643914"/>
                  <a:gd name="connsiteY8" fmla="*/ 383044 h 481213"/>
                  <a:gd name="connsiteX9" fmla="*/ 266778 w 643914"/>
                  <a:gd name="connsiteY9" fmla="*/ 364696 h 481213"/>
                  <a:gd name="connsiteX10" fmla="*/ 231796 w 643914"/>
                  <a:gd name="connsiteY10" fmla="*/ 481213 h 481213"/>
                  <a:gd name="connsiteX11" fmla="*/ 117361 w 643914"/>
                  <a:gd name="connsiteY11" fmla="*/ 427148 h 481213"/>
                  <a:gd name="connsiteX12" fmla="*/ 160745 w 643914"/>
                  <a:gd name="connsiteY12" fmla="*/ 413455 h 481213"/>
                  <a:gd name="connsiteX13" fmla="*/ 77661 w 643914"/>
                  <a:gd name="connsiteY13" fmla="*/ 210690 h 481213"/>
                  <a:gd name="connsiteX14" fmla="*/ 0 w 643914"/>
                  <a:gd name="connsiteY14" fmla="*/ 26344 h 481213"/>
                  <a:gd name="connsiteX15" fmla="*/ 58819 w 643914"/>
                  <a:gd name="connsiteY15" fmla="*/ 0 h 481213"/>
                  <a:gd name="connsiteX0" fmla="*/ 58819 w 643914"/>
                  <a:gd name="connsiteY0" fmla="*/ 0 h 481213"/>
                  <a:gd name="connsiteX1" fmla="*/ 134325 w 643914"/>
                  <a:gd name="connsiteY1" fmla="*/ 167843 h 481213"/>
                  <a:gd name="connsiteX2" fmla="*/ 442404 w 643914"/>
                  <a:gd name="connsiteY2" fmla="*/ 168116 h 481213"/>
                  <a:gd name="connsiteX3" fmla="*/ 442404 w 643914"/>
                  <a:gd name="connsiteY3" fmla="*/ 111117 h 481213"/>
                  <a:gd name="connsiteX4" fmla="*/ 643914 w 643914"/>
                  <a:gd name="connsiteY4" fmla="*/ 211701 h 481213"/>
                  <a:gd name="connsiteX5" fmla="*/ 442404 w 643914"/>
                  <a:gd name="connsiteY5" fmla="*/ 312285 h 481213"/>
                  <a:gd name="connsiteX6" fmla="*/ 442404 w 643914"/>
                  <a:gd name="connsiteY6" fmla="*/ 255286 h 481213"/>
                  <a:gd name="connsiteX7" fmla="*/ 171414 w 643914"/>
                  <a:gd name="connsiteY7" fmla="*/ 256311 h 481213"/>
                  <a:gd name="connsiteX8" fmla="*/ 226526 w 643914"/>
                  <a:gd name="connsiteY8" fmla="*/ 379628 h 481213"/>
                  <a:gd name="connsiteX9" fmla="*/ 266778 w 643914"/>
                  <a:gd name="connsiteY9" fmla="*/ 364696 h 481213"/>
                  <a:gd name="connsiteX10" fmla="*/ 231796 w 643914"/>
                  <a:gd name="connsiteY10" fmla="*/ 481213 h 481213"/>
                  <a:gd name="connsiteX11" fmla="*/ 117361 w 643914"/>
                  <a:gd name="connsiteY11" fmla="*/ 427148 h 481213"/>
                  <a:gd name="connsiteX12" fmla="*/ 160745 w 643914"/>
                  <a:gd name="connsiteY12" fmla="*/ 413455 h 481213"/>
                  <a:gd name="connsiteX13" fmla="*/ 77661 w 643914"/>
                  <a:gd name="connsiteY13" fmla="*/ 210690 h 481213"/>
                  <a:gd name="connsiteX14" fmla="*/ 0 w 643914"/>
                  <a:gd name="connsiteY14" fmla="*/ 26344 h 481213"/>
                  <a:gd name="connsiteX15" fmla="*/ 58819 w 643914"/>
                  <a:gd name="connsiteY15" fmla="*/ 0 h 481213"/>
                  <a:gd name="connsiteX0" fmla="*/ 79420 w 643914"/>
                  <a:gd name="connsiteY0" fmla="*/ 0 h 487584"/>
                  <a:gd name="connsiteX1" fmla="*/ 134325 w 643914"/>
                  <a:gd name="connsiteY1" fmla="*/ 174214 h 487584"/>
                  <a:gd name="connsiteX2" fmla="*/ 442404 w 643914"/>
                  <a:gd name="connsiteY2" fmla="*/ 174487 h 487584"/>
                  <a:gd name="connsiteX3" fmla="*/ 442404 w 643914"/>
                  <a:gd name="connsiteY3" fmla="*/ 117488 h 487584"/>
                  <a:gd name="connsiteX4" fmla="*/ 643914 w 643914"/>
                  <a:gd name="connsiteY4" fmla="*/ 218072 h 487584"/>
                  <a:gd name="connsiteX5" fmla="*/ 442404 w 643914"/>
                  <a:gd name="connsiteY5" fmla="*/ 318656 h 487584"/>
                  <a:gd name="connsiteX6" fmla="*/ 442404 w 643914"/>
                  <a:gd name="connsiteY6" fmla="*/ 261657 h 487584"/>
                  <a:gd name="connsiteX7" fmla="*/ 171414 w 643914"/>
                  <a:gd name="connsiteY7" fmla="*/ 262682 h 487584"/>
                  <a:gd name="connsiteX8" fmla="*/ 226526 w 643914"/>
                  <a:gd name="connsiteY8" fmla="*/ 385999 h 487584"/>
                  <a:gd name="connsiteX9" fmla="*/ 266778 w 643914"/>
                  <a:gd name="connsiteY9" fmla="*/ 371067 h 487584"/>
                  <a:gd name="connsiteX10" fmla="*/ 231796 w 643914"/>
                  <a:gd name="connsiteY10" fmla="*/ 487584 h 487584"/>
                  <a:gd name="connsiteX11" fmla="*/ 117361 w 643914"/>
                  <a:gd name="connsiteY11" fmla="*/ 433519 h 487584"/>
                  <a:gd name="connsiteX12" fmla="*/ 160745 w 643914"/>
                  <a:gd name="connsiteY12" fmla="*/ 419826 h 487584"/>
                  <a:gd name="connsiteX13" fmla="*/ 77661 w 643914"/>
                  <a:gd name="connsiteY13" fmla="*/ 217061 h 487584"/>
                  <a:gd name="connsiteX14" fmla="*/ 0 w 643914"/>
                  <a:gd name="connsiteY14" fmla="*/ 32715 h 487584"/>
                  <a:gd name="connsiteX15" fmla="*/ 79420 w 643914"/>
                  <a:gd name="connsiteY15" fmla="*/ 0 h 487584"/>
                  <a:gd name="connsiteX0" fmla="*/ 61003 w 643914"/>
                  <a:gd name="connsiteY0" fmla="*/ 0 h 482164"/>
                  <a:gd name="connsiteX1" fmla="*/ 134325 w 643914"/>
                  <a:gd name="connsiteY1" fmla="*/ 168794 h 482164"/>
                  <a:gd name="connsiteX2" fmla="*/ 442404 w 643914"/>
                  <a:gd name="connsiteY2" fmla="*/ 169067 h 482164"/>
                  <a:gd name="connsiteX3" fmla="*/ 442404 w 643914"/>
                  <a:gd name="connsiteY3" fmla="*/ 112068 h 482164"/>
                  <a:gd name="connsiteX4" fmla="*/ 643914 w 643914"/>
                  <a:gd name="connsiteY4" fmla="*/ 212652 h 482164"/>
                  <a:gd name="connsiteX5" fmla="*/ 442404 w 643914"/>
                  <a:gd name="connsiteY5" fmla="*/ 313236 h 482164"/>
                  <a:gd name="connsiteX6" fmla="*/ 442404 w 643914"/>
                  <a:gd name="connsiteY6" fmla="*/ 256237 h 482164"/>
                  <a:gd name="connsiteX7" fmla="*/ 171414 w 643914"/>
                  <a:gd name="connsiteY7" fmla="*/ 257262 h 482164"/>
                  <a:gd name="connsiteX8" fmla="*/ 226526 w 643914"/>
                  <a:gd name="connsiteY8" fmla="*/ 380579 h 482164"/>
                  <a:gd name="connsiteX9" fmla="*/ 266778 w 643914"/>
                  <a:gd name="connsiteY9" fmla="*/ 365647 h 482164"/>
                  <a:gd name="connsiteX10" fmla="*/ 231796 w 643914"/>
                  <a:gd name="connsiteY10" fmla="*/ 482164 h 482164"/>
                  <a:gd name="connsiteX11" fmla="*/ 117361 w 643914"/>
                  <a:gd name="connsiteY11" fmla="*/ 428099 h 482164"/>
                  <a:gd name="connsiteX12" fmla="*/ 160745 w 643914"/>
                  <a:gd name="connsiteY12" fmla="*/ 414406 h 482164"/>
                  <a:gd name="connsiteX13" fmla="*/ 77661 w 643914"/>
                  <a:gd name="connsiteY13" fmla="*/ 211641 h 482164"/>
                  <a:gd name="connsiteX14" fmla="*/ 0 w 643914"/>
                  <a:gd name="connsiteY14" fmla="*/ 27295 h 482164"/>
                  <a:gd name="connsiteX15" fmla="*/ 61003 w 643914"/>
                  <a:gd name="connsiteY15" fmla="*/ 0 h 482164"/>
                  <a:gd name="connsiteX0" fmla="*/ 61003 w 643914"/>
                  <a:gd name="connsiteY0" fmla="*/ 0 h 482164"/>
                  <a:gd name="connsiteX1" fmla="*/ 166689 w 643914"/>
                  <a:gd name="connsiteY1" fmla="*/ 141718 h 482164"/>
                  <a:gd name="connsiteX2" fmla="*/ 442404 w 643914"/>
                  <a:gd name="connsiteY2" fmla="*/ 169067 h 482164"/>
                  <a:gd name="connsiteX3" fmla="*/ 442404 w 643914"/>
                  <a:gd name="connsiteY3" fmla="*/ 112068 h 482164"/>
                  <a:gd name="connsiteX4" fmla="*/ 643914 w 643914"/>
                  <a:gd name="connsiteY4" fmla="*/ 212652 h 482164"/>
                  <a:gd name="connsiteX5" fmla="*/ 442404 w 643914"/>
                  <a:gd name="connsiteY5" fmla="*/ 313236 h 482164"/>
                  <a:gd name="connsiteX6" fmla="*/ 442404 w 643914"/>
                  <a:gd name="connsiteY6" fmla="*/ 256237 h 482164"/>
                  <a:gd name="connsiteX7" fmla="*/ 171414 w 643914"/>
                  <a:gd name="connsiteY7" fmla="*/ 257262 h 482164"/>
                  <a:gd name="connsiteX8" fmla="*/ 226526 w 643914"/>
                  <a:gd name="connsiteY8" fmla="*/ 380579 h 482164"/>
                  <a:gd name="connsiteX9" fmla="*/ 266778 w 643914"/>
                  <a:gd name="connsiteY9" fmla="*/ 365647 h 482164"/>
                  <a:gd name="connsiteX10" fmla="*/ 231796 w 643914"/>
                  <a:gd name="connsiteY10" fmla="*/ 482164 h 482164"/>
                  <a:gd name="connsiteX11" fmla="*/ 117361 w 643914"/>
                  <a:gd name="connsiteY11" fmla="*/ 428099 h 482164"/>
                  <a:gd name="connsiteX12" fmla="*/ 160745 w 643914"/>
                  <a:gd name="connsiteY12" fmla="*/ 414406 h 482164"/>
                  <a:gd name="connsiteX13" fmla="*/ 77661 w 643914"/>
                  <a:gd name="connsiteY13" fmla="*/ 211641 h 482164"/>
                  <a:gd name="connsiteX14" fmla="*/ 0 w 643914"/>
                  <a:gd name="connsiteY14" fmla="*/ 27295 h 482164"/>
                  <a:gd name="connsiteX15" fmla="*/ 61003 w 643914"/>
                  <a:gd name="connsiteY15" fmla="*/ 0 h 482164"/>
                  <a:gd name="connsiteX0" fmla="*/ 61003 w 643914"/>
                  <a:gd name="connsiteY0" fmla="*/ 0 h 482164"/>
                  <a:gd name="connsiteX1" fmla="*/ 134325 w 643914"/>
                  <a:gd name="connsiteY1" fmla="*/ 168793 h 482164"/>
                  <a:gd name="connsiteX2" fmla="*/ 442404 w 643914"/>
                  <a:gd name="connsiteY2" fmla="*/ 169067 h 482164"/>
                  <a:gd name="connsiteX3" fmla="*/ 442404 w 643914"/>
                  <a:gd name="connsiteY3" fmla="*/ 112068 h 482164"/>
                  <a:gd name="connsiteX4" fmla="*/ 643914 w 643914"/>
                  <a:gd name="connsiteY4" fmla="*/ 212652 h 482164"/>
                  <a:gd name="connsiteX5" fmla="*/ 442404 w 643914"/>
                  <a:gd name="connsiteY5" fmla="*/ 313236 h 482164"/>
                  <a:gd name="connsiteX6" fmla="*/ 442404 w 643914"/>
                  <a:gd name="connsiteY6" fmla="*/ 256237 h 482164"/>
                  <a:gd name="connsiteX7" fmla="*/ 171414 w 643914"/>
                  <a:gd name="connsiteY7" fmla="*/ 257262 h 482164"/>
                  <a:gd name="connsiteX8" fmla="*/ 226526 w 643914"/>
                  <a:gd name="connsiteY8" fmla="*/ 380579 h 482164"/>
                  <a:gd name="connsiteX9" fmla="*/ 266778 w 643914"/>
                  <a:gd name="connsiteY9" fmla="*/ 365647 h 482164"/>
                  <a:gd name="connsiteX10" fmla="*/ 231796 w 643914"/>
                  <a:gd name="connsiteY10" fmla="*/ 482164 h 482164"/>
                  <a:gd name="connsiteX11" fmla="*/ 117361 w 643914"/>
                  <a:gd name="connsiteY11" fmla="*/ 428099 h 482164"/>
                  <a:gd name="connsiteX12" fmla="*/ 160745 w 643914"/>
                  <a:gd name="connsiteY12" fmla="*/ 414406 h 482164"/>
                  <a:gd name="connsiteX13" fmla="*/ 77661 w 643914"/>
                  <a:gd name="connsiteY13" fmla="*/ 211641 h 482164"/>
                  <a:gd name="connsiteX14" fmla="*/ 0 w 643914"/>
                  <a:gd name="connsiteY14" fmla="*/ 27295 h 482164"/>
                  <a:gd name="connsiteX15" fmla="*/ 61003 w 643914"/>
                  <a:gd name="connsiteY15" fmla="*/ 0 h 482164"/>
                  <a:gd name="connsiteX0" fmla="*/ 57869 w 640780"/>
                  <a:gd name="connsiteY0" fmla="*/ 0 h 482164"/>
                  <a:gd name="connsiteX1" fmla="*/ 131191 w 640780"/>
                  <a:gd name="connsiteY1" fmla="*/ 168793 h 482164"/>
                  <a:gd name="connsiteX2" fmla="*/ 439270 w 640780"/>
                  <a:gd name="connsiteY2" fmla="*/ 169067 h 482164"/>
                  <a:gd name="connsiteX3" fmla="*/ 439270 w 640780"/>
                  <a:gd name="connsiteY3" fmla="*/ 112068 h 482164"/>
                  <a:gd name="connsiteX4" fmla="*/ 640780 w 640780"/>
                  <a:gd name="connsiteY4" fmla="*/ 212652 h 482164"/>
                  <a:gd name="connsiteX5" fmla="*/ 439270 w 640780"/>
                  <a:gd name="connsiteY5" fmla="*/ 313236 h 482164"/>
                  <a:gd name="connsiteX6" fmla="*/ 439270 w 640780"/>
                  <a:gd name="connsiteY6" fmla="*/ 256237 h 482164"/>
                  <a:gd name="connsiteX7" fmla="*/ 168280 w 640780"/>
                  <a:gd name="connsiteY7" fmla="*/ 257262 h 482164"/>
                  <a:gd name="connsiteX8" fmla="*/ 223392 w 640780"/>
                  <a:gd name="connsiteY8" fmla="*/ 380579 h 482164"/>
                  <a:gd name="connsiteX9" fmla="*/ 263644 w 640780"/>
                  <a:gd name="connsiteY9" fmla="*/ 365647 h 482164"/>
                  <a:gd name="connsiteX10" fmla="*/ 228662 w 640780"/>
                  <a:gd name="connsiteY10" fmla="*/ 482164 h 482164"/>
                  <a:gd name="connsiteX11" fmla="*/ 114227 w 640780"/>
                  <a:gd name="connsiteY11" fmla="*/ 428099 h 482164"/>
                  <a:gd name="connsiteX12" fmla="*/ 157611 w 640780"/>
                  <a:gd name="connsiteY12" fmla="*/ 414406 h 482164"/>
                  <a:gd name="connsiteX13" fmla="*/ 74527 w 640780"/>
                  <a:gd name="connsiteY13" fmla="*/ 211641 h 482164"/>
                  <a:gd name="connsiteX14" fmla="*/ 0 w 640780"/>
                  <a:gd name="connsiteY14" fmla="*/ 28528 h 482164"/>
                  <a:gd name="connsiteX15" fmla="*/ 57869 w 640780"/>
                  <a:gd name="connsiteY15" fmla="*/ 0 h 482164"/>
                  <a:gd name="connsiteX0" fmla="*/ 118052 w 700963"/>
                  <a:gd name="connsiteY0" fmla="*/ 0 h 482164"/>
                  <a:gd name="connsiteX1" fmla="*/ 191374 w 700963"/>
                  <a:gd name="connsiteY1" fmla="*/ 168793 h 482164"/>
                  <a:gd name="connsiteX2" fmla="*/ 499453 w 700963"/>
                  <a:gd name="connsiteY2" fmla="*/ 169067 h 482164"/>
                  <a:gd name="connsiteX3" fmla="*/ 499453 w 700963"/>
                  <a:gd name="connsiteY3" fmla="*/ 112068 h 482164"/>
                  <a:gd name="connsiteX4" fmla="*/ 700963 w 700963"/>
                  <a:gd name="connsiteY4" fmla="*/ 212652 h 482164"/>
                  <a:gd name="connsiteX5" fmla="*/ 499453 w 700963"/>
                  <a:gd name="connsiteY5" fmla="*/ 313236 h 482164"/>
                  <a:gd name="connsiteX6" fmla="*/ 499453 w 700963"/>
                  <a:gd name="connsiteY6" fmla="*/ 256237 h 482164"/>
                  <a:gd name="connsiteX7" fmla="*/ 228463 w 700963"/>
                  <a:gd name="connsiteY7" fmla="*/ 257262 h 482164"/>
                  <a:gd name="connsiteX8" fmla="*/ 283575 w 700963"/>
                  <a:gd name="connsiteY8" fmla="*/ 380579 h 482164"/>
                  <a:gd name="connsiteX9" fmla="*/ 323827 w 700963"/>
                  <a:gd name="connsiteY9" fmla="*/ 365647 h 482164"/>
                  <a:gd name="connsiteX10" fmla="*/ 288845 w 700963"/>
                  <a:gd name="connsiteY10" fmla="*/ 482164 h 482164"/>
                  <a:gd name="connsiteX11" fmla="*/ 174410 w 700963"/>
                  <a:gd name="connsiteY11" fmla="*/ 428099 h 482164"/>
                  <a:gd name="connsiteX12" fmla="*/ 217794 w 700963"/>
                  <a:gd name="connsiteY12" fmla="*/ 414406 h 482164"/>
                  <a:gd name="connsiteX13" fmla="*/ 134710 w 700963"/>
                  <a:gd name="connsiteY13" fmla="*/ 211641 h 482164"/>
                  <a:gd name="connsiteX14" fmla="*/ 0 w 700963"/>
                  <a:gd name="connsiteY14" fmla="*/ 57326 h 482164"/>
                  <a:gd name="connsiteX15" fmla="*/ 118052 w 700963"/>
                  <a:gd name="connsiteY15" fmla="*/ 0 h 482164"/>
                  <a:gd name="connsiteX0" fmla="*/ 149210 w 732121"/>
                  <a:gd name="connsiteY0" fmla="*/ 0 h 482164"/>
                  <a:gd name="connsiteX1" fmla="*/ 222532 w 732121"/>
                  <a:gd name="connsiteY1" fmla="*/ 168793 h 482164"/>
                  <a:gd name="connsiteX2" fmla="*/ 530611 w 732121"/>
                  <a:gd name="connsiteY2" fmla="*/ 169067 h 482164"/>
                  <a:gd name="connsiteX3" fmla="*/ 530611 w 732121"/>
                  <a:gd name="connsiteY3" fmla="*/ 112068 h 482164"/>
                  <a:gd name="connsiteX4" fmla="*/ 732121 w 732121"/>
                  <a:gd name="connsiteY4" fmla="*/ 212652 h 482164"/>
                  <a:gd name="connsiteX5" fmla="*/ 530611 w 732121"/>
                  <a:gd name="connsiteY5" fmla="*/ 313236 h 482164"/>
                  <a:gd name="connsiteX6" fmla="*/ 530611 w 732121"/>
                  <a:gd name="connsiteY6" fmla="*/ 256237 h 482164"/>
                  <a:gd name="connsiteX7" fmla="*/ 259621 w 732121"/>
                  <a:gd name="connsiteY7" fmla="*/ 257262 h 482164"/>
                  <a:gd name="connsiteX8" fmla="*/ 314733 w 732121"/>
                  <a:gd name="connsiteY8" fmla="*/ 380579 h 482164"/>
                  <a:gd name="connsiteX9" fmla="*/ 354985 w 732121"/>
                  <a:gd name="connsiteY9" fmla="*/ 365647 h 482164"/>
                  <a:gd name="connsiteX10" fmla="*/ 320003 w 732121"/>
                  <a:gd name="connsiteY10" fmla="*/ 482164 h 482164"/>
                  <a:gd name="connsiteX11" fmla="*/ 205568 w 732121"/>
                  <a:gd name="connsiteY11" fmla="*/ 428099 h 482164"/>
                  <a:gd name="connsiteX12" fmla="*/ 248952 w 732121"/>
                  <a:gd name="connsiteY12" fmla="*/ 414406 h 482164"/>
                  <a:gd name="connsiteX13" fmla="*/ 165868 w 732121"/>
                  <a:gd name="connsiteY13" fmla="*/ 211641 h 482164"/>
                  <a:gd name="connsiteX14" fmla="*/ 0 w 732121"/>
                  <a:gd name="connsiteY14" fmla="*/ 21547 h 482164"/>
                  <a:gd name="connsiteX15" fmla="*/ 149210 w 732121"/>
                  <a:gd name="connsiteY15" fmla="*/ 0 h 482164"/>
                  <a:gd name="connsiteX0" fmla="*/ 66037 w 648948"/>
                  <a:gd name="connsiteY0" fmla="*/ 0 h 482164"/>
                  <a:gd name="connsiteX1" fmla="*/ 139359 w 648948"/>
                  <a:gd name="connsiteY1" fmla="*/ 168793 h 482164"/>
                  <a:gd name="connsiteX2" fmla="*/ 447438 w 648948"/>
                  <a:gd name="connsiteY2" fmla="*/ 169067 h 482164"/>
                  <a:gd name="connsiteX3" fmla="*/ 447438 w 648948"/>
                  <a:gd name="connsiteY3" fmla="*/ 112068 h 482164"/>
                  <a:gd name="connsiteX4" fmla="*/ 648948 w 648948"/>
                  <a:gd name="connsiteY4" fmla="*/ 212652 h 482164"/>
                  <a:gd name="connsiteX5" fmla="*/ 447438 w 648948"/>
                  <a:gd name="connsiteY5" fmla="*/ 313236 h 482164"/>
                  <a:gd name="connsiteX6" fmla="*/ 447438 w 648948"/>
                  <a:gd name="connsiteY6" fmla="*/ 256237 h 482164"/>
                  <a:gd name="connsiteX7" fmla="*/ 176448 w 648948"/>
                  <a:gd name="connsiteY7" fmla="*/ 257262 h 482164"/>
                  <a:gd name="connsiteX8" fmla="*/ 231560 w 648948"/>
                  <a:gd name="connsiteY8" fmla="*/ 380579 h 482164"/>
                  <a:gd name="connsiteX9" fmla="*/ 271812 w 648948"/>
                  <a:gd name="connsiteY9" fmla="*/ 365647 h 482164"/>
                  <a:gd name="connsiteX10" fmla="*/ 236830 w 648948"/>
                  <a:gd name="connsiteY10" fmla="*/ 482164 h 482164"/>
                  <a:gd name="connsiteX11" fmla="*/ 122395 w 648948"/>
                  <a:gd name="connsiteY11" fmla="*/ 428099 h 482164"/>
                  <a:gd name="connsiteX12" fmla="*/ 165779 w 648948"/>
                  <a:gd name="connsiteY12" fmla="*/ 414406 h 482164"/>
                  <a:gd name="connsiteX13" fmla="*/ 82695 w 648948"/>
                  <a:gd name="connsiteY13" fmla="*/ 211641 h 482164"/>
                  <a:gd name="connsiteX14" fmla="*/ 0 w 648948"/>
                  <a:gd name="connsiteY14" fmla="*/ 21696 h 482164"/>
                  <a:gd name="connsiteX15" fmla="*/ 66037 w 648948"/>
                  <a:gd name="connsiteY15" fmla="*/ 0 h 482164"/>
                  <a:gd name="connsiteX0" fmla="*/ 66037 w 648948"/>
                  <a:gd name="connsiteY0" fmla="*/ 0 h 482164"/>
                  <a:gd name="connsiteX1" fmla="*/ 139359 w 648948"/>
                  <a:gd name="connsiteY1" fmla="*/ 168793 h 482164"/>
                  <a:gd name="connsiteX2" fmla="*/ 447438 w 648948"/>
                  <a:gd name="connsiteY2" fmla="*/ 169067 h 482164"/>
                  <a:gd name="connsiteX3" fmla="*/ 447438 w 648948"/>
                  <a:gd name="connsiteY3" fmla="*/ 112068 h 482164"/>
                  <a:gd name="connsiteX4" fmla="*/ 648948 w 648948"/>
                  <a:gd name="connsiteY4" fmla="*/ 212652 h 482164"/>
                  <a:gd name="connsiteX5" fmla="*/ 447438 w 648948"/>
                  <a:gd name="connsiteY5" fmla="*/ 313236 h 482164"/>
                  <a:gd name="connsiteX6" fmla="*/ 447438 w 648948"/>
                  <a:gd name="connsiteY6" fmla="*/ 256237 h 482164"/>
                  <a:gd name="connsiteX7" fmla="*/ 176448 w 648948"/>
                  <a:gd name="connsiteY7" fmla="*/ 257262 h 482164"/>
                  <a:gd name="connsiteX8" fmla="*/ 231560 w 648948"/>
                  <a:gd name="connsiteY8" fmla="*/ 380579 h 482164"/>
                  <a:gd name="connsiteX9" fmla="*/ 271812 w 648948"/>
                  <a:gd name="connsiteY9" fmla="*/ 365647 h 482164"/>
                  <a:gd name="connsiteX10" fmla="*/ 236830 w 648948"/>
                  <a:gd name="connsiteY10" fmla="*/ 482164 h 482164"/>
                  <a:gd name="connsiteX11" fmla="*/ 122395 w 648948"/>
                  <a:gd name="connsiteY11" fmla="*/ 428099 h 482164"/>
                  <a:gd name="connsiteX12" fmla="*/ 221135 w 648948"/>
                  <a:gd name="connsiteY12" fmla="*/ 416278 h 482164"/>
                  <a:gd name="connsiteX13" fmla="*/ 82695 w 648948"/>
                  <a:gd name="connsiteY13" fmla="*/ 211641 h 482164"/>
                  <a:gd name="connsiteX14" fmla="*/ 0 w 648948"/>
                  <a:gd name="connsiteY14" fmla="*/ 21696 h 482164"/>
                  <a:gd name="connsiteX15" fmla="*/ 66037 w 648948"/>
                  <a:gd name="connsiteY15" fmla="*/ 0 h 482164"/>
                  <a:gd name="connsiteX0" fmla="*/ 66037 w 648948"/>
                  <a:gd name="connsiteY0" fmla="*/ 0 h 482164"/>
                  <a:gd name="connsiteX1" fmla="*/ 139359 w 648948"/>
                  <a:gd name="connsiteY1" fmla="*/ 168793 h 482164"/>
                  <a:gd name="connsiteX2" fmla="*/ 447438 w 648948"/>
                  <a:gd name="connsiteY2" fmla="*/ 169067 h 482164"/>
                  <a:gd name="connsiteX3" fmla="*/ 447438 w 648948"/>
                  <a:gd name="connsiteY3" fmla="*/ 112068 h 482164"/>
                  <a:gd name="connsiteX4" fmla="*/ 648948 w 648948"/>
                  <a:gd name="connsiteY4" fmla="*/ 212652 h 482164"/>
                  <a:gd name="connsiteX5" fmla="*/ 447438 w 648948"/>
                  <a:gd name="connsiteY5" fmla="*/ 313236 h 482164"/>
                  <a:gd name="connsiteX6" fmla="*/ 447438 w 648948"/>
                  <a:gd name="connsiteY6" fmla="*/ 256237 h 482164"/>
                  <a:gd name="connsiteX7" fmla="*/ 176448 w 648948"/>
                  <a:gd name="connsiteY7" fmla="*/ 257262 h 482164"/>
                  <a:gd name="connsiteX8" fmla="*/ 231560 w 648948"/>
                  <a:gd name="connsiteY8" fmla="*/ 380579 h 482164"/>
                  <a:gd name="connsiteX9" fmla="*/ 271812 w 648948"/>
                  <a:gd name="connsiteY9" fmla="*/ 365647 h 482164"/>
                  <a:gd name="connsiteX10" fmla="*/ 236830 w 648948"/>
                  <a:gd name="connsiteY10" fmla="*/ 482164 h 482164"/>
                  <a:gd name="connsiteX11" fmla="*/ 122395 w 648948"/>
                  <a:gd name="connsiteY11" fmla="*/ 428099 h 482164"/>
                  <a:gd name="connsiteX12" fmla="*/ 214021 w 648948"/>
                  <a:gd name="connsiteY12" fmla="*/ 429763 h 482164"/>
                  <a:gd name="connsiteX13" fmla="*/ 82695 w 648948"/>
                  <a:gd name="connsiteY13" fmla="*/ 211641 h 482164"/>
                  <a:gd name="connsiteX14" fmla="*/ 0 w 648948"/>
                  <a:gd name="connsiteY14" fmla="*/ 21696 h 482164"/>
                  <a:gd name="connsiteX15" fmla="*/ 66037 w 648948"/>
                  <a:gd name="connsiteY15" fmla="*/ 0 h 482164"/>
                  <a:gd name="connsiteX0" fmla="*/ 66037 w 648948"/>
                  <a:gd name="connsiteY0" fmla="*/ 0 h 482164"/>
                  <a:gd name="connsiteX1" fmla="*/ 139359 w 648948"/>
                  <a:gd name="connsiteY1" fmla="*/ 168793 h 482164"/>
                  <a:gd name="connsiteX2" fmla="*/ 447438 w 648948"/>
                  <a:gd name="connsiteY2" fmla="*/ 169067 h 482164"/>
                  <a:gd name="connsiteX3" fmla="*/ 447438 w 648948"/>
                  <a:gd name="connsiteY3" fmla="*/ 112068 h 482164"/>
                  <a:gd name="connsiteX4" fmla="*/ 648948 w 648948"/>
                  <a:gd name="connsiteY4" fmla="*/ 212652 h 482164"/>
                  <a:gd name="connsiteX5" fmla="*/ 447438 w 648948"/>
                  <a:gd name="connsiteY5" fmla="*/ 313236 h 482164"/>
                  <a:gd name="connsiteX6" fmla="*/ 447438 w 648948"/>
                  <a:gd name="connsiteY6" fmla="*/ 256237 h 482164"/>
                  <a:gd name="connsiteX7" fmla="*/ 176448 w 648948"/>
                  <a:gd name="connsiteY7" fmla="*/ 257262 h 482164"/>
                  <a:gd name="connsiteX8" fmla="*/ 231560 w 648948"/>
                  <a:gd name="connsiteY8" fmla="*/ 380579 h 482164"/>
                  <a:gd name="connsiteX9" fmla="*/ 271812 w 648948"/>
                  <a:gd name="connsiteY9" fmla="*/ 365647 h 482164"/>
                  <a:gd name="connsiteX10" fmla="*/ 236830 w 648948"/>
                  <a:gd name="connsiteY10" fmla="*/ 482164 h 482164"/>
                  <a:gd name="connsiteX11" fmla="*/ 122395 w 648948"/>
                  <a:gd name="connsiteY11" fmla="*/ 428099 h 482164"/>
                  <a:gd name="connsiteX12" fmla="*/ 163213 w 648948"/>
                  <a:gd name="connsiteY12" fmla="*/ 402539 h 482164"/>
                  <a:gd name="connsiteX13" fmla="*/ 82695 w 648948"/>
                  <a:gd name="connsiteY13" fmla="*/ 211641 h 482164"/>
                  <a:gd name="connsiteX14" fmla="*/ 0 w 648948"/>
                  <a:gd name="connsiteY14" fmla="*/ 21696 h 482164"/>
                  <a:gd name="connsiteX15" fmla="*/ 66037 w 648948"/>
                  <a:gd name="connsiteY15" fmla="*/ 0 h 482164"/>
                  <a:gd name="connsiteX0" fmla="*/ 66037 w 648948"/>
                  <a:gd name="connsiteY0" fmla="*/ 0 h 482164"/>
                  <a:gd name="connsiteX1" fmla="*/ 139359 w 648948"/>
                  <a:gd name="connsiteY1" fmla="*/ 168793 h 482164"/>
                  <a:gd name="connsiteX2" fmla="*/ 447438 w 648948"/>
                  <a:gd name="connsiteY2" fmla="*/ 169067 h 482164"/>
                  <a:gd name="connsiteX3" fmla="*/ 447438 w 648948"/>
                  <a:gd name="connsiteY3" fmla="*/ 112068 h 482164"/>
                  <a:gd name="connsiteX4" fmla="*/ 648948 w 648948"/>
                  <a:gd name="connsiteY4" fmla="*/ 212652 h 482164"/>
                  <a:gd name="connsiteX5" fmla="*/ 447438 w 648948"/>
                  <a:gd name="connsiteY5" fmla="*/ 313236 h 482164"/>
                  <a:gd name="connsiteX6" fmla="*/ 447438 w 648948"/>
                  <a:gd name="connsiteY6" fmla="*/ 256237 h 482164"/>
                  <a:gd name="connsiteX7" fmla="*/ 176448 w 648948"/>
                  <a:gd name="connsiteY7" fmla="*/ 257262 h 482164"/>
                  <a:gd name="connsiteX8" fmla="*/ 231560 w 648948"/>
                  <a:gd name="connsiteY8" fmla="*/ 380579 h 482164"/>
                  <a:gd name="connsiteX9" fmla="*/ 271812 w 648948"/>
                  <a:gd name="connsiteY9" fmla="*/ 365647 h 482164"/>
                  <a:gd name="connsiteX10" fmla="*/ 236830 w 648948"/>
                  <a:gd name="connsiteY10" fmla="*/ 482164 h 482164"/>
                  <a:gd name="connsiteX11" fmla="*/ 122395 w 648948"/>
                  <a:gd name="connsiteY11" fmla="*/ 428099 h 482164"/>
                  <a:gd name="connsiteX12" fmla="*/ 263883 w 648948"/>
                  <a:gd name="connsiteY12" fmla="*/ 454806 h 482164"/>
                  <a:gd name="connsiteX13" fmla="*/ 82695 w 648948"/>
                  <a:gd name="connsiteY13" fmla="*/ 211641 h 482164"/>
                  <a:gd name="connsiteX14" fmla="*/ 0 w 648948"/>
                  <a:gd name="connsiteY14" fmla="*/ 21696 h 482164"/>
                  <a:gd name="connsiteX15" fmla="*/ 66037 w 648948"/>
                  <a:gd name="connsiteY15" fmla="*/ 0 h 482164"/>
                  <a:gd name="connsiteX0" fmla="*/ 66037 w 648948"/>
                  <a:gd name="connsiteY0" fmla="*/ 0 h 482164"/>
                  <a:gd name="connsiteX1" fmla="*/ 139359 w 648948"/>
                  <a:gd name="connsiteY1" fmla="*/ 168793 h 482164"/>
                  <a:gd name="connsiteX2" fmla="*/ 447438 w 648948"/>
                  <a:gd name="connsiteY2" fmla="*/ 169067 h 482164"/>
                  <a:gd name="connsiteX3" fmla="*/ 447438 w 648948"/>
                  <a:gd name="connsiteY3" fmla="*/ 112068 h 482164"/>
                  <a:gd name="connsiteX4" fmla="*/ 648948 w 648948"/>
                  <a:gd name="connsiteY4" fmla="*/ 212652 h 482164"/>
                  <a:gd name="connsiteX5" fmla="*/ 447438 w 648948"/>
                  <a:gd name="connsiteY5" fmla="*/ 313236 h 482164"/>
                  <a:gd name="connsiteX6" fmla="*/ 447438 w 648948"/>
                  <a:gd name="connsiteY6" fmla="*/ 256237 h 482164"/>
                  <a:gd name="connsiteX7" fmla="*/ 176448 w 648948"/>
                  <a:gd name="connsiteY7" fmla="*/ 257262 h 482164"/>
                  <a:gd name="connsiteX8" fmla="*/ 231560 w 648948"/>
                  <a:gd name="connsiteY8" fmla="*/ 380579 h 482164"/>
                  <a:gd name="connsiteX9" fmla="*/ 271812 w 648948"/>
                  <a:gd name="connsiteY9" fmla="*/ 365647 h 482164"/>
                  <a:gd name="connsiteX10" fmla="*/ 236830 w 648948"/>
                  <a:gd name="connsiteY10" fmla="*/ 482164 h 482164"/>
                  <a:gd name="connsiteX11" fmla="*/ 122395 w 648948"/>
                  <a:gd name="connsiteY11" fmla="*/ 428099 h 482164"/>
                  <a:gd name="connsiteX12" fmla="*/ 167967 w 648948"/>
                  <a:gd name="connsiteY12" fmla="*/ 413455 h 482164"/>
                  <a:gd name="connsiteX13" fmla="*/ 82695 w 648948"/>
                  <a:gd name="connsiteY13" fmla="*/ 211641 h 482164"/>
                  <a:gd name="connsiteX14" fmla="*/ 0 w 648948"/>
                  <a:gd name="connsiteY14" fmla="*/ 21696 h 482164"/>
                  <a:gd name="connsiteX15" fmla="*/ 66037 w 648948"/>
                  <a:gd name="connsiteY15" fmla="*/ 0 h 482164"/>
                  <a:gd name="connsiteX0" fmla="*/ 66037 w 648948"/>
                  <a:gd name="connsiteY0" fmla="*/ 0 h 484151"/>
                  <a:gd name="connsiteX1" fmla="*/ 139359 w 648948"/>
                  <a:gd name="connsiteY1" fmla="*/ 168793 h 484151"/>
                  <a:gd name="connsiteX2" fmla="*/ 447438 w 648948"/>
                  <a:gd name="connsiteY2" fmla="*/ 169067 h 484151"/>
                  <a:gd name="connsiteX3" fmla="*/ 447438 w 648948"/>
                  <a:gd name="connsiteY3" fmla="*/ 112068 h 484151"/>
                  <a:gd name="connsiteX4" fmla="*/ 648948 w 648948"/>
                  <a:gd name="connsiteY4" fmla="*/ 212652 h 484151"/>
                  <a:gd name="connsiteX5" fmla="*/ 447438 w 648948"/>
                  <a:gd name="connsiteY5" fmla="*/ 313236 h 484151"/>
                  <a:gd name="connsiteX6" fmla="*/ 447438 w 648948"/>
                  <a:gd name="connsiteY6" fmla="*/ 256237 h 484151"/>
                  <a:gd name="connsiteX7" fmla="*/ 176448 w 648948"/>
                  <a:gd name="connsiteY7" fmla="*/ 257262 h 484151"/>
                  <a:gd name="connsiteX8" fmla="*/ 231560 w 648948"/>
                  <a:gd name="connsiteY8" fmla="*/ 380579 h 484151"/>
                  <a:gd name="connsiteX9" fmla="*/ 271812 w 648948"/>
                  <a:gd name="connsiteY9" fmla="*/ 365647 h 484151"/>
                  <a:gd name="connsiteX10" fmla="*/ 236830 w 648948"/>
                  <a:gd name="connsiteY10" fmla="*/ 482164 h 484151"/>
                  <a:gd name="connsiteX11" fmla="*/ 53301 w 648948"/>
                  <a:gd name="connsiteY11" fmla="*/ 484151 h 484151"/>
                  <a:gd name="connsiteX12" fmla="*/ 167967 w 648948"/>
                  <a:gd name="connsiteY12" fmla="*/ 413455 h 484151"/>
                  <a:gd name="connsiteX13" fmla="*/ 82695 w 648948"/>
                  <a:gd name="connsiteY13" fmla="*/ 211641 h 484151"/>
                  <a:gd name="connsiteX14" fmla="*/ 0 w 648948"/>
                  <a:gd name="connsiteY14" fmla="*/ 21696 h 484151"/>
                  <a:gd name="connsiteX15" fmla="*/ 66037 w 648948"/>
                  <a:gd name="connsiteY15" fmla="*/ 0 h 484151"/>
                  <a:gd name="connsiteX0" fmla="*/ 66037 w 648948"/>
                  <a:gd name="connsiteY0" fmla="*/ 0 h 558281"/>
                  <a:gd name="connsiteX1" fmla="*/ 139359 w 648948"/>
                  <a:gd name="connsiteY1" fmla="*/ 168793 h 558281"/>
                  <a:gd name="connsiteX2" fmla="*/ 447438 w 648948"/>
                  <a:gd name="connsiteY2" fmla="*/ 169067 h 558281"/>
                  <a:gd name="connsiteX3" fmla="*/ 447438 w 648948"/>
                  <a:gd name="connsiteY3" fmla="*/ 112068 h 558281"/>
                  <a:gd name="connsiteX4" fmla="*/ 648948 w 648948"/>
                  <a:gd name="connsiteY4" fmla="*/ 212652 h 558281"/>
                  <a:gd name="connsiteX5" fmla="*/ 447438 w 648948"/>
                  <a:gd name="connsiteY5" fmla="*/ 313236 h 558281"/>
                  <a:gd name="connsiteX6" fmla="*/ 447438 w 648948"/>
                  <a:gd name="connsiteY6" fmla="*/ 256237 h 558281"/>
                  <a:gd name="connsiteX7" fmla="*/ 176448 w 648948"/>
                  <a:gd name="connsiteY7" fmla="*/ 257262 h 558281"/>
                  <a:gd name="connsiteX8" fmla="*/ 231560 w 648948"/>
                  <a:gd name="connsiteY8" fmla="*/ 380579 h 558281"/>
                  <a:gd name="connsiteX9" fmla="*/ 271812 w 648948"/>
                  <a:gd name="connsiteY9" fmla="*/ 365647 h 558281"/>
                  <a:gd name="connsiteX10" fmla="*/ 236830 w 648948"/>
                  <a:gd name="connsiteY10" fmla="*/ 482164 h 558281"/>
                  <a:gd name="connsiteX11" fmla="*/ 103753 w 648948"/>
                  <a:gd name="connsiteY11" fmla="*/ 558281 h 558281"/>
                  <a:gd name="connsiteX12" fmla="*/ 167967 w 648948"/>
                  <a:gd name="connsiteY12" fmla="*/ 413455 h 558281"/>
                  <a:gd name="connsiteX13" fmla="*/ 82695 w 648948"/>
                  <a:gd name="connsiteY13" fmla="*/ 211641 h 558281"/>
                  <a:gd name="connsiteX14" fmla="*/ 0 w 648948"/>
                  <a:gd name="connsiteY14" fmla="*/ 21696 h 558281"/>
                  <a:gd name="connsiteX15" fmla="*/ 66037 w 648948"/>
                  <a:gd name="connsiteY15" fmla="*/ 0 h 558281"/>
                  <a:gd name="connsiteX0" fmla="*/ 66037 w 648948"/>
                  <a:gd name="connsiteY0" fmla="*/ 0 h 482164"/>
                  <a:gd name="connsiteX1" fmla="*/ 139359 w 648948"/>
                  <a:gd name="connsiteY1" fmla="*/ 168793 h 482164"/>
                  <a:gd name="connsiteX2" fmla="*/ 447438 w 648948"/>
                  <a:gd name="connsiteY2" fmla="*/ 169067 h 482164"/>
                  <a:gd name="connsiteX3" fmla="*/ 447438 w 648948"/>
                  <a:gd name="connsiteY3" fmla="*/ 112068 h 482164"/>
                  <a:gd name="connsiteX4" fmla="*/ 648948 w 648948"/>
                  <a:gd name="connsiteY4" fmla="*/ 212652 h 482164"/>
                  <a:gd name="connsiteX5" fmla="*/ 447438 w 648948"/>
                  <a:gd name="connsiteY5" fmla="*/ 313236 h 482164"/>
                  <a:gd name="connsiteX6" fmla="*/ 447438 w 648948"/>
                  <a:gd name="connsiteY6" fmla="*/ 256237 h 482164"/>
                  <a:gd name="connsiteX7" fmla="*/ 176448 w 648948"/>
                  <a:gd name="connsiteY7" fmla="*/ 257262 h 482164"/>
                  <a:gd name="connsiteX8" fmla="*/ 231560 w 648948"/>
                  <a:gd name="connsiteY8" fmla="*/ 380579 h 482164"/>
                  <a:gd name="connsiteX9" fmla="*/ 271812 w 648948"/>
                  <a:gd name="connsiteY9" fmla="*/ 365647 h 482164"/>
                  <a:gd name="connsiteX10" fmla="*/ 236830 w 648948"/>
                  <a:gd name="connsiteY10" fmla="*/ 482164 h 482164"/>
                  <a:gd name="connsiteX11" fmla="*/ 125528 w 648948"/>
                  <a:gd name="connsiteY11" fmla="*/ 429332 h 482164"/>
                  <a:gd name="connsiteX12" fmla="*/ 167967 w 648948"/>
                  <a:gd name="connsiteY12" fmla="*/ 413455 h 482164"/>
                  <a:gd name="connsiteX13" fmla="*/ 82695 w 648948"/>
                  <a:gd name="connsiteY13" fmla="*/ 211641 h 482164"/>
                  <a:gd name="connsiteX14" fmla="*/ 0 w 648948"/>
                  <a:gd name="connsiteY14" fmla="*/ 21696 h 482164"/>
                  <a:gd name="connsiteX15" fmla="*/ 66037 w 648948"/>
                  <a:gd name="connsiteY15" fmla="*/ 0 h 482164"/>
                  <a:gd name="connsiteX0" fmla="*/ 190365 w 773276"/>
                  <a:gd name="connsiteY0" fmla="*/ 67018 h 549182"/>
                  <a:gd name="connsiteX1" fmla="*/ 263687 w 773276"/>
                  <a:gd name="connsiteY1" fmla="*/ 235811 h 549182"/>
                  <a:gd name="connsiteX2" fmla="*/ 571766 w 773276"/>
                  <a:gd name="connsiteY2" fmla="*/ 236085 h 549182"/>
                  <a:gd name="connsiteX3" fmla="*/ 571766 w 773276"/>
                  <a:gd name="connsiteY3" fmla="*/ 179086 h 549182"/>
                  <a:gd name="connsiteX4" fmla="*/ 773276 w 773276"/>
                  <a:gd name="connsiteY4" fmla="*/ 279670 h 549182"/>
                  <a:gd name="connsiteX5" fmla="*/ 571766 w 773276"/>
                  <a:gd name="connsiteY5" fmla="*/ 380254 h 549182"/>
                  <a:gd name="connsiteX6" fmla="*/ 571766 w 773276"/>
                  <a:gd name="connsiteY6" fmla="*/ 323255 h 549182"/>
                  <a:gd name="connsiteX7" fmla="*/ 300776 w 773276"/>
                  <a:gd name="connsiteY7" fmla="*/ 324280 h 549182"/>
                  <a:gd name="connsiteX8" fmla="*/ 355888 w 773276"/>
                  <a:gd name="connsiteY8" fmla="*/ 447597 h 549182"/>
                  <a:gd name="connsiteX9" fmla="*/ 396140 w 773276"/>
                  <a:gd name="connsiteY9" fmla="*/ 432665 h 549182"/>
                  <a:gd name="connsiteX10" fmla="*/ 361158 w 773276"/>
                  <a:gd name="connsiteY10" fmla="*/ 549182 h 549182"/>
                  <a:gd name="connsiteX11" fmla="*/ 249856 w 773276"/>
                  <a:gd name="connsiteY11" fmla="*/ 496350 h 549182"/>
                  <a:gd name="connsiteX12" fmla="*/ 292295 w 773276"/>
                  <a:gd name="connsiteY12" fmla="*/ 480473 h 549182"/>
                  <a:gd name="connsiteX13" fmla="*/ 207023 w 773276"/>
                  <a:gd name="connsiteY13" fmla="*/ 278659 h 549182"/>
                  <a:gd name="connsiteX14" fmla="*/ 0 w 773276"/>
                  <a:gd name="connsiteY14" fmla="*/ 0 h 549182"/>
                  <a:gd name="connsiteX15" fmla="*/ 190365 w 773276"/>
                  <a:gd name="connsiteY15" fmla="*/ 67018 h 549182"/>
                  <a:gd name="connsiteX0" fmla="*/ 62235 w 645146"/>
                  <a:gd name="connsiteY0" fmla="*/ 0 h 482164"/>
                  <a:gd name="connsiteX1" fmla="*/ 135557 w 645146"/>
                  <a:gd name="connsiteY1" fmla="*/ 168793 h 482164"/>
                  <a:gd name="connsiteX2" fmla="*/ 443636 w 645146"/>
                  <a:gd name="connsiteY2" fmla="*/ 169067 h 482164"/>
                  <a:gd name="connsiteX3" fmla="*/ 443636 w 645146"/>
                  <a:gd name="connsiteY3" fmla="*/ 112068 h 482164"/>
                  <a:gd name="connsiteX4" fmla="*/ 645146 w 645146"/>
                  <a:gd name="connsiteY4" fmla="*/ 212652 h 482164"/>
                  <a:gd name="connsiteX5" fmla="*/ 443636 w 645146"/>
                  <a:gd name="connsiteY5" fmla="*/ 313236 h 482164"/>
                  <a:gd name="connsiteX6" fmla="*/ 443636 w 645146"/>
                  <a:gd name="connsiteY6" fmla="*/ 256237 h 482164"/>
                  <a:gd name="connsiteX7" fmla="*/ 172646 w 645146"/>
                  <a:gd name="connsiteY7" fmla="*/ 257262 h 482164"/>
                  <a:gd name="connsiteX8" fmla="*/ 227758 w 645146"/>
                  <a:gd name="connsiteY8" fmla="*/ 380579 h 482164"/>
                  <a:gd name="connsiteX9" fmla="*/ 268010 w 645146"/>
                  <a:gd name="connsiteY9" fmla="*/ 365647 h 482164"/>
                  <a:gd name="connsiteX10" fmla="*/ 233028 w 645146"/>
                  <a:gd name="connsiteY10" fmla="*/ 482164 h 482164"/>
                  <a:gd name="connsiteX11" fmla="*/ 121726 w 645146"/>
                  <a:gd name="connsiteY11" fmla="*/ 429332 h 482164"/>
                  <a:gd name="connsiteX12" fmla="*/ 164165 w 645146"/>
                  <a:gd name="connsiteY12" fmla="*/ 413455 h 482164"/>
                  <a:gd name="connsiteX13" fmla="*/ 78893 w 645146"/>
                  <a:gd name="connsiteY13" fmla="*/ 211641 h 482164"/>
                  <a:gd name="connsiteX14" fmla="*/ 0 w 645146"/>
                  <a:gd name="connsiteY14" fmla="*/ 30430 h 482164"/>
                  <a:gd name="connsiteX15" fmla="*/ 62235 w 645146"/>
                  <a:gd name="connsiteY15" fmla="*/ 0 h 482164"/>
                  <a:gd name="connsiteX0" fmla="*/ 191627 w 774538"/>
                  <a:gd name="connsiteY0" fmla="*/ 123606 h 605770"/>
                  <a:gd name="connsiteX1" fmla="*/ 264949 w 774538"/>
                  <a:gd name="connsiteY1" fmla="*/ 292399 h 605770"/>
                  <a:gd name="connsiteX2" fmla="*/ 573028 w 774538"/>
                  <a:gd name="connsiteY2" fmla="*/ 292673 h 605770"/>
                  <a:gd name="connsiteX3" fmla="*/ 573028 w 774538"/>
                  <a:gd name="connsiteY3" fmla="*/ 235674 h 605770"/>
                  <a:gd name="connsiteX4" fmla="*/ 774538 w 774538"/>
                  <a:gd name="connsiteY4" fmla="*/ 336258 h 605770"/>
                  <a:gd name="connsiteX5" fmla="*/ 573028 w 774538"/>
                  <a:gd name="connsiteY5" fmla="*/ 436842 h 605770"/>
                  <a:gd name="connsiteX6" fmla="*/ 573028 w 774538"/>
                  <a:gd name="connsiteY6" fmla="*/ 379843 h 605770"/>
                  <a:gd name="connsiteX7" fmla="*/ 302038 w 774538"/>
                  <a:gd name="connsiteY7" fmla="*/ 380868 h 605770"/>
                  <a:gd name="connsiteX8" fmla="*/ 357150 w 774538"/>
                  <a:gd name="connsiteY8" fmla="*/ 504185 h 605770"/>
                  <a:gd name="connsiteX9" fmla="*/ 397402 w 774538"/>
                  <a:gd name="connsiteY9" fmla="*/ 489253 h 605770"/>
                  <a:gd name="connsiteX10" fmla="*/ 362420 w 774538"/>
                  <a:gd name="connsiteY10" fmla="*/ 605770 h 605770"/>
                  <a:gd name="connsiteX11" fmla="*/ 251118 w 774538"/>
                  <a:gd name="connsiteY11" fmla="*/ 552938 h 605770"/>
                  <a:gd name="connsiteX12" fmla="*/ 293557 w 774538"/>
                  <a:gd name="connsiteY12" fmla="*/ 537061 h 605770"/>
                  <a:gd name="connsiteX13" fmla="*/ 208285 w 774538"/>
                  <a:gd name="connsiteY13" fmla="*/ 335247 h 605770"/>
                  <a:gd name="connsiteX14" fmla="*/ 0 w 774538"/>
                  <a:gd name="connsiteY14" fmla="*/ 0 h 605770"/>
                  <a:gd name="connsiteX15" fmla="*/ 191627 w 774538"/>
                  <a:gd name="connsiteY15" fmla="*/ 123606 h 605770"/>
                  <a:gd name="connsiteX0" fmla="*/ 65368 w 648279"/>
                  <a:gd name="connsiteY0" fmla="*/ 0 h 482164"/>
                  <a:gd name="connsiteX1" fmla="*/ 138690 w 648279"/>
                  <a:gd name="connsiteY1" fmla="*/ 168793 h 482164"/>
                  <a:gd name="connsiteX2" fmla="*/ 446769 w 648279"/>
                  <a:gd name="connsiteY2" fmla="*/ 169067 h 482164"/>
                  <a:gd name="connsiteX3" fmla="*/ 446769 w 648279"/>
                  <a:gd name="connsiteY3" fmla="*/ 112068 h 482164"/>
                  <a:gd name="connsiteX4" fmla="*/ 648279 w 648279"/>
                  <a:gd name="connsiteY4" fmla="*/ 212652 h 482164"/>
                  <a:gd name="connsiteX5" fmla="*/ 446769 w 648279"/>
                  <a:gd name="connsiteY5" fmla="*/ 313236 h 482164"/>
                  <a:gd name="connsiteX6" fmla="*/ 446769 w 648279"/>
                  <a:gd name="connsiteY6" fmla="*/ 256237 h 482164"/>
                  <a:gd name="connsiteX7" fmla="*/ 175779 w 648279"/>
                  <a:gd name="connsiteY7" fmla="*/ 257262 h 482164"/>
                  <a:gd name="connsiteX8" fmla="*/ 230891 w 648279"/>
                  <a:gd name="connsiteY8" fmla="*/ 380579 h 482164"/>
                  <a:gd name="connsiteX9" fmla="*/ 271143 w 648279"/>
                  <a:gd name="connsiteY9" fmla="*/ 365647 h 482164"/>
                  <a:gd name="connsiteX10" fmla="*/ 236161 w 648279"/>
                  <a:gd name="connsiteY10" fmla="*/ 482164 h 482164"/>
                  <a:gd name="connsiteX11" fmla="*/ 124859 w 648279"/>
                  <a:gd name="connsiteY11" fmla="*/ 429332 h 482164"/>
                  <a:gd name="connsiteX12" fmla="*/ 167298 w 648279"/>
                  <a:gd name="connsiteY12" fmla="*/ 413455 h 482164"/>
                  <a:gd name="connsiteX13" fmla="*/ 82026 w 648279"/>
                  <a:gd name="connsiteY13" fmla="*/ 211641 h 482164"/>
                  <a:gd name="connsiteX14" fmla="*/ 0 w 648279"/>
                  <a:gd name="connsiteY14" fmla="*/ 29197 h 482164"/>
                  <a:gd name="connsiteX15" fmla="*/ 65368 w 648279"/>
                  <a:gd name="connsiteY15" fmla="*/ 0 h 482164"/>
                  <a:gd name="connsiteX0" fmla="*/ 152492 w 648279"/>
                  <a:gd name="connsiteY0" fmla="*/ 0 h 556455"/>
                  <a:gd name="connsiteX1" fmla="*/ 138690 w 648279"/>
                  <a:gd name="connsiteY1" fmla="*/ 243084 h 556455"/>
                  <a:gd name="connsiteX2" fmla="*/ 446769 w 648279"/>
                  <a:gd name="connsiteY2" fmla="*/ 243358 h 556455"/>
                  <a:gd name="connsiteX3" fmla="*/ 446769 w 648279"/>
                  <a:gd name="connsiteY3" fmla="*/ 186359 h 556455"/>
                  <a:gd name="connsiteX4" fmla="*/ 648279 w 648279"/>
                  <a:gd name="connsiteY4" fmla="*/ 286943 h 556455"/>
                  <a:gd name="connsiteX5" fmla="*/ 446769 w 648279"/>
                  <a:gd name="connsiteY5" fmla="*/ 387527 h 556455"/>
                  <a:gd name="connsiteX6" fmla="*/ 446769 w 648279"/>
                  <a:gd name="connsiteY6" fmla="*/ 330528 h 556455"/>
                  <a:gd name="connsiteX7" fmla="*/ 175779 w 648279"/>
                  <a:gd name="connsiteY7" fmla="*/ 331553 h 556455"/>
                  <a:gd name="connsiteX8" fmla="*/ 230891 w 648279"/>
                  <a:gd name="connsiteY8" fmla="*/ 454870 h 556455"/>
                  <a:gd name="connsiteX9" fmla="*/ 271143 w 648279"/>
                  <a:gd name="connsiteY9" fmla="*/ 439938 h 556455"/>
                  <a:gd name="connsiteX10" fmla="*/ 236161 w 648279"/>
                  <a:gd name="connsiteY10" fmla="*/ 556455 h 556455"/>
                  <a:gd name="connsiteX11" fmla="*/ 124859 w 648279"/>
                  <a:gd name="connsiteY11" fmla="*/ 503623 h 556455"/>
                  <a:gd name="connsiteX12" fmla="*/ 167298 w 648279"/>
                  <a:gd name="connsiteY12" fmla="*/ 487746 h 556455"/>
                  <a:gd name="connsiteX13" fmla="*/ 82026 w 648279"/>
                  <a:gd name="connsiteY13" fmla="*/ 285932 h 556455"/>
                  <a:gd name="connsiteX14" fmla="*/ 0 w 648279"/>
                  <a:gd name="connsiteY14" fmla="*/ 103488 h 556455"/>
                  <a:gd name="connsiteX15" fmla="*/ 152492 w 648279"/>
                  <a:gd name="connsiteY15" fmla="*/ 0 h 556455"/>
                  <a:gd name="connsiteX0" fmla="*/ 63183 w 648279"/>
                  <a:gd name="connsiteY0" fmla="*/ 0 h 481215"/>
                  <a:gd name="connsiteX1" fmla="*/ 138690 w 648279"/>
                  <a:gd name="connsiteY1" fmla="*/ 167844 h 481215"/>
                  <a:gd name="connsiteX2" fmla="*/ 446769 w 648279"/>
                  <a:gd name="connsiteY2" fmla="*/ 168118 h 481215"/>
                  <a:gd name="connsiteX3" fmla="*/ 446769 w 648279"/>
                  <a:gd name="connsiteY3" fmla="*/ 111119 h 481215"/>
                  <a:gd name="connsiteX4" fmla="*/ 648279 w 648279"/>
                  <a:gd name="connsiteY4" fmla="*/ 211703 h 481215"/>
                  <a:gd name="connsiteX5" fmla="*/ 446769 w 648279"/>
                  <a:gd name="connsiteY5" fmla="*/ 312287 h 481215"/>
                  <a:gd name="connsiteX6" fmla="*/ 446769 w 648279"/>
                  <a:gd name="connsiteY6" fmla="*/ 255288 h 481215"/>
                  <a:gd name="connsiteX7" fmla="*/ 175779 w 648279"/>
                  <a:gd name="connsiteY7" fmla="*/ 256313 h 481215"/>
                  <a:gd name="connsiteX8" fmla="*/ 230891 w 648279"/>
                  <a:gd name="connsiteY8" fmla="*/ 379630 h 481215"/>
                  <a:gd name="connsiteX9" fmla="*/ 271143 w 648279"/>
                  <a:gd name="connsiteY9" fmla="*/ 364698 h 481215"/>
                  <a:gd name="connsiteX10" fmla="*/ 236161 w 648279"/>
                  <a:gd name="connsiteY10" fmla="*/ 481215 h 481215"/>
                  <a:gd name="connsiteX11" fmla="*/ 124859 w 648279"/>
                  <a:gd name="connsiteY11" fmla="*/ 428383 h 481215"/>
                  <a:gd name="connsiteX12" fmla="*/ 167298 w 648279"/>
                  <a:gd name="connsiteY12" fmla="*/ 412506 h 481215"/>
                  <a:gd name="connsiteX13" fmla="*/ 82026 w 648279"/>
                  <a:gd name="connsiteY13" fmla="*/ 210692 h 481215"/>
                  <a:gd name="connsiteX14" fmla="*/ 0 w 648279"/>
                  <a:gd name="connsiteY14" fmla="*/ 28248 h 481215"/>
                  <a:gd name="connsiteX15" fmla="*/ 63183 w 648279"/>
                  <a:gd name="connsiteY15" fmla="*/ 0 h 481215"/>
                  <a:gd name="connsiteX0" fmla="*/ 63183 w 648279"/>
                  <a:gd name="connsiteY0" fmla="*/ 0 h 481215"/>
                  <a:gd name="connsiteX1" fmla="*/ 138690 w 648279"/>
                  <a:gd name="connsiteY1" fmla="*/ 167844 h 481215"/>
                  <a:gd name="connsiteX2" fmla="*/ 446769 w 648279"/>
                  <a:gd name="connsiteY2" fmla="*/ 168118 h 481215"/>
                  <a:gd name="connsiteX3" fmla="*/ 446769 w 648279"/>
                  <a:gd name="connsiteY3" fmla="*/ 111119 h 481215"/>
                  <a:gd name="connsiteX4" fmla="*/ 648279 w 648279"/>
                  <a:gd name="connsiteY4" fmla="*/ 211703 h 481215"/>
                  <a:gd name="connsiteX5" fmla="*/ 446769 w 648279"/>
                  <a:gd name="connsiteY5" fmla="*/ 312287 h 481215"/>
                  <a:gd name="connsiteX6" fmla="*/ 446769 w 648279"/>
                  <a:gd name="connsiteY6" fmla="*/ 255288 h 481215"/>
                  <a:gd name="connsiteX7" fmla="*/ 175779 w 648279"/>
                  <a:gd name="connsiteY7" fmla="*/ 256313 h 481215"/>
                  <a:gd name="connsiteX8" fmla="*/ 230891 w 648279"/>
                  <a:gd name="connsiteY8" fmla="*/ 379630 h 481215"/>
                  <a:gd name="connsiteX9" fmla="*/ 271143 w 648279"/>
                  <a:gd name="connsiteY9" fmla="*/ 364698 h 481215"/>
                  <a:gd name="connsiteX10" fmla="*/ 236161 w 648279"/>
                  <a:gd name="connsiteY10" fmla="*/ 481215 h 481215"/>
                  <a:gd name="connsiteX11" fmla="*/ 124859 w 648279"/>
                  <a:gd name="connsiteY11" fmla="*/ 428383 h 481215"/>
                  <a:gd name="connsiteX12" fmla="*/ 167298 w 648279"/>
                  <a:gd name="connsiteY12" fmla="*/ 412506 h 481215"/>
                  <a:gd name="connsiteX13" fmla="*/ 0 w 648279"/>
                  <a:gd name="connsiteY13" fmla="*/ 28248 h 481215"/>
                  <a:gd name="connsiteX14" fmla="*/ 63183 w 648279"/>
                  <a:gd name="connsiteY14" fmla="*/ 0 h 481215"/>
                  <a:gd name="connsiteX0" fmla="*/ 63183 w 648279"/>
                  <a:gd name="connsiteY0" fmla="*/ 0 h 481215"/>
                  <a:gd name="connsiteX1" fmla="*/ 138690 w 648279"/>
                  <a:gd name="connsiteY1" fmla="*/ 167844 h 481215"/>
                  <a:gd name="connsiteX2" fmla="*/ 446769 w 648279"/>
                  <a:gd name="connsiteY2" fmla="*/ 168118 h 481215"/>
                  <a:gd name="connsiteX3" fmla="*/ 446769 w 648279"/>
                  <a:gd name="connsiteY3" fmla="*/ 111119 h 481215"/>
                  <a:gd name="connsiteX4" fmla="*/ 648279 w 648279"/>
                  <a:gd name="connsiteY4" fmla="*/ 211703 h 481215"/>
                  <a:gd name="connsiteX5" fmla="*/ 446769 w 648279"/>
                  <a:gd name="connsiteY5" fmla="*/ 312287 h 481215"/>
                  <a:gd name="connsiteX6" fmla="*/ 446769 w 648279"/>
                  <a:gd name="connsiteY6" fmla="*/ 255288 h 481215"/>
                  <a:gd name="connsiteX7" fmla="*/ 243952 w 648279"/>
                  <a:gd name="connsiteY7" fmla="*/ 257799 h 481215"/>
                  <a:gd name="connsiteX8" fmla="*/ 230891 w 648279"/>
                  <a:gd name="connsiteY8" fmla="*/ 379630 h 481215"/>
                  <a:gd name="connsiteX9" fmla="*/ 271143 w 648279"/>
                  <a:gd name="connsiteY9" fmla="*/ 364698 h 481215"/>
                  <a:gd name="connsiteX10" fmla="*/ 236161 w 648279"/>
                  <a:gd name="connsiteY10" fmla="*/ 481215 h 481215"/>
                  <a:gd name="connsiteX11" fmla="*/ 124859 w 648279"/>
                  <a:gd name="connsiteY11" fmla="*/ 428383 h 481215"/>
                  <a:gd name="connsiteX12" fmla="*/ 167298 w 648279"/>
                  <a:gd name="connsiteY12" fmla="*/ 412506 h 481215"/>
                  <a:gd name="connsiteX13" fmla="*/ 0 w 648279"/>
                  <a:gd name="connsiteY13" fmla="*/ 28248 h 481215"/>
                  <a:gd name="connsiteX14" fmla="*/ 63183 w 648279"/>
                  <a:gd name="connsiteY14" fmla="*/ 0 h 481215"/>
                  <a:gd name="connsiteX0" fmla="*/ 63183 w 648279"/>
                  <a:gd name="connsiteY0" fmla="*/ 0 h 481215"/>
                  <a:gd name="connsiteX1" fmla="*/ 138690 w 648279"/>
                  <a:gd name="connsiteY1" fmla="*/ 167844 h 481215"/>
                  <a:gd name="connsiteX2" fmla="*/ 446769 w 648279"/>
                  <a:gd name="connsiteY2" fmla="*/ 168118 h 481215"/>
                  <a:gd name="connsiteX3" fmla="*/ 446769 w 648279"/>
                  <a:gd name="connsiteY3" fmla="*/ 111119 h 481215"/>
                  <a:gd name="connsiteX4" fmla="*/ 648279 w 648279"/>
                  <a:gd name="connsiteY4" fmla="*/ 211703 h 481215"/>
                  <a:gd name="connsiteX5" fmla="*/ 446769 w 648279"/>
                  <a:gd name="connsiteY5" fmla="*/ 312287 h 481215"/>
                  <a:gd name="connsiteX6" fmla="*/ 446769 w 648279"/>
                  <a:gd name="connsiteY6" fmla="*/ 255288 h 481215"/>
                  <a:gd name="connsiteX7" fmla="*/ 178914 w 648279"/>
                  <a:gd name="connsiteY7" fmla="*/ 257547 h 481215"/>
                  <a:gd name="connsiteX8" fmla="*/ 230891 w 648279"/>
                  <a:gd name="connsiteY8" fmla="*/ 379630 h 481215"/>
                  <a:gd name="connsiteX9" fmla="*/ 271143 w 648279"/>
                  <a:gd name="connsiteY9" fmla="*/ 364698 h 481215"/>
                  <a:gd name="connsiteX10" fmla="*/ 236161 w 648279"/>
                  <a:gd name="connsiteY10" fmla="*/ 481215 h 481215"/>
                  <a:gd name="connsiteX11" fmla="*/ 124859 w 648279"/>
                  <a:gd name="connsiteY11" fmla="*/ 428383 h 481215"/>
                  <a:gd name="connsiteX12" fmla="*/ 167298 w 648279"/>
                  <a:gd name="connsiteY12" fmla="*/ 412506 h 481215"/>
                  <a:gd name="connsiteX13" fmla="*/ 0 w 648279"/>
                  <a:gd name="connsiteY13" fmla="*/ 28248 h 481215"/>
                  <a:gd name="connsiteX14" fmla="*/ 63183 w 648279"/>
                  <a:gd name="connsiteY14" fmla="*/ 0 h 481215"/>
                  <a:gd name="connsiteX0" fmla="*/ 63183 w 648279"/>
                  <a:gd name="connsiteY0" fmla="*/ 0 h 481215"/>
                  <a:gd name="connsiteX1" fmla="*/ 138690 w 648279"/>
                  <a:gd name="connsiteY1" fmla="*/ 167844 h 481215"/>
                  <a:gd name="connsiteX2" fmla="*/ 446769 w 648279"/>
                  <a:gd name="connsiteY2" fmla="*/ 168118 h 481215"/>
                  <a:gd name="connsiteX3" fmla="*/ 446769 w 648279"/>
                  <a:gd name="connsiteY3" fmla="*/ 111119 h 481215"/>
                  <a:gd name="connsiteX4" fmla="*/ 648279 w 648279"/>
                  <a:gd name="connsiteY4" fmla="*/ 211703 h 481215"/>
                  <a:gd name="connsiteX5" fmla="*/ 446769 w 648279"/>
                  <a:gd name="connsiteY5" fmla="*/ 312287 h 481215"/>
                  <a:gd name="connsiteX6" fmla="*/ 446769 w 648279"/>
                  <a:gd name="connsiteY6" fmla="*/ 255288 h 481215"/>
                  <a:gd name="connsiteX7" fmla="*/ 178914 w 648279"/>
                  <a:gd name="connsiteY7" fmla="*/ 257547 h 481215"/>
                  <a:gd name="connsiteX8" fmla="*/ 311956 w 648279"/>
                  <a:gd name="connsiteY8" fmla="*/ 339144 h 481215"/>
                  <a:gd name="connsiteX9" fmla="*/ 271143 w 648279"/>
                  <a:gd name="connsiteY9" fmla="*/ 364698 h 481215"/>
                  <a:gd name="connsiteX10" fmla="*/ 236161 w 648279"/>
                  <a:gd name="connsiteY10" fmla="*/ 481215 h 481215"/>
                  <a:gd name="connsiteX11" fmla="*/ 124859 w 648279"/>
                  <a:gd name="connsiteY11" fmla="*/ 428383 h 481215"/>
                  <a:gd name="connsiteX12" fmla="*/ 167298 w 648279"/>
                  <a:gd name="connsiteY12" fmla="*/ 412506 h 481215"/>
                  <a:gd name="connsiteX13" fmla="*/ 0 w 648279"/>
                  <a:gd name="connsiteY13" fmla="*/ 28248 h 481215"/>
                  <a:gd name="connsiteX14" fmla="*/ 63183 w 648279"/>
                  <a:gd name="connsiteY14" fmla="*/ 0 h 481215"/>
                  <a:gd name="connsiteX0" fmla="*/ 63183 w 648279"/>
                  <a:gd name="connsiteY0" fmla="*/ 0 h 481215"/>
                  <a:gd name="connsiteX1" fmla="*/ 138690 w 648279"/>
                  <a:gd name="connsiteY1" fmla="*/ 167844 h 481215"/>
                  <a:gd name="connsiteX2" fmla="*/ 446769 w 648279"/>
                  <a:gd name="connsiteY2" fmla="*/ 168118 h 481215"/>
                  <a:gd name="connsiteX3" fmla="*/ 446769 w 648279"/>
                  <a:gd name="connsiteY3" fmla="*/ 111119 h 481215"/>
                  <a:gd name="connsiteX4" fmla="*/ 648279 w 648279"/>
                  <a:gd name="connsiteY4" fmla="*/ 211703 h 481215"/>
                  <a:gd name="connsiteX5" fmla="*/ 446769 w 648279"/>
                  <a:gd name="connsiteY5" fmla="*/ 312287 h 481215"/>
                  <a:gd name="connsiteX6" fmla="*/ 446769 w 648279"/>
                  <a:gd name="connsiteY6" fmla="*/ 255288 h 481215"/>
                  <a:gd name="connsiteX7" fmla="*/ 178914 w 648279"/>
                  <a:gd name="connsiteY7" fmla="*/ 257547 h 481215"/>
                  <a:gd name="connsiteX8" fmla="*/ 231842 w 648279"/>
                  <a:gd name="connsiteY8" fmla="*/ 381814 h 481215"/>
                  <a:gd name="connsiteX9" fmla="*/ 271143 w 648279"/>
                  <a:gd name="connsiteY9" fmla="*/ 364698 h 481215"/>
                  <a:gd name="connsiteX10" fmla="*/ 236161 w 648279"/>
                  <a:gd name="connsiteY10" fmla="*/ 481215 h 481215"/>
                  <a:gd name="connsiteX11" fmla="*/ 124859 w 648279"/>
                  <a:gd name="connsiteY11" fmla="*/ 428383 h 481215"/>
                  <a:gd name="connsiteX12" fmla="*/ 167298 w 648279"/>
                  <a:gd name="connsiteY12" fmla="*/ 412506 h 481215"/>
                  <a:gd name="connsiteX13" fmla="*/ 0 w 648279"/>
                  <a:gd name="connsiteY13" fmla="*/ 28248 h 481215"/>
                  <a:gd name="connsiteX14" fmla="*/ 63183 w 648279"/>
                  <a:gd name="connsiteY14" fmla="*/ 0 h 481215"/>
                  <a:gd name="connsiteX0" fmla="*/ 112598 w 648279"/>
                  <a:gd name="connsiteY0" fmla="*/ 0 h 588435"/>
                  <a:gd name="connsiteX1" fmla="*/ 138690 w 648279"/>
                  <a:gd name="connsiteY1" fmla="*/ 275064 h 588435"/>
                  <a:gd name="connsiteX2" fmla="*/ 446769 w 648279"/>
                  <a:gd name="connsiteY2" fmla="*/ 275338 h 588435"/>
                  <a:gd name="connsiteX3" fmla="*/ 446769 w 648279"/>
                  <a:gd name="connsiteY3" fmla="*/ 218339 h 588435"/>
                  <a:gd name="connsiteX4" fmla="*/ 648279 w 648279"/>
                  <a:gd name="connsiteY4" fmla="*/ 318923 h 588435"/>
                  <a:gd name="connsiteX5" fmla="*/ 446769 w 648279"/>
                  <a:gd name="connsiteY5" fmla="*/ 419507 h 588435"/>
                  <a:gd name="connsiteX6" fmla="*/ 446769 w 648279"/>
                  <a:gd name="connsiteY6" fmla="*/ 362508 h 588435"/>
                  <a:gd name="connsiteX7" fmla="*/ 178914 w 648279"/>
                  <a:gd name="connsiteY7" fmla="*/ 364767 h 588435"/>
                  <a:gd name="connsiteX8" fmla="*/ 231842 w 648279"/>
                  <a:gd name="connsiteY8" fmla="*/ 489034 h 588435"/>
                  <a:gd name="connsiteX9" fmla="*/ 271143 w 648279"/>
                  <a:gd name="connsiteY9" fmla="*/ 471918 h 588435"/>
                  <a:gd name="connsiteX10" fmla="*/ 236161 w 648279"/>
                  <a:gd name="connsiteY10" fmla="*/ 588435 h 588435"/>
                  <a:gd name="connsiteX11" fmla="*/ 124859 w 648279"/>
                  <a:gd name="connsiteY11" fmla="*/ 535603 h 588435"/>
                  <a:gd name="connsiteX12" fmla="*/ 167298 w 648279"/>
                  <a:gd name="connsiteY12" fmla="*/ 519726 h 588435"/>
                  <a:gd name="connsiteX13" fmla="*/ 0 w 648279"/>
                  <a:gd name="connsiteY13" fmla="*/ 135468 h 588435"/>
                  <a:gd name="connsiteX14" fmla="*/ 112598 w 648279"/>
                  <a:gd name="connsiteY14" fmla="*/ 0 h 588435"/>
                  <a:gd name="connsiteX0" fmla="*/ 66317 w 648279"/>
                  <a:gd name="connsiteY0" fmla="*/ 0 h 479983"/>
                  <a:gd name="connsiteX1" fmla="*/ 138690 w 648279"/>
                  <a:gd name="connsiteY1" fmla="*/ 166612 h 479983"/>
                  <a:gd name="connsiteX2" fmla="*/ 446769 w 648279"/>
                  <a:gd name="connsiteY2" fmla="*/ 166886 h 479983"/>
                  <a:gd name="connsiteX3" fmla="*/ 446769 w 648279"/>
                  <a:gd name="connsiteY3" fmla="*/ 109887 h 479983"/>
                  <a:gd name="connsiteX4" fmla="*/ 648279 w 648279"/>
                  <a:gd name="connsiteY4" fmla="*/ 210471 h 479983"/>
                  <a:gd name="connsiteX5" fmla="*/ 446769 w 648279"/>
                  <a:gd name="connsiteY5" fmla="*/ 311055 h 479983"/>
                  <a:gd name="connsiteX6" fmla="*/ 446769 w 648279"/>
                  <a:gd name="connsiteY6" fmla="*/ 254056 h 479983"/>
                  <a:gd name="connsiteX7" fmla="*/ 178914 w 648279"/>
                  <a:gd name="connsiteY7" fmla="*/ 256315 h 479983"/>
                  <a:gd name="connsiteX8" fmla="*/ 231842 w 648279"/>
                  <a:gd name="connsiteY8" fmla="*/ 380582 h 479983"/>
                  <a:gd name="connsiteX9" fmla="*/ 271143 w 648279"/>
                  <a:gd name="connsiteY9" fmla="*/ 363466 h 479983"/>
                  <a:gd name="connsiteX10" fmla="*/ 236161 w 648279"/>
                  <a:gd name="connsiteY10" fmla="*/ 479983 h 479983"/>
                  <a:gd name="connsiteX11" fmla="*/ 124859 w 648279"/>
                  <a:gd name="connsiteY11" fmla="*/ 427151 h 479983"/>
                  <a:gd name="connsiteX12" fmla="*/ 167298 w 648279"/>
                  <a:gd name="connsiteY12" fmla="*/ 411274 h 479983"/>
                  <a:gd name="connsiteX13" fmla="*/ 0 w 648279"/>
                  <a:gd name="connsiteY13" fmla="*/ 27016 h 479983"/>
                  <a:gd name="connsiteX14" fmla="*/ 66317 w 648279"/>
                  <a:gd name="connsiteY14" fmla="*/ 0 h 479983"/>
                  <a:gd name="connsiteX0" fmla="*/ 66317 w 648279"/>
                  <a:gd name="connsiteY0" fmla="*/ 0 h 479983"/>
                  <a:gd name="connsiteX1" fmla="*/ 218494 w 648279"/>
                  <a:gd name="connsiteY1" fmla="*/ 69538 h 479983"/>
                  <a:gd name="connsiteX2" fmla="*/ 446769 w 648279"/>
                  <a:gd name="connsiteY2" fmla="*/ 166886 h 479983"/>
                  <a:gd name="connsiteX3" fmla="*/ 446769 w 648279"/>
                  <a:gd name="connsiteY3" fmla="*/ 109887 h 479983"/>
                  <a:gd name="connsiteX4" fmla="*/ 648279 w 648279"/>
                  <a:gd name="connsiteY4" fmla="*/ 210471 h 479983"/>
                  <a:gd name="connsiteX5" fmla="*/ 446769 w 648279"/>
                  <a:gd name="connsiteY5" fmla="*/ 311055 h 479983"/>
                  <a:gd name="connsiteX6" fmla="*/ 446769 w 648279"/>
                  <a:gd name="connsiteY6" fmla="*/ 254056 h 479983"/>
                  <a:gd name="connsiteX7" fmla="*/ 178914 w 648279"/>
                  <a:gd name="connsiteY7" fmla="*/ 256315 h 479983"/>
                  <a:gd name="connsiteX8" fmla="*/ 231842 w 648279"/>
                  <a:gd name="connsiteY8" fmla="*/ 380582 h 479983"/>
                  <a:gd name="connsiteX9" fmla="*/ 271143 w 648279"/>
                  <a:gd name="connsiteY9" fmla="*/ 363466 h 479983"/>
                  <a:gd name="connsiteX10" fmla="*/ 236161 w 648279"/>
                  <a:gd name="connsiteY10" fmla="*/ 479983 h 479983"/>
                  <a:gd name="connsiteX11" fmla="*/ 124859 w 648279"/>
                  <a:gd name="connsiteY11" fmla="*/ 427151 h 479983"/>
                  <a:gd name="connsiteX12" fmla="*/ 167298 w 648279"/>
                  <a:gd name="connsiteY12" fmla="*/ 411274 h 479983"/>
                  <a:gd name="connsiteX13" fmla="*/ 0 w 648279"/>
                  <a:gd name="connsiteY13" fmla="*/ 27016 h 479983"/>
                  <a:gd name="connsiteX14" fmla="*/ 66317 w 648279"/>
                  <a:gd name="connsiteY14" fmla="*/ 0 h 479983"/>
                  <a:gd name="connsiteX0" fmla="*/ 66317 w 648279"/>
                  <a:gd name="connsiteY0" fmla="*/ 0 h 479983"/>
                  <a:gd name="connsiteX1" fmla="*/ 139923 w 648279"/>
                  <a:gd name="connsiteY1" fmla="*/ 163478 h 479983"/>
                  <a:gd name="connsiteX2" fmla="*/ 446769 w 648279"/>
                  <a:gd name="connsiteY2" fmla="*/ 166886 h 479983"/>
                  <a:gd name="connsiteX3" fmla="*/ 446769 w 648279"/>
                  <a:gd name="connsiteY3" fmla="*/ 109887 h 479983"/>
                  <a:gd name="connsiteX4" fmla="*/ 648279 w 648279"/>
                  <a:gd name="connsiteY4" fmla="*/ 210471 h 479983"/>
                  <a:gd name="connsiteX5" fmla="*/ 446769 w 648279"/>
                  <a:gd name="connsiteY5" fmla="*/ 311055 h 479983"/>
                  <a:gd name="connsiteX6" fmla="*/ 446769 w 648279"/>
                  <a:gd name="connsiteY6" fmla="*/ 254056 h 479983"/>
                  <a:gd name="connsiteX7" fmla="*/ 178914 w 648279"/>
                  <a:gd name="connsiteY7" fmla="*/ 256315 h 479983"/>
                  <a:gd name="connsiteX8" fmla="*/ 231842 w 648279"/>
                  <a:gd name="connsiteY8" fmla="*/ 380582 h 479983"/>
                  <a:gd name="connsiteX9" fmla="*/ 271143 w 648279"/>
                  <a:gd name="connsiteY9" fmla="*/ 363466 h 479983"/>
                  <a:gd name="connsiteX10" fmla="*/ 236161 w 648279"/>
                  <a:gd name="connsiteY10" fmla="*/ 479983 h 479983"/>
                  <a:gd name="connsiteX11" fmla="*/ 124859 w 648279"/>
                  <a:gd name="connsiteY11" fmla="*/ 427151 h 479983"/>
                  <a:gd name="connsiteX12" fmla="*/ 167298 w 648279"/>
                  <a:gd name="connsiteY12" fmla="*/ 411274 h 479983"/>
                  <a:gd name="connsiteX13" fmla="*/ 0 w 648279"/>
                  <a:gd name="connsiteY13" fmla="*/ 27016 h 479983"/>
                  <a:gd name="connsiteX14" fmla="*/ 66317 w 648279"/>
                  <a:gd name="connsiteY14" fmla="*/ 0 h 479983"/>
                  <a:gd name="connsiteX0" fmla="*/ 66317 w 648279"/>
                  <a:gd name="connsiteY0" fmla="*/ 0 h 479983"/>
                  <a:gd name="connsiteX1" fmla="*/ 182148 w 648279"/>
                  <a:gd name="connsiteY1" fmla="*/ 111333 h 479983"/>
                  <a:gd name="connsiteX2" fmla="*/ 446769 w 648279"/>
                  <a:gd name="connsiteY2" fmla="*/ 166886 h 479983"/>
                  <a:gd name="connsiteX3" fmla="*/ 446769 w 648279"/>
                  <a:gd name="connsiteY3" fmla="*/ 109887 h 479983"/>
                  <a:gd name="connsiteX4" fmla="*/ 648279 w 648279"/>
                  <a:gd name="connsiteY4" fmla="*/ 210471 h 479983"/>
                  <a:gd name="connsiteX5" fmla="*/ 446769 w 648279"/>
                  <a:gd name="connsiteY5" fmla="*/ 311055 h 479983"/>
                  <a:gd name="connsiteX6" fmla="*/ 446769 w 648279"/>
                  <a:gd name="connsiteY6" fmla="*/ 254056 h 479983"/>
                  <a:gd name="connsiteX7" fmla="*/ 178914 w 648279"/>
                  <a:gd name="connsiteY7" fmla="*/ 256315 h 479983"/>
                  <a:gd name="connsiteX8" fmla="*/ 231842 w 648279"/>
                  <a:gd name="connsiteY8" fmla="*/ 380582 h 479983"/>
                  <a:gd name="connsiteX9" fmla="*/ 271143 w 648279"/>
                  <a:gd name="connsiteY9" fmla="*/ 363466 h 479983"/>
                  <a:gd name="connsiteX10" fmla="*/ 236161 w 648279"/>
                  <a:gd name="connsiteY10" fmla="*/ 479983 h 479983"/>
                  <a:gd name="connsiteX11" fmla="*/ 124859 w 648279"/>
                  <a:gd name="connsiteY11" fmla="*/ 427151 h 479983"/>
                  <a:gd name="connsiteX12" fmla="*/ 167298 w 648279"/>
                  <a:gd name="connsiteY12" fmla="*/ 411274 h 479983"/>
                  <a:gd name="connsiteX13" fmla="*/ 0 w 648279"/>
                  <a:gd name="connsiteY13" fmla="*/ 27016 h 479983"/>
                  <a:gd name="connsiteX14" fmla="*/ 66317 w 648279"/>
                  <a:gd name="connsiteY14" fmla="*/ 0 h 479983"/>
                  <a:gd name="connsiteX0" fmla="*/ 66317 w 648279"/>
                  <a:gd name="connsiteY0" fmla="*/ 0 h 479983"/>
                  <a:gd name="connsiteX1" fmla="*/ 135837 w 648279"/>
                  <a:gd name="connsiteY1" fmla="*/ 160063 h 479983"/>
                  <a:gd name="connsiteX2" fmla="*/ 446769 w 648279"/>
                  <a:gd name="connsiteY2" fmla="*/ 166886 h 479983"/>
                  <a:gd name="connsiteX3" fmla="*/ 446769 w 648279"/>
                  <a:gd name="connsiteY3" fmla="*/ 109887 h 479983"/>
                  <a:gd name="connsiteX4" fmla="*/ 648279 w 648279"/>
                  <a:gd name="connsiteY4" fmla="*/ 210471 h 479983"/>
                  <a:gd name="connsiteX5" fmla="*/ 446769 w 648279"/>
                  <a:gd name="connsiteY5" fmla="*/ 311055 h 479983"/>
                  <a:gd name="connsiteX6" fmla="*/ 446769 w 648279"/>
                  <a:gd name="connsiteY6" fmla="*/ 254056 h 479983"/>
                  <a:gd name="connsiteX7" fmla="*/ 178914 w 648279"/>
                  <a:gd name="connsiteY7" fmla="*/ 256315 h 479983"/>
                  <a:gd name="connsiteX8" fmla="*/ 231842 w 648279"/>
                  <a:gd name="connsiteY8" fmla="*/ 380582 h 479983"/>
                  <a:gd name="connsiteX9" fmla="*/ 271143 w 648279"/>
                  <a:gd name="connsiteY9" fmla="*/ 363466 h 479983"/>
                  <a:gd name="connsiteX10" fmla="*/ 236161 w 648279"/>
                  <a:gd name="connsiteY10" fmla="*/ 479983 h 479983"/>
                  <a:gd name="connsiteX11" fmla="*/ 124859 w 648279"/>
                  <a:gd name="connsiteY11" fmla="*/ 427151 h 479983"/>
                  <a:gd name="connsiteX12" fmla="*/ 167298 w 648279"/>
                  <a:gd name="connsiteY12" fmla="*/ 411274 h 479983"/>
                  <a:gd name="connsiteX13" fmla="*/ 0 w 648279"/>
                  <a:gd name="connsiteY13" fmla="*/ 27016 h 479983"/>
                  <a:gd name="connsiteX14" fmla="*/ 66317 w 648279"/>
                  <a:gd name="connsiteY14" fmla="*/ 0 h 479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8279" h="479983">
                    <a:moveTo>
                      <a:pt x="66317" y="0"/>
                    </a:moveTo>
                    <a:lnTo>
                      <a:pt x="135837" y="160063"/>
                    </a:lnTo>
                    <a:lnTo>
                      <a:pt x="446769" y="166886"/>
                    </a:lnTo>
                    <a:lnTo>
                      <a:pt x="446769" y="109887"/>
                    </a:lnTo>
                    <a:lnTo>
                      <a:pt x="648279" y="210471"/>
                    </a:lnTo>
                    <a:lnTo>
                      <a:pt x="446769" y="311055"/>
                    </a:lnTo>
                    <a:lnTo>
                      <a:pt x="446769" y="254056"/>
                    </a:lnTo>
                    <a:lnTo>
                      <a:pt x="178914" y="256315"/>
                    </a:lnTo>
                    <a:lnTo>
                      <a:pt x="231842" y="380582"/>
                    </a:lnTo>
                    <a:lnTo>
                      <a:pt x="271143" y="363466"/>
                    </a:lnTo>
                    <a:lnTo>
                      <a:pt x="236161" y="479983"/>
                    </a:lnTo>
                    <a:lnTo>
                      <a:pt x="124859" y="427151"/>
                    </a:lnTo>
                    <a:lnTo>
                      <a:pt x="167298" y="411274"/>
                    </a:lnTo>
                    <a:lnTo>
                      <a:pt x="0" y="27016"/>
                    </a:lnTo>
                    <a:lnTo>
                      <a:pt x="66317" y="0"/>
                    </a:lnTo>
                    <a:close/>
                  </a:path>
                </a:pathLst>
              </a:custGeom>
              <a:noFill/>
              <a:ln w="9525">
                <a:solidFill>
                  <a:srgbClr val="1D80A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263">
                  <a:defRPr/>
                </a:pPr>
                <a:endParaRPr lang="en-US" sz="1900" b="1" dirty="0">
                  <a:solidFill>
                    <a:prstClr val="white"/>
                  </a:solidFill>
                </a:endParaRPr>
              </a:p>
            </p:txBody>
          </p:sp>
          <p:sp>
            <p:nvSpPr>
              <p:cNvPr id="29" name="TextBox 222"/>
              <p:cNvSpPr txBox="1">
                <a:spLocks noChangeArrowheads="1"/>
              </p:cNvSpPr>
              <p:nvPr/>
            </p:nvSpPr>
            <p:spPr bwMode="auto">
              <a:xfrm>
                <a:off x="1081089" y="2568575"/>
                <a:ext cx="942187" cy="357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263" eaLnBrk="0" hangingPunct="0">
                  <a:defRPr>
                    <a:solidFill>
                      <a:schemeClr val="tx1"/>
                    </a:solidFill>
                    <a:latin typeface="Arial" pitchFamily="34" charset="0"/>
                  </a:defRPr>
                </a:lvl1pPr>
                <a:lvl2pPr marL="742950" indent="-285750" defTabSz="957263" eaLnBrk="0" hangingPunct="0">
                  <a:defRPr>
                    <a:solidFill>
                      <a:schemeClr val="tx1"/>
                    </a:solidFill>
                    <a:latin typeface="Arial" pitchFamily="34" charset="0"/>
                  </a:defRPr>
                </a:lvl2pPr>
                <a:lvl3pPr marL="1143000" indent="-228600" defTabSz="957263" eaLnBrk="0" hangingPunct="0">
                  <a:defRPr>
                    <a:solidFill>
                      <a:schemeClr val="tx1"/>
                    </a:solidFill>
                    <a:latin typeface="Arial" pitchFamily="34" charset="0"/>
                  </a:defRPr>
                </a:lvl3pPr>
                <a:lvl4pPr marL="1600200" indent="-228600" defTabSz="957263" eaLnBrk="0" hangingPunct="0">
                  <a:defRPr>
                    <a:solidFill>
                      <a:schemeClr val="tx1"/>
                    </a:solidFill>
                    <a:latin typeface="Arial" pitchFamily="34" charset="0"/>
                  </a:defRPr>
                </a:lvl4pPr>
                <a:lvl5pPr marL="2057400" indent="-228600" defTabSz="957263" eaLnBrk="0" hangingPunct="0">
                  <a:defRPr>
                    <a:solidFill>
                      <a:schemeClr val="tx1"/>
                    </a:solidFill>
                    <a:latin typeface="Arial" pitchFamily="34" charset="0"/>
                  </a:defRPr>
                </a:lvl5pPr>
                <a:lvl6pPr marL="2514600" indent="-228600" defTabSz="957263" eaLnBrk="0" fontAlgn="base" hangingPunct="0">
                  <a:spcBef>
                    <a:spcPct val="0"/>
                  </a:spcBef>
                  <a:spcAft>
                    <a:spcPct val="0"/>
                  </a:spcAft>
                  <a:defRPr>
                    <a:solidFill>
                      <a:schemeClr val="tx1"/>
                    </a:solidFill>
                    <a:latin typeface="Arial" pitchFamily="34" charset="0"/>
                  </a:defRPr>
                </a:lvl6pPr>
                <a:lvl7pPr marL="2971800" indent="-228600" defTabSz="957263" eaLnBrk="0" fontAlgn="base" hangingPunct="0">
                  <a:spcBef>
                    <a:spcPct val="0"/>
                  </a:spcBef>
                  <a:spcAft>
                    <a:spcPct val="0"/>
                  </a:spcAft>
                  <a:defRPr>
                    <a:solidFill>
                      <a:schemeClr val="tx1"/>
                    </a:solidFill>
                    <a:latin typeface="Arial" pitchFamily="34" charset="0"/>
                  </a:defRPr>
                </a:lvl7pPr>
                <a:lvl8pPr marL="3429000" indent="-228600" defTabSz="957263" eaLnBrk="0" fontAlgn="base" hangingPunct="0">
                  <a:spcBef>
                    <a:spcPct val="0"/>
                  </a:spcBef>
                  <a:spcAft>
                    <a:spcPct val="0"/>
                  </a:spcAft>
                  <a:defRPr>
                    <a:solidFill>
                      <a:schemeClr val="tx1"/>
                    </a:solidFill>
                    <a:latin typeface="Arial" pitchFamily="34" charset="0"/>
                  </a:defRPr>
                </a:lvl8pPr>
                <a:lvl9pPr marL="3886200" indent="-228600" defTabSz="957263" eaLnBrk="0" fontAlgn="base" hangingPunct="0">
                  <a:spcBef>
                    <a:spcPct val="0"/>
                  </a:spcBef>
                  <a:spcAft>
                    <a:spcPct val="0"/>
                  </a:spcAft>
                  <a:defRPr>
                    <a:solidFill>
                      <a:schemeClr val="tx1"/>
                    </a:solidFill>
                    <a:latin typeface="Arial" pitchFamily="34" charset="0"/>
                  </a:defRPr>
                </a:lvl9pPr>
              </a:lstStyle>
              <a:p>
                <a:pPr eaLnBrk="1" hangingPunct="1">
                  <a:spcAft>
                    <a:spcPts val="600"/>
                  </a:spcAft>
                </a:pPr>
                <a:r>
                  <a:rPr lang="en-US" sz="1000" b="1" dirty="0">
                    <a:solidFill>
                      <a:srgbClr val="000000"/>
                    </a:solidFill>
                    <a:latin typeface="Arial"/>
                  </a:rPr>
                  <a:t>Application </a:t>
                </a:r>
                <a:br>
                  <a:rPr lang="en-US" sz="1000" b="1" dirty="0">
                    <a:solidFill>
                      <a:srgbClr val="000000"/>
                    </a:solidFill>
                    <a:latin typeface="Arial"/>
                  </a:rPr>
                </a:br>
                <a:r>
                  <a:rPr lang="en-US" sz="1000" b="1" dirty="0">
                    <a:solidFill>
                      <a:srgbClr val="000000"/>
                    </a:solidFill>
                    <a:latin typeface="Arial"/>
                  </a:rPr>
                  <a:t>Quality</a:t>
                </a:r>
              </a:p>
            </p:txBody>
          </p:sp>
          <p:grpSp>
            <p:nvGrpSpPr>
              <p:cNvPr id="32" name="Groupe 164"/>
              <p:cNvGrpSpPr>
                <a:grpSpLocks noChangeAspect="1"/>
              </p:cNvGrpSpPr>
              <p:nvPr/>
            </p:nvGrpSpPr>
            <p:grpSpPr bwMode="auto">
              <a:xfrm>
                <a:off x="552450" y="2562225"/>
                <a:ext cx="315913" cy="382588"/>
                <a:chOff x="3453122" y="2307284"/>
                <a:chExt cx="203200" cy="303227"/>
              </a:xfrm>
            </p:grpSpPr>
            <p:sp>
              <p:nvSpPr>
                <p:cNvPr id="124" name="Freeform 875"/>
                <p:cNvSpPr>
                  <a:spLocks/>
                </p:cNvSpPr>
                <p:nvPr/>
              </p:nvSpPr>
              <p:spPr bwMode="auto">
                <a:xfrm>
                  <a:off x="3453122" y="2307298"/>
                  <a:ext cx="134938" cy="150813"/>
                </a:xfrm>
                <a:custGeom>
                  <a:avLst/>
                  <a:gdLst>
                    <a:gd name="T0" fmla="*/ 48 w 85"/>
                    <a:gd name="T1" fmla="*/ 0 h 95"/>
                    <a:gd name="T2" fmla="*/ 85 w 85"/>
                    <a:gd name="T3" fmla="*/ 95 h 95"/>
                    <a:gd name="T4" fmla="*/ 37 w 85"/>
                    <a:gd name="T5" fmla="*/ 94 h 95"/>
                    <a:gd name="T6" fmla="*/ 0 w 85"/>
                    <a:gd name="T7" fmla="*/ 0 h 95"/>
                    <a:gd name="T8" fmla="*/ 0 60000 65536"/>
                    <a:gd name="T9" fmla="*/ 0 60000 65536"/>
                    <a:gd name="T10" fmla="*/ 0 60000 65536"/>
                    <a:gd name="T11" fmla="*/ 0 60000 65536"/>
                    <a:gd name="T12" fmla="*/ 0 w 85"/>
                    <a:gd name="T13" fmla="*/ 0 h 95"/>
                    <a:gd name="T14" fmla="*/ 85 w 85"/>
                    <a:gd name="T15" fmla="*/ 95 h 95"/>
                  </a:gdLst>
                  <a:ahLst/>
                  <a:cxnLst>
                    <a:cxn ang="T8">
                      <a:pos x="T0" y="T1"/>
                    </a:cxn>
                    <a:cxn ang="T9">
                      <a:pos x="T2" y="T3"/>
                    </a:cxn>
                    <a:cxn ang="T10">
                      <a:pos x="T4" y="T5"/>
                    </a:cxn>
                    <a:cxn ang="T11">
                      <a:pos x="T6" y="T7"/>
                    </a:cxn>
                  </a:cxnLst>
                  <a:rect l="T12" t="T13" r="T14" b="T15"/>
                  <a:pathLst>
                    <a:path w="85" h="95">
                      <a:moveTo>
                        <a:pt x="48" y="0"/>
                      </a:moveTo>
                      <a:lnTo>
                        <a:pt x="85" y="95"/>
                      </a:lnTo>
                      <a:lnTo>
                        <a:pt x="37" y="94"/>
                      </a:lnTo>
                      <a:lnTo>
                        <a:pt x="0" y="0"/>
                      </a:lnTo>
                    </a:path>
                  </a:pathLst>
                </a:custGeom>
                <a:noFill/>
                <a:ln w="12700" cap="rnd">
                  <a:solidFill>
                    <a:srgbClr val="1D80A7"/>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prstClr val="black"/>
                    </a:solidFill>
                  </a:endParaRPr>
                </a:p>
              </p:txBody>
            </p:sp>
            <p:sp>
              <p:nvSpPr>
                <p:cNvPr id="125" name="Freeform 876"/>
                <p:cNvSpPr>
                  <a:spLocks/>
                </p:cNvSpPr>
                <p:nvPr/>
              </p:nvSpPr>
              <p:spPr bwMode="auto">
                <a:xfrm>
                  <a:off x="3567422" y="2307284"/>
                  <a:ext cx="88900" cy="133349"/>
                </a:xfrm>
                <a:custGeom>
                  <a:avLst/>
                  <a:gdLst>
                    <a:gd name="T0" fmla="*/ 12 w 56"/>
                    <a:gd name="T1" fmla="*/ 0 h 84"/>
                    <a:gd name="T2" fmla="*/ 0 w 56"/>
                    <a:gd name="T3" fmla="*/ 28 h 84"/>
                    <a:gd name="T4" fmla="*/ 23 w 56"/>
                    <a:gd name="T5" fmla="*/ 84 h 84"/>
                    <a:gd name="T6" fmla="*/ 56 w 56"/>
                    <a:gd name="T7" fmla="*/ 1 h 84"/>
                    <a:gd name="T8" fmla="*/ 0 60000 65536"/>
                    <a:gd name="T9" fmla="*/ 0 60000 65536"/>
                    <a:gd name="T10" fmla="*/ 0 60000 65536"/>
                    <a:gd name="T11" fmla="*/ 0 60000 65536"/>
                    <a:gd name="T12" fmla="*/ 0 w 56"/>
                    <a:gd name="T13" fmla="*/ 0 h 84"/>
                    <a:gd name="T14" fmla="*/ 56 w 56"/>
                    <a:gd name="T15" fmla="*/ 84 h 84"/>
                  </a:gdLst>
                  <a:ahLst/>
                  <a:cxnLst>
                    <a:cxn ang="T8">
                      <a:pos x="T0" y="T1"/>
                    </a:cxn>
                    <a:cxn ang="T9">
                      <a:pos x="T2" y="T3"/>
                    </a:cxn>
                    <a:cxn ang="T10">
                      <a:pos x="T4" y="T5"/>
                    </a:cxn>
                    <a:cxn ang="T11">
                      <a:pos x="T6" y="T7"/>
                    </a:cxn>
                  </a:cxnLst>
                  <a:rect l="T12" t="T13" r="T14" b="T15"/>
                  <a:pathLst>
                    <a:path w="56" h="84">
                      <a:moveTo>
                        <a:pt x="12" y="0"/>
                      </a:moveTo>
                      <a:lnTo>
                        <a:pt x="0" y="28"/>
                      </a:lnTo>
                      <a:lnTo>
                        <a:pt x="23" y="84"/>
                      </a:lnTo>
                      <a:lnTo>
                        <a:pt x="56" y="1"/>
                      </a:lnTo>
                    </a:path>
                  </a:pathLst>
                </a:custGeom>
                <a:noFill/>
                <a:ln w="12700" cap="rnd">
                  <a:solidFill>
                    <a:srgbClr val="1D80A7"/>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prstClr val="black"/>
                    </a:solidFill>
                  </a:endParaRPr>
                </a:p>
              </p:txBody>
            </p:sp>
            <p:sp>
              <p:nvSpPr>
                <p:cNvPr id="126" name="Freeform 877"/>
                <p:cNvSpPr>
                  <a:spLocks/>
                </p:cNvSpPr>
                <p:nvPr/>
              </p:nvSpPr>
              <p:spPr bwMode="auto">
                <a:xfrm>
                  <a:off x="3489635" y="2475573"/>
                  <a:ext cx="130175" cy="134938"/>
                </a:xfrm>
                <a:custGeom>
                  <a:avLst/>
                  <a:gdLst>
                    <a:gd name="T0" fmla="*/ 58 w 97"/>
                    <a:gd name="T1" fmla="*/ 5 h 101"/>
                    <a:gd name="T2" fmla="*/ 48 w 97"/>
                    <a:gd name="T3" fmla="*/ 0 h 101"/>
                    <a:gd name="T4" fmla="*/ 39 w 97"/>
                    <a:gd name="T5" fmla="*/ 5 h 101"/>
                    <a:gd name="T6" fmla="*/ 0 w 97"/>
                    <a:gd name="T7" fmla="*/ 52 h 101"/>
                    <a:gd name="T8" fmla="*/ 48 w 97"/>
                    <a:gd name="T9" fmla="*/ 101 h 101"/>
                    <a:gd name="T10" fmla="*/ 97 w 97"/>
                    <a:gd name="T11" fmla="*/ 52 h 101"/>
                    <a:gd name="T12" fmla="*/ 58 w 97"/>
                    <a:gd name="T13" fmla="*/ 5 h 101"/>
                    <a:gd name="T14" fmla="*/ 0 60000 65536"/>
                    <a:gd name="T15" fmla="*/ 0 60000 65536"/>
                    <a:gd name="T16" fmla="*/ 0 60000 65536"/>
                    <a:gd name="T17" fmla="*/ 0 60000 65536"/>
                    <a:gd name="T18" fmla="*/ 0 60000 65536"/>
                    <a:gd name="T19" fmla="*/ 0 60000 65536"/>
                    <a:gd name="T20" fmla="*/ 0 60000 65536"/>
                    <a:gd name="T21" fmla="*/ 0 w 97"/>
                    <a:gd name="T22" fmla="*/ 0 h 101"/>
                    <a:gd name="T23" fmla="*/ 97 w 97"/>
                    <a:gd name="T24" fmla="*/ 101 h 10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7" h="101">
                      <a:moveTo>
                        <a:pt x="58" y="5"/>
                      </a:moveTo>
                      <a:cubicBezTo>
                        <a:pt x="56" y="2"/>
                        <a:pt x="52" y="0"/>
                        <a:pt x="48" y="0"/>
                      </a:cubicBezTo>
                      <a:cubicBezTo>
                        <a:pt x="45" y="0"/>
                        <a:pt x="41" y="2"/>
                        <a:pt x="39" y="5"/>
                      </a:cubicBezTo>
                      <a:cubicBezTo>
                        <a:pt x="17" y="9"/>
                        <a:pt x="0" y="29"/>
                        <a:pt x="0" y="52"/>
                      </a:cubicBezTo>
                      <a:cubicBezTo>
                        <a:pt x="0" y="79"/>
                        <a:pt x="22" y="101"/>
                        <a:pt x="48" y="101"/>
                      </a:cubicBezTo>
                      <a:cubicBezTo>
                        <a:pt x="75" y="101"/>
                        <a:pt x="97" y="79"/>
                        <a:pt x="97" y="52"/>
                      </a:cubicBezTo>
                      <a:cubicBezTo>
                        <a:pt x="97" y="29"/>
                        <a:pt x="80" y="9"/>
                        <a:pt x="58" y="5"/>
                      </a:cubicBezTo>
                      <a:close/>
                    </a:path>
                  </a:pathLst>
                </a:custGeom>
                <a:noFill/>
                <a:ln w="12700" cap="rnd">
                  <a:solidFill>
                    <a:srgbClr val="1D80A7"/>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prstClr val="black"/>
                    </a:solidFill>
                  </a:endParaRPr>
                </a:p>
              </p:txBody>
            </p:sp>
            <p:sp>
              <p:nvSpPr>
                <p:cNvPr id="127" name="Freeform 878"/>
                <p:cNvSpPr>
                  <a:spLocks/>
                </p:cNvSpPr>
                <p:nvPr/>
              </p:nvSpPr>
              <p:spPr bwMode="auto">
                <a:xfrm>
                  <a:off x="3511860" y="2500973"/>
                  <a:ext cx="87313" cy="82550"/>
                </a:xfrm>
                <a:custGeom>
                  <a:avLst/>
                  <a:gdLst>
                    <a:gd name="T0" fmla="*/ 37 w 55"/>
                    <a:gd name="T1" fmla="*/ 17 h 52"/>
                    <a:gd name="T2" fmla="*/ 55 w 55"/>
                    <a:gd name="T3" fmla="*/ 20 h 52"/>
                    <a:gd name="T4" fmla="*/ 42 w 55"/>
                    <a:gd name="T5" fmla="*/ 33 h 52"/>
                    <a:gd name="T6" fmla="*/ 45 w 55"/>
                    <a:gd name="T7" fmla="*/ 52 h 52"/>
                    <a:gd name="T8" fmla="*/ 28 w 55"/>
                    <a:gd name="T9" fmla="*/ 43 h 52"/>
                    <a:gd name="T10" fmla="*/ 11 w 55"/>
                    <a:gd name="T11" fmla="*/ 52 h 52"/>
                    <a:gd name="T12" fmla="*/ 14 w 55"/>
                    <a:gd name="T13" fmla="*/ 33 h 52"/>
                    <a:gd name="T14" fmla="*/ 0 w 55"/>
                    <a:gd name="T15" fmla="*/ 20 h 52"/>
                    <a:gd name="T16" fmla="*/ 20 w 55"/>
                    <a:gd name="T17" fmla="*/ 17 h 52"/>
                    <a:gd name="T18" fmla="*/ 28 w 55"/>
                    <a:gd name="T19" fmla="*/ 0 h 52"/>
                    <a:gd name="T20" fmla="*/ 37 w 55"/>
                    <a:gd name="T21" fmla="*/ 17 h 5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52"/>
                    <a:gd name="T35" fmla="*/ 55 w 55"/>
                    <a:gd name="T36" fmla="*/ 52 h 5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52">
                      <a:moveTo>
                        <a:pt x="37" y="17"/>
                      </a:moveTo>
                      <a:lnTo>
                        <a:pt x="55" y="20"/>
                      </a:lnTo>
                      <a:lnTo>
                        <a:pt x="42" y="33"/>
                      </a:lnTo>
                      <a:lnTo>
                        <a:pt x="45" y="52"/>
                      </a:lnTo>
                      <a:lnTo>
                        <a:pt x="28" y="43"/>
                      </a:lnTo>
                      <a:lnTo>
                        <a:pt x="11" y="52"/>
                      </a:lnTo>
                      <a:lnTo>
                        <a:pt x="14" y="33"/>
                      </a:lnTo>
                      <a:lnTo>
                        <a:pt x="0" y="20"/>
                      </a:lnTo>
                      <a:lnTo>
                        <a:pt x="20" y="17"/>
                      </a:lnTo>
                      <a:lnTo>
                        <a:pt x="28" y="0"/>
                      </a:lnTo>
                      <a:lnTo>
                        <a:pt x="37" y="17"/>
                      </a:lnTo>
                      <a:close/>
                    </a:path>
                  </a:pathLst>
                </a:custGeom>
                <a:noFill/>
                <a:ln w="12700" cap="rnd">
                  <a:solidFill>
                    <a:srgbClr val="1D80A7"/>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prstClr val="black"/>
                    </a:solidFill>
                  </a:endParaRPr>
                </a:p>
              </p:txBody>
            </p:sp>
          </p:grpSp>
          <p:sp>
            <p:nvSpPr>
              <p:cNvPr id="31" name="TextBox 224"/>
              <p:cNvSpPr txBox="1">
                <a:spLocks noChangeArrowheads="1"/>
              </p:cNvSpPr>
              <p:nvPr/>
            </p:nvSpPr>
            <p:spPr bwMode="auto">
              <a:xfrm>
                <a:off x="1081089" y="4900613"/>
                <a:ext cx="886520" cy="357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263" eaLnBrk="0" hangingPunct="0">
                  <a:defRPr>
                    <a:solidFill>
                      <a:schemeClr val="tx1"/>
                    </a:solidFill>
                    <a:latin typeface="Arial" pitchFamily="34" charset="0"/>
                  </a:defRPr>
                </a:lvl1pPr>
                <a:lvl2pPr marL="742950" indent="-285750" defTabSz="957263" eaLnBrk="0" hangingPunct="0">
                  <a:defRPr>
                    <a:solidFill>
                      <a:schemeClr val="tx1"/>
                    </a:solidFill>
                    <a:latin typeface="Arial" pitchFamily="34" charset="0"/>
                  </a:defRPr>
                </a:lvl2pPr>
                <a:lvl3pPr marL="1143000" indent="-228600" defTabSz="957263" eaLnBrk="0" hangingPunct="0">
                  <a:defRPr>
                    <a:solidFill>
                      <a:schemeClr val="tx1"/>
                    </a:solidFill>
                    <a:latin typeface="Arial" pitchFamily="34" charset="0"/>
                  </a:defRPr>
                </a:lvl3pPr>
                <a:lvl4pPr marL="1600200" indent="-228600" defTabSz="957263" eaLnBrk="0" hangingPunct="0">
                  <a:defRPr>
                    <a:solidFill>
                      <a:schemeClr val="tx1"/>
                    </a:solidFill>
                    <a:latin typeface="Arial" pitchFamily="34" charset="0"/>
                  </a:defRPr>
                </a:lvl4pPr>
                <a:lvl5pPr marL="2057400" indent="-228600" defTabSz="957263" eaLnBrk="0" hangingPunct="0">
                  <a:defRPr>
                    <a:solidFill>
                      <a:schemeClr val="tx1"/>
                    </a:solidFill>
                    <a:latin typeface="Arial" pitchFamily="34" charset="0"/>
                  </a:defRPr>
                </a:lvl5pPr>
                <a:lvl6pPr marL="2514600" indent="-228600" defTabSz="957263" eaLnBrk="0" fontAlgn="base" hangingPunct="0">
                  <a:spcBef>
                    <a:spcPct val="0"/>
                  </a:spcBef>
                  <a:spcAft>
                    <a:spcPct val="0"/>
                  </a:spcAft>
                  <a:defRPr>
                    <a:solidFill>
                      <a:schemeClr val="tx1"/>
                    </a:solidFill>
                    <a:latin typeface="Arial" pitchFamily="34" charset="0"/>
                  </a:defRPr>
                </a:lvl6pPr>
                <a:lvl7pPr marL="2971800" indent="-228600" defTabSz="957263" eaLnBrk="0" fontAlgn="base" hangingPunct="0">
                  <a:spcBef>
                    <a:spcPct val="0"/>
                  </a:spcBef>
                  <a:spcAft>
                    <a:spcPct val="0"/>
                  </a:spcAft>
                  <a:defRPr>
                    <a:solidFill>
                      <a:schemeClr val="tx1"/>
                    </a:solidFill>
                    <a:latin typeface="Arial" pitchFamily="34" charset="0"/>
                  </a:defRPr>
                </a:lvl7pPr>
                <a:lvl8pPr marL="3429000" indent="-228600" defTabSz="957263" eaLnBrk="0" fontAlgn="base" hangingPunct="0">
                  <a:spcBef>
                    <a:spcPct val="0"/>
                  </a:spcBef>
                  <a:spcAft>
                    <a:spcPct val="0"/>
                  </a:spcAft>
                  <a:defRPr>
                    <a:solidFill>
                      <a:schemeClr val="tx1"/>
                    </a:solidFill>
                    <a:latin typeface="Arial" pitchFamily="34" charset="0"/>
                  </a:defRPr>
                </a:lvl8pPr>
                <a:lvl9pPr marL="3886200" indent="-228600" defTabSz="957263" eaLnBrk="0" fontAlgn="base" hangingPunct="0">
                  <a:spcBef>
                    <a:spcPct val="0"/>
                  </a:spcBef>
                  <a:spcAft>
                    <a:spcPct val="0"/>
                  </a:spcAft>
                  <a:defRPr>
                    <a:solidFill>
                      <a:schemeClr val="tx1"/>
                    </a:solidFill>
                    <a:latin typeface="Arial" pitchFamily="34" charset="0"/>
                  </a:defRPr>
                </a:lvl9pPr>
              </a:lstStyle>
              <a:p>
                <a:pPr eaLnBrk="1" hangingPunct="1">
                  <a:spcAft>
                    <a:spcPts val="600"/>
                  </a:spcAft>
                </a:pPr>
                <a:r>
                  <a:rPr lang="en-US" sz="1000" b="1" dirty="0">
                    <a:solidFill>
                      <a:srgbClr val="000000"/>
                    </a:solidFill>
                    <a:latin typeface="Arial"/>
                  </a:rPr>
                  <a:t>Seamless </a:t>
                </a:r>
                <a:br>
                  <a:rPr lang="en-US" sz="1000" b="1" dirty="0">
                    <a:solidFill>
                      <a:srgbClr val="000000"/>
                    </a:solidFill>
                    <a:latin typeface="Arial"/>
                  </a:rPr>
                </a:br>
                <a:r>
                  <a:rPr lang="en-US" sz="1000" b="1" dirty="0">
                    <a:solidFill>
                      <a:srgbClr val="000000"/>
                    </a:solidFill>
                    <a:latin typeface="Arial"/>
                  </a:rPr>
                  <a:t>Transitions</a:t>
                </a:r>
              </a:p>
            </p:txBody>
          </p:sp>
          <p:grpSp>
            <p:nvGrpSpPr>
              <p:cNvPr id="33" name="Group 170"/>
              <p:cNvGrpSpPr>
                <a:grpSpLocks/>
              </p:cNvGrpSpPr>
              <p:nvPr/>
            </p:nvGrpSpPr>
            <p:grpSpPr bwMode="auto">
              <a:xfrm>
                <a:off x="444500" y="4881563"/>
                <a:ext cx="511175" cy="311150"/>
                <a:chOff x="7615201" y="1878755"/>
                <a:chExt cx="454855" cy="341417"/>
              </a:xfrm>
            </p:grpSpPr>
            <p:sp>
              <p:nvSpPr>
                <p:cNvPr id="113" name="Freeform 112"/>
                <p:cNvSpPr/>
                <p:nvPr/>
              </p:nvSpPr>
              <p:spPr>
                <a:xfrm>
                  <a:off x="7698544" y="1936238"/>
                  <a:ext cx="278280" cy="273483"/>
                </a:xfrm>
                <a:custGeom>
                  <a:avLst/>
                  <a:gdLst>
                    <a:gd name="connsiteX0" fmla="*/ 0 w 845389"/>
                    <a:gd name="connsiteY0" fmla="*/ 0 h 759124"/>
                    <a:gd name="connsiteX1" fmla="*/ 845389 w 845389"/>
                    <a:gd name="connsiteY1" fmla="*/ 0 h 759124"/>
                    <a:gd name="connsiteX2" fmla="*/ 845389 w 845389"/>
                    <a:gd name="connsiteY2" fmla="*/ 759124 h 759124"/>
                    <a:gd name="connsiteX3" fmla="*/ 0 w 845389"/>
                    <a:gd name="connsiteY3" fmla="*/ 759124 h 759124"/>
                    <a:gd name="connsiteX4" fmla="*/ 0 w 845389"/>
                    <a:gd name="connsiteY4" fmla="*/ 0 h 759124"/>
                    <a:gd name="connsiteX0" fmla="*/ 224287 w 845389"/>
                    <a:gd name="connsiteY0" fmla="*/ 60384 h 759124"/>
                    <a:gd name="connsiteX1" fmla="*/ 845389 w 845389"/>
                    <a:gd name="connsiteY1" fmla="*/ 0 h 759124"/>
                    <a:gd name="connsiteX2" fmla="*/ 845389 w 845389"/>
                    <a:gd name="connsiteY2" fmla="*/ 759124 h 759124"/>
                    <a:gd name="connsiteX3" fmla="*/ 0 w 845389"/>
                    <a:gd name="connsiteY3" fmla="*/ 759124 h 759124"/>
                    <a:gd name="connsiteX4" fmla="*/ 224287 w 845389"/>
                    <a:gd name="connsiteY4" fmla="*/ 60384 h 759124"/>
                    <a:gd name="connsiteX0" fmla="*/ 224287 w 845389"/>
                    <a:gd name="connsiteY0" fmla="*/ 60384 h 759124"/>
                    <a:gd name="connsiteX1" fmla="*/ 845389 w 845389"/>
                    <a:gd name="connsiteY1" fmla="*/ 0 h 759124"/>
                    <a:gd name="connsiteX2" fmla="*/ 845389 w 845389"/>
                    <a:gd name="connsiteY2" fmla="*/ 759124 h 759124"/>
                    <a:gd name="connsiteX3" fmla="*/ 0 w 845389"/>
                    <a:gd name="connsiteY3" fmla="*/ 759124 h 759124"/>
                    <a:gd name="connsiteX4" fmla="*/ 224287 w 845389"/>
                    <a:gd name="connsiteY4" fmla="*/ 60384 h 759124"/>
                    <a:gd name="connsiteX0" fmla="*/ 224287 w 845389"/>
                    <a:gd name="connsiteY0" fmla="*/ 46007 h 744747"/>
                    <a:gd name="connsiteX1" fmla="*/ 552091 w 845389"/>
                    <a:gd name="connsiteY1" fmla="*/ 28755 h 744747"/>
                    <a:gd name="connsiteX2" fmla="*/ 845389 w 845389"/>
                    <a:gd name="connsiteY2" fmla="*/ 744747 h 744747"/>
                    <a:gd name="connsiteX3" fmla="*/ 0 w 845389"/>
                    <a:gd name="connsiteY3" fmla="*/ 744747 h 744747"/>
                    <a:gd name="connsiteX4" fmla="*/ 224287 w 845389"/>
                    <a:gd name="connsiteY4" fmla="*/ 46007 h 744747"/>
                    <a:gd name="connsiteX0" fmla="*/ 224287 w 577970"/>
                    <a:gd name="connsiteY0" fmla="*/ 46007 h 744747"/>
                    <a:gd name="connsiteX1" fmla="*/ 552091 w 577970"/>
                    <a:gd name="connsiteY1" fmla="*/ 28755 h 744747"/>
                    <a:gd name="connsiteX2" fmla="*/ 577970 w 577970"/>
                    <a:gd name="connsiteY2" fmla="*/ 278921 h 744747"/>
                    <a:gd name="connsiteX3" fmla="*/ 0 w 577970"/>
                    <a:gd name="connsiteY3" fmla="*/ 744747 h 744747"/>
                    <a:gd name="connsiteX4" fmla="*/ 224287 w 577970"/>
                    <a:gd name="connsiteY4" fmla="*/ 46007 h 744747"/>
                    <a:gd name="connsiteX0" fmla="*/ 8627 w 362310"/>
                    <a:gd name="connsiteY0" fmla="*/ 46007 h 347932"/>
                    <a:gd name="connsiteX1" fmla="*/ 336431 w 362310"/>
                    <a:gd name="connsiteY1" fmla="*/ 28755 h 347932"/>
                    <a:gd name="connsiteX2" fmla="*/ 362310 w 362310"/>
                    <a:gd name="connsiteY2" fmla="*/ 278921 h 347932"/>
                    <a:gd name="connsiteX3" fmla="*/ 0 w 362310"/>
                    <a:gd name="connsiteY3" fmla="*/ 347932 h 347932"/>
                    <a:gd name="connsiteX4" fmla="*/ 8627 w 362310"/>
                    <a:gd name="connsiteY4" fmla="*/ 46007 h 347932"/>
                    <a:gd name="connsiteX0" fmla="*/ 17252 w 370935"/>
                    <a:gd name="connsiteY0" fmla="*/ 46007 h 347932"/>
                    <a:gd name="connsiteX1" fmla="*/ 345056 w 370935"/>
                    <a:gd name="connsiteY1" fmla="*/ 28755 h 347932"/>
                    <a:gd name="connsiteX2" fmla="*/ 370935 w 370935"/>
                    <a:gd name="connsiteY2" fmla="*/ 278921 h 347932"/>
                    <a:gd name="connsiteX3" fmla="*/ 8625 w 370935"/>
                    <a:gd name="connsiteY3" fmla="*/ 347932 h 347932"/>
                    <a:gd name="connsiteX4" fmla="*/ 0 w 370935"/>
                    <a:gd name="connsiteY4" fmla="*/ 158161 h 347932"/>
                    <a:gd name="connsiteX5" fmla="*/ 17252 w 370935"/>
                    <a:gd name="connsiteY5" fmla="*/ 46007 h 347932"/>
                    <a:gd name="connsiteX0" fmla="*/ 51758 w 405441"/>
                    <a:gd name="connsiteY0" fmla="*/ 46007 h 347932"/>
                    <a:gd name="connsiteX1" fmla="*/ 379562 w 405441"/>
                    <a:gd name="connsiteY1" fmla="*/ 28755 h 347932"/>
                    <a:gd name="connsiteX2" fmla="*/ 405441 w 405441"/>
                    <a:gd name="connsiteY2" fmla="*/ 278921 h 347932"/>
                    <a:gd name="connsiteX3" fmla="*/ 43131 w 405441"/>
                    <a:gd name="connsiteY3" fmla="*/ 347932 h 347932"/>
                    <a:gd name="connsiteX4" fmla="*/ 0 w 405441"/>
                    <a:gd name="connsiteY4" fmla="*/ 296183 h 347932"/>
                    <a:gd name="connsiteX5" fmla="*/ 51758 w 405441"/>
                    <a:gd name="connsiteY5" fmla="*/ 46007 h 347932"/>
                    <a:gd name="connsiteX0" fmla="*/ 51758 w 405441"/>
                    <a:gd name="connsiteY0" fmla="*/ 46007 h 391064"/>
                    <a:gd name="connsiteX1" fmla="*/ 379562 w 405441"/>
                    <a:gd name="connsiteY1" fmla="*/ 28755 h 391064"/>
                    <a:gd name="connsiteX2" fmla="*/ 405441 w 405441"/>
                    <a:gd name="connsiteY2" fmla="*/ 278921 h 391064"/>
                    <a:gd name="connsiteX3" fmla="*/ 163901 w 405441"/>
                    <a:gd name="connsiteY3" fmla="*/ 391064 h 391064"/>
                    <a:gd name="connsiteX4" fmla="*/ 0 w 405441"/>
                    <a:gd name="connsiteY4" fmla="*/ 296183 h 391064"/>
                    <a:gd name="connsiteX5" fmla="*/ 51758 w 405441"/>
                    <a:gd name="connsiteY5" fmla="*/ 46007 h 391064"/>
                    <a:gd name="connsiteX0" fmla="*/ 51758 w 405441"/>
                    <a:gd name="connsiteY0" fmla="*/ 60383 h 405440"/>
                    <a:gd name="connsiteX1" fmla="*/ 189783 w 405441"/>
                    <a:gd name="connsiteY1" fmla="*/ 34514 h 405440"/>
                    <a:gd name="connsiteX2" fmla="*/ 379562 w 405441"/>
                    <a:gd name="connsiteY2" fmla="*/ 43131 h 405440"/>
                    <a:gd name="connsiteX3" fmla="*/ 405441 w 405441"/>
                    <a:gd name="connsiteY3" fmla="*/ 293297 h 405440"/>
                    <a:gd name="connsiteX4" fmla="*/ 163901 w 405441"/>
                    <a:gd name="connsiteY4" fmla="*/ 405440 h 405440"/>
                    <a:gd name="connsiteX5" fmla="*/ 0 w 405441"/>
                    <a:gd name="connsiteY5" fmla="*/ 310559 h 405440"/>
                    <a:gd name="connsiteX6" fmla="*/ 51758 w 405441"/>
                    <a:gd name="connsiteY6" fmla="*/ 60383 h 405440"/>
                    <a:gd name="connsiteX0" fmla="*/ 51758 w 405441"/>
                    <a:gd name="connsiteY0" fmla="*/ 63249 h 408306"/>
                    <a:gd name="connsiteX1" fmla="*/ 198410 w 405441"/>
                    <a:gd name="connsiteY1" fmla="*/ 2875 h 408306"/>
                    <a:gd name="connsiteX2" fmla="*/ 379562 w 405441"/>
                    <a:gd name="connsiteY2" fmla="*/ 45997 h 408306"/>
                    <a:gd name="connsiteX3" fmla="*/ 405441 w 405441"/>
                    <a:gd name="connsiteY3" fmla="*/ 296163 h 408306"/>
                    <a:gd name="connsiteX4" fmla="*/ 163901 w 405441"/>
                    <a:gd name="connsiteY4" fmla="*/ 408306 h 408306"/>
                    <a:gd name="connsiteX5" fmla="*/ 0 w 405441"/>
                    <a:gd name="connsiteY5" fmla="*/ 313425 h 408306"/>
                    <a:gd name="connsiteX6" fmla="*/ 51758 w 405441"/>
                    <a:gd name="connsiteY6" fmla="*/ 63249 h 408306"/>
                    <a:gd name="connsiteX0" fmla="*/ 51758 w 405441"/>
                    <a:gd name="connsiteY0" fmla="*/ 63249 h 408306"/>
                    <a:gd name="connsiteX1" fmla="*/ 172097 w 405441"/>
                    <a:gd name="connsiteY1" fmla="*/ 2875 h 408306"/>
                    <a:gd name="connsiteX2" fmla="*/ 379562 w 405441"/>
                    <a:gd name="connsiteY2" fmla="*/ 45997 h 408306"/>
                    <a:gd name="connsiteX3" fmla="*/ 405441 w 405441"/>
                    <a:gd name="connsiteY3" fmla="*/ 296163 h 408306"/>
                    <a:gd name="connsiteX4" fmla="*/ 163901 w 405441"/>
                    <a:gd name="connsiteY4" fmla="*/ 408306 h 408306"/>
                    <a:gd name="connsiteX5" fmla="*/ 0 w 405441"/>
                    <a:gd name="connsiteY5" fmla="*/ 313425 h 408306"/>
                    <a:gd name="connsiteX6" fmla="*/ 51758 w 405441"/>
                    <a:gd name="connsiteY6" fmla="*/ 63249 h 408306"/>
                    <a:gd name="connsiteX0" fmla="*/ 51758 w 418598"/>
                    <a:gd name="connsiteY0" fmla="*/ 63249 h 408306"/>
                    <a:gd name="connsiteX1" fmla="*/ 172097 w 418598"/>
                    <a:gd name="connsiteY1" fmla="*/ 2875 h 408306"/>
                    <a:gd name="connsiteX2" fmla="*/ 379562 w 418598"/>
                    <a:gd name="connsiteY2" fmla="*/ 45997 h 408306"/>
                    <a:gd name="connsiteX3" fmla="*/ 418598 w 418598"/>
                    <a:gd name="connsiteY3" fmla="*/ 279717 h 408306"/>
                    <a:gd name="connsiteX4" fmla="*/ 163901 w 418598"/>
                    <a:gd name="connsiteY4" fmla="*/ 408306 h 408306"/>
                    <a:gd name="connsiteX5" fmla="*/ 0 w 418598"/>
                    <a:gd name="connsiteY5" fmla="*/ 313425 h 408306"/>
                    <a:gd name="connsiteX6" fmla="*/ 51758 w 418598"/>
                    <a:gd name="connsiteY6" fmla="*/ 63249 h 408306"/>
                    <a:gd name="connsiteX0" fmla="*/ 51758 w 408730"/>
                    <a:gd name="connsiteY0" fmla="*/ 63249 h 408306"/>
                    <a:gd name="connsiteX1" fmla="*/ 172097 w 408730"/>
                    <a:gd name="connsiteY1" fmla="*/ 2875 h 408306"/>
                    <a:gd name="connsiteX2" fmla="*/ 379562 w 408730"/>
                    <a:gd name="connsiteY2" fmla="*/ 45997 h 408306"/>
                    <a:gd name="connsiteX3" fmla="*/ 408730 w 408730"/>
                    <a:gd name="connsiteY3" fmla="*/ 289585 h 408306"/>
                    <a:gd name="connsiteX4" fmla="*/ 163901 w 408730"/>
                    <a:gd name="connsiteY4" fmla="*/ 408306 h 408306"/>
                    <a:gd name="connsiteX5" fmla="*/ 0 w 408730"/>
                    <a:gd name="connsiteY5" fmla="*/ 313425 h 408306"/>
                    <a:gd name="connsiteX6" fmla="*/ 51758 w 408730"/>
                    <a:gd name="connsiteY6" fmla="*/ 63249 h 408306"/>
                    <a:gd name="connsiteX0" fmla="*/ 51758 w 398862"/>
                    <a:gd name="connsiteY0" fmla="*/ 63249 h 408306"/>
                    <a:gd name="connsiteX1" fmla="*/ 172097 w 398862"/>
                    <a:gd name="connsiteY1" fmla="*/ 2875 h 408306"/>
                    <a:gd name="connsiteX2" fmla="*/ 379562 w 398862"/>
                    <a:gd name="connsiteY2" fmla="*/ 45997 h 408306"/>
                    <a:gd name="connsiteX3" fmla="*/ 398862 w 398862"/>
                    <a:gd name="connsiteY3" fmla="*/ 299453 h 408306"/>
                    <a:gd name="connsiteX4" fmla="*/ 163901 w 398862"/>
                    <a:gd name="connsiteY4" fmla="*/ 408306 h 408306"/>
                    <a:gd name="connsiteX5" fmla="*/ 0 w 398862"/>
                    <a:gd name="connsiteY5" fmla="*/ 313425 h 408306"/>
                    <a:gd name="connsiteX6" fmla="*/ 51758 w 398862"/>
                    <a:gd name="connsiteY6" fmla="*/ 63249 h 408306"/>
                    <a:gd name="connsiteX0" fmla="*/ 51758 w 398862"/>
                    <a:gd name="connsiteY0" fmla="*/ 63249 h 408306"/>
                    <a:gd name="connsiteX1" fmla="*/ 172097 w 398862"/>
                    <a:gd name="connsiteY1" fmla="*/ 2875 h 408306"/>
                    <a:gd name="connsiteX2" fmla="*/ 379562 w 398862"/>
                    <a:gd name="connsiteY2" fmla="*/ 45997 h 408306"/>
                    <a:gd name="connsiteX3" fmla="*/ 389431 w 398862"/>
                    <a:gd name="connsiteY3" fmla="*/ 244600 h 408306"/>
                    <a:gd name="connsiteX4" fmla="*/ 398862 w 398862"/>
                    <a:gd name="connsiteY4" fmla="*/ 299453 h 408306"/>
                    <a:gd name="connsiteX5" fmla="*/ 163901 w 398862"/>
                    <a:gd name="connsiteY5" fmla="*/ 408306 h 408306"/>
                    <a:gd name="connsiteX6" fmla="*/ 0 w 398862"/>
                    <a:gd name="connsiteY6" fmla="*/ 313425 h 408306"/>
                    <a:gd name="connsiteX7" fmla="*/ 51758 w 398862"/>
                    <a:gd name="connsiteY7" fmla="*/ 63249 h 408306"/>
                    <a:gd name="connsiteX0" fmla="*/ 51758 w 422323"/>
                    <a:gd name="connsiteY0" fmla="*/ 63249 h 408306"/>
                    <a:gd name="connsiteX1" fmla="*/ 172097 w 422323"/>
                    <a:gd name="connsiteY1" fmla="*/ 2875 h 408306"/>
                    <a:gd name="connsiteX2" fmla="*/ 379562 w 422323"/>
                    <a:gd name="connsiteY2" fmla="*/ 45997 h 408306"/>
                    <a:gd name="connsiteX3" fmla="*/ 422323 w 422323"/>
                    <a:gd name="connsiteY3" fmla="*/ 277492 h 408306"/>
                    <a:gd name="connsiteX4" fmla="*/ 398862 w 422323"/>
                    <a:gd name="connsiteY4" fmla="*/ 299453 h 408306"/>
                    <a:gd name="connsiteX5" fmla="*/ 163901 w 422323"/>
                    <a:gd name="connsiteY5" fmla="*/ 408306 h 408306"/>
                    <a:gd name="connsiteX6" fmla="*/ 0 w 422323"/>
                    <a:gd name="connsiteY6" fmla="*/ 313425 h 408306"/>
                    <a:gd name="connsiteX7" fmla="*/ 51758 w 422323"/>
                    <a:gd name="connsiteY7" fmla="*/ 63249 h 408306"/>
                    <a:gd name="connsiteX0" fmla="*/ 51758 w 398862"/>
                    <a:gd name="connsiteY0" fmla="*/ 63249 h 408306"/>
                    <a:gd name="connsiteX1" fmla="*/ 172097 w 398862"/>
                    <a:gd name="connsiteY1" fmla="*/ 2875 h 408306"/>
                    <a:gd name="connsiteX2" fmla="*/ 379562 w 398862"/>
                    <a:gd name="connsiteY2" fmla="*/ 45997 h 408306"/>
                    <a:gd name="connsiteX3" fmla="*/ 367554 w 398862"/>
                    <a:gd name="connsiteY3" fmla="*/ 232248 h 408306"/>
                    <a:gd name="connsiteX4" fmla="*/ 398862 w 398862"/>
                    <a:gd name="connsiteY4" fmla="*/ 299453 h 408306"/>
                    <a:gd name="connsiteX5" fmla="*/ 163901 w 398862"/>
                    <a:gd name="connsiteY5" fmla="*/ 408306 h 408306"/>
                    <a:gd name="connsiteX6" fmla="*/ 0 w 398862"/>
                    <a:gd name="connsiteY6" fmla="*/ 313425 h 408306"/>
                    <a:gd name="connsiteX7" fmla="*/ 51758 w 398862"/>
                    <a:gd name="connsiteY7" fmla="*/ 63249 h 408306"/>
                    <a:gd name="connsiteX0" fmla="*/ 51758 w 424704"/>
                    <a:gd name="connsiteY0" fmla="*/ 63249 h 408306"/>
                    <a:gd name="connsiteX1" fmla="*/ 172097 w 424704"/>
                    <a:gd name="connsiteY1" fmla="*/ 2875 h 408306"/>
                    <a:gd name="connsiteX2" fmla="*/ 379562 w 424704"/>
                    <a:gd name="connsiteY2" fmla="*/ 45997 h 408306"/>
                    <a:gd name="connsiteX3" fmla="*/ 424704 w 424704"/>
                    <a:gd name="connsiteY3" fmla="*/ 282255 h 408306"/>
                    <a:gd name="connsiteX4" fmla="*/ 398862 w 424704"/>
                    <a:gd name="connsiteY4" fmla="*/ 299453 h 408306"/>
                    <a:gd name="connsiteX5" fmla="*/ 163901 w 424704"/>
                    <a:gd name="connsiteY5" fmla="*/ 408306 h 408306"/>
                    <a:gd name="connsiteX6" fmla="*/ 0 w 424704"/>
                    <a:gd name="connsiteY6" fmla="*/ 313425 h 408306"/>
                    <a:gd name="connsiteX7" fmla="*/ 51758 w 424704"/>
                    <a:gd name="connsiteY7" fmla="*/ 63249 h 408306"/>
                    <a:gd name="connsiteX0" fmla="*/ 51758 w 419941"/>
                    <a:gd name="connsiteY0" fmla="*/ 63249 h 408306"/>
                    <a:gd name="connsiteX1" fmla="*/ 172097 w 419941"/>
                    <a:gd name="connsiteY1" fmla="*/ 2875 h 408306"/>
                    <a:gd name="connsiteX2" fmla="*/ 379562 w 419941"/>
                    <a:gd name="connsiteY2" fmla="*/ 45997 h 408306"/>
                    <a:gd name="connsiteX3" fmla="*/ 419941 w 419941"/>
                    <a:gd name="connsiteY3" fmla="*/ 260824 h 408306"/>
                    <a:gd name="connsiteX4" fmla="*/ 398862 w 419941"/>
                    <a:gd name="connsiteY4" fmla="*/ 299453 h 408306"/>
                    <a:gd name="connsiteX5" fmla="*/ 163901 w 419941"/>
                    <a:gd name="connsiteY5" fmla="*/ 408306 h 408306"/>
                    <a:gd name="connsiteX6" fmla="*/ 0 w 419941"/>
                    <a:gd name="connsiteY6" fmla="*/ 313425 h 408306"/>
                    <a:gd name="connsiteX7" fmla="*/ 51758 w 419941"/>
                    <a:gd name="connsiteY7" fmla="*/ 63249 h 408306"/>
                    <a:gd name="connsiteX0" fmla="*/ 51758 w 419941"/>
                    <a:gd name="connsiteY0" fmla="*/ 63249 h 408306"/>
                    <a:gd name="connsiteX1" fmla="*/ 172097 w 419941"/>
                    <a:gd name="connsiteY1" fmla="*/ 2875 h 408306"/>
                    <a:gd name="connsiteX2" fmla="*/ 379562 w 419941"/>
                    <a:gd name="connsiteY2" fmla="*/ 45997 h 408306"/>
                    <a:gd name="connsiteX3" fmla="*/ 419941 w 419941"/>
                    <a:gd name="connsiteY3" fmla="*/ 260824 h 408306"/>
                    <a:gd name="connsiteX4" fmla="*/ 415531 w 419941"/>
                    <a:gd name="connsiteY4" fmla="*/ 289928 h 408306"/>
                    <a:gd name="connsiteX5" fmla="*/ 163901 w 419941"/>
                    <a:gd name="connsiteY5" fmla="*/ 408306 h 408306"/>
                    <a:gd name="connsiteX6" fmla="*/ 0 w 419941"/>
                    <a:gd name="connsiteY6" fmla="*/ 313425 h 408306"/>
                    <a:gd name="connsiteX7" fmla="*/ 51758 w 419941"/>
                    <a:gd name="connsiteY7" fmla="*/ 63249 h 408306"/>
                    <a:gd name="connsiteX0" fmla="*/ 51758 w 415531"/>
                    <a:gd name="connsiteY0" fmla="*/ 63249 h 408306"/>
                    <a:gd name="connsiteX1" fmla="*/ 172097 w 415531"/>
                    <a:gd name="connsiteY1" fmla="*/ 2875 h 408306"/>
                    <a:gd name="connsiteX2" fmla="*/ 379562 w 415531"/>
                    <a:gd name="connsiteY2" fmla="*/ 45997 h 408306"/>
                    <a:gd name="connsiteX3" fmla="*/ 412797 w 415531"/>
                    <a:gd name="connsiteY3" fmla="*/ 260824 h 408306"/>
                    <a:gd name="connsiteX4" fmla="*/ 415531 w 415531"/>
                    <a:gd name="connsiteY4" fmla="*/ 289928 h 408306"/>
                    <a:gd name="connsiteX5" fmla="*/ 163901 w 415531"/>
                    <a:gd name="connsiteY5" fmla="*/ 408306 h 408306"/>
                    <a:gd name="connsiteX6" fmla="*/ 0 w 415531"/>
                    <a:gd name="connsiteY6" fmla="*/ 313425 h 408306"/>
                    <a:gd name="connsiteX7" fmla="*/ 51758 w 415531"/>
                    <a:gd name="connsiteY7" fmla="*/ 63249 h 408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5531" h="408306">
                      <a:moveTo>
                        <a:pt x="51758" y="63249"/>
                      </a:moveTo>
                      <a:cubicBezTo>
                        <a:pt x="83389" y="17241"/>
                        <a:pt x="117463" y="5750"/>
                        <a:pt x="172097" y="2875"/>
                      </a:cubicBezTo>
                      <a:cubicBezTo>
                        <a:pt x="226731" y="0"/>
                        <a:pt x="343340" y="5710"/>
                        <a:pt x="379562" y="45997"/>
                      </a:cubicBezTo>
                      <a:lnTo>
                        <a:pt x="412797" y="260824"/>
                      </a:lnTo>
                      <a:lnTo>
                        <a:pt x="415531" y="289928"/>
                      </a:lnTo>
                      <a:lnTo>
                        <a:pt x="163901" y="408306"/>
                      </a:lnTo>
                      <a:lnTo>
                        <a:pt x="0" y="313425"/>
                      </a:lnTo>
                      <a:lnTo>
                        <a:pt x="51758" y="63249"/>
                      </a:lnTo>
                      <a:close/>
                    </a:path>
                  </a:pathLst>
                </a:custGeom>
                <a:solidFill>
                  <a:schemeClr val="bg1"/>
                </a:solidFill>
                <a:ln w="9525">
                  <a:solidFill>
                    <a:srgbClr val="1D80A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263">
                    <a:defRPr/>
                  </a:pPr>
                  <a:endParaRPr lang="en-US" sz="2400" b="1" dirty="0">
                    <a:solidFill>
                      <a:srgbClr val="969696">
                        <a:lumMod val="50000"/>
                      </a:srgbClr>
                    </a:solidFill>
                  </a:endParaRPr>
                </a:p>
              </p:txBody>
            </p:sp>
            <p:sp>
              <p:nvSpPr>
                <p:cNvPr id="114" name="Freeform 295"/>
                <p:cNvSpPr>
                  <a:spLocks/>
                </p:cNvSpPr>
                <p:nvPr/>
              </p:nvSpPr>
              <p:spPr bwMode="auto">
                <a:xfrm rot="8040000">
                  <a:off x="7816329" y="2142734"/>
                  <a:ext cx="45719" cy="89853"/>
                </a:xfrm>
                <a:custGeom>
                  <a:avLst/>
                  <a:gdLst>
                    <a:gd name="T0" fmla="*/ 17 w 24"/>
                    <a:gd name="T1" fmla="*/ 0 h 35"/>
                    <a:gd name="T2" fmla="*/ 17 w 24"/>
                    <a:gd name="T3" fmla="*/ 0 h 35"/>
                    <a:gd name="T4" fmla="*/ 17 w 24"/>
                    <a:gd name="T5" fmla="*/ 0 h 35"/>
                    <a:gd name="T6" fmla="*/ 20 w 24"/>
                    <a:gd name="T7" fmla="*/ 3 h 35"/>
                    <a:gd name="T8" fmla="*/ 22 w 24"/>
                    <a:gd name="T9" fmla="*/ 5 h 35"/>
                    <a:gd name="T10" fmla="*/ 24 w 24"/>
                    <a:gd name="T11" fmla="*/ 9 h 35"/>
                    <a:gd name="T12" fmla="*/ 22 w 24"/>
                    <a:gd name="T13" fmla="*/ 14 h 35"/>
                    <a:gd name="T14" fmla="*/ 19 w 24"/>
                    <a:gd name="T15" fmla="*/ 27 h 35"/>
                    <a:gd name="T16" fmla="*/ 19 w 24"/>
                    <a:gd name="T17" fmla="*/ 27 h 35"/>
                    <a:gd name="T18" fmla="*/ 16 w 24"/>
                    <a:gd name="T19" fmla="*/ 31 h 35"/>
                    <a:gd name="T20" fmla="*/ 14 w 24"/>
                    <a:gd name="T21" fmla="*/ 33 h 35"/>
                    <a:gd name="T22" fmla="*/ 10 w 24"/>
                    <a:gd name="T23" fmla="*/ 35 h 35"/>
                    <a:gd name="T24" fmla="*/ 6 w 24"/>
                    <a:gd name="T25" fmla="*/ 33 h 35"/>
                    <a:gd name="T26" fmla="*/ 6 w 24"/>
                    <a:gd name="T27" fmla="*/ 33 h 35"/>
                    <a:gd name="T28" fmla="*/ 2 w 24"/>
                    <a:gd name="T29" fmla="*/ 32 h 35"/>
                    <a:gd name="T30" fmla="*/ 0 w 24"/>
                    <a:gd name="T31" fmla="*/ 28 h 35"/>
                    <a:gd name="T32" fmla="*/ 0 w 24"/>
                    <a:gd name="T33" fmla="*/ 24 h 35"/>
                    <a:gd name="T34" fmla="*/ 0 w 24"/>
                    <a:gd name="T35" fmla="*/ 21 h 35"/>
                    <a:gd name="T36" fmla="*/ 5 w 24"/>
                    <a:gd name="T37" fmla="*/ 8 h 35"/>
                    <a:gd name="T38" fmla="*/ 5 w 24"/>
                    <a:gd name="T39" fmla="*/ 8 h 35"/>
                    <a:gd name="T40" fmla="*/ 6 w 24"/>
                    <a:gd name="T41" fmla="*/ 4 h 35"/>
                    <a:gd name="T42" fmla="*/ 10 w 24"/>
                    <a:gd name="T43" fmla="*/ 2 h 35"/>
                    <a:gd name="T44" fmla="*/ 12 w 24"/>
                    <a:gd name="T45" fmla="*/ 0 h 35"/>
                    <a:gd name="T46" fmla="*/ 17 w 24"/>
                    <a:gd name="T47" fmla="*/ 0 h 35"/>
                    <a:gd name="T48" fmla="*/ 17 w 24"/>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5"/>
                    <a:gd name="T77" fmla="*/ 24 w 24"/>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5">
                      <a:moveTo>
                        <a:pt x="17" y="0"/>
                      </a:moveTo>
                      <a:lnTo>
                        <a:pt x="17" y="0"/>
                      </a:lnTo>
                      <a:lnTo>
                        <a:pt x="20" y="3"/>
                      </a:lnTo>
                      <a:lnTo>
                        <a:pt x="22" y="5"/>
                      </a:lnTo>
                      <a:lnTo>
                        <a:pt x="24" y="9"/>
                      </a:lnTo>
                      <a:lnTo>
                        <a:pt x="22" y="14"/>
                      </a:lnTo>
                      <a:lnTo>
                        <a:pt x="19" y="27"/>
                      </a:lnTo>
                      <a:lnTo>
                        <a:pt x="16" y="31"/>
                      </a:lnTo>
                      <a:lnTo>
                        <a:pt x="14" y="33"/>
                      </a:lnTo>
                      <a:lnTo>
                        <a:pt x="10" y="35"/>
                      </a:lnTo>
                      <a:lnTo>
                        <a:pt x="6" y="33"/>
                      </a:lnTo>
                      <a:lnTo>
                        <a:pt x="2" y="32"/>
                      </a:lnTo>
                      <a:lnTo>
                        <a:pt x="0" y="28"/>
                      </a:lnTo>
                      <a:lnTo>
                        <a:pt x="0" y="24"/>
                      </a:lnTo>
                      <a:lnTo>
                        <a:pt x="0" y="21"/>
                      </a:lnTo>
                      <a:lnTo>
                        <a:pt x="5" y="8"/>
                      </a:lnTo>
                      <a:lnTo>
                        <a:pt x="6" y="4"/>
                      </a:lnTo>
                      <a:lnTo>
                        <a:pt x="10" y="2"/>
                      </a:lnTo>
                      <a:lnTo>
                        <a:pt x="12" y="0"/>
                      </a:lnTo>
                      <a:lnTo>
                        <a:pt x="17" y="0"/>
                      </a:lnTo>
                      <a:close/>
                    </a:path>
                  </a:pathLst>
                </a:custGeom>
                <a:solidFill>
                  <a:schemeClr val="bg1"/>
                </a:solidFill>
                <a:ln w="9525">
                  <a:solidFill>
                    <a:srgbClr val="1D80A7"/>
                  </a:solidFill>
                  <a:prstDash val="solid"/>
                  <a:round/>
                  <a:headEnd/>
                  <a:tailEnd/>
                </a:ln>
              </p:spPr>
              <p:txBody>
                <a:bodyPr/>
                <a:lstStyle/>
                <a:p>
                  <a:endParaRPr lang="en-US" dirty="0">
                    <a:solidFill>
                      <a:prstClr val="black"/>
                    </a:solidFill>
                  </a:endParaRPr>
                </a:p>
              </p:txBody>
            </p:sp>
            <p:sp>
              <p:nvSpPr>
                <p:cNvPr id="115" name="Freeform 286"/>
                <p:cNvSpPr>
                  <a:spLocks/>
                </p:cNvSpPr>
                <p:nvPr/>
              </p:nvSpPr>
              <p:spPr bwMode="auto">
                <a:xfrm>
                  <a:off x="7973968" y="1886431"/>
                  <a:ext cx="96088" cy="300368"/>
                </a:xfrm>
                <a:custGeom>
                  <a:avLst/>
                  <a:gdLst>
                    <a:gd name="T0" fmla="*/ 52 w 52"/>
                    <a:gd name="T1" fmla="*/ 0 h 117"/>
                    <a:gd name="T2" fmla="*/ 0 w 52"/>
                    <a:gd name="T3" fmla="*/ 21 h 117"/>
                    <a:gd name="T4" fmla="*/ 34 w 52"/>
                    <a:gd name="T5" fmla="*/ 117 h 117"/>
                    <a:gd name="T6" fmla="*/ 34 w 52"/>
                    <a:gd name="T7" fmla="*/ 117 h 117"/>
                    <a:gd name="T8" fmla="*/ 44 w 52"/>
                    <a:gd name="T9" fmla="*/ 113 h 117"/>
                    <a:gd name="T10" fmla="*/ 52 w 52"/>
                    <a:gd name="T11" fmla="*/ 110 h 117"/>
                    <a:gd name="T12" fmla="*/ 0 60000 65536"/>
                    <a:gd name="T13" fmla="*/ 0 60000 65536"/>
                    <a:gd name="T14" fmla="*/ 0 60000 65536"/>
                    <a:gd name="T15" fmla="*/ 0 60000 65536"/>
                    <a:gd name="T16" fmla="*/ 0 60000 65536"/>
                    <a:gd name="T17" fmla="*/ 0 60000 65536"/>
                    <a:gd name="T18" fmla="*/ 0 w 52"/>
                    <a:gd name="T19" fmla="*/ 0 h 117"/>
                    <a:gd name="T20" fmla="*/ 52 w 5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52" h="117">
                      <a:moveTo>
                        <a:pt x="52" y="0"/>
                      </a:moveTo>
                      <a:lnTo>
                        <a:pt x="0" y="21"/>
                      </a:lnTo>
                      <a:lnTo>
                        <a:pt x="34" y="117"/>
                      </a:lnTo>
                      <a:lnTo>
                        <a:pt x="44" y="113"/>
                      </a:lnTo>
                      <a:lnTo>
                        <a:pt x="52" y="110"/>
                      </a:lnTo>
                    </a:path>
                  </a:pathLst>
                </a:custGeom>
                <a:solidFill>
                  <a:schemeClr val="bg1"/>
                </a:solidFill>
                <a:ln w="9525">
                  <a:solidFill>
                    <a:srgbClr val="1D80A7"/>
                  </a:solidFill>
                  <a:prstDash val="solid"/>
                  <a:round/>
                  <a:headEnd/>
                  <a:tailEnd/>
                </a:ln>
              </p:spPr>
              <p:txBody>
                <a:bodyPr/>
                <a:lstStyle/>
                <a:p>
                  <a:endParaRPr lang="en-US" dirty="0">
                    <a:solidFill>
                      <a:prstClr val="black"/>
                    </a:solidFill>
                  </a:endParaRPr>
                </a:p>
              </p:txBody>
            </p:sp>
            <p:sp>
              <p:nvSpPr>
                <p:cNvPr id="116" name="Freeform 289"/>
                <p:cNvSpPr>
                  <a:spLocks/>
                </p:cNvSpPr>
                <p:nvPr/>
              </p:nvSpPr>
              <p:spPr bwMode="auto">
                <a:xfrm>
                  <a:off x="7659832" y="1930073"/>
                  <a:ext cx="157069" cy="195111"/>
                </a:xfrm>
                <a:custGeom>
                  <a:avLst/>
                  <a:gdLst>
                    <a:gd name="T0" fmla="*/ 85 w 85"/>
                    <a:gd name="T1" fmla="*/ 0 h 76"/>
                    <a:gd name="T2" fmla="*/ 29 w 85"/>
                    <a:gd name="T3" fmla="*/ 4 h 76"/>
                    <a:gd name="T4" fmla="*/ 29 w 85"/>
                    <a:gd name="T5" fmla="*/ 4 h 76"/>
                    <a:gd name="T6" fmla="*/ 28 w 85"/>
                    <a:gd name="T7" fmla="*/ 5 h 76"/>
                    <a:gd name="T8" fmla="*/ 25 w 85"/>
                    <a:gd name="T9" fmla="*/ 6 h 76"/>
                    <a:gd name="T10" fmla="*/ 23 w 85"/>
                    <a:gd name="T11" fmla="*/ 9 h 76"/>
                    <a:gd name="T12" fmla="*/ 23 w 85"/>
                    <a:gd name="T13" fmla="*/ 9 h 76"/>
                    <a:gd name="T14" fmla="*/ 11 w 85"/>
                    <a:gd name="T15" fmla="*/ 43 h 76"/>
                    <a:gd name="T16" fmla="*/ 0 w 85"/>
                    <a:gd name="T17" fmla="*/ 74 h 76"/>
                    <a:gd name="T18" fmla="*/ 10 w 85"/>
                    <a:gd name="T19" fmla="*/ 76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76"/>
                    <a:gd name="T32" fmla="*/ 85 w 85"/>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76">
                      <a:moveTo>
                        <a:pt x="85" y="0"/>
                      </a:moveTo>
                      <a:lnTo>
                        <a:pt x="29" y="4"/>
                      </a:lnTo>
                      <a:lnTo>
                        <a:pt x="28" y="5"/>
                      </a:lnTo>
                      <a:lnTo>
                        <a:pt x="25" y="6"/>
                      </a:lnTo>
                      <a:lnTo>
                        <a:pt x="23" y="9"/>
                      </a:lnTo>
                      <a:lnTo>
                        <a:pt x="11" y="43"/>
                      </a:lnTo>
                      <a:lnTo>
                        <a:pt x="0" y="74"/>
                      </a:lnTo>
                      <a:lnTo>
                        <a:pt x="10" y="76"/>
                      </a:lnTo>
                    </a:path>
                  </a:pathLst>
                </a:custGeom>
                <a:solidFill>
                  <a:schemeClr val="bg1"/>
                </a:solidFill>
                <a:ln w="9525">
                  <a:solidFill>
                    <a:srgbClr val="1D80A7"/>
                  </a:solidFill>
                  <a:prstDash val="solid"/>
                  <a:round/>
                  <a:headEnd/>
                  <a:tailEnd/>
                </a:ln>
              </p:spPr>
              <p:txBody>
                <a:bodyPr/>
                <a:lstStyle/>
                <a:p>
                  <a:endParaRPr lang="en-US" dirty="0">
                    <a:solidFill>
                      <a:prstClr val="black"/>
                    </a:solidFill>
                  </a:endParaRPr>
                </a:p>
              </p:txBody>
            </p:sp>
            <p:sp>
              <p:nvSpPr>
                <p:cNvPr id="117" name="Freeform 290"/>
                <p:cNvSpPr>
                  <a:spLocks/>
                </p:cNvSpPr>
                <p:nvPr/>
              </p:nvSpPr>
              <p:spPr bwMode="auto">
                <a:xfrm>
                  <a:off x="7844618" y="2078973"/>
                  <a:ext cx="133046" cy="141198"/>
                </a:xfrm>
                <a:custGeom>
                  <a:avLst/>
                  <a:gdLst>
                    <a:gd name="T0" fmla="*/ 0 w 72"/>
                    <a:gd name="T1" fmla="*/ 34 h 55"/>
                    <a:gd name="T2" fmla="*/ 0 w 72"/>
                    <a:gd name="T3" fmla="*/ 34 h 55"/>
                    <a:gd name="T4" fmla="*/ 6 w 72"/>
                    <a:gd name="T5" fmla="*/ 39 h 55"/>
                    <a:gd name="T6" fmla="*/ 13 w 72"/>
                    <a:gd name="T7" fmla="*/ 44 h 55"/>
                    <a:gd name="T8" fmla="*/ 13 w 72"/>
                    <a:gd name="T9" fmla="*/ 44 h 55"/>
                    <a:gd name="T10" fmla="*/ 19 w 72"/>
                    <a:gd name="T11" fmla="*/ 51 h 55"/>
                    <a:gd name="T12" fmla="*/ 21 w 72"/>
                    <a:gd name="T13" fmla="*/ 53 h 55"/>
                    <a:gd name="T14" fmla="*/ 25 w 72"/>
                    <a:gd name="T15" fmla="*/ 55 h 55"/>
                    <a:gd name="T16" fmla="*/ 28 w 72"/>
                    <a:gd name="T17" fmla="*/ 55 h 55"/>
                    <a:gd name="T18" fmla="*/ 28 w 72"/>
                    <a:gd name="T19" fmla="*/ 55 h 55"/>
                    <a:gd name="T20" fmla="*/ 32 w 72"/>
                    <a:gd name="T21" fmla="*/ 55 h 55"/>
                    <a:gd name="T22" fmla="*/ 34 w 72"/>
                    <a:gd name="T23" fmla="*/ 52 h 55"/>
                    <a:gd name="T24" fmla="*/ 37 w 72"/>
                    <a:gd name="T25" fmla="*/ 48 h 55"/>
                    <a:gd name="T26" fmla="*/ 37 w 72"/>
                    <a:gd name="T27" fmla="*/ 46 h 55"/>
                    <a:gd name="T28" fmla="*/ 37 w 72"/>
                    <a:gd name="T29" fmla="*/ 46 h 55"/>
                    <a:gd name="T30" fmla="*/ 37 w 72"/>
                    <a:gd name="T31" fmla="*/ 43 h 55"/>
                    <a:gd name="T32" fmla="*/ 35 w 72"/>
                    <a:gd name="T33" fmla="*/ 41 h 55"/>
                    <a:gd name="T34" fmla="*/ 32 w 72"/>
                    <a:gd name="T35" fmla="*/ 35 h 55"/>
                    <a:gd name="T36" fmla="*/ 23 w 72"/>
                    <a:gd name="T37" fmla="*/ 29 h 55"/>
                    <a:gd name="T38" fmla="*/ 8 w 72"/>
                    <a:gd name="T39" fmla="*/ 14 h 55"/>
                    <a:gd name="T40" fmla="*/ 9 w 72"/>
                    <a:gd name="T41" fmla="*/ 13 h 55"/>
                    <a:gd name="T42" fmla="*/ 33 w 72"/>
                    <a:gd name="T43" fmla="*/ 34 h 55"/>
                    <a:gd name="T44" fmla="*/ 33 w 72"/>
                    <a:gd name="T45" fmla="*/ 34 h 55"/>
                    <a:gd name="T46" fmla="*/ 38 w 72"/>
                    <a:gd name="T47" fmla="*/ 39 h 55"/>
                    <a:gd name="T48" fmla="*/ 42 w 72"/>
                    <a:gd name="T49" fmla="*/ 42 h 55"/>
                    <a:gd name="T50" fmla="*/ 46 w 72"/>
                    <a:gd name="T51" fmla="*/ 44 h 55"/>
                    <a:gd name="T52" fmla="*/ 46 w 72"/>
                    <a:gd name="T53" fmla="*/ 44 h 55"/>
                    <a:gd name="T54" fmla="*/ 49 w 72"/>
                    <a:gd name="T55" fmla="*/ 44 h 55"/>
                    <a:gd name="T56" fmla="*/ 53 w 72"/>
                    <a:gd name="T57" fmla="*/ 42 h 55"/>
                    <a:gd name="T58" fmla="*/ 53 w 72"/>
                    <a:gd name="T59" fmla="*/ 42 h 55"/>
                    <a:gd name="T60" fmla="*/ 56 w 72"/>
                    <a:gd name="T61" fmla="*/ 39 h 55"/>
                    <a:gd name="T62" fmla="*/ 58 w 72"/>
                    <a:gd name="T63" fmla="*/ 34 h 55"/>
                    <a:gd name="T64" fmla="*/ 58 w 72"/>
                    <a:gd name="T65" fmla="*/ 34 h 55"/>
                    <a:gd name="T66" fmla="*/ 57 w 72"/>
                    <a:gd name="T67" fmla="*/ 32 h 55"/>
                    <a:gd name="T68" fmla="*/ 56 w 72"/>
                    <a:gd name="T69" fmla="*/ 29 h 55"/>
                    <a:gd name="T70" fmla="*/ 52 w 72"/>
                    <a:gd name="T71" fmla="*/ 25 h 55"/>
                    <a:gd name="T72" fmla="*/ 27 w 72"/>
                    <a:gd name="T73" fmla="*/ 3 h 55"/>
                    <a:gd name="T74" fmla="*/ 27 w 72"/>
                    <a:gd name="T75" fmla="*/ 3 h 55"/>
                    <a:gd name="T76" fmla="*/ 28 w 72"/>
                    <a:gd name="T77" fmla="*/ 0 h 55"/>
                    <a:gd name="T78" fmla="*/ 28 w 72"/>
                    <a:gd name="T79" fmla="*/ 0 h 55"/>
                    <a:gd name="T80" fmla="*/ 44 w 72"/>
                    <a:gd name="T81" fmla="*/ 15 h 55"/>
                    <a:gd name="T82" fmla="*/ 44 w 72"/>
                    <a:gd name="T83" fmla="*/ 15 h 55"/>
                    <a:gd name="T84" fmla="*/ 53 w 72"/>
                    <a:gd name="T85" fmla="*/ 23 h 55"/>
                    <a:gd name="T86" fmla="*/ 58 w 72"/>
                    <a:gd name="T87" fmla="*/ 27 h 55"/>
                    <a:gd name="T88" fmla="*/ 62 w 72"/>
                    <a:gd name="T89" fmla="*/ 28 h 55"/>
                    <a:gd name="T90" fmla="*/ 62 w 72"/>
                    <a:gd name="T91" fmla="*/ 28 h 55"/>
                    <a:gd name="T92" fmla="*/ 62 w 72"/>
                    <a:gd name="T93" fmla="*/ 28 h 55"/>
                    <a:gd name="T94" fmla="*/ 66 w 72"/>
                    <a:gd name="T95" fmla="*/ 28 h 55"/>
                    <a:gd name="T96" fmla="*/ 70 w 72"/>
                    <a:gd name="T97" fmla="*/ 25 h 55"/>
                    <a:gd name="T98" fmla="*/ 72 w 72"/>
                    <a:gd name="T99" fmla="*/ 23 h 55"/>
                    <a:gd name="T100" fmla="*/ 72 w 72"/>
                    <a:gd name="T101" fmla="*/ 19 h 55"/>
                    <a:gd name="T102" fmla="*/ 72 w 72"/>
                    <a:gd name="T103" fmla="*/ 18 h 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
                    <a:gd name="T157" fmla="*/ 0 h 55"/>
                    <a:gd name="T158" fmla="*/ 72 w 72"/>
                    <a:gd name="T159" fmla="*/ 55 h 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 h="55">
                      <a:moveTo>
                        <a:pt x="0" y="34"/>
                      </a:moveTo>
                      <a:lnTo>
                        <a:pt x="0" y="34"/>
                      </a:lnTo>
                      <a:lnTo>
                        <a:pt x="6" y="39"/>
                      </a:lnTo>
                      <a:lnTo>
                        <a:pt x="13" y="44"/>
                      </a:lnTo>
                      <a:lnTo>
                        <a:pt x="19" y="51"/>
                      </a:lnTo>
                      <a:lnTo>
                        <a:pt x="21" y="53"/>
                      </a:lnTo>
                      <a:lnTo>
                        <a:pt x="25" y="55"/>
                      </a:lnTo>
                      <a:lnTo>
                        <a:pt x="28" y="55"/>
                      </a:lnTo>
                      <a:lnTo>
                        <a:pt x="32" y="55"/>
                      </a:lnTo>
                      <a:lnTo>
                        <a:pt x="34" y="52"/>
                      </a:lnTo>
                      <a:lnTo>
                        <a:pt x="37" y="48"/>
                      </a:lnTo>
                      <a:lnTo>
                        <a:pt x="37" y="46"/>
                      </a:lnTo>
                      <a:lnTo>
                        <a:pt x="37" y="43"/>
                      </a:lnTo>
                      <a:lnTo>
                        <a:pt x="35" y="41"/>
                      </a:lnTo>
                      <a:lnTo>
                        <a:pt x="32" y="35"/>
                      </a:lnTo>
                      <a:lnTo>
                        <a:pt x="23" y="29"/>
                      </a:lnTo>
                      <a:lnTo>
                        <a:pt x="8" y="14"/>
                      </a:lnTo>
                      <a:lnTo>
                        <a:pt x="9" y="13"/>
                      </a:lnTo>
                      <a:lnTo>
                        <a:pt x="33" y="34"/>
                      </a:lnTo>
                      <a:lnTo>
                        <a:pt x="38" y="39"/>
                      </a:lnTo>
                      <a:lnTo>
                        <a:pt x="42" y="42"/>
                      </a:lnTo>
                      <a:lnTo>
                        <a:pt x="46" y="44"/>
                      </a:lnTo>
                      <a:lnTo>
                        <a:pt x="49" y="44"/>
                      </a:lnTo>
                      <a:lnTo>
                        <a:pt x="53" y="42"/>
                      </a:lnTo>
                      <a:lnTo>
                        <a:pt x="56" y="39"/>
                      </a:lnTo>
                      <a:lnTo>
                        <a:pt x="58" y="34"/>
                      </a:lnTo>
                      <a:lnTo>
                        <a:pt x="57" y="32"/>
                      </a:lnTo>
                      <a:lnTo>
                        <a:pt x="56" y="29"/>
                      </a:lnTo>
                      <a:lnTo>
                        <a:pt x="52" y="25"/>
                      </a:lnTo>
                      <a:lnTo>
                        <a:pt x="27" y="3"/>
                      </a:lnTo>
                      <a:lnTo>
                        <a:pt x="28" y="0"/>
                      </a:lnTo>
                      <a:lnTo>
                        <a:pt x="44" y="15"/>
                      </a:lnTo>
                      <a:lnTo>
                        <a:pt x="53" y="23"/>
                      </a:lnTo>
                      <a:lnTo>
                        <a:pt x="58" y="27"/>
                      </a:lnTo>
                      <a:lnTo>
                        <a:pt x="62" y="28"/>
                      </a:lnTo>
                      <a:lnTo>
                        <a:pt x="66" y="28"/>
                      </a:lnTo>
                      <a:lnTo>
                        <a:pt x="70" y="25"/>
                      </a:lnTo>
                      <a:lnTo>
                        <a:pt x="72" y="23"/>
                      </a:lnTo>
                      <a:lnTo>
                        <a:pt x="72" y="19"/>
                      </a:lnTo>
                      <a:lnTo>
                        <a:pt x="72" y="18"/>
                      </a:lnTo>
                    </a:path>
                  </a:pathLst>
                </a:custGeom>
                <a:solidFill>
                  <a:schemeClr val="bg1"/>
                </a:solidFill>
                <a:ln w="9525">
                  <a:solidFill>
                    <a:srgbClr val="1D80A7"/>
                  </a:solidFill>
                  <a:prstDash val="solid"/>
                  <a:round/>
                  <a:headEnd/>
                  <a:tailEnd/>
                </a:ln>
              </p:spPr>
              <p:txBody>
                <a:bodyPr/>
                <a:lstStyle/>
                <a:p>
                  <a:endParaRPr lang="en-US" dirty="0">
                    <a:solidFill>
                      <a:prstClr val="black"/>
                    </a:solidFill>
                  </a:endParaRPr>
                </a:p>
              </p:txBody>
            </p:sp>
            <p:sp>
              <p:nvSpPr>
                <p:cNvPr id="118" name="Freeform 291"/>
                <p:cNvSpPr>
                  <a:spLocks/>
                </p:cNvSpPr>
                <p:nvPr/>
              </p:nvSpPr>
              <p:spPr bwMode="auto">
                <a:xfrm>
                  <a:off x="7781791" y="1924936"/>
                  <a:ext cx="223591" cy="223349"/>
                </a:xfrm>
                <a:custGeom>
                  <a:avLst/>
                  <a:gdLst>
                    <a:gd name="T0" fmla="*/ 93 w 121"/>
                    <a:gd name="T1" fmla="*/ 4 h 87"/>
                    <a:gd name="T2" fmla="*/ 31 w 121"/>
                    <a:gd name="T3" fmla="*/ 0 h 87"/>
                    <a:gd name="T4" fmla="*/ 31 w 121"/>
                    <a:gd name="T5" fmla="*/ 0 h 87"/>
                    <a:gd name="T6" fmla="*/ 28 w 121"/>
                    <a:gd name="T7" fmla="*/ 0 h 87"/>
                    <a:gd name="T8" fmla="*/ 24 w 121"/>
                    <a:gd name="T9" fmla="*/ 2 h 87"/>
                    <a:gd name="T10" fmla="*/ 20 w 121"/>
                    <a:gd name="T11" fmla="*/ 3 h 87"/>
                    <a:gd name="T12" fmla="*/ 19 w 121"/>
                    <a:gd name="T13" fmla="*/ 6 h 87"/>
                    <a:gd name="T14" fmla="*/ 19 w 121"/>
                    <a:gd name="T15" fmla="*/ 6 h 87"/>
                    <a:gd name="T16" fmla="*/ 14 w 121"/>
                    <a:gd name="T17" fmla="*/ 16 h 87"/>
                    <a:gd name="T18" fmla="*/ 9 w 121"/>
                    <a:gd name="T19" fmla="*/ 25 h 87"/>
                    <a:gd name="T20" fmla="*/ 0 w 121"/>
                    <a:gd name="T21" fmla="*/ 45 h 87"/>
                    <a:gd name="T22" fmla="*/ 0 w 121"/>
                    <a:gd name="T23" fmla="*/ 45 h 87"/>
                    <a:gd name="T24" fmla="*/ 2 w 121"/>
                    <a:gd name="T25" fmla="*/ 47 h 87"/>
                    <a:gd name="T26" fmla="*/ 5 w 121"/>
                    <a:gd name="T27" fmla="*/ 49 h 87"/>
                    <a:gd name="T28" fmla="*/ 9 w 121"/>
                    <a:gd name="T29" fmla="*/ 50 h 87"/>
                    <a:gd name="T30" fmla="*/ 12 w 121"/>
                    <a:gd name="T31" fmla="*/ 50 h 87"/>
                    <a:gd name="T32" fmla="*/ 12 w 121"/>
                    <a:gd name="T33" fmla="*/ 50 h 87"/>
                    <a:gd name="T34" fmla="*/ 16 w 121"/>
                    <a:gd name="T35" fmla="*/ 49 h 87"/>
                    <a:gd name="T36" fmla="*/ 19 w 121"/>
                    <a:gd name="T37" fmla="*/ 47 h 87"/>
                    <a:gd name="T38" fmla="*/ 24 w 121"/>
                    <a:gd name="T39" fmla="*/ 42 h 87"/>
                    <a:gd name="T40" fmla="*/ 24 w 121"/>
                    <a:gd name="T41" fmla="*/ 42 h 87"/>
                    <a:gd name="T42" fmla="*/ 29 w 121"/>
                    <a:gd name="T43" fmla="*/ 32 h 87"/>
                    <a:gd name="T44" fmla="*/ 31 w 121"/>
                    <a:gd name="T45" fmla="*/ 27 h 87"/>
                    <a:gd name="T46" fmla="*/ 31 w 121"/>
                    <a:gd name="T47" fmla="*/ 27 h 87"/>
                    <a:gd name="T48" fmla="*/ 35 w 121"/>
                    <a:gd name="T49" fmla="*/ 19 h 87"/>
                    <a:gd name="T50" fmla="*/ 35 w 121"/>
                    <a:gd name="T51" fmla="*/ 19 h 87"/>
                    <a:gd name="T52" fmla="*/ 50 w 121"/>
                    <a:gd name="T53" fmla="*/ 21 h 87"/>
                    <a:gd name="T54" fmla="*/ 50 w 121"/>
                    <a:gd name="T55" fmla="*/ 21 h 87"/>
                    <a:gd name="T56" fmla="*/ 53 w 121"/>
                    <a:gd name="T57" fmla="*/ 21 h 87"/>
                    <a:gd name="T58" fmla="*/ 55 w 121"/>
                    <a:gd name="T59" fmla="*/ 23 h 87"/>
                    <a:gd name="T60" fmla="*/ 59 w 121"/>
                    <a:gd name="T61" fmla="*/ 27 h 87"/>
                    <a:gd name="T62" fmla="*/ 59 w 121"/>
                    <a:gd name="T63" fmla="*/ 27 h 87"/>
                    <a:gd name="T64" fmla="*/ 76 w 121"/>
                    <a:gd name="T65" fmla="*/ 42 h 87"/>
                    <a:gd name="T66" fmla="*/ 121 w 121"/>
                    <a:gd name="T67" fmla="*/ 87 h 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1"/>
                    <a:gd name="T103" fmla="*/ 0 h 87"/>
                    <a:gd name="T104" fmla="*/ 121 w 121"/>
                    <a:gd name="T105" fmla="*/ 87 h 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1" h="87">
                      <a:moveTo>
                        <a:pt x="93" y="4"/>
                      </a:moveTo>
                      <a:lnTo>
                        <a:pt x="31" y="0"/>
                      </a:lnTo>
                      <a:lnTo>
                        <a:pt x="28" y="0"/>
                      </a:lnTo>
                      <a:lnTo>
                        <a:pt x="24" y="2"/>
                      </a:lnTo>
                      <a:lnTo>
                        <a:pt x="20" y="3"/>
                      </a:lnTo>
                      <a:lnTo>
                        <a:pt x="19" y="6"/>
                      </a:lnTo>
                      <a:lnTo>
                        <a:pt x="14" y="16"/>
                      </a:lnTo>
                      <a:lnTo>
                        <a:pt x="9" y="25"/>
                      </a:lnTo>
                      <a:lnTo>
                        <a:pt x="0" y="45"/>
                      </a:lnTo>
                      <a:lnTo>
                        <a:pt x="2" y="47"/>
                      </a:lnTo>
                      <a:lnTo>
                        <a:pt x="5" y="49"/>
                      </a:lnTo>
                      <a:lnTo>
                        <a:pt x="9" y="50"/>
                      </a:lnTo>
                      <a:lnTo>
                        <a:pt x="12" y="50"/>
                      </a:lnTo>
                      <a:lnTo>
                        <a:pt x="16" y="49"/>
                      </a:lnTo>
                      <a:lnTo>
                        <a:pt x="19" y="47"/>
                      </a:lnTo>
                      <a:lnTo>
                        <a:pt x="24" y="42"/>
                      </a:lnTo>
                      <a:lnTo>
                        <a:pt x="29" y="32"/>
                      </a:lnTo>
                      <a:lnTo>
                        <a:pt x="31" y="27"/>
                      </a:lnTo>
                      <a:lnTo>
                        <a:pt x="35" y="19"/>
                      </a:lnTo>
                      <a:lnTo>
                        <a:pt x="50" y="21"/>
                      </a:lnTo>
                      <a:lnTo>
                        <a:pt x="53" y="21"/>
                      </a:lnTo>
                      <a:lnTo>
                        <a:pt x="55" y="23"/>
                      </a:lnTo>
                      <a:lnTo>
                        <a:pt x="59" y="27"/>
                      </a:lnTo>
                      <a:lnTo>
                        <a:pt x="76" y="42"/>
                      </a:lnTo>
                      <a:lnTo>
                        <a:pt x="121" y="87"/>
                      </a:lnTo>
                    </a:path>
                  </a:pathLst>
                </a:custGeom>
                <a:solidFill>
                  <a:schemeClr val="bg1"/>
                </a:solidFill>
                <a:ln w="9525">
                  <a:solidFill>
                    <a:srgbClr val="1D80A7"/>
                  </a:solidFill>
                  <a:prstDash val="solid"/>
                  <a:round/>
                  <a:headEnd/>
                  <a:tailEnd/>
                </a:ln>
              </p:spPr>
              <p:txBody>
                <a:bodyPr/>
                <a:lstStyle/>
                <a:p>
                  <a:endParaRPr lang="en-US" dirty="0">
                    <a:solidFill>
                      <a:prstClr val="black"/>
                    </a:solidFill>
                  </a:endParaRPr>
                </a:p>
              </p:txBody>
            </p:sp>
            <p:sp>
              <p:nvSpPr>
                <p:cNvPr id="119" name="Freeform 292"/>
                <p:cNvSpPr>
                  <a:spLocks/>
                </p:cNvSpPr>
                <p:nvPr/>
              </p:nvSpPr>
              <p:spPr bwMode="auto">
                <a:xfrm>
                  <a:off x="7715268" y="2086677"/>
                  <a:ext cx="51740" cy="102690"/>
                </a:xfrm>
                <a:custGeom>
                  <a:avLst/>
                  <a:gdLst>
                    <a:gd name="T0" fmla="*/ 22 w 28"/>
                    <a:gd name="T1" fmla="*/ 0 h 40"/>
                    <a:gd name="T2" fmla="*/ 22 w 28"/>
                    <a:gd name="T3" fmla="*/ 0 h 40"/>
                    <a:gd name="T4" fmla="*/ 22 w 28"/>
                    <a:gd name="T5" fmla="*/ 0 h 40"/>
                    <a:gd name="T6" fmla="*/ 24 w 28"/>
                    <a:gd name="T7" fmla="*/ 2 h 40"/>
                    <a:gd name="T8" fmla="*/ 27 w 28"/>
                    <a:gd name="T9" fmla="*/ 5 h 40"/>
                    <a:gd name="T10" fmla="*/ 28 w 28"/>
                    <a:gd name="T11" fmla="*/ 8 h 40"/>
                    <a:gd name="T12" fmla="*/ 28 w 28"/>
                    <a:gd name="T13" fmla="*/ 12 h 40"/>
                    <a:gd name="T14" fmla="*/ 20 w 28"/>
                    <a:gd name="T15" fmla="*/ 34 h 40"/>
                    <a:gd name="T16" fmla="*/ 20 w 28"/>
                    <a:gd name="T17" fmla="*/ 34 h 40"/>
                    <a:gd name="T18" fmla="*/ 18 w 28"/>
                    <a:gd name="T19" fmla="*/ 36 h 40"/>
                    <a:gd name="T20" fmla="*/ 15 w 28"/>
                    <a:gd name="T21" fmla="*/ 39 h 40"/>
                    <a:gd name="T22" fmla="*/ 12 w 28"/>
                    <a:gd name="T23" fmla="*/ 40 h 40"/>
                    <a:gd name="T24" fmla="*/ 8 w 28"/>
                    <a:gd name="T25" fmla="*/ 39 h 40"/>
                    <a:gd name="T26" fmla="*/ 8 w 28"/>
                    <a:gd name="T27" fmla="*/ 39 h 40"/>
                    <a:gd name="T28" fmla="*/ 4 w 28"/>
                    <a:gd name="T29" fmla="*/ 38 h 40"/>
                    <a:gd name="T30" fmla="*/ 1 w 28"/>
                    <a:gd name="T31" fmla="*/ 34 h 40"/>
                    <a:gd name="T32" fmla="*/ 0 w 28"/>
                    <a:gd name="T33" fmla="*/ 31 h 40"/>
                    <a:gd name="T34" fmla="*/ 1 w 28"/>
                    <a:gd name="T35" fmla="*/ 27 h 40"/>
                    <a:gd name="T36" fmla="*/ 9 w 28"/>
                    <a:gd name="T37" fmla="*/ 6 h 40"/>
                    <a:gd name="T38" fmla="*/ 9 w 28"/>
                    <a:gd name="T39" fmla="*/ 6 h 40"/>
                    <a:gd name="T40" fmla="*/ 10 w 28"/>
                    <a:gd name="T41" fmla="*/ 2 h 40"/>
                    <a:gd name="T42" fmla="*/ 14 w 28"/>
                    <a:gd name="T43" fmla="*/ 0 h 40"/>
                    <a:gd name="T44" fmla="*/ 17 w 28"/>
                    <a:gd name="T45" fmla="*/ 0 h 40"/>
                    <a:gd name="T46" fmla="*/ 22 w 28"/>
                    <a:gd name="T47" fmla="*/ 0 h 40"/>
                    <a:gd name="T48" fmla="*/ 22 w 28"/>
                    <a:gd name="T49" fmla="*/ 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40"/>
                    <a:gd name="T77" fmla="*/ 28 w 28"/>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40">
                      <a:moveTo>
                        <a:pt x="22" y="0"/>
                      </a:moveTo>
                      <a:lnTo>
                        <a:pt x="22" y="0"/>
                      </a:lnTo>
                      <a:lnTo>
                        <a:pt x="24" y="2"/>
                      </a:lnTo>
                      <a:lnTo>
                        <a:pt x="27" y="5"/>
                      </a:lnTo>
                      <a:lnTo>
                        <a:pt x="28" y="8"/>
                      </a:lnTo>
                      <a:lnTo>
                        <a:pt x="28" y="12"/>
                      </a:lnTo>
                      <a:lnTo>
                        <a:pt x="20" y="34"/>
                      </a:lnTo>
                      <a:lnTo>
                        <a:pt x="18" y="36"/>
                      </a:lnTo>
                      <a:lnTo>
                        <a:pt x="15" y="39"/>
                      </a:lnTo>
                      <a:lnTo>
                        <a:pt x="12" y="40"/>
                      </a:lnTo>
                      <a:lnTo>
                        <a:pt x="8" y="39"/>
                      </a:lnTo>
                      <a:lnTo>
                        <a:pt x="4" y="38"/>
                      </a:lnTo>
                      <a:lnTo>
                        <a:pt x="1" y="34"/>
                      </a:lnTo>
                      <a:lnTo>
                        <a:pt x="0" y="31"/>
                      </a:lnTo>
                      <a:lnTo>
                        <a:pt x="1" y="27"/>
                      </a:lnTo>
                      <a:lnTo>
                        <a:pt x="9" y="6"/>
                      </a:lnTo>
                      <a:lnTo>
                        <a:pt x="10" y="2"/>
                      </a:lnTo>
                      <a:lnTo>
                        <a:pt x="14" y="0"/>
                      </a:lnTo>
                      <a:lnTo>
                        <a:pt x="17" y="0"/>
                      </a:lnTo>
                      <a:lnTo>
                        <a:pt x="22" y="0"/>
                      </a:lnTo>
                      <a:close/>
                    </a:path>
                  </a:pathLst>
                </a:custGeom>
                <a:solidFill>
                  <a:schemeClr val="bg1"/>
                </a:solidFill>
                <a:ln w="9525">
                  <a:solidFill>
                    <a:srgbClr val="1D80A7"/>
                  </a:solidFill>
                  <a:prstDash val="solid"/>
                  <a:round/>
                  <a:headEnd/>
                  <a:tailEnd/>
                </a:ln>
              </p:spPr>
              <p:txBody>
                <a:bodyPr/>
                <a:lstStyle/>
                <a:p>
                  <a:endParaRPr lang="en-US" dirty="0">
                    <a:solidFill>
                      <a:prstClr val="black"/>
                    </a:solidFill>
                  </a:endParaRPr>
                </a:p>
              </p:txBody>
            </p:sp>
            <p:sp>
              <p:nvSpPr>
                <p:cNvPr id="120" name="Freeform 293"/>
                <p:cNvSpPr>
                  <a:spLocks/>
                </p:cNvSpPr>
                <p:nvPr/>
              </p:nvSpPr>
              <p:spPr bwMode="auto">
                <a:xfrm>
                  <a:off x="7682006" y="2071273"/>
                  <a:ext cx="46197" cy="89853"/>
                </a:xfrm>
                <a:custGeom>
                  <a:avLst/>
                  <a:gdLst>
                    <a:gd name="T0" fmla="*/ 17 w 25"/>
                    <a:gd name="T1" fmla="*/ 2 h 35"/>
                    <a:gd name="T2" fmla="*/ 17 w 25"/>
                    <a:gd name="T3" fmla="*/ 2 h 35"/>
                    <a:gd name="T4" fmla="*/ 17 w 25"/>
                    <a:gd name="T5" fmla="*/ 2 h 35"/>
                    <a:gd name="T6" fmla="*/ 21 w 25"/>
                    <a:gd name="T7" fmla="*/ 3 h 35"/>
                    <a:gd name="T8" fmla="*/ 23 w 25"/>
                    <a:gd name="T9" fmla="*/ 7 h 35"/>
                    <a:gd name="T10" fmla="*/ 25 w 25"/>
                    <a:gd name="T11" fmla="*/ 11 h 35"/>
                    <a:gd name="T12" fmla="*/ 23 w 25"/>
                    <a:gd name="T13" fmla="*/ 14 h 35"/>
                    <a:gd name="T14" fmla="*/ 19 w 25"/>
                    <a:gd name="T15" fmla="*/ 27 h 35"/>
                    <a:gd name="T16" fmla="*/ 19 w 25"/>
                    <a:gd name="T17" fmla="*/ 27 h 35"/>
                    <a:gd name="T18" fmla="*/ 17 w 25"/>
                    <a:gd name="T19" fmla="*/ 31 h 35"/>
                    <a:gd name="T20" fmla="*/ 14 w 25"/>
                    <a:gd name="T21" fmla="*/ 33 h 35"/>
                    <a:gd name="T22" fmla="*/ 11 w 25"/>
                    <a:gd name="T23" fmla="*/ 35 h 35"/>
                    <a:gd name="T24" fmla="*/ 7 w 25"/>
                    <a:gd name="T25" fmla="*/ 33 h 35"/>
                    <a:gd name="T26" fmla="*/ 7 w 25"/>
                    <a:gd name="T27" fmla="*/ 33 h 35"/>
                    <a:gd name="T28" fmla="*/ 3 w 25"/>
                    <a:gd name="T29" fmla="*/ 32 h 35"/>
                    <a:gd name="T30" fmla="*/ 0 w 25"/>
                    <a:gd name="T31" fmla="*/ 28 h 35"/>
                    <a:gd name="T32" fmla="*/ 0 w 25"/>
                    <a:gd name="T33" fmla="*/ 25 h 35"/>
                    <a:gd name="T34" fmla="*/ 0 w 25"/>
                    <a:gd name="T35" fmla="*/ 21 h 35"/>
                    <a:gd name="T36" fmla="*/ 4 w 25"/>
                    <a:gd name="T37" fmla="*/ 8 h 35"/>
                    <a:gd name="T38" fmla="*/ 4 w 25"/>
                    <a:gd name="T39" fmla="*/ 8 h 35"/>
                    <a:gd name="T40" fmla="*/ 7 w 25"/>
                    <a:gd name="T41" fmla="*/ 4 h 35"/>
                    <a:gd name="T42" fmla="*/ 9 w 25"/>
                    <a:gd name="T43" fmla="*/ 2 h 35"/>
                    <a:gd name="T44" fmla="*/ 13 w 25"/>
                    <a:gd name="T45" fmla="*/ 0 h 35"/>
                    <a:gd name="T46" fmla="*/ 17 w 25"/>
                    <a:gd name="T47" fmla="*/ 2 h 35"/>
                    <a:gd name="T48" fmla="*/ 17 w 25"/>
                    <a:gd name="T49" fmla="*/ 2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35"/>
                    <a:gd name="T77" fmla="*/ 25 w 25"/>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35">
                      <a:moveTo>
                        <a:pt x="17" y="2"/>
                      </a:moveTo>
                      <a:lnTo>
                        <a:pt x="17" y="2"/>
                      </a:lnTo>
                      <a:lnTo>
                        <a:pt x="21" y="3"/>
                      </a:lnTo>
                      <a:lnTo>
                        <a:pt x="23" y="7"/>
                      </a:lnTo>
                      <a:lnTo>
                        <a:pt x="25" y="11"/>
                      </a:lnTo>
                      <a:lnTo>
                        <a:pt x="23" y="14"/>
                      </a:lnTo>
                      <a:lnTo>
                        <a:pt x="19" y="27"/>
                      </a:lnTo>
                      <a:lnTo>
                        <a:pt x="17" y="31"/>
                      </a:lnTo>
                      <a:lnTo>
                        <a:pt x="14" y="33"/>
                      </a:lnTo>
                      <a:lnTo>
                        <a:pt x="11" y="35"/>
                      </a:lnTo>
                      <a:lnTo>
                        <a:pt x="7" y="33"/>
                      </a:lnTo>
                      <a:lnTo>
                        <a:pt x="3" y="32"/>
                      </a:lnTo>
                      <a:lnTo>
                        <a:pt x="0" y="28"/>
                      </a:lnTo>
                      <a:lnTo>
                        <a:pt x="0" y="25"/>
                      </a:lnTo>
                      <a:lnTo>
                        <a:pt x="0" y="21"/>
                      </a:lnTo>
                      <a:lnTo>
                        <a:pt x="4" y="8"/>
                      </a:lnTo>
                      <a:lnTo>
                        <a:pt x="7" y="4"/>
                      </a:lnTo>
                      <a:lnTo>
                        <a:pt x="9" y="2"/>
                      </a:lnTo>
                      <a:lnTo>
                        <a:pt x="13" y="0"/>
                      </a:lnTo>
                      <a:lnTo>
                        <a:pt x="17" y="2"/>
                      </a:lnTo>
                      <a:close/>
                    </a:path>
                  </a:pathLst>
                </a:custGeom>
                <a:solidFill>
                  <a:schemeClr val="bg1"/>
                </a:solidFill>
                <a:ln w="9525">
                  <a:solidFill>
                    <a:srgbClr val="1D80A7"/>
                  </a:solidFill>
                  <a:prstDash val="solid"/>
                  <a:round/>
                  <a:headEnd/>
                  <a:tailEnd/>
                </a:ln>
              </p:spPr>
              <p:txBody>
                <a:bodyPr/>
                <a:lstStyle/>
                <a:p>
                  <a:endParaRPr lang="en-US" dirty="0">
                    <a:solidFill>
                      <a:prstClr val="black"/>
                    </a:solidFill>
                  </a:endParaRPr>
                </a:p>
              </p:txBody>
            </p:sp>
            <p:sp>
              <p:nvSpPr>
                <p:cNvPr id="121" name="Freeform 294"/>
                <p:cNvSpPr>
                  <a:spLocks/>
                </p:cNvSpPr>
                <p:nvPr/>
              </p:nvSpPr>
              <p:spPr bwMode="auto">
                <a:xfrm>
                  <a:off x="7755920" y="2102080"/>
                  <a:ext cx="48044" cy="107825"/>
                </a:xfrm>
                <a:custGeom>
                  <a:avLst/>
                  <a:gdLst>
                    <a:gd name="T0" fmla="*/ 20 w 26"/>
                    <a:gd name="T1" fmla="*/ 1 h 42"/>
                    <a:gd name="T2" fmla="*/ 20 w 26"/>
                    <a:gd name="T3" fmla="*/ 1 h 42"/>
                    <a:gd name="T4" fmla="*/ 20 w 26"/>
                    <a:gd name="T5" fmla="*/ 1 h 42"/>
                    <a:gd name="T6" fmla="*/ 24 w 26"/>
                    <a:gd name="T7" fmla="*/ 2 h 42"/>
                    <a:gd name="T8" fmla="*/ 26 w 26"/>
                    <a:gd name="T9" fmla="*/ 6 h 42"/>
                    <a:gd name="T10" fmla="*/ 26 w 26"/>
                    <a:gd name="T11" fmla="*/ 10 h 42"/>
                    <a:gd name="T12" fmla="*/ 26 w 26"/>
                    <a:gd name="T13" fmla="*/ 14 h 42"/>
                    <a:gd name="T14" fmla="*/ 19 w 26"/>
                    <a:gd name="T15" fmla="*/ 34 h 42"/>
                    <a:gd name="T16" fmla="*/ 19 w 26"/>
                    <a:gd name="T17" fmla="*/ 34 h 42"/>
                    <a:gd name="T18" fmla="*/ 17 w 26"/>
                    <a:gd name="T19" fmla="*/ 38 h 42"/>
                    <a:gd name="T20" fmla="*/ 14 w 26"/>
                    <a:gd name="T21" fmla="*/ 40 h 42"/>
                    <a:gd name="T22" fmla="*/ 10 w 26"/>
                    <a:gd name="T23" fmla="*/ 42 h 42"/>
                    <a:gd name="T24" fmla="*/ 6 w 26"/>
                    <a:gd name="T25" fmla="*/ 40 h 42"/>
                    <a:gd name="T26" fmla="*/ 6 w 26"/>
                    <a:gd name="T27" fmla="*/ 40 h 42"/>
                    <a:gd name="T28" fmla="*/ 4 w 26"/>
                    <a:gd name="T29" fmla="*/ 39 h 42"/>
                    <a:gd name="T30" fmla="*/ 1 w 26"/>
                    <a:gd name="T31" fmla="*/ 35 h 42"/>
                    <a:gd name="T32" fmla="*/ 0 w 26"/>
                    <a:gd name="T33" fmla="*/ 32 h 42"/>
                    <a:gd name="T34" fmla="*/ 0 w 26"/>
                    <a:gd name="T35" fmla="*/ 28 h 42"/>
                    <a:gd name="T36" fmla="*/ 7 w 26"/>
                    <a:gd name="T37" fmla="*/ 7 h 42"/>
                    <a:gd name="T38" fmla="*/ 7 w 26"/>
                    <a:gd name="T39" fmla="*/ 7 h 42"/>
                    <a:gd name="T40" fmla="*/ 10 w 26"/>
                    <a:gd name="T41" fmla="*/ 4 h 42"/>
                    <a:gd name="T42" fmla="*/ 12 w 26"/>
                    <a:gd name="T43" fmla="*/ 1 h 42"/>
                    <a:gd name="T44" fmla="*/ 16 w 26"/>
                    <a:gd name="T45" fmla="*/ 0 h 42"/>
                    <a:gd name="T46" fmla="*/ 20 w 26"/>
                    <a:gd name="T47" fmla="*/ 1 h 42"/>
                    <a:gd name="T48" fmla="*/ 20 w 26"/>
                    <a:gd name="T49" fmla="*/ 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2"/>
                    <a:gd name="T77" fmla="*/ 26 w 26"/>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2">
                      <a:moveTo>
                        <a:pt x="20" y="1"/>
                      </a:moveTo>
                      <a:lnTo>
                        <a:pt x="20" y="1"/>
                      </a:lnTo>
                      <a:lnTo>
                        <a:pt x="24" y="2"/>
                      </a:lnTo>
                      <a:lnTo>
                        <a:pt x="26" y="6"/>
                      </a:lnTo>
                      <a:lnTo>
                        <a:pt x="26" y="10"/>
                      </a:lnTo>
                      <a:lnTo>
                        <a:pt x="26" y="14"/>
                      </a:lnTo>
                      <a:lnTo>
                        <a:pt x="19" y="34"/>
                      </a:lnTo>
                      <a:lnTo>
                        <a:pt x="17" y="38"/>
                      </a:lnTo>
                      <a:lnTo>
                        <a:pt x="14" y="40"/>
                      </a:lnTo>
                      <a:lnTo>
                        <a:pt x="10" y="42"/>
                      </a:lnTo>
                      <a:lnTo>
                        <a:pt x="6" y="40"/>
                      </a:lnTo>
                      <a:lnTo>
                        <a:pt x="4" y="39"/>
                      </a:lnTo>
                      <a:lnTo>
                        <a:pt x="1" y="35"/>
                      </a:lnTo>
                      <a:lnTo>
                        <a:pt x="0" y="32"/>
                      </a:lnTo>
                      <a:lnTo>
                        <a:pt x="0" y="28"/>
                      </a:lnTo>
                      <a:lnTo>
                        <a:pt x="7" y="7"/>
                      </a:lnTo>
                      <a:lnTo>
                        <a:pt x="10" y="4"/>
                      </a:lnTo>
                      <a:lnTo>
                        <a:pt x="12" y="1"/>
                      </a:lnTo>
                      <a:lnTo>
                        <a:pt x="16" y="0"/>
                      </a:lnTo>
                      <a:lnTo>
                        <a:pt x="20" y="1"/>
                      </a:lnTo>
                      <a:close/>
                    </a:path>
                  </a:pathLst>
                </a:custGeom>
                <a:solidFill>
                  <a:schemeClr val="bg1"/>
                </a:solidFill>
                <a:ln w="9525">
                  <a:solidFill>
                    <a:srgbClr val="1D80A7"/>
                  </a:solidFill>
                  <a:prstDash val="solid"/>
                  <a:round/>
                  <a:headEnd/>
                  <a:tailEnd/>
                </a:ln>
              </p:spPr>
              <p:txBody>
                <a:bodyPr/>
                <a:lstStyle/>
                <a:p>
                  <a:endParaRPr lang="en-US" dirty="0">
                    <a:solidFill>
                      <a:prstClr val="black"/>
                    </a:solidFill>
                  </a:endParaRPr>
                </a:p>
              </p:txBody>
            </p:sp>
            <p:sp>
              <p:nvSpPr>
                <p:cNvPr id="122" name="Freeform 295"/>
                <p:cNvSpPr>
                  <a:spLocks/>
                </p:cNvSpPr>
                <p:nvPr/>
              </p:nvSpPr>
              <p:spPr bwMode="auto">
                <a:xfrm>
                  <a:off x="7798422" y="2130319"/>
                  <a:ext cx="44349" cy="89853"/>
                </a:xfrm>
                <a:custGeom>
                  <a:avLst/>
                  <a:gdLst>
                    <a:gd name="T0" fmla="*/ 17 w 24"/>
                    <a:gd name="T1" fmla="*/ 0 h 35"/>
                    <a:gd name="T2" fmla="*/ 17 w 24"/>
                    <a:gd name="T3" fmla="*/ 0 h 35"/>
                    <a:gd name="T4" fmla="*/ 17 w 24"/>
                    <a:gd name="T5" fmla="*/ 0 h 35"/>
                    <a:gd name="T6" fmla="*/ 20 w 24"/>
                    <a:gd name="T7" fmla="*/ 3 h 35"/>
                    <a:gd name="T8" fmla="*/ 22 w 24"/>
                    <a:gd name="T9" fmla="*/ 5 h 35"/>
                    <a:gd name="T10" fmla="*/ 24 w 24"/>
                    <a:gd name="T11" fmla="*/ 9 h 35"/>
                    <a:gd name="T12" fmla="*/ 22 w 24"/>
                    <a:gd name="T13" fmla="*/ 14 h 35"/>
                    <a:gd name="T14" fmla="*/ 19 w 24"/>
                    <a:gd name="T15" fmla="*/ 27 h 35"/>
                    <a:gd name="T16" fmla="*/ 19 w 24"/>
                    <a:gd name="T17" fmla="*/ 27 h 35"/>
                    <a:gd name="T18" fmla="*/ 16 w 24"/>
                    <a:gd name="T19" fmla="*/ 31 h 35"/>
                    <a:gd name="T20" fmla="*/ 14 w 24"/>
                    <a:gd name="T21" fmla="*/ 33 h 35"/>
                    <a:gd name="T22" fmla="*/ 10 w 24"/>
                    <a:gd name="T23" fmla="*/ 35 h 35"/>
                    <a:gd name="T24" fmla="*/ 6 w 24"/>
                    <a:gd name="T25" fmla="*/ 33 h 35"/>
                    <a:gd name="T26" fmla="*/ 6 w 24"/>
                    <a:gd name="T27" fmla="*/ 33 h 35"/>
                    <a:gd name="T28" fmla="*/ 2 w 24"/>
                    <a:gd name="T29" fmla="*/ 32 h 35"/>
                    <a:gd name="T30" fmla="*/ 0 w 24"/>
                    <a:gd name="T31" fmla="*/ 28 h 35"/>
                    <a:gd name="T32" fmla="*/ 0 w 24"/>
                    <a:gd name="T33" fmla="*/ 24 h 35"/>
                    <a:gd name="T34" fmla="*/ 0 w 24"/>
                    <a:gd name="T35" fmla="*/ 21 h 35"/>
                    <a:gd name="T36" fmla="*/ 5 w 24"/>
                    <a:gd name="T37" fmla="*/ 8 h 35"/>
                    <a:gd name="T38" fmla="*/ 5 w 24"/>
                    <a:gd name="T39" fmla="*/ 8 h 35"/>
                    <a:gd name="T40" fmla="*/ 6 w 24"/>
                    <a:gd name="T41" fmla="*/ 4 h 35"/>
                    <a:gd name="T42" fmla="*/ 10 w 24"/>
                    <a:gd name="T43" fmla="*/ 2 h 35"/>
                    <a:gd name="T44" fmla="*/ 12 w 24"/>
                    <a:gd name="T45" fmla="*/ 0 h 35"/>
                    <a:gd name="T46" fmla="*/ 17 w 24"/>
                    <a:gd name="T47" fmla="*/ 0 h 35"/>
                    <a:gd name="T48" fmla="*/ 17 w 24"/>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5"/>
                    <a:gd name="T77" fmla="*/ 24 w 24"/>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5">
                      <a:moveTo>
                        <a:pt x="17" y="0"/>
                      </a:moveTo>
                      <a:lnTo>
                        <a:pt x="17" y="0"/>
                      </a:lnTo>
                      <a:lnTo>
                        <a:pt x="20" y="3"/>
                      </a:lnTo>
                      <a:lnTo>
                        <a:pt x="22" y="5"/>
                      </a:lnTo>
                      <a:lnTo>
                        <a:pt x="24" y="9"/>
                      </a:lnTo>
                      <a:lnTo>
                        <a:pt x="22" y="14"/>
                      </a:lnTo>
                      <a:lnTo>
                        <a:pt x="19" y="27"/>
                      </a:lnTo>
                      <a:lnTo>
                        <a:pt x="16" y="31"/>
                      </a:lnTo>
                      <a:lnTo>
                        <a:pt x="14" y="33"/>
                      </a:lnTo>
                      <a:lnTo>
                        <a:pt x="10" y="35"/>
                      </a:lnTo>
                      <a:lnTo>
                        <a:pt x="6" y="33"/>
                      </a:lnTo>
                      <a:lnTo>
                        <a:pt x="2" y="32"/>
                      </a:lnTo>
                      <a:lnTo>
                        <a:pt x="0" y="28"/>
                      </a:lnTo>
                      <a:lnTo>
                        <a:pt x="0" y="24"/>
                      </a:lnTo>
                      <a:lnTo>
                        <a:pt x="0" y="21"/>
                      </a:lnTo>
                      <a:lnTo>
                        <a:pt x="5" y="8"/>
                      </a:lnTo>
                      <a:lnTo>
                        <a:pt x="6" y="4"/>
                      </a:lnTo>
                      <a:lnTo>
                        <a:pt x="10" y="2"/>
                      </a:lnTo>
                      <a:lnTo>
                        <a:pt x="12" y="0"/>
                      </a:lnTo>
                      <a:lnTo>
                        <a:pt x="17" y="0"/>
                      </a:lnTo>
                      <a:close/>
                    </a:path>
                  </a:pathLst>
                </a:custGeom>
                <a:solidFill>
                  <a:schemeClr val="bg1"/>
                </a:solidFill>
                <a:ln w="9525">
                  <a:solidFill>
                    <a:srgbClr val="1D80A7"/>
                  </a:solidFill>
                  <a:prstDash val="solid"/>
                  <a:round/>
                  <a:headEnd/>
                  <a:tailEnd/>
                </a:ln>
              </p:spPr>
              <p:txBody>
                <a:bodyPr/>
                <a:lstStyle/>
                <a:p>
                  <a:endParaRPr lang="en-US" dirty="0">
                    <a:solidFill>
                      <a:prstClr val="black"/>
                    </a:solidFill>
                  </a:endParaRPr>
                </a:p>
              </p:txBody>
            </p:sp>
            <p:sp>
              <p:nvSpPr>
                <p:cNvPr id="123" name="Freeform 286"/>
                <p:cNvSpPr>
                  <a:spLocks/>
                </p:cNvSpPr>
                <p:nvPr/>
              </p:nvSpPr>
              <p:spPr bwMode="auto">
                <a:xfrm flipH="1">
                  <a:off x="7615201" y="1878755"/>
                  <a:ext cx="96088" cy="300368"/>
                </a:xfrm>
                <a:custGeom>
                  <a:avLst/>
                  <a:gdLst>
                    <a:gd name="T0" fmla="*/ 52 w 52"/>
                    <a:gd name="T1" fmla="*/ 0 h 117"/>
                    <a:gd name="T2" fmla="*/ 0 w 52"/>
                    <a:gd name="T3" fmla="*/ 21 h 117"/>
                    <a:gd name="T4" fmla="*/ 34 w 52"/>
                    <a:gd name="T5" fmla="*/ 117 h 117"/>
                    <a:gd name="T6" fmla="*/ 34 w 52"/>
                    <a:gd name="T7" fmla="*/ 117 h 117"/>
                    <a:gd name="T8" fmla="*/ 44 w 52"/>
                    <a:gd name="T9" fmla="*/ 113 h 117"/>
                    <a:gd name="T10" fmla="*/ 52 w 52"/>
                    <a:gd name="T11" fmla="*/ 110 h 117"/>
                    <a:gd name="T12" fmla="*/ 0 60000 65536"/>
                    <a:gd name="T13" fmla="*/ 0 60000 65536"/>
                    <a:gd name="T14" fmla="*/ 0 60000 65536"/>
                    <a:gd name="T15" fmla="*/ 0 60000 65536"/>
                    <a:gd name="T16" fmla="*/ 0 60000 65536"/>
                    <a:gd name="T17" fmla="*/ 0 60000 65536"/>
                    <a:gd name="T18" fmla="*/ 0 w 52"/>
                    <a:gd name="T19" fmla="*/ 0 h 117"/>
                    <a:gd name="T20" fmla="*/ 52 w 5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52" h="117">
                      <a:moveTo>
                        <a:pt x="52" y="0"/>
                      </a:moveTo>
                      <a:lnTo>
                        <a:pt x="0" y="21"/>
                      </a:lnTo>
                      <a:lnTo>
                        <a:pt x="34" y="117"/>
                      </a:lnTo>
                      <a:lnTo>
                        <a:pt x="44" y="113"/>
                      </a:lnTo>
                      <a:lnTo>
                        <a:pt x="52" y="110"/>
                      </a:lnTo>
                    </a:path>
                  </a:pathLst>
                </a:custGeom>
                <a:noFill/>
                <a:ln w="9525">
                  <a:solidFill>
                    <a:srgbClr val="1D80A7"/>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prstClr val="black"/>
                    </a:solidFill>
                  </a:endParaRPr>
                </a:p>
              </p:txBody>
            </p:sp>
          </p:grpSp>
          <p:grpSp>
            <p:nvGrpSpPr>
              <p:cNvPr id="41" name="Group 88"/>
              <p:cNvGrpSpPr>
                <a:grpSpLocks/>
              </p:cNvGrpSpPr>
              <p:nvPr/>
            </p:nvGrpSpPr>
            <p:grpSpPr bwMode="auto">
              <a:xfrm rot="2711846" flipH="1">
                <a:off x="501651" y="1533525"/>
                <a:ext cx="266700" cy="549275"/>
                <a:chOff x="5061806" y="4615247"/>
                <a:chExt cx="415712" cy="695531"/>
              </a:xfrm>
            </p:grpSpPr>
            <p:sp>
              <p:nvSpPr>
                <p:cNvPr id="110" name="Freeform 109"/>
                <p:cNvSpPr/>
                <p:nvPr/>
              </p:nvSpPr>
              <p:spPr>
                <a:xfrm>
                  <a:off x="5065013" y="4617796"/>
                  <a:ext cx="415712" cy="416113"/>
                </a:xfrm>
                <a:custGeom>
                  <a:avLst/>
                  <a:gdLst>
                    <a:gd name="connsiteX0" fmla="*/ 0 w 240507"/>
                    <a:gd name="connsiteY0" fmla="*/ 120254 h 240507"/>
                    <a:gd name="connsiteX1" fmla="*/ 35222 w 240507"/>
                    <a:gd name="connsiteY1" fmla="*/ 35222 h 240507"/>
                    <a:gd name="connsiteX2" fmla="*/ 120255 w 240507"/>
                    <a:gd name="connsiteY2" fmla="*/ 1 h 240507"/>
                    <a:gd name="connsiteX3" fmla="*/ 205287 w 240507"/>
                    <a:gd name="connsiteY3" fmla="*/ 35223 h 240507"/>
                    <a:gd name="connsiteX4" fmla="*/ 240508 w 240507"/>
                    <a:gd name="connsiteY4" fmla="*/ 120256 h 240507"/>
                    <a:gd name="connsiteX5" fmla="*/ 205286 w 240507"/>
                    <a:gd name="connsiteY5" fmla="*/ 205288 h 240507"/>
                    <a:gd name="connsiteX6" fmla="*/ 120254 w 240507"/>
                    <a:gd name="connsiteY6" fmla="*/ 240510 h 240507"/>
                    <a:gd name="connsiteX7" fmla="*/ 35222 w 240507"/>
                    <a:gd name="connsiteY7" fmla="*/ 205288 h 240507"/>
                    <a:gd name="connsiteX8" fmla="*/ 0 w 240507"/>
                    <a:gd name="connsiteY8" fmla="*/ 120256 h 240507"/>
                    <a:gd name="connsiteX9" fmla="*/ 0 w 240507"/>
                    <a:gd name="connsiteY9" fmla="*/ 120254 h 240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507" h="240507">
                      <a:moveTo>
                        <a:pt x="0" y="120254"/>
                      </a:moveTo>
                      <a:cubicBezTo>
                        <a:pt x="0" y="88361"/>
                        <a:pt x="12670" y="57774"/>
                        <a:pt x="35222" y="35222"/>
                      </a:cubicBezTo>
                      <a:cubicBezTo>
                        <a:pt x="57774" y="12670"/>
                        <a:pt x="88361" y="0"/>
                        <a:pt x="120255" y="1"/>
                      </a:cubicBezTo>
                      <a:cubicBezTo>
                        <a:pt x="152148" y="1"/>
                        <a:pt x="182735" y="12671"/>
                        <a:pt x="205287" y="35223"/>
                      </a:cubicBezTo>
                      <a:cubicBezTo>
                        <a:pt x="227839" y="57775"/>
                        <a:pt x="240509" y="88362"/>
                        <a:pt x="240508" y="120256"/>
                      </a:cubicBezTo>
                      <a:cubicBezTo>
                        <a:pt x="240508" y="152149"/>
                        <a:pt x="227838" y="182736"/>
                        <a:pt x="205286" y="205288"/>
                      </a:cubicBezTo>
                      <a:cubicBezTo>
                        <a:pt x="182734" y="227840"/>
                        <a:pt x="152147" y="240510"/>
                        <a:pt x="120254" y="240510"/>
                      </a:cubicBezTo>
                      <a:cubicBezTo>
                        <a:pt x="88361" y="240510"/>
                        <a:pt x="57774" y="227840"/>
                        <a:pt x="35222" y="205288"/>
                      </a:cubicBezTo>
                      <a:cubicBezTo>
                        <a:pt x="12670" y="182736"/>
                        <a:pt x="0" y="152149"/>
                        <a:pt x="0" y="120256"/>
                      </a:cubicBezTo>
                      <a:lnTo>
                        <a:pt x="0" y="120254"/>
                      </a:lnTo>
                      <a:close/>
                    </a:path>
                  </a:pathLst>
                </a:custGeom>
                <a:noFill/>
                <a:ln w="9525">
                  <a:solidFill>
                    <a:srgbClr val="1D80A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263">
                    <a:defRPr/>
                  </a:pPr>
                  <a:endParaRPr lang="en-US" sz="2400" b="1" dirty="0">
                    <a:solidFill>
                      <a:srgbClr val="969696">
                        <a:lumMod val="50000"/>
                      </a:srgbClr>
                    </a:solidFill>
                  </a:endParaRPr>
                </a:p>
              </p:txBody>
            </p:sp>
            <p:cxnSp>
              <p:nvCxnSpPr>
                <p:cNvPr id="111" name="Straight Connector 110"/>
                <p:cNvCxnSpPr/>
                <p:nvPr/>
              </p:nvCxnSpPr>
              <p:spPr>
                <a:xfrm>
                  <a:off x="5210164" y="5029368"/>
                  <a:ext cx="0" cy="283438"/>
                </a:xfrm>
                <a:prstGeom prst="line">
                  <a:avLst/>
                </a:prstGeom>
                <a:ln w="9525">
                  <a:solidFill>
                    <a:srgbClr val="1D80A7"/>
                  </a:solidFill>
                  <a:prstDash val="solid"/>
                </a:ln>
              </p:spPr>
              <p:style>
                <a:lnRef idx="1">
                  <a:schemeClr val="accent1"/>
                </a:lnRef>
                <a:fillRef idx="0">
                  <a:schemeClr val="accent1"/>
                </a:fillRef>
                <a:effectRef idx="0">
                  <a:schemeClr val="accent1"/>
                </a:effectRef>
                <a:fontRef idx="minor">
                  <a:schemeClr val="tx1"/>
                </a:fontRef>
              </p:style>
            </p:cxnSp>
            <p:cxnSp>
              <p:nvCxnSpPr>
                <p:cNvPr id="112" name="Straight Connector 67"/>
                <p:cNvCxnSpPr/>
                <p:nvPr/>
              </p:nvCxnSpPr>
              <p:spPr>
                <a:xfrm>
                  <a:off x="5330900" y="5028284"/>
                  <a:ext cx="0" cy="283438"/>
                </a:xfrm>
                <a:prstGeom prst="line">
                  <a:avLst/>
                </a:prstGeom>
                <a:ln w="9525">
                  <a:solidFill>
                    <a:srgbClr val="1D80A7"/>
                  </a:solidFill>
                  <a:prstDash val="solid"/>
                </a:ln>
              </p:spPr>
              <p:style>
                <a:lnRef idx="1">
                  <a:schemeClr val="accent1"/>
                </a:lnRef>
                <a:fillRef idx="0">
                  <a:schemeClr val="accent1"/>
                </a:fillRef>
                <a:effectRef idx="0">
                  <a:schemeClr val="accent1"/>
                </a:effectRef>
                <a:fontRef idx="minor">
                  <a:schemeClr val="tx1"/>
                </a:fontRef>
              </p:style>
            </p:cxnSp>
          </p:grpSp>
          <p:sp>
            <p:nvSpPr>
              <p:cNvPr id="34" name="TextBox 227"/>
              <p:cNvSpPr txBox="1">
                <a:spLocks noChangeArrowheads="1"/>
              </p:cNvSpPr>
              <p:nvPr/>
            </p:nvSpPr>
            <p:spPr bwMode="auto">
              <a:xfrm>
                <a:off x="1081089" y="3151188"/>
                <a:ext cx="1208143" cy="357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57263" eaLnBrk="0" hangingPunct="0">
                  <a:defRPr>
                    <a:solidFill>
                      <a:schemeClr val="tx1"/>
                    </a:solidFill>
                    <a:latin typeface="Arial" pitchFamily="34" charset="0"/>
                  </a:defRPr>
                </a:lvl1pPr>
                <a:lvl2pPr marL="742950" indent="-285750" defTabSz="957263" eaLnBrk="0" hangingPunct="0">
                  <a:defRPr>
                    <a:solidFill>
                      <a:schemeClr val="tx1"/>
                    </a:solidFill>
                    <a:latin typeface="Arial" pitchFamily="34" charset="0"/>
                  </a:defRPr>
                </a:lvl2pPr>
                <a:lvl3pPr marL="1143000" indent="-228600" defTabSz="957263" eaLnBrk="0" hangingPunct="0">
                  <a:defRPr>
                    <a:solidFill>
                      <a:schemeClr val="tx1"/>
                    </a:solidFill>
                    <a:latin typeface="Arial" pitchFamily="34" charset="0"/>
                  </a:defRPr>
                </a:lvl3pPr>
                <a:lvl4pPr marL="1600200" indent="-228600" defTabSz="957263" eaLnBrk="0" hangingPunct="0">
                  <a:defRPr>
                    <a:solidFill>
                      <a:schemeClr val="tx1"/>
                    </a:solidFill>
                    <a:latin typeface="Arial" pitchFamily="34" charset="0"/>
                  </a:defRPr>
                </a:lvl4pPr>
                <a:lvl5pPr marL="2057400" indent="-228600" defTabSz="957263" eaLnBrk="0" hangingPunct="0">
                  <a:defRPr>
                    <a:solidFill>
                      <a:schemeClr val="tx1"/>
                    </a:solidFill>
                    <a:latin typeface="Arial" pitchFamily="34" charset="0"/>
                  </a:defRPr>
                </a:lvl5pPr>
                <a:lvl6pPr marL="2514600" indent="-228600" defTabSz="957263" eaLnBrk="0" fontAlgn="base" hangingPunct="0">
                  <a:spcBef>
                    <a:spcPct val="0"/>
                  </a:spcBef>
                  <a:spcAft>
                    <a:spcPct val="0"/>
                  </a:spcAft>
                  <a:defRPr>
                    <a:solidFill>
                      <a:schemeClr val="tx1"/>
                    </a:solidFill>
                    <a:latin typeface="Arial" pitchFamily="34" charset="0"/>
                  </a:defRPr>
                </a:lvl6pPr>
                <a:lvl7pPr marL="2971800" indent="-228600" defTabSz="957263" eaLnBrk="0" fontAlgn="base" hangingPunct="0">
                  <a:spcBef>
                    <a:spcPct val="0"/>
                  </a:spcBef>
                  <a:spcAft>
                    <a:spcPct val="0"/>
                  </a:spcAft>
                  <a:defRPr>
                    <a:solidFill>
                      <a:schemeClr val="tx1"/>
                    </a:solidFill>
                    <a:latin typeface="Arial" pitchFamily="34" charset="0"/>
                  </a:defRPr>
                </a:lvl7pPr>
                <a:lvl8pPr marL="3429000" indent="-228600" defTabSz="957263" eaLnBrk="0" fontAlgn="base" hangingPunct="0">
                  <a:spcBef>
                    <a:spcPct val="0"/>
                  </a:spcBef>
                  <a:spcAft>
                    <a:spcPct val="0"/>
                  </a:spcAft>
                  <a:defRPr>
                    <a:solidFill>
                      <a:schemeClr val="tx1"/>
                    </a:solidFill>
                    <a:latin typeface="Arial" pitchFamily="34" charset="0"/>
                  </a:defRPr>
                </a:lvl8pPr>
                <a:lvl9pPr marL="3886200" indent="-228600" defTabSz="957263" eaLnBrk="0" fontAlgn="base" hangingPunct="0">
                  <a:spcBef>
                    <a:spcPct val="0"/>
                  </a:spcBef>
                  <a:spcAft>
                    <a:spcPct val="0"/>
                  </a:spcAft>
                  <a:defRPr>
                    <a:solidFill>
                      <a:schemeClr val="tx1"/>
                    </a:solidFill>
                    <a:latin typeface="Arial" pitchFamily="34" charset="0"/>
                  </a:defRPr>
                </a:lvl9pPr>
              </a:lstStyle>
              <a:p>
                <a:pPr eaLnBrk="1" hangingPunct="1"/>
                <a:r>
                  <a:rPr lang="en-US" sz="1000" b="1" dirty="0">
                    <a:solidFill>
                      <a:srgbClr val="000000"/>
                    </a:solidFill>
                    <a:latin typeface="Arial"/>
                  </a:rPr>
                  <a:t>Portfolio </a:t>
                </a:r>
                <a:br>
                  <a:rPr lang="en-US" sz="1000" b="1" dirty="0">
                    <a:solidFill>
                      <a:srgbClr val="000000"/>
                    </a:solidFill>
                    <a:latin typeface="Arial"/>
                  </a:rPr>
                </a:br>
                <a:r>
                  <a:rPr lang="en-US" sz="1000" b="1" dirty="0">
                    <a:solidFill>
                      <a:srgbClr val="000000"/>
                    </a:solidFill>
                    <a:latin typeface="Arial"/>
                  </a:rPr>
                  <a:t>Transformation</a:t>
                </a:r>
              </a:p>
            </p:txBody>
          </p:sp>
          <p:sp>
            <p:nvSpPr>
              <p:cNvPr id="35" name="TextBox 229"/>
              <p:cNvSpPr txBox="1">
                <a:spLocks noChangeArrowheads="1"/>
              </p:cNvSpPr>
              <p:nvPr/>
            </p:nvSpPr>
            <p:spPr bwMode="auto">
              <a:xfrm>
                <a:off x="10591800" y="1233488"/>
                <a:ext cx="1096963" cy="178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57263" eaLnBrk="0" hangingPunct="0">
                  <a:defRPr>
                    <a:solidFill>
                      <a:schemeClr val="tx1"/>
                    </a:solidFill>
                    <a:latin typeface="Arial" pitchFamily="34" charset="0"/>
                  </a:defRPr>
                </a:lvl1pPr>
                <a:lvl2pPr marL="742950" indent="-285750" defTabSz="957263" eaLnBrk="0" hangingPunct="0">
                  <a:defRPr>
                    <a:solidFill>
                      <a:schemeClr val="tx1"/>
                    </a:solidFill>
                    <a:latin typeface="Arial" pitchFamily="34" charset="0"/>
                  </a:defRPr>
                </a:lvl2pPr>
                <a:lvl3pPr marL="1143000" indent="-228600" defTabSz="957263" eaLnBrk="0" hangingPunct="0">
                  <a:defRPr>
                    <a:solidFill>
                      <a:schemeClr val="tx1"/>
                    </a:solidFill>
                    <a:latin typeface="Arial" pitchFamily="34" charset="0"/>
                  </a:defRPr>
                </a:lvl3pPr>
                <a:lvl4pPr marL="1600200" indent="-228600" defTabSz="957263" eaLnBrk="0" hangingPunct="0">
                  <a:defRPr>
                    <a:solidFill>
                      <a:schemeClr val="tx1"/>
                    </a:solidFill>
                    <a:latin typeface="Arial" pitchFamily="34" charset="0"/>
                  </a:defRPr>
                </a:lvl4pPr>
                <a:lvl5pPr marL="2057400" indent="-228600" defTabSz="957263" eaLnBrk="0" hangingPunct="0">
                  <a:defRPr>
                    <a:solidFill>
                      <a:schemeClr val="tx1"/>
                    </a:solidFill>
                    <a:latin typeface="Arial" pitchFamily="34" charset="0"/>
                  </a:defRPr>
                </a:lvl5pPr>
                <a:lvl6pPr marL="2514600" indent="-228600" defTabSz="957263" eaLnBrk="0" fontAlgn="base" hangingPunct="0">
                  <a:spcBef>
                    <a:spcPct val="0"/>
                  </a:spcBef>
                  <a:spcAft>
                    <a:spcPct val="0"/>
                  </a:spcAft>
                  <a:defRPr>
                    <a:solidFill>
                      <a:schemeClr val="tx1"/>
                    </a:solidFill>
                    <a:latin typeface="Arial" pitchFamily="34" charset="0"/>
                  </a:defRPr>
                </a:lvl6pPr>
                <a:lvl7pPr marL="2971800" indent="-228600" defTabSz="957263" eaLnBrk="0" fontAlgn="base" hangingPunct="0">
                  <a:spcBef>
                    <a:spcPct val="0"/>
                  </a:spcBef>
                  <a:spcAft>
                    <a:spcPct val="0"/>
                  </a:spcAft>
                  <a:defRPr>
                    <a:solidFill>
                      <a:schemeClr val="tx1"/>
                    </a:solidFill>
                    <a:latin typeface="Arial" pitchFamily="34" charset="0"/>
                  </a:defRPr>
                </a:lvl7pPr>
                <a:lvl8pPr marL="3429000" indent="-228600" defTabSz="957263" eaLnBrk="0" fontAlgn="base" hangingPunct="0">
                  <a:spcBef>
                    <a:spcPct val="0"/>
                  </a:spcBef>
                  <a:spcAft>
                    <a:spcPct val="0"/>
                  </a:spcAft>
                  <a:defRPr>
                    <a:solidFill>
                      <a:schemeClr val="tx1"/>
                    </a:solidFill>
                    <a:latin typeface="Arial" pitchFamily="34" charset="0"/>
                  </a:defRPr>
                </a:lvl8pPr>
                <a:lvl9pPr marL="3886200" indent="-228600" defTabSz="957263" eaLnBrk="0" fontAlgn="base" hangingPunct="0">
                  <a:spcBef>
                    <a:spcPct val="0"/>
                  </a:spcBef>
                  <a:spcAft>
                    <a:spcPct val="0"/>
                  </a:spcAft>
                  <a:defRPr>
                    <a:solidFill>
                      <a:schemeClr val="tx1"/>
                    </a:solidFill>
                    <a:latin typeface="Arial" pitchFamily="34" charset="0"/>
                  </a:defRPr>
                </a:lvl9pPr>
              </a:lstStyle>
              <a:p>
                <a:pPr eaLnBrk="1" hangingPunct="1">
                  <a:spcAft>
                    <a:spcPts val="600"/>
                  </a:spcAft>
                </a:pPr>
                <a:r>
                  <a:rPr lang="en-US" sz="1000" b="1" dirty="0">
                    <a:solidFill>
                      <a:srgbClr val="000000"/>
                    </a:solidFill>
                    <a:latin typeface="Arial"/>
                  </a:rPr>
                  <a:t>Cost Savings</a:t>
                </a:r>
              </a:p>
            </p:txBody>
          </p:sp>
          <p:sp>
            <p:nvSpPr>
              <p:cNvPr id="36" name="TextBox 230"/>
              <p:cNvSpPr txBox="1">
                <a:spLocks noChangeArrowheads="1"/>
              </p:cNvSpPr>
              <p:nvPr/>
            </p:nvSpPr>
            <p:spPr bwMode="auto">
              <a:xfrm>
                <a:off x="10591800" y="1531938"/>
                <a:ext cx="1096963" cy="357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57263" eaLnBrk="0" hangingPunct="0">
                  <a:defRPr>
                    <a:solidFill>
                      <a:schemeClr val="tx1"/>
                    </a:solidFill>
                    <a:latin typeface="Arial" pitchFamily="34" charset="0"/>
                  </a:defRPr>
                </a:lvl1pPr>
                <a:lvl2pPr marL="742950" indent="-285750" defTabSz="957263" eaLnBrk="0" hangingPunct="0">
                  <a:defRPr>
                    <a:solidFill>
                      <a:schemeClr val="tx1"/>
                    </a:solidFill>
                    <a:latin typeface="Arial" pitchFamily="34" charset="0"/>
                  </a:defRPr>
                </a:lvl2pPr>
                <a:lvl3pPr marL="1143000" indent="-228600" defTabSz="957263" eaLnBrk="0" hangingPunct="0">
                  <a:defRPr>
                    <a:solidFill>
                      <a:schemeClr val="tx1"/>
                    </a:solidFill>
                    <a:latin typeface="Arial" pitchFamily="34" charset="0"/>
                  </a:defRPr>
                </a:lvl3pPr>
                <a:lvl4pPr marL="1600200" indent="-228600" defTabSz="957263" eaLnBrk="0" hangingPunct="0">
                  <a:defRPr>
                    <a:solidFill>
                      <a:schemeClr val="tx1"/>
                    </a:solidFill>
                    <a:latin typeface="Arial" pitchFamily="34" charset="0"/>
                  </a:defRPr>
                </a:lvl4pPr>
                <a:lvl5pPr marL="2057400" indent="-228600" defTabSz="957263" eaLnBrk="0" hangingPunct="0">
                  <a:defRPr>
                    <a:solidFill>
                      <a:schemeClr val="tx1"/>
                    </a:solidFill>
                    <a:latin typeface="Arial" pitchFamily="34" charset="0"/>
                  </a:defRPr>
                </a:lvl5pPr>
                <a:lvl6pPr marL="2514600" indent="-228600" defTabSz="957263" eaLnBrk="0" fontAlgn="base" hangingPunct="0">
                  <a:spcBef>
                    <a:spcPct val="0"/>
                  </a:spcBef>
                  <a:spcAft>
                    <a:spcPct val="0"/>
                  </a:spcAft>
                  <a:defRPr>
                    <a:solidFill>
                      <a:schemeClr val="tx1"/>
                    </a:solidFill>
                    <a:latin typeface="Arial" pitchFamily="34" charset="0"/>
                  </a:defRPr>
                </a:lvl6pPr>
                <a:lvl7pPr marL="2971800" indent="-228600" defTabSz="957263" eaLnBrk="0" fontAlgn="base" hangingPunct="0">
                  <a:spcBef>
                    <a:spcPct val="0"/>
                  </a:spcBef>
                  <a:spcAft>
                    <a:spcPct val="0"/>
                  </a:spcAft>
                  <a:defRPr>
                    <a:solidFill>
                      <a:schemeClr val="tx1"/>
                    </a:solidFill>
                    <a:latin typeface="Arial" pitchFamily="34" charset="0"/>
                  </a:defRPr>
                </a:lvl7pPr>
                <a:lvl8pPr marL="3429000" indent="-228600" defTabSz="957263" eaLnBrk="0" fontAlgn="base" hangingPunct="0">
                  <a:spcBef>
                    <a:spcPct val="0"/>
                  </a:spcBef>
                  <a:spcAft>
                    <a:spcPct val="0"/>
                  </a:spcAft>
                  <a:defRPr>
                    <a:solidFill>
                      <a:schemeClr val="tx1"/>
                    </a:solidFill>
                    <a:latin typeface="Arial" pitchFamily="34" charset="0"/>
                  </a:defRPr>
                </a:lvl8pPr>
                <a:lvl9pPr marL="3886200" indent="-228600" defTabSz="957263" eaLnBrk="0" fontAlgn="base" hangingPunct="0">
                  <a:spcBef>
                    <a:spcPct val="0"/>
                  </a:spcBef>
                  <a:spcAft>
                    <a:spcPct val="0"/>
                  </a:spcAft>
                  <a:defRPr>
                    <a:solidFill>
                      <a:schemeClr val="tx1"/>
                    </a:solidFill>
                    <a:latin typeface="Arial" pitchFamily="34" charset="0"/>
                  </a:defRPr>
                </a:lvl9pPr>
              </a:lstStyle>
              <a:p>
                <a:pPr eaLnBrk="1" hangingPunct="1">
                  <a:spcAft>
                    <a:spcPts val="600"/>
                  </a:spcAft>
                </a:pPr>
                <a:r>
                  <a:rPr lang="en-US" sz="1000" b="1" dirty="0">
                    <a:solidFill>
                      <a:srgbClr val="000000"/>
                    </a:solidFill>
                    <a:latin typeface="Arial"/>
                  </a:rPr>
                  <a:t>Improved IT Agility</a:t>
                </a:r>
              </a:p>
            </p:txBody>
          </p:sp>
          <p:sp>
            <p:nvSpPr>
              <p:cNvPr id="37" name="TextBox 231"/>
              <p:cNvSpPr txBox="1">
                <a:spLocks noChangeArrowheads="1"/>
              </p:cNvSpPr>
              <p:nvPr/>
            </p:nvSpPr>
            <p:spPr bwMode="auto">
              <a:xfrm>
                <a:off x="10591800" y="1931988"/>
                <a:ext cx="1096963" cy="357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57263" eaLnBrk="0" hangingPunct="0">
                  <a:defRPr>
                    <a:solidFill>
                      <a:schemeClr val="tx1"/>
                    </a:solidFill>
                    <a:latin typeface="Arial" pitchFamily="34" charset="0"/>
                  </a:defRPr>
                </a:lvl1pPr>
                <a:lvl2pPr marL="742950" indent="-285750" defTabSz="957263" eaLnBrk="0" hangingPunct="0">
                  <a:defRPr>
                    <a:solidFill>
                      <a:schemeClr val="tx1"/>
                    </a:solidFill>
                    <a:latin typeface="Arial" pitchFamily="34" charset="0"/>
                  </a:defRPr>
                </a:lvl2pPr>
                <a:lvl3pPr marL="1143000" indent="-228600" defTabSz="957263" eaLnBrk="0" hangingPunct="0">
                  <a:defRPr>
                    <a:solidFill>
                      <a:schemeClr val="tx1"/>
                    </a:solidFill>
                    <a:latin typeface="Arial" pitchFamily="34" charset="0"/>
                  </a:defRPr>
                </a:lvl3pPr>
                <a:lvl4pPr marL="1600200" indent="-228600" defTabSz="957263" eaLnBrk="0" hangingPunct="0">
                  <a:defRPr>
                    <a:solidFill>
                      <a:schemeClr val="tx1"/>
                    </a:solidFill>
                    <a:latin typeface="Arial" pitchFamily="34" charset="0"/>
                  </a:defRPr>
                </a:lvl4pPr>
                <a:lvl5pPr marL="2057400" indent="-228600" defTabSz="957263" eaLnBrk="0" hangingPunct="0">
                  <a:defRPr>
                    <a:solidFill>
                      <a:schemeClr val="tx1"/>
                    </a:solidFill>
                    <a:latin typeface="Arial" pitchFamily="34" charset="0"/>
                  </a:defRPr>
                </a:lvl5pPr>
                <a:lvl6pPr marL="2514600" indent="-228600" defTabSz="957263" eaLnBrk="0" fontAlgn="base" hangingPunct="0">
                  <a:spcBef>
                    <a:spcPct val="0"/>
                  </a:spcBef>
                  <a:spcAft>
                    <a:spcPct val="0"/>
                  </a:spcAft>
                  <a:defRPr>
                    <a:solidFill>
                      <a:schemeClr val="tx1"/>
                    </a:solidFill>
                    <a:latin typeface="Arial" pitchFamily="34" charset="0"/>
                  </a:defRPr>
                </a:lvl6pPr>
                <a:lvl7pPr marL="2971800" indent="-228600" defTabSz="957263" eaLnBrk="0" fontAlgn="base" hangingPunct="0">
                  <a:spcBef>
                    <a:spcPct val="0"/>
                  </a:spcBef>
                  <a:spcAft>
                    <a:spcPct val="0"/>
                  </a:spcAft>
                  <a:defRPr>
                    <a:solidFill>
                      <a:schemeClr val="tx1"/>
                    </a:solidFill>
                    <a:latin typeface="Arial" pitchFamily="34" charset="0"/>
                  </a:defRPr>
                </a:lvl7pPr>
                <a:lvl8pPr marL="3429000" indent="-228600" defTabSz="957263" eaLnBrk="0" fontAlgn="base" hangingPunct="0">
                  <a:spcBef>
                    <a:spcPct val="0"/>
                  </a:spcBef>
                  <a:spcAft>
                    <a:spcPct val="0"/>
                  </a:spcAft>
                  <a:defRPr>
                    <a:solidFill>
                      <a:schemeClr val="tx1"/>
                    </a:solidFill>
                    <a:latin typeface="Arial" pitchFamily="34" charset="0"/>
                  </a:defRPr>
                </a:lvl8pPr>
                <a:lvl9pPr marL="3886200" indent="-228600" defTabSz="957263" eaLnBrk="0" fontAlgn="base" hangingPunct="0">
                  <a:spcBef>
                    <a:spcPct val="0"/>
                  </a:spcBef>
                  <a:spcAft>
                    <a:spcPct val="0"/>
                  </a:spcAft>
                  <a:defRPr>
                    <a:solidFill>
                      <a:schemeClr val="tx1"/>
                    </a:solidFill>
                    <a:latin typeface="Arial" pitchFamily="34" charset="0"/>
                  </a:defRPr>
                </a:lvl9pPr>
              </a:lstStyle>
              <a:p>
                <a:pPr eaLnBrk="1" hangingPunct="1">
                  <a:spcAft>
                    <a:spcPts val="600"/>
                  </a:spcAft>
                </a:pPr>
                <a:r>
                  <a:rPr lang="en-US" sz="1000" b="1" dirty="0">
                    <a:solidFill>
                      <a:srgbClr val="000000"/>
                    </a:solidFill>
                    <a:latin typeface="Arial"/>
                  </a:rPr>
                  <a:t>Increased IT </a:t>
                </a:r>
                <a:br>
                  <a:rPr lang="en-US" sz="1000" b="1" dirty="0">
                    <a:solidFill>
                      <a:srgbClr val="000000"/>
                    </a:solidFill>
                    <a:latin typeface="Arial"/>
                  </a:rPr>
                </a:br>
                <a:r>
                  <a:rPr lang="en-US" sz="1000" b="1" dirty="0">
                    <a:solidFill>
                      <a:srgbClr val="000000"/>
                    </a:solidFill>
                    <a:latin typeface="Arial"/>
                  </a:rPr>
                  <a:t>Productivity</a:t>
                </a:r>
              </a:p>
            </p:txBody>
          </p:sp>
          <p:sp>
            <p:nvSpPr>
              <p:cNvPr id="38" name="TextBox 232"/>
              <p:cNvSpPr txBox="1">
                <a:spLocks noChangeArrowheads="1"/>
              </p:cNvSpPr>
              <p:nvPr/>
            </p:nvSpPr>
            <p:spPr bwMode="auto">
              <a:xfrm>
                <a:off x="10591800" y="3911599"/>
                <a:ext cx="1096963" cy="357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57263" eaLnBrk="0" hangingPunct="0">
                  <a:defRPr>
                    <a:solidFill>
                      <a:schemeClr val="tx1"/>
                    </a:solidFill>
                    <a:latin typeface="Arial" pitchFamily="34" charset="0"/>
                  </a:defRPr>
                </a:lvl1pPr>
                <a:lvl2pPr marL="742950" indent="-285750" defTabSz="957263" eaLnBrk="0" hangingPunct="0">
                  <a:defRPr>
                    <a:solidFill>
                      <a:schemeClr val="tx1"/>
                    </a:solidFill>
                    <a:latin typeface="Arial" pitchFamily="34" charset="0"/>
                  </a:defRPr>
                </a:lvl2pPr>
                <a:lvl3pPr marL="1143000" indent="-228600" defTabSz="957263" eaLnBrk="0" hangingPunct="0">
                  <a:defRPr>
                    <a:solidFill>
                      <a:schemeClr val="tx1"/>
                    </a:solidFill>
                    <a:latin typeface="Arial" pitchFamily="34" charset="0"/>
                  </a:defRPr>
                </a:lvl3pPr>
                <a:lvl4pPr marL="1600200" indent="-228600" defTabSz="957263" eaLnBrk="0" hangingPunct="0">
                  <a:defRPr>
                    <a:solidFill>
                      <a:schemeClr val="tx1"/>
                    </a:solidFill>
                    <a:latin typeface="Arial" pitchFamily="34" charset="0"/>
                  </a:defRPr>
                </a:lvl4pPr>
                <a:lvl5pPr marL="2057400" indent="-228600" defTabSz="957263" eaLnBrk="0" hangingPunct="0">
                  <a:defRPr>
                    <a:solidFill>
                      <a:schemeClr val="tx1"/>
                    </a:solidFill>
                    <a:latin typeface="Arial" pitchFamily="34" charset="0"/>
                  </a:defRPr>
                </a:lvl5pPr>
                <a:lvl6pPr marL="2514600" indent="-228600" defTabSz="957263" eaLnBrk="0" fontAlgn="base" hangingPunct="0">
                  <a:spcBef>
                    <a:spcPct val="0"/>
                  </a:spcBef>
                  <a:spcAft>
                    <a:spcPct val="0"/>
                  </a:spcAft>
                  <a:defRPr>
                    <a:solidFill>
                      <a:schemeClr val="tx1"/>
                    </a:solidFill>
                    <a:latin typeface="Arial" pitchFamily="34" charset="0"/>
                  </a:defRPr>
                </a:lvl6pPr>
                <a:lvl7pPr marL="2971800" indent="-228600" defTabSz="957263" eaLnBrk="0" fontAlgn="base" hangingPunct="0">
                  <a:spcBef>
                    <a:spcPct val="0"/>
                  </a:spcBef>
                  <a:spcAft>
                    <a:spcPct val="0"/>
                  </a:spcAft>
                  <a:defRPr>
                    <a:solidFill>
                      <a:schemeClr val="tx1"/>
                    </a:solidFill>
                    <a:latin typeface="Arial" pitchFamily="34" charset="0"/>
                  </a:defRPr>
                </a:lvl7pPr>
                <a:lvl8pPr marL="3429000" indent="-228600" defTabSz="957263" eaLnBrk="0" fontAlgn="base" hangingPunct="0">
                  <a:spcBef>
                    <a:spcPct val="0"/>
                  </a:spcBef>
                  <a:spcAft>
                    <a:spcPct val="0"/>
                  </a:spcAft>
                  <a:defRPr>
                    <a:solidFill>
                      <a:schemeClr val="tx1"/>
                    </a:solidFill>
                    <a:latin typeface="Arial" pitchFamily="34" charset="0"/>
                  </a:defRPr>
                </a:lvl8pPr>
                <a:lvl9pPr marL="3886200" indent="-228600" defTabSz="957263" eaLnBrk="0" fontAlgn="base" hangingPunct="0">
                  <a:spcBef>
                    <a:spcPct val="0"/>
                  </a:spcBef>
                  <a:spcAft>
                    <a:spcPct val="0"/>
                  </a:spcAft>
                  <a:defRPr>
                    <a:solidFill>
                      <a:schemeClr val="tx1"/>
                    </a:solidFill>
                    <a:latin typeface="Arial" pitchFamily="34" charset="0"/>
                  </a:defRPr>
                </a:lvl9pPr>
              </a:lstStyle>
              <a:p>
                <a:pPr eaLnBrk="1" hangingPunct="1">
                  <a:spcAft>
                    <a:spcPts val="600"/>
                  </a:spcAft>
                </a:pPr>
                <a:r>
                  <a:rPr lang="en-US" sz="1000" b="1" dirty="0">
                    <a:solidFill>
                      <a:srgbClr val="000000"/>
                    </a:solidFill>
                    <a:latin typeface="Arial"/>
                  </a:rPr>
                  <a:t>Access to Key Skills</a:t>
                </a:r>
              </a:p>
            </p:txBody>
          </p:sp>
          <p:sp>
            <p:nvSpPr>
              <p:cNvPr id="39" name="TextBox 233"/>
              <p:cNvSpPr txBox="1">
                <a:spLocks noChangeArrowheads="1"/>
              </p:cNvSpPr>
              <p:nvPr/>
            </p:nvSpPr>
            <p:spPr bwMode="auto">
              <a:xfrm>
                <a:off x="10591800" y="2349500"/>
                <a:ext cx="1096963" cy="536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57263" eaLnBrk="0" hangingPunct="0">
                  <a:defRPr>
                    <a:solidFill>
                      <a:schemeClr val="tx1"/>
                    </a:solidFill>
                    <a:latin typeface="Arial" pitchFamily="34" charset="0"/>
                  </a:defRPr>
                </a:lvl1pPr>
                <a:lvl2pPr marL="742950" indent="-285750" defTabSz="957263" eaLnBrk="0" hangingPunct="0">
                  <a:defRPr>
                    <a:solidFill>
                      <a:schemeClr val="tx1"/>
                    </a:solidFill>
                    <a:latin typeface="Arial" pitchFamily="34" charset="0"/>
                  </a:defRPr>
                </a:lvl2pPr>
                <a:lvl3pPr marL="1143000" indent="-228600" defTabSz="957263" eaLnBrk="0" hangingPunct="0">
                  <a:defRPr>
                    <a:solidFill>
                      <a:schemeClr val="tx1"/>
                    </a:solidFill>
                    <a:latin typeface="Arial" pitchFamily="34" charset="0"/>
                  </a:defRPr>
                </a:lvl3pPr>
                <a:lvl4pPr marL="1600200" indent="-228600" defTabSz="957263" eaLnBrk="0" hangingPunct="0">
                  <a:defRPr>
                    <a:solidFill>
                      <a:schemeClr val="tx1"/>
                    </a:solidFill>
                    <a:latin typeface="Arial" pitchFamily="34" charset="0"/>
                  </a:defRPr>
                </a:lvl4pPr>
                <a:lvl5pPr marL="2057400" indent="-228600" defTabSz="957263" eaLnBrk="0" hangingPunct="0">
                  <a:defRPr>
                    <a:solidFill>
                      <a:schemeClr val="tx1"/>
                    </a:solidFill>
                    <a:latin typeface="Arial" pitchFamily="34" charset="0"/>
                  </a:defRPr>
                </a:lvl5pPr>
                <a:lvl6pPr marL="2514600" indent="-228600" defTabSz="957263" eaLnBrk="0" fontAlgn="base" hangingPunct="0">
                  <a:spcBef>
                    <a:spcPct val="0"/>
                  </a:spcBef>
                  <a:spcAft>
                    <a:spcPct val="0"/>
                  </a:spcAft>
                  <a:defRPr>
                    <a:solidFill>
                      <a:schemeClr val="tx1"/>
                    </a:solidFill>
                    <a:latin typeface="Arial" pitchFamily="34" charset="0"/>
                  </a:defRPr>
                </a:lvl6pPr>
                <a:lvl7pPr marL="2971800" indent="-228600" defTabSz="957263" eaLnBrk="0" fontAlgn="base" hangingPunct="0">
                  <a:spcBef>
                    <a:spcPct val="0"/>
                  </a:spcBef>
                  <a:spcAft>
                    <a:spcPct val="0"/>
                  </a:spcAft>
                  <a:defRPr>
                    <a:solidFill>
                      <a:schemeClr val="tx1"/>
                    </a:solidFill>
                    <a:latin typeface="Arial" pitchFamily="34" charset="0"/>
                  </a:defRPr>
                </a:lvl7pPr>
                <a:lvl8pPr marL="3429000" indent="-228600" defTabSz="957263" eaLnBrk="0" fontAlgn="base" hangingPunct="0">
                  <a:spcBef>
                    <a:spcPct val="0"/>
                  </a:spcBef>
                  <a:spcAft>
                    <a:spcPct val="0"/>
                  </a:spcAft>
                  <a:defRPr>
                    <a:solidFill>
                      <a:schemeClr val="tx1"/>
                    </a:solidFill>
                    <a:latin typeface="Arial" pitchFamily="34" charset="0"/>
                  </a:defRPr>
                </a:lvl8pPr>
                <a:lvl9pPr marL="3886200" indent="-228600" defTabSz="957263" eaLnBrk="0" fontAlgn="base" hangingPunct="0">
                  <a:spcBef>
                    <a:spcPct val="0"/>
                  </a:spcBef>
                  <a:spcAft>
                    <a:spcPct val="0"/>
                  </a:spcAft>
                  <a:defRPr>
                    <a:solidFill>
                      <a:schemeClr val="tx1"/>
                    </a:solidFill>
                    <a:latin typeface="Arial" pitchFamily="34" charset="0"/>
                  </a:defRPr>
                </a:lvl9pPr>
              </a:lstStyle>
              <a:p>
                <a:pPr eaLnBrk="1" hangingPunct="1">
                  <a:spcAft>
                    <a:spcPts val="600"/>
                  </a:spcAft>
                </a:pPr>
                <a:r>
                  <a:rPr lang="en-US" sz="1000" b="1" dirty="0">
                    <a:solidFill>
                      <a:srgbClr val="000000"/>
                    </a:solidFill>
                    <a:latin typeface="Arial"/>
                  </a:rPr>
                  <a:t>Reduced </a:t>
                </a:r>
                <a:br>
                  <a:rPr lang="en-US" sz="1000" b="1" dirty="0">
                    <a:solidFill>
                      <a:srgbClr val="000000"/>
                    </a:solidFill>
                    <a:latin typeface="Arial"/>
                  </a:rPr>
                </a:br>
                <a:r>
                  <a:rPr lang="en-US" sz="1000" b="1" dirty="0">
                    <a:solidFill>
                      <a:srgbClr val="000000"/>
                    </a:solidFill>
                    <a:latin typeface="Arial"/>
                  </a:rPr>
                  <a:t>Application Risk</a:t>
                </a:r>
              </a:p>
            </p:txBody>
          </p:sp>
          <p:sp>
            <p:nvSpPr>
              <p:cNvPr id="40" name="Freeform 684"/>
              <p:cNvSpPr>
                <a:spLocks noChangeAspect="1" noEditPoints="1"/>
              </p:cNvSpPr>
              <p:nvPr/>
            </p:nvSpPr>
            <p:spPr bwMode="auto">
              <a:xfrm>
                <a:off x="10094913" y="3422650"/>
                <a:ext cx="355600" cy="242888"/>
              </a:xfrm>
              <a:custGeom>
                <a:avLst/>
                <a:gdLst>
                  <a:gd name="T0" fmla="*/ 95 w 170"/>
                  <a:gd name="T1" fmla="*/ 97 h 143"/>
                  <a:gd name="T2" fmla="*/ 118 w 170"/>
                  <a:gd name="T3" fmla="*/ 120 h 143"/>
                  <a:gd name="T4" fmla="*/ 95 w 170"/>
                  <a:gd name="T5" fmla="*/ 143 h 143"/>
                  <a:gd name="T6" fmla="*/ 46 w 170"/>
                  <a:gd name="T7" fmla="*/ 120 h 143"/>
                  <a:gd name="T8" fmla="*/ 91 w 170"/>
                  <a:gd name="T9" fmla="*/ 120 h 143"/>
                  <a:gd name="T10" fmla="*/ 147 w 170"/>
                  <a:gd name="T11" fmla="*/ 47 h 143"/>
                  <a:gd name="T12" fmla="*/ 170 w 170"/>
                  <a:gd name="T13" fmla="*/ 70 h 143"/>
                  <a:gd name="T14" fmla="*/ 147 w 170"/>
                  <a:gd name="T15" fmla="*/ 94 h 143"/>
                  <a:gd name="T16" fmla="*/ 96 w 170"/>
                  <a:gd name="T17" fmla="*/ 70 h 143"/>
                  <a:gd name="T18" fmla="*/ 143 w 170"/>
                  <a:gd name="T19" fmla="*/ 70 h 143"/>
                  <a:gd name="T20" fmla="*/ 51 w 170"/>
                  <a:gd name="T21" fmla="*/ 47 h 143"/>
                  <a:gd name="T22" fmla="*/ 74 w 170"/>
                  <a:gd name="T23" fmla="*/ 70 h 143"/>
                  <a:gd name="T24" fmla="*/ 51 w 170"/>
                  <a:gd name="T25" fmla="*/ 94 h 143"/>
                  <a:gd name="T26" fmla="*/ 0 w 170"/>
                  <a:gd name="T27" fmla="*/ 70 h 143"/>
                  <a:gd name="T28" fmla="*/ 47 w 170"/>
                  <a:gd name="T29" fmla="*/ 70 h 143"/>
                  <a:gd name="T30" fmla="*/ 95 w 170"/>
                  <a:gd name="T31" fmla="*/ 0 h 143"/>
                  <a:gd name="T32" fmla="*/ 118 w 170"/>
                  <a:gd name="T33" fmla="*/ 21 h 143"/>
                  <a:gd name="T34" fmla="*/ 95 w 170"/>
                  <a:gd name="T35" fmla="*/ 44 h 143"/>
                  <a:gd name="T36" fmla="*/ 46 w 170"/>
                  <a:gd name="T37" fmla="*/ 21 h 143"/>
                  <a:gd name="T38" fmla="*/ 91 w 170"/>
                  <a:gd name="T39" fmla="*/ 21 h 1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0"/>
                  <a:gd name="T61" fmla="*/ 0 h 143"/>
                  <a:gd name="T62" fmla="*/ 170 w 170"/>
                  <a:gd name="T63" fmla="*/ 143 h 1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0" h="143">
                    <a:moveTo>
                      <a:pt x="95" y="97"/>
                    </a:moveTo>
                    <a:lnTo>
                      <a:pt x="118" y="120"/>
                    </a:lnTo>
                    <a:lnTo>
                      <a:pt x="95" y="143"/>
                    </a:lnTo>
                    <a:moveTo>
                      <a:pt x="46" y="120"/>
                    </a:moveTo>
                    <a:lnTo>
                      <a:pt x="91" y="120"/>
                    </a:lnTo>
                    <a:moveTo>
                      <a:pt x="147" y="47"/>
                    </a:moveTo>
                    <a:lnTo>
                      <a:pt x="170" y="70"/>
                    </a:lnTo>
                    <a:lnTo>
                      <a:pt x="147" y="94"/>
                    </a:lnTo>
                    <a:moveTo>
                      <a:pt x="96" y="70"/>
                    </a:moveTo>
                    <a:lnTo>
                      <a:pt x="143" y="70"/>
                    </a:lnTo>
                    <a:moveTo>
                      <a:pt x="51" y="47"/>
                    </a:moveTo>
                    <a:lnTo>
                      <a:pt x="74" y="70"/>
                    </a:lnTo>
                    <a:lnTo>
                      <a:pt x="51" y="94"/>
                    </a:lnTo>
                    <a:moveTo>
                      <a:pt x="0" y="70"/>
                    </a:moveTo>
                    <a:lnTo>
                      <a:pt x="47" y="70"/>
                    </a:lnTo>
                    <a:moveTo>
                      <a:pt x="95" y="0"/>
                    </a:moveTo>
                    <a:lnTo>
                      <a:pt x="118" y="21"/>
                    </a:lnTo>
                    <a:lnTo>
                      <a:pt x="95" y="44"/>
                    </a:lnTo>
                    <a:moveTo>
                      <a:pt x="46" y="21"/>
                    </a:moveTo>
                    <a:lnTo>
                      <a:pt x="91" y="21"/>
                    </a:lnTo>
                  </a:path>
                </a:pathLst>
              </a:custGeom>
              <a:noFill/>
              <a:ln w="1270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prstClr val="black"/>
                  </a:solidFill>
                </a:endParaRPr>
              </a:p>
            </p:txBody>
          </p:sp>
          <p:grpSp>
            <p:nvGrpSpPr>
              <p:cNvPr id="42" name="Group 156"/>
              <p:cNvGrpSpPr>
                <a:grpSpLocks/>
              </p:cNvGrpSpPr>
              <p:nvPr/>
            </p:nvGrpSpPr>
            <p:grpSpPr bwMode="auto">
              <a:xfrm>
                <a:off x="10086975" y="2913063"/>
                <a:ext cx="369888" cy="188912"/>
                <a:chOff x="7221458" y="6787944"/>
                <a:chExt cx="578823" cy="365760"/>
              </a:xfrm>
            </p:grpSpPr>
            <p:sp>
              <p:nvSpPr>
                <p:cNvPr id="106" name="Freeform 636"/>
                <p:cNvSpPr>
                  <a:spLocks noChangeAspect="1"/>
                </p:cNvSpPr>
                <p:nvPr/>
              </p:nvSpPr>
              <p:spPr bwMode="auto">
                <a:xfrm>
                  <a:off x="7221458" y="6787944"/>
                  <a:ext cx="578823" cy="365760"/>
                </a:xfrm>
                <a:custGeom>
                  <a:avLst/>
                  <a:gdLst>
                    <a:gd name="T0" fmla="*/ 193 w 193"/>
                    <a:gd name="T1" fmla="*/ 108 h 122"/>
                    <a:gd name="T2" fmla="*/ 180 w 193"/>
                    <a:gd name="T3" fmla="*/ 122 h 122"/>
                    <a:gd name="T4" fmla="*/ 14 w 193"/>
                    <a:gd name="T5" fmla="*/ 122 h 122"/>
                    <a:gd name="T6" fmla="*/ 0 w 193"/>
                    <a:gd name="T7" fmla="*/ 108 h 122"/>
                    <a:gd name="T8" fmla="*/ 176 w 193"/>
                    <a:gd name="T9" fmla="*/ 108 h 122"/>
                    <a:gd name="T10" fmla="*/ 176 w 193"/>
                    <a:gd name="T11" fmla="*/ 0 h 122"/>
                    <a:gd name="T12" fmla="*/ 18 w 193"/>
                    <a:gd name="T13" fmla="*/ 0 h 122"/>
                    <a:gd name="T14" fmla="*/ 18 w 193"/>
                    <a:gd name="T15" fmla="*/ 94 h 122"/>
                    <a:gd name="T16" fmla="*/ 0 60000 65536"/>
                    <a:gd name="T17" fmla="*/ 0 60000 65536"/>
                    <a:gd name="T18" fmla="*/ 0 60000 65536"/>
                    <a:gd name="T19" fmla="*/ 0 60000 65536"/>
                    <a:gd name="T20" fmla="*/ 0 60000 65536"/>
                    <a:gd name="T21" fmla="*/ 0 60000 65536"/>
                    <a:gd name="T22" fmla="*/ 0 60000 65536"/>
                    <a:gd name="T23" fmla="*/ 0 60000 65536"/>
                    <a:gd name="T24" fmla="*/ 0 w 193"/>
                    <a:gd name="T25" fmla="*/ 0 h 122"/>
                    <a:gd name="T26" fmla="*/ 193 w 193"/>
                    <a:gd name="T27" fmla="*/ 122 h 1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3" h="122">
                      <a:moveTo>
                        <a:pt x="193" y="108"/>
                      </a:moveTo>
                      <a:cubicBezTo>
                        <a:pt x="193" y="116"/>
                        <a:pt x="187" y="122"/>
                        <a:pt x="180" y="122"/>
                      </a:cubicBezTo>
                      <a:cubicBezTo>
                        <a:pt x="14" y="122"/>
                        <a:pt x="14" y="122"/>
                        <a:pt x="14" y="122"/>
                      </a:cubicBezTo>
                      <a:cubicBezTo>
                        <a:pt x="6" y="122"/>
                        <a:pt x="0" y="116"/>
                        <a:pt x="0" y="108"/>
                      </a:cubicBezTo>
                      <a:cubicBezTo>
                        <a:pt x="176" y="108"/>
                        <a:pt x="176" y="108"/>
                        <a:pt x="176" y="108"/>
                      </a:cubicBezTo>
                      <a:cubicBezTo>
                        <a:pt x="176" y="0"/>
                        <a:pt x="176" y="0"/>
                        <a:pt x="176" y="0"/>
                      </a:cubicBezTo>
                      <a:cubicBezTo>
                        <a:pt x="18" y="0"/>
                        <a:pt x="18" y="0"/>
                        <a:pt x="18" y="0"/>
                      </a:cubicBezTo>
                      <a:cubicBezTo>
                        <a:pt x="18" y="94"/>
                        <a:pt x="18" y="94"/>
                        <a:pt x="18" y="94"/>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prstClr val="black"/>
                    </a:solidFill>
                  </a:endParaRPr>
                </a:p>
              </p:txBody>
            </p:sp>
            <p:grpSp>
              <p:nvGrpSpPr>
                <p:cNvPr id="43" name="Group 142"/>
                <p:cNvGrpSpPr>
                  <a:grpSpLocks/>
                </p:cNvGrpSpPr>
                <p:nvPr/>
              </p:nvGrpSpPr>
              <p:grpSpPr bwMode="auto">
                <a:xfrm rot="21025063" flipV="1">
                  <a:off x="7362623" y="6848426"/>
                  <a:ext cx="297543" cy="195942"/>
                  <a:chOff x="5917569" y="2881064"/>
                  <a:chExt cx="410001" cy="269999"/>
                </a:xfrm>
              </p:grpSpPr>
              <p:sp>
                <p:nvSpPr>
                  <p:cNvPr id="108" name="Freeform 554"/>
                  <p:cNvSpPr>
                    <a:spLocks/>
                  </p:cNvSpPr>
                  <p:nvPr/>
                </p:nvSpPr>
                <p:spPr bwMode="auto">
                  <a:xfrm>
                    <a:off x="5917569" y="2911063"/>
                    <a:ext cx="366667" cy="240000"/>
                  </a:xfrm>
                  <a:custGeom>
                    <a:avLst/>
                    <a:gdLst>
                      <a:gd name="T0" fmla="*/ 0 w 110"/>
                      <a:gd name="T1" fmla="*/ 72 h 72"/>
                      <a:gd name="T2" fmla="*/ 33 w 110"/>
                      <a:gd name="T3" fmla="*/ 38 h 72"/>
                      <a:gd name="T4" fmla="*/ 52 w 110"/>
                      <a:gd name="T5" fmla="*/ 58 h 72"/>
                      <a:gd name="T6" fmla="*/ 110 w 110"/>
                      <a:gd name="T7" fmla="*/ 0 h 72"/>
                      <a:gd name="T8" fmla="*/ 0 60000 65536"/>
                      <a:gd name="T9" fmla="*/ 0 60000 65536"/>
                      <a:gd name="T10" fmla="*/ 0 60000 65536"/>
                      <a:gd name="T11" fmla="*/ 0 60000 65536"/>
                      <a:gd name="T12" fmla="*/ 0 w 110"/>
                      <a:gd name="T13" fmla="*/ 0 h 72"/>
                      <a:gd name="T14" fmla="*/ 110 w 110"/>
                      <a:gd name="T15" fmla="*/ 72 h 72"/>
                    </a:gdLst>
                    <a:ahLst/>
                    <a:cxnLst>
                      <a:cxn ang="T8">
                        <a:pos x="T0" y="T1"/>
                      </a:cxn>
                      <a:cxn ang="T9">
                        <a:pos x="T2" y="T3"/>
                      </a:cxn>
                      <a:cxn ang="T10">
                        <a:pos x="T4" y="T5"/>
                      </a:cxn>
                      <a:cxn ang="T11">
                        <a:pos x="T6" y="T7"/>
                      </a:cxn>
                    </a:cxnLst>
                    <a:rect l="T12" t="T13" r="T14" b="T15"/>
                    <a:pathLst>
                      <a:path w="110" h="72">
                        <a:moveTo>
                          <a:pt x="0" y="72"/>
                        </a:moveTo>
                        <a:lnTo>
                          <a:pt x="33" y="38"/>
                        </a:lnTo>
                        <a:lnTo>
                          <a:pt x="52" y="58"/>
                        </a:lnTo>
                        <a:lnTo>
                          <a:pt x="110" y="0"/>
                        </a:lnTo>
                      </a:path>
                    </a:pathLst>
                  </a:custGeom>
                  <a:noFill/>
                  <a:ln w="1270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prstClr val="black"/>
                      </a:solidFill>
                    </a:endParaRPr>
                  </a:p>
                </p:txBody>
              </p:sp>
              <p:sp>
                <p:nvSpPr>
                  <p:cNvPr id="109" name="Freeform 555"/>
                  <p:cNvSpPr>
                    <a:spLocks/>
                  </p:cNvSpPr>
                  <p:nvPr/>
                </p:nvSpPr>
                <p:spPr bwMode="auto">
                  <a:xfrm>
                    <a:off x="6224236" y="2881064"/>
                    <a:ext cx="103334" cy="110001"/>
                  </a:xfrm>
                  <a:custGeom>
                    <a:avLst/>
                    <a:gdLst>
                      <a:gd name="T0" fmla="*/ 0 w 31"/>
                      <a:gd name="T1" fmla="*/ 0 h 33"/>
                      <a:gd name="T2" fmla="*/ 31 w 31"/>
                      <a:gd name="T3" fmla="*/ 0 h 33"/>
                      <a:gd name="T4" fmla="*/ 31 w 31"/>
                      <a:gd name="T5" fmla="*/ 33 h 33"/>
                      <a:gd name="T6" fmla="*/ 0 60000 65536"/>
                      <a:gd name="T7" fmla="*/ 0 60000 65536"/>
                      <a:gd name="T8" fmla="*/ 0 60000 65536"/>
                      <a:gd name="T9" fmla="*/ 0 w 31"/>
                      <a:gd name="T10" fmla="*/ 0 h 33"/>
                      <a:gd name="T11" fmla="*/ 31 w 31"/>
                      <a:gd name="T12" fmla="*/ 33 h 33"/>
                    </a:gdLst>
                    <a:ahLst/>
                    <a:cxnLst>
                      <a:cxn ang="T6">
                        <a:pos x="T0" y="T1"/>
                      </a:cxn>
                      <a:cxn ang="T7">
                        <a:pos x="T2" y="T3"/>
                      </a:cxn>
                      <a:cxn ang="T8">
                        <a:pos x="T4" y="T5"/>
                      </a:cxn>
                    </a:cxnLst>
                    <a:rect l="T9" t="T10" r="T11" b="T12"/>
                    <a:pathLst>
                      <a:path w="31" h="33">
                        <a:moveTo>
                          <a:pt x="0" y="0"/>
                        </a:moveTo>
                        <a:lnTo>
                          <a:pt x="31" y="0"/>
                        </a:lnTo>
                        <a:lnTo>
                          <a:pt x="31" y="33"/>
                        </a:lnTo>
                      </a:path>
                    </a:pathLst>
                  </a:custGeom>
                  <a:noFill/>
                  <a:ln w="12700"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prstClr val="black"/>
                      </a:solidFill>
                    </a:endParaRPr>
                  </a:p>
                </p:txBody>
              </p:sp>
            </p:grpSp>
          </p:grpSp>
          <p:grpSp>
            <p:nvGrpSpPr>
              <p:cNvPr id="46" name="Groupe 320"/>
              <p:cNvGrpSpPr>
                <a:grpSpLocks noChangeAspect="1"/>
              </p:cNvGrpSpPr>
              <p:nvPr/>
            </p:nvGrpSpPr>
            <p:grpSpPr bwMode="auto">
              <a:xfrm>
                <a:off x="10115550" y="3843338"/>
                <a:ext cx="312738" cy="247650"/>
                <a:chOff x="4430703" y="4705832"/>
                <a:chExt cx="374626" cy="416807"/>
              </a:xfrm>
            </p:grpSpPr>
            <p:sp>
              <p:nvSpPr>
                <p:cNvPr id="101" name="Freeform 897"/>
                <p:cNvSpPr>
                  <a:spLocks/>
                </p:cNvSpPr>
                <p:nvPr/>
              </p:nvSpPr>
              <p:spPr bwMode="auto">
                <a:xfrm>
                  <a:off x="4649755" y="4780529"/>
                  <a:ext cx="155574" cy="255586"/>
                </a:xfrm>
                <a:custGeom>
                  <a:avLst/>
                  <a:gdLst>
                    <a:gd name="T0" fmla="*/ 63498 w 9423"/>
                    <a:gd name="T1" fmla="*/ 255586 h 10000"/>
                    <a:gd name="T2" fmla="*/ 63498 w 9423"/>
                    <a:gd name="T3" fmla="*/ 255586 h 10000"/>
                    <a:gd name="T4" fmla="*/ 96831 w 9423"/>
                    <a:gd name="T5" fmla="*/ 255586 h 10000"/>
                    <a:gd name="T6" fmla="*/ 127012 w 9423"/>
                    <a:gd name="T7" fmla="*/ 254001 h 10000"/>
                    <a:gd name="T8" fmla="*/ 147633 w 9423"/>
                    <a:gd name="T9" fmla="*/ 250832 h 10000"/>
                    <a:gd name="T10" fmla="*/ 153989 w 9423"/>
                    <a:gd name="T11" fmla="*/ 249247 h 10000"/>
                    <a:gd name="T12" fmla="*/ 155574 w 9423"/>
                    <a:gd name="T13" fmla="*/ 247637 h 10000"/>
                    <a:gd name="T14" fmla="*/ 155574 w 9423"/>
                    <a:gd name="T15" fmla="*/ 247637 h 10000"/>
                    <a:gd name="T16" fmla="*/ 155574 w 9423"/>
                    <a:gd name="T17" fmla="*/ 220673 h 10000"/>
                    <a:gd name="T18" fmla="*/ 153989 w 9423"/>
                    <a:gd name="T19" fmla="*/ 196852 h 10000"/>
                    <a:gd name="T20" fmla="*/ 147633 w 9423"/>
                    <a:gd name="T21" fmla="*/ 174616 h 10000"/>
                    <a:gd name="T22" fmla="*/ 141293 w 9423"/>
                    <a:gd name="T23" fmla="*/ 155575 h 10000"/>
                    <a:gd name="T24" fmla="*/ 131767 w 9423"/>
                    <a:gd name="T25" fmla="*/ 136534 h 10000"/>
                    <a:gd name="T26" fmla="*/ 119054 w 9423"/>
                    <a:gd name="T27" fmla="*/ 122247 h 10000"/>
                    <a:gd name="T28" fmla="*/ 103188 w 9423"/>
                    <a:gd name="T29" fmla="*/ 112713 h 10000"/>
                    <a:gd name="T30" fmla="*/ 85704 w 9423"/>
                    <a:gd name="T31" fmla="*/ 104765 h 10000"/>
                    <a:gd name="T32" fmla="*/ 85704 w 9423"/>
                    <a:gd name="T33" fmla="*/ 104765 h 10000"/>
                    <a:gd name="T34" fmla="*/ 95263 w 9423"/>
                    <a:gd name="T35" fmla="*/ 95257 h 10000"/>
                    <a:gd name="T36" fmla="*/ 101603 w 9423"/>
                    <a:gd name="T37" fmla="*/ 82554 h 10000"/>
                    <a:gd name="T38" fmla="*/ 106391 w 9423"/>
                    <a:gd name="T39" fmla="*/ 68267 h 10000"/>
                    <a:gd name="T40" fmla="*/ 111129 w 9423"/>
                    <a:gd name="T41" fmla="*/ 53980 h 10000"/>
                    <a:gd name="T42" fmla="*/ 111129 w 9423"/>
                    <a:gd name="T43" fmla="*/ 53980 h 10000"/>
                    <a:gd name="T44" fmla="*/ 109528 w 9423"/>
                    <a:gd name="T45" fmla="*/ 42862 h 10000"/>
                    <a:gd name="T46" fmla="*/ 106391 w 9423"/>
                    <a:gd name="T47" fmla="*/ 31744 h 10000"/>
                    <a:gd name="T48" fmla="*/ 103188 w 9423"/>
                    <a:gd name="T49" fmla="*/ 22236 h 10000"/>
                    <a:gd name="T50" fmla="*/ 96831 w 9423"/>
                    <a:gd name="T51" fmla="*/ 14287 h 10000"/>
                    <a:gd name="T52" fmla="*/ 90491 w 9423"/>
                    <a:gd name="T53" fmla="*/ 7949 h 10000"/>
                    <a:gd name="T54" fmla="*/ 82534 w 9423"/>
                    <a:gd name="T55" fmla="*/ 4754 h 10000"/>
                    <a:gd name="T56" fmla="*/ 74592 w 9423"/>
                    <a:gd name="T57" fmla="*/ 0 h 10000"/>
                    <a:gd name="T58" fmla="*/ 65083 w 9423"/>
                    <a:gd name="T59" fmla="*/ 0 h 10000"/>
                    <a:gd name="T60" fmla="*/ 65083 w 9423"/>
                    <a:gd name="T61" fmla="*/ 0 h 10000"/>
                    <a:gd name="T62" fmla="*/ 57141 w 9423"/>
                    <a:gd name="T63" fmla="*/ 0 h 10000"/>
                    <a:gd name="T64" fmla="*/ 49216 w 9423"/>
                    <a:gd name="T65" fmla="*/ 4754 h 10000"/>
                    <a:gd name="T66" fmla="*/ 41275 w 9423"/>
                    <a:gd name="T67" fmla="*/ 7949 h 10000"/>
                    <a:gd name="T68" fmla="*/ 33350 w 9423"/>
                    <a:gd name="T69" fmla="*/ 14287 h 10000"/>
                    <a:gd name="T70" fmla="*/ 28579 w 9423"/>
                    <a:gd name="T71" fmla="*/ 22236 h 10000"/>
                    <a:gd name="T72" fmla="*/ 23791 w 9423"/>
                    <a:gd name="T73" fmla="*/ 31744 h 10000"/>
                    <a:gd name="T74" fmla="*/ 20638 w 9423"/>
                    <a:gd name="T75" fmla="*/ 42862 h 10000"/>
                    <a:gd name="T76" fmla="*/ 20638 w 9423"/>
                    <a:gd name="T77" fmla="*/ 53980 h 10000"/>
                    <a:gd name="T78" fmla="*/ 20638 w 9423"/>
                    <a:gd name="T79" fmla="*/ 53980 h 10000"/>
                    <a:gd name="T80" fmla="*/ 22239 w 9423"/>
                    <a:gd name="T81" fmla="*/ 68267 h 10000"/>
                    <a:gd name="T82" fmla="*/ 28579 w 9423"/>
                    <a:gd name="T83" fmla="*/ 82554 h 10000"/>
                    <a:gd name="T84" fmla="*/ 36520 w 9423"/>
                    <a:gd name="T85" fmla="*/ 95257 h 10000"/>
                    <a:gd name="T86" fmla="*/ 44462 w 9423"/>
                    <a:gd name="T87" fmla="*/ 104765 h 10000"/>
                    <a:gd name="T88" fmla="*/ 44462 w 9423"/>
                    <a:gd name="T89" fmla="*/ 104765 h 10000"/>
                    <a:gd name="T90" fmla="*/ 26977 w 9423"/>
                    <a:gd name="T91" fmla="*/ 112713 h 10000"/>
                    <a:gd name="T92" fmla="*/ 12696 w 9423"/>
                    <a:gd name="T93" fmla="*/ 122247 h 10000"/>
                    <a:gd name="T94" fmla="*/ 0 w 9423"/>
                    <a:gd name="T95" fmla="*/ 136534 h 100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9423" h="10000">
                      <a:moveTo>
                        <a:pt x="3846" y="10000"/>
                      </a:moveTo>
                      <a:lnTo>
                        <a:pt x="3846" y="10000"/>
                      </a:lnTo>
                      <a:lnTo>
                        <a:pt x="5865" y="10000"/>
                      </a:lnTo>
                      <a:lnTo>
                        <a:pt x="7693" y="9938"/>
                      </a:lnTo>
                      <a:lnTo>
                        <a:pt x="8942" y="9814"/>
                      </a:lnTo>
                      <a:lnTo>
                        <a:pt x="9327" y="9752"/>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770" y="3727"/>
                      </a:lnTo>
                      <a:lnTo>
                        <a:pt x="6154" y="3230"/>
                      </a:lnTo>
                      <a:cubicBezTo>
                        <a:pt x="6251" y="3044"/>
                        <a:pt x="6347" y="2857"/>
                        <a:pt x="6444" y="2671"/>
                      </a:cubicBezTo>
                      <a:cubicBezTo>
                        <a:pt x="6540" y="2485"/>
                        <a:pt x="6635" y="2298"/>
                        <a:pt x="6731" y="2112"/>
                      </a:cubicBez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cubicBezTo>
                        <a:pt x="1282" y="2298"/>
                        <a:pt x="1315" y="2485"/>
                        <a:pt x="1347" y="2671"/>
                      </a:cubicBezTo>
                      <a:lnTo>
                        <a:pt x="1731" y="3230"/>
                      </a:lnTo>
                      <a:lnTo>
                        <a:pt x="2212" y="3727"/>
                      </a:lnTo>
                      <a:lnTo>
                        <a:pt x="2693" y="4099"/>
                      </a:lnTo>
                      <a:lnTo>
                        <a:pt x="1634" y="4410"/>
                      </a:lnTo>
                      <a:lnTo>
                        <a:pt x="769" y="4783"/>
                      </a:lnTo>
                      <a:lnTo>
                        <a:pt x="0" y="5342"/>
                      </a:lnTo>
                    </a:path>
                  </a:pathLst>
                </a:custGeom>
                <a:noFill/>
                <a:ln w="12700">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prstClr val="black"/>
                    </a:solidFill>
                  </a:endParaRPr>
                </a:p>
              </p:txBody>
            </p:sp>
            <p:sp>
              <p:nvSpPr>
                <p:cNvPr id="102" name="Freeform 897"/>
                <p:cNvSpPr>
                  <a:spLocks/>
                </p:cNvSpPr>
                <p:nvPr/>
              </p:nvSpPr>
              <p:spPr bwMode="auto">
                <a:xfrm>
                  <a:off x="4509785" y="4867053"/>
                  <a:ext cx="180974" cy="255586"/>
                </a:xfrm>
                <a:custGeom>
                  <a:avLst/>
                  <a:gdLst>
                    <a:gd name="T0" fmla="*/ 88894 w 10000"/>
                    <a:gd name="T1" fmla="*/ 255586 h 10000"/>
                    <a:gd name="T2" fmla="*/ 48248 w 10000"/>
                    <a:gd name="T3" fmla="*/ 255586 h 10000"/>
                    <a:gd name="T4" fmla="*/ 122230 w 10000"/>
                    <a:gd name="T5" fmla="*/ 255586 h 10000"/>
                    <a:gd name="T6" fmla="*/ 152398 w 10000"/>
                    <a:gd name="T7" fmla="*/ 254001 h 10000"/>
                    <a:gd name="T8" fmla="*/ 173029 w 10000"/>
                    <a:gd name="T9" fmla="*/ 250832 h 10000"/>
                    <a:gd name="T10" fmla="*/ 179381 w 10000"/>
                    <a:gd name="T11" fmla="*/ 249247 h 10000"/>
                    <a:gd name="T12" fmla="*/ 180974 w 10000"/>
                    <a:gd name="T13" fmla="*/ 247637 h 10000"/>
                    <a:gd name="T14" fmla="*/ 180974 w 10000"/>
                    <a:gd name="T15" fmla="*/ 247637 h 10000"/>
                    <a:gd name="T16" fmla="*/ 180974 w 10000"/>
                    <a:gd name="T17" fmla="*/ 220673 h 10000"/>
                    <a:gd name="T18" fmla="*/ 179381 w 10000"/>
                    <a:gd name="T19" fmla="*/ 196852 h 10000"/>
                    <a:gd name="T20" fmla="*/ 173029 w 10000"/>
                    <a:gd name="T21" fmla="*/ 174616 h 10000"/>
                    <a:gd name="T22" fmla="*/ 166695 w 10000"/>
                    <a:gd name="T23" fmla="*/ 155575 h 10000"/>
                    <a:gd name="T24" fmla="*/ 157158 w 10000"/>
                    <a:gd name="T25" fmla="*/ 136534 h 10000"/>
                    <a:gd name="T26" fmla="*/ 144453 w 10000"/>
                    <a:gd name="T27" fmla="*/ 122247 h 10000"/>
                    <a:gd name="T28" fmla="*/ 128582 w 10000"/>
                    <a:gd name="T29" fmla="*/ 112713 h 10000"/>
                    <a:gd name="T30" fmla="*/ 111118 w 10000"/>
                    <a:gd name="T31" fmla="*/ 104765 h 10000"/>
                    <a:gd name="T32" fmla="*/ 111118 w 10000"/>
                    <a:gd name="T33" fmla="*/ 104765 h 10000"/>
                    <a:gd name="T34" fmla="*/ 120655 w 10000"/>
                    <a:gd name="T35" fmla="*/ 95257 h 10000"/>
                    <a:gd name="T36" fmla="*/ 127008 w 10000"/>
                    <a:gd name="T37" fmla="*/ 82554 h 10000"/>
                    <a:gd name="T38" fmla="*/ 131767 w 10000"/>
                    <a:gd name="T39" fmla="*/ 68267 h 10000"/>
                    <a:gd name="T40" fmla="*/ 136527 w 10000"/>
                    <a:gd name="T41" fmla="*/ 53980 h 10000"/>
                    <a:gd name="T42" fmla="*/ 136527 w 10000"/>
                    <a:gd name="T43" fmla="*/ 53980 h 10000"/>
                    <a:gd name="T44" fmla="*/ 134934 w 10000"/>
                    <a:gd name="T45" fmla="*/ 42862 h 10000"/>
                    <a:gd name="T46" fmla="*/ 131767 w 10000"/>
                    <a:gd name="T47" fmla="*/ 31744 h 10000"/>
                    <a:gd name="T48" fmla="*/ 128582 w 10000"/>
                    <a:gd name="T49" fmla="*/ 22236 h 10000"/>
                    <a:gd name="T50" fmla="*/ 122230 w 10000"/>
                    <a:gd name="T51" fmla="*/ 14287 h 10000"/>
                    <a:gd name="T52" fmla="*/ 115896 w 10000"/>
                    <a:gd name="T53" fmla="*/ 7949 h 10000"/>
                    <a:gd name="T54" fmla="*/ 107951 w 10000"/>
                    <a:gd name="T55" fmla="*/ 4754 h 10000"/>
                    <a:gd name="T56" fmla="*/ 100006 w 10000"/>
                    <a:gd name="T57" fmla="*/ 0 h 10000"/>
                    <a:gd name="T58" fmla="*/ 90487 w 10000"/>
                    <a:gd name="T59" fmla="*/ 0 h 10000"/>
                    <a:gd name="T60" fmla="*/ 90487 w 10000"/>
                    <a:gd name="T61" fmla="*/ 0 h 10000"/>
                    <a:gd name="T62" fmla="*/ 82542 w 10000"/>
                    <a:gd name="T63" fmla="*/ 0 h 10000"/>
                    <a:gd name="T64" fmla="*/ 74616 w 10000"/>
                    <a:gd name="T65" fmla="*/ 4754 h 10000"/>
                    <a:gd name="T66" fmla="*/ 66671 w 10000"/>
                    <a:gd name="T67" fmla="*/ 7949 h 10000"/>
                    <a:gd name="T68" fmla="*/ 58744 w 10000"/>
                    <a:gd name="T69" fmla="*/ 14287 h 10000"/>
                    <a:gd name="T70" fmla="*/ 53966 w 10000"/>
                    <a:gd name="T71" fmla="*/ 22236 h 10000"/>
                    <a:gd name="T72" fmla="*/ 49207 w 10000"/>
                    <a:gd name="T73" fmla="*/ 31744 h 10000"/>
                    <a:gd name="T74" fmla="*/ 46040 w 10000"/>
                    <a:gd name="T75" fmla="*/ 42862 h 10000"/>
                    <a:gd name="T76" fmla="*/ 46040 w 10000"/>
                    <a:gd name="T77" fmla="*/ 53980 h 10000"/>
                    <a:gd name="T78" fmla="*/ 46040 w 10000"/>
                    <a:gd name="T79" fmla="*/ 53980 h 10000"/>
                    <a:gd name="T80" fmla="*/ 47632 w 10000"/>
                    <a:gd name="T81" fmla="*/ 68267 h 10000"/>
                    <a:gd name="T82" fmla="*/ 53966 w 10000"/>
                    <a:gd name="T83" fmla="*/ 82554 h 10000"/>
                    <a:gd name="T84" fmla="*/ 61911 w 10000"/>
                    <a:gd name="T85" fmla="*/ 95257 h 10000"/>
                    <a:gd name="T86" fmla="*/ 69856 w 10000"/>
                    <a:gd name="T87" fmla="*/ 104765 h 10000"/>
                    <a:gd name="T88" fmla="*/ 69856 w 10000"/>
                    <a:gd name="T89" fmla="*/ 104765 h 10000"/>
                    <a:gd name="T90" fmla="*/ 52392 w 10000"/>
                    <a:gd name="T91" fmla="*/ 112713 h 10000"/>
                    <a:gd name="T92" fmla="*/ 38095 w 10000"/>
                    <a:gd name="T93" fmla="*/ 122247 h 10000"/>
                    <a:gd name="T94" fmla="*/ 25409 w 10000"/>
                    <a:gd name="T95" fmla="*/ 136534 h 10000"/>
                    <a:gd name="T96" fmla="*/ 15871 w 10000"/>
                    <a:gd name="T97" fmla="*/ 155575 h 10000"/>
                    <a:gd name="T98" fmla="*/ 7945 w 10000"/>
                    <a:gd name="T99" fmla="*/ 174616 h 10000"/>
                    <a:gd name="T100" fmla="*/ 3167 w 10000"/>
                    <a:gd name="T101" fmla="*/ 196852 h 10000"/>
                    <a:gd name="T102" fmla="*/ 0 w 10000"/>
                    <a:gd name="T103" fmla="*/ 220673 h 10000"/>
                    <a:gd name="T104" fmla="*/ 0 w 10000"/>
                    <a:gd name="T105" fmla="*/ 247637 h 100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0000" h="10000">
                      <a:moveTo>
                        <a:pt x="4912" y="10000"/>
                      </a:moveTo>
                      <a:lnTo>
                        <a:pt x="2666" y="10000"/>
                      </a:lnTo>
                      <a:lnTo>
                        <a:pt x="6754" y="10000"/>
                      </a:lnTo>
                      <a:lnTo>
                        <a:pt x="8421" y="9938"/>
                      </a:lnTo>
                      <a:lnTo>
                        <a:pt x="9561" y="9814"/>
                      </a:lnTo>
                      <a:lnTo>
                        <a:pt x="9912" y="9752"/>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667" y="3727"/>
                      </a:lnTo>
                      <a:lnTo>
                        <a:pt x="7018" y="3230"/>
                      </a:lnTo>
                      <a:cubicBezTo>
                        <a:pt x="7106" y="3044"/>
                        <a:pt x="7193" y="2857"/>
                        <a:pt x="7281" y="2671"/>
                      </a:cubicBezTo>
                      <a:cubicBezTo>
                        <a:pt x="7369" y="2485"/>
                        <a:pt x="7456" y="2298"/>
                        <a:pt x="7544" y="2112"/>
                      </a:cubicBez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cubicBezTo>
                        <a:pt x="2573" y="2298"/>
                        <a:pt x="2603" y="2485"/>
                        <a:pt x="2632" y="2671"/>
                      </a:cubicBezTo>
                      <a:lnTo>
                        <a:pt x="2982" y="3230"/>
                      </a:lnTo>
                      <a:lnTo>
                        <a:pt x="3421" y="3727"/>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2700">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prstClr val="black"/>
                    </a:solidFill>
                  </a:endParaRPr>
                </a:p>
              </p:txBody>
            </p:sp>
            <p:grpSp>
              <p:nvGrpSpPr>
                <p:cNvPr id="103" name="Groupe 78"/>
                <p:cNvGrpSpPr>
                  <a:grpSpLocks/>
                </p:cNvGrpSpPr>
                <p:nvPr/>
              </p:nvGrpSpPr>
              <p:grpSpPr bwMode="auto">
                <a:xfrm>
                  <a:off x="4430703" y="4705832"/>
                  <a:ext cx="166698" cy="255151"/>
                  <a:chOff x="4430703" y="4705832"/>
                  <a:chExt cx="166698" cy="255151"/>
                </a:xfrm>
              </p:grpSpPr>
              <p:sp>
                <p:nvSpPr>
                  <p:cNvPr id="104" name="Freeform 897"/>
                  <p:cNvSpPr>
                    <a:spLocks/>
                  </p:cNvSpPr>
                  <p:nvPr/>
                </p:nvSpPr>
                <p:spPr bwMode="auto">
                  <a:xfrm>
                    <a:off x="4430703" y="4705832"/>
                    <a:ext cx="166698" cy="247657"/>
                  </a:xfrm>
                  <a:custGeom>
                    <a:avLst/>
                    <a:gdLst>
                      <a:gd name="T0" fmla="*/ 166698 w 9634"/>
                      <a:gd name="T1" fmla="*/ 155553 h 10000"/>
                      <a:gd name="T2" fmla="*/ 157164 w 9634"/>
                      <a:gd name="T3" fmla="*/ 136533 h 10000"/>
                      <a:gd name="T4" fmla="*/ 144464 w 9634"/>
                      <a:gd name="T5" fmla="*/ 122268 h 10000"/>
                      <a:gd name="T6" fmla="*/ 128579 w 9634"/>
                      <a:gd name="T7" fmla="*/ 112709 h 10000"/>
                      <a:gd name="T8" fmla="*/ 111120 w 9634"/>
                      <a:gd name="T9" fmla="*/ 104759 h 10000"/>
                      <a:gd name="T10" fmla="*/ 111120 w 9634"/>
                      <a:gd name="T11" fmla="*/ 104759 h 10000"/>
                      <a:gd name="T12" fmla="*/ 120654 w 9634"/>
                      <a:gd name="T13" fmla="*/ 95274 h 10000"/>
                      <a:gd name="T14" fmla="*/ 127005 w 9634"/>
                      <a:gd name="T15" fmla="*/ 82544 h 10000"/>
                      <a:gd name="T16" fmla="*/ 131780 w 9634"/>
                      <a:gd name="T17" fmla="*/ 68279 h 10000"/>
                      <a:gd name="T18" fmla="*/ 136521 w 9634"/>
                      <a:gd name="T19" fmla="*/ 53989 h 10000"/>
                      <a:gd name="T20" fmla="*/ 136521 w 9634"/>
                      <a:gd name="T21" fmla="*/ 53989 h 10000"/>
                      <a:gd name="T22" fmla="*/ 134929 w 9634"/>
                      <a:gd name="T23" fmla="*/ 42869 h 10000"/>
                      <a:gd name="T24" fmla="*/ 131780 w 9634"/>
                      <a:gd name="T25" fmla="*/ 31750 h 10000"/>
                      <a:gd name="T26" fmla="*/ 128579 w 9634"/>
                      <a:gd name="T27" fmla="*/ 22240 h 10000"/>
                      <a:gd name="T28" fmla="*/ 122229 w 9634"/>
                      <a:gd name="T29" fmla="*/ 14315 h 10000"/>
                      <a:gd name="T30" fmla="*/ 115896 w 9634"/>
                      <a:gd name="T31" fmla="*/ 7950 h 10000"/>
                      <a:gd name="T32" fmla="*/ 107954 w 9634"/>
                      <a:gd name="T33" fmla="*/ 4755 h 10000"/>
                      <a:gd name="T34" fmla="*/ 100012 w 9634"/>
                      <a:gd name="T35" fmla="*/ 0 h 10000"/>
                      <a:gd name="T36" fmla="*/ 90478 w 9634"/>
                      <a:gd name="T37" fmla="*/ 0 h 10000"/>
                      <a:gd name="T38" fmla="*/ 90478 w 9634"/>
                      <a:gd name="T39" fmla="*/ 0 h 10000"/>
                      <a:gd name="T40" fmla="*/ 82536 w 9634"/>
                      <a:gd name="T41" fmla="*/ 0 h 10000"/>
                      <a:gd name="T42" fmla="*/ 74628 w 9634"/>
                      <a:gd name="T43" fmla="*/ 4755 h 10000"/>
                      <a:gd name="T44" fmla="*/ 66669 w 9634"/>
                      <a:gd name="T45" fmla="*/ 7950 h 10000"/>
                      <a:gd name="T46" fmla="*/ 58744 w 9634"/>
                      <a:gd name="T47" fmla="*/ 14315 h 10000"/>
                      <a:gd name="T48" fmla="*/ 53951 w 9634"/>
                      <a:gd name="T49" fmla="*/ 22240 h 10000"/>
                      <a:gd name="T50" fmla="*/ 49210 w 9634"/>
                      <a:gd name="T51" fmla="*/ 31750 h 10000"/>
                      <a:gd name="T52" fmla="*/ 46044 w 9634"/>
                      <a:gd name="T53" fmla="*/ 42869 h 10000"/>
                      <a:gd name="T54" fmla="*/ 46044 w 9634"/>
                      <a:gd name="T55" fmla="*/ 53989 h 10000"/>
                      <a:gd name="T56" fmla="*/ 46044 w 9634"/>
                      <a:gd name="T57" fmla="*/ 53989 h 10000"/>
                      <a:gd name="T58" fmla="*/ 47618 w 9634"/>
                      <a:gd name="T59" fmla="*/ 68279 h 10000"/>
                      <a:gd name="T60" fmla="*/ 53951 w 9634"/>
                      <a:gd name="T61" fmla="*/ 82544 h 10000"/>
                      <a:gd name="T62" fmla="*/ 61910 w 9634"/>
                      <a:gd name="T63" fmla="*/ 95274 h 10000"/>
                      <a:gd name="T64" fmla="*/ 69853 w 9634"/>
                      <a:gd name="T65" fmla="*/ 104759 h 10000"/>
                      <a:gd name="T66" fmla="*/ 69853 w 9634"/>
                      <a:gd name="T67" fmla="*/ 104759 h 10000"/>
                      <a:gd name="T68" fmla="*/ 52394 w 9634"/>
                      <a:gd name="T69" fmla="*/ 112709 h 10000"/>
                      <a:gd name="T70" fmla="*/ 38101 w 9634"/>
                      <a:gd name="T71" fmla="*/ 122268 h 10000"/>
                      <a:gd name="T72" fmla="*/ 25401 w 9634"/>
                      <a:gd name="T73" fmla="*/ 136533 h 10000"/>
                      <a:gd name="T74" fmla="*/ 15867 w 9634"/>
                      <a:gd name="T75" fmla="*/ 155553 h 10000"/>
                      <a:gd name="T76" fmla="*/ 7942 w 9634"/>
                      <a:gd name="T77" fmla="*/ 174598 h 10000"/>
                      <a:gd name="T78" fmla="*/ 3166 w 9634"/>
                      <a:gd name="T79" fmla="*/ 196863 h 10000"/>
                      <a:gd name="T80" fmla="*/ 0 w 9634"/>
                      <a:gd name="T81" fmla="*/ 220687 h 10000"/>
                      <a:gd name="T82" fmla="*/ 0 w 9634"/>
                      <a:gd name="T83" fmla="*/ 247657 h 1000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9634" h="10000">
                        <a:moveTo>
                          <a:pt x="9634" y="6281"/>
                        </a:moveTo>
                        <a:lnTo>
                          <a:pt x="9083" y="5513"/>
                        </a:lnTo>
                        <a:lnTo>
                          <a:pt x="8349" y="4937"/>
                        </a:lnTo>
                        <a:lnTo>
                          <a:pt x="7431" y="4551"/>
                        </a:lnTo>
                        <a:lnTo>
                          <a:pt x="6422" y="4230"/>
                        </a:lnTo>
                        <a:lnTo>
                          <a:pt x="6973" y="3847"/>
                        </a:lnTo>
                        <a:lnTo>
                          <a:pt x="7340" y="3333"/>
                        </a:lnTo>
                        <a:cubicBezTo>
                          <a:pt x="7432" y="3142"/>
                          <a:pt x="7523" y="2948"/>
                          <a:pt x="7616" y="2757"/>
                        </a:cubicBez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cubicBezTo>
                          <a:pt x="2691" y="2372"/>
                          <a:pt x="2722" y="2564"/>
                          <a:pt x="2752" y="2757"/>
                        </a:cubicBezTo>
                        <a:lnTo>
                          <a:pt x="3118" y="3333"/>
                        </a:lnTo>
                        <a:lnTo>
                          <a:pt x="3578" y="3847"/>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2700">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prstClr val="black"/>
                      </a:solidFill>
                    </a:endParaRPr>
                  </a:p>
                </p:txBody>
              </p:sp>
              <p:cxnSp>
                <p:nvCxnSpPr>
                  <p:cNvPr id="105" name="Connecteur droit 325"/>
                  <p:cNvCxnSpPr/>
                  <p:nvPr/>
                </p:nvCxnSpPr>
                <p:spPr>
                  <a:xfrm flipV="1">
                    <a:off x="4476343" y="4956986"/>
                    <a:ext cx="87476" cy="2671"/>
                  </a:xfrm>
                  <a:prstGeom prst="line">
                    <a:avLst/>
                  </a:prstGeom>
                  <a:ln w="12700">
                    <a:solidFill>
                      <a:schemeClr val="accent2"/>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7" name="Groupe 149"/>
              <p:cNvGrpSpPr>
                <a:grpSpLocks/>
              </p:cNvGrpSpPr>
              <p:nvPr/>
            </p:nvGrpSpPr>
            <p:grpSpPr bwMode="auto">
              <a:xfrm>
                <a:off x="10158413" y="1168400"/>
                <a:ext cx="227012" cy="246063"/>
                <a:chOff x="8867775" y="5222874"/>
                <a:chExt cx="342902" cy="457202"/>
              </a:xfrm>
            </p:grpSpPr>
            <p:sp>
              <p:nvSpPr>
                <p:cNvPr id="99" name="Freeform 38"/>
                <p:cNvSpPr>
                  <a:spLocks/>
                </p:cNvSpPr>
                <p:nvPr/>
              </p:nvSpPr>
              <p:spPr bwMode="auto">
                <a:xfrm>
                  <a:off x="8978902" y="5372892"/>
                  <a:ext cx="120650" cy="219080"/>
                </a:xfrm>
                <a:custGeom>
                  <a:avLst/>
                  <a:gdLst>
                    <a:gd name="T0" fmla="*/ 19 w 46"/>
                    <a:gd name="T1" fmla="*/ 47 h 82"/>
                    <a:gd name="T2" fmla="*/ 28 w 46"/>
                    <a:gd name="T3" fmla="*/ 54 h 82"/>
                    <a:gd name="T4" fmla="*/ 21 w 46"/>
                    <a:gd name="T5" fmla="*/ 58 h 82"/>
                    <a:gd name="T6" fmla="*/ 6 w 46"/>
                    <a:gd name="T7" fmla="*/ 55 h 82"/>
                    <a:gd name="T8" fmla="*/ 5 w 46"/>
                    <a:gd name="T9" fmla="*/ 54 h 82"/>
                    <a:gd name="T10" fmla="*/ 3 w 46"/>
                    <a:gd name="T11" fmla="*/ 56 h 82"/>
                    <a:gd name="T12" fmla="*/ 1 w 46"/>
                    <a:gd name="T13" fmla="*/ 66 h 82"/>
                    <a:gd name="T14" fmla="*/ 2 w 46"/>
                    <a:gd name="T15" fmla="*/ 69 h 82"/>
                    <a:gd name="T16" fmla="*/ 17 w 46"/>
                    <a:gd name="T17" fmla="*/ 72 h 82"/>
                    <a:gd name="T18" fmla="*/ 17 w 46"/>
                    <a:gd name="T19" fmla="*/ 79 h 82"/>
                    <a:gd name="T20" fmla="*/ 20 w 46"/>
                    <a:gd name="T21" fmla="*/ 82 h 82"/>
                    <a:gd name="T22" fmla="*/ 27 w 46"/>
                    <a:gd name="T23" fmla="*/ 82 h 82"/>
                    <a:gd name="T24" fmla="*/ 30 w 46"/>
                    <a:gd name="T25" fmla="*/ 79 h 82"/>
                    <a:gd name="T26" fmla="*/ 30 w 46"/>
                    <a:gd name="T27" fmla="*/ 71 h 82"/>
                    <a:gd name="T28" fmla="*/ 46 w 46"/>
                    <a:gd name="T29" fmla="*/ 52 h 82"/>
                    <a:gd name="T30" fmla="*/ 29 w 46"/>
                    <a:gd name="T31" fmla="*/ 33 h 82"/>
                    <a:gd name="T32" fmla="*/ 18 w 46"/>
                    <a:gd name="T33" fmla="*/ 26 h 82"/>
                    <a:gd name="T34" fmla="*/ 25 w 46"/>
                    <a:gd name="T35" fmla="*/ 22 h 82"/>
                    <a:gd name="T36" fmla="*/ 37 w 46"/>
                    <a:gd name="T37" fmla="*/ 25 h 82"/>
                    <a:gd name="T38" fmla="*/ 38 w 46"/>
                    <a:gd name="T39" fmla="*/ 25 h 82"/>
                    <a:gd name="T40" fmla="*/ 40 w 46"/>
                    <a:gd name="T41" fmla="*/ 23 h 82"/>
                    <a:gd name="T42" fmla="*/ 43 w 46"/>
                    <a:gd name="T43" fmla="*/ 14 h 82"/>
                    <a:gd name="T44" fmla="*/ 41 w 46"/>
                    <a:gd name="T45" fmla="*/ 11 h 82"/>
                    <a:gd name="T46" fmla="*/ 29 w 46"/>
                    <a:gd name="T47" fmla="*/ 8 h 82"/>
                    <a:gd name="T48" fmla="*/ 29 w 46"/>
                    <a:gd name="T49" fmla="*/ 2 h 82"/>
                    <a:gd name="T50" fmla="*/ 26 w 46"/>
                    <a:gd name="T51" fmla="*/ 0 h 82"/>
                    <a:gd name="T52" fmla="*/ 26 w 46"/>
                    <a:gd name="T53" fmla="*/ 0 h 82"/>
                    <a:gd name="T54" fmla="*/ 18 w 46"/>
                    <a:gd name="T55" fmla="*/ 0 h 82"/>
                    <a:gd name="T56" fmla="*/ 16 w 46"/>
                    <a:gd name="T57" fmla="*/ 3 h 82"/>
                    <a:gd name="T58" fmla="*/ 16 w 46"/>
                    <a:gd name="T59" fmla="*/ 9 h 82"/>
                    <a:gd name="T60" fmla="*/ 0 w 46"/>
                    <a:gd name="T61" fmla="*/ 28 h 82"/>
                    <a:gd name="T62" fmla="*/ 19 w 46"/>
                    <a:gd name="T63" fmla="*/ 47 h 8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6"/>
                    <a:gd name="T97" fmla="*/ 0 h 82"/>
                    <a:gd name="T98" fmla="*/ 46 w 46"/>
                    <a:gd name="T99" fmla="*/ 82 h 8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6" h="82">
                      <a:moveTo>
                        <a:pt x="19" y="47"/>
                      </a:moveTo>
                      <a:cubicBezTo>
                        <a:pt x="27" y="49"/>
                        <a:pt x="28" y="51"/>
                        <a:pt x="28" y="54"/>
                      </a:cubicBezTo>
                      <a:cubicBezTo>
                        <a:pt x="28" y="57"/>
                        <a:pt x="24" y="58"/>
                        <a:pt x="21" y="58"/>
                      </a:cubicBezTo>
                      <a:cubicBezTo>
                        <a:pt x="15" y="58"/>
                        <a:pt x="10" y="56"/>
                        <a:pt x="6" y="55"/>
                      </a:cubicBezTo>
                      <a:cubicBezTo>
                        <a:pt x="6" y="55"/>
                        <a:pt x="6" y="54"/>
                        <a:pt x="5" y="54"/>
                      </a:cubicBezTo>
                      <a:cubicBezTo>
                        <a:pt x="4" y="54"/>
                        <a:pt x="3" y="55"/>
                        <a:pt x="3" y="56"/>
                      </a:cubicBezTo>
                      <a:cubicBezTo>
                        <a:pt x="1" y="66"/>
                        <a:pt x="1" y="66"/>
                        <a:pt x="1" y="66"/>
                      </a:cubicBezTo>
                      <a:cubicBezTo>
                        <a:pt x="0" y="67"/>
                        <a:pt x="1" y="69"/>
                        <a:pt x="2" y="69"/>
                      </a:cubicBezTo>
                      <a:cubicBezTo>
                        <a:pt x="6" y="71"/>
                        <a:pt x="12" y="72"/>
                        <a:pt x="17" y="72"/>
                      </a:cubicBezTo>
                      <a:cubicBezTo>
                        <a:pt x="17" y="79"/>
                        <a:pt x="17" y="79"/>
                        <a:pt x="17" y="79"/>
                      </a:cubicBezTo>
                      <a:cubicBezTo>
                        <a:pt x="17" y="81"/>
                        <a:pt x="18" y="82"/>
                        <a:pt x="20" y="82"/>
                      </a:cubicBezTo>
                      <a:cubicBezTo>
                        <a:pt x="27" y="82"/>
                        <a:pt x="27" y="82"/>
                        <a:pt x="27" y="82"/>
                      </a:cubicBezTo>
                      <a:cubicBezTo>
                        <a:pt x="29" y="82"/>
                        <a:pt x="30" y="80"/>
                        <a:pt x="30" y="79"/>
                      </a:cubicBezTo>
                      <a:cubicBezTo>
                        <a:pt x="30" y="71"/>
                        <a:pt x="30" y="71"/>
                        <a:pt x="30" y="71"/>
                      </a:cubicBezTo>
                      <a:cubicBezTo>
                        <a:pt x="40" y="69"/>
                        <a:pt x="46" y="61"/>
                        <a:pt x="46" y="52"/>
                      </a:cubicBezTo>
                      <a:cubicBezTo>
                        <a:pt x="46" y="42"/>
                        <a:pt x="41" y="37"/>
                        <a:pt x="29" y="33"/>
                      </a:cubicBezTo>
                      <a:cubicBezTo>
                        <a:pt x="21" y="30"/>
                        <a:pt x="18" y="28"/>
                        <a:pt x="18" y="26"/>
                      </a:cubicBezTo>
                      <a:cubicBezTo>
                        <a:pt x="18" y="23"/>
                        <a:pt x="22" y="22"/>
                        <a:pt x="25" y="22"/>
                      </a:cubicBezTo>
                      <a:cubicBezTo>
                        <a:pt x="30" y="22"/>
                        <a:pt x="34" y="24"/>
                        <a:pt x="37" y="25"/>
                      </a:cubicBezTo>
                      <a:cubicBezTo>
                        <a:pt x="37" y="25"/>
                        <a:pt x="38" y="25"/>
                        <a:pt x="38" y="25"/>
                      </a:cubicBezTo>
                      <a:cubicBezTo>
                        <a:pt x="39" y="25"/>
                        <a:pt x="40" y="24"/>
                        <a:pt x="40" y="23"/>
                      </a:cubicBezTo>
                      <a:cubicBezTo>
                        <a:pt x="43" y="14"/>
                        <a:pt x="43" y="14"/>
                        <a:pt x="43" y="14"/>
                      </a:cubicBezTo>
                      <a:cubicBezTo>
                        <a:pt x="43" y="13"/>
                        <a:pt x="42" y="11"/>
                        <a:pt x="41" y="11"/>
                      </a:cubicBezTo>
                      <a:cubicBezTo>
                        <a:pt x="37" y="9"/>
                        <a:pt x="33" y="8"/>
                        <a:pt x="29" y="8"/>
                      </a:cubicBezTo>
                      <a:cubicBezTo>
                        <a:pt x="29" y="2"/>
                        <a:pt x="29" y="2"/>
                        <a:pt x="29" y="2"/>
                      </a:cubicBezTo>
                      <a:cubicBezTo>
                        <a:pt x="29" y="1"/>
                        <a:pt x="27" y="0"/>
                        <a:pt x="26" y="0"/>
                      </a:cubicBezTo>
                      <a:cubicBezTo>
                        <a:pt x="26" y="0"/>
                        <a:pt x="26" y="0"/>
                        <a:pt x="26" y="0"/>
                      </a:cubicBezTo>
                      <a:cubicBezTo>
                        <a:pt x="18" y="0"/>
                        <a:pt x="18" y="0"/>
                        <a:pt x="18" y="0"/>
                      </a:cubicBezTo>
                      <a:cubicBezTo>
                        <a:pt x="17" y="0"/>
                        <a:pt x="16" y="1"/>
                        <a:pt x="16" y="3"/>
                      </a:cubicBezTo>
                      <a:cubicBezTo>
                        <a:pt x="16" y="9"/>
                        <a:pt x="16" y="9"/>
                        <a:pt x="16" y="9"/>
                      </a:cubicBezTo>
                      <a:cubicBezTo>
                        <a:pt x="6" y="12"/>
                        <a:pt x="0" y="19"/>
                        <a:pt x="0" y="28"/>
                      </a:cubicBezTo>
                      <a:cubicBezTo>
                        <a:pt x="1" y="40"/>
                        <a:pt x="10" y="44"/>
                        <a:pt x="19" y="47"/>
                      </a:cubicBezTo>
                      <a:close/>
                    </a:path>
                  </a:pathLst>
                </a:cu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prstClr val="black"/>
                    </a:solidFill>
                  </a:endParaRPr>
                </a:p>
              </p:txBody>
            </p:sp>
            <p:sp>
              <p:nvSpPr>
                <p:cNvPr id="100" name="Freeform 39"/>
                <p:cNvSpPr>
                  <a:spLocks/>
                </p:cNvSpPr>
                <p:nvPr/>
              </p:nvSpPr>
              <p:spPr bwMode="auto">
                <a:xfrm>
                  <a:off x="8867775" y="5222874"/>
                  <a:ext cx="342902" cy="457202"/>
                </a:xfrm>
                <a:custGeom>
                  <a:avLst/>
                  <a:gdLst>
                    <a:gd name="T0" fmla="*/ 0 w 128"/>
                    <a:gd name="T1" fmla="*/ 127 h 170"/>
                    <a:gd name="T2" fmla="*/ 21 w 128"/>
                    <a:gd name="T3" fmla="*/ 158 h 170"/>
                    <a:gd name="T4" fmla="*/ 63 w 128"/>
                    <a:gd name="T5" fmla="*/ 170 h 170"/>
                    <a:gd name="T6" fmla="*/ 63 w 128"/>
                    <a:gd name="T7" fmla="*/ 170 h 170"/>
                    <a:gd name="T8" fmla="*/ 64 w 128"/>
                    <a:gd name="T9" fmla="*/ 170 h 170"/>
                    <a:gd name="T10" fmla="*/ 123 w 128"/>
                    <a:gd name="T11" fmla="*/ 129 h 170"/>
                    <a:gd name="T12" fmla="*/ 113 w 128"/>
                    <a:gd name="T13" fmla="*/ 73 h 170"/>
                    <a:gd name="T14" fmla="*/ 93 w 128"/>
                    <a:gd name="T15" fmla="*/ 45 h 170"/>
                    <a:gd name="T16" fmla="*/ 104 w 128"/>
                    <a:gd name="T17" fmla="*/ 33 h 170"/>
                    <a:gd name="T18" fmla="*/ 107 w 128"/>
                    <a:gd name="T19" fmla="*/ 11 h 170"/>
                    <a:gd name="T20" fmla="*/ 90 w 128"/>
                    <a:gd name="T21" fmla="*/ 0 h 170"/>
                    <a:gd name="T22" fmla="*/ 88 w 128"/>
                    <a:gd name="T23" fmla="*/ 0 h 170"/>
                    <a:gd name="T24" fmla="*/ 72 w 128"/>
                    <a:gd name="T25" fmla="*/ 5 h 170"/>
                    <a:gd name="T26" fmla="*/ 61 w 128"/>
                    <a:gd name="T27" fmla="*/ 4 h 170"/>
                    <a:gd name="T28" fmla="*/ 51 w 128"/>
                    <a:gd name="T29" fmla="*/ 5 h 170"/>
                    <a:gd name="T30" fmla="*/ 40 w 128"/>
                    <a:gd name="T31" fmla="*/ 1 h 170"/>
                    <a:gd name="T32" fmla="*/ 36 w 128"/>
                    <a:gd name="T33" fmla="*/ 0 h 170"/>
                    <a:gd name="T34" fmla="*/ 36 w 128"/>
                    <a:gd name="T35" fmla="*/ 0 h 170"/>
                    <a:gd name="T36" fmla="*/ 18 w 128"/>
                    <a:gd name="T37" fmla="*/ 11 h 170"/>
                    <a:gd name="T38" fmla="*/ 22 w 128"/>
                    <a:gd name="T39" fmla="*/ 33 h 170"/>
                    <a:gd name="T40" fmla="*/ 32 w 128"/>
                    <a:gd name="T41" fmla="*/ 44 h 170"/>
                    <a:gd name="T42" fmla="*/ 6 w 128"/>
                    <a:gd name="T43" fmla="*/ 79 h 17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8"/>
                    <a:gd name="T67" fmla="*/ 0 h 170"/>
                    <a:gd name="T68" fmla="*/ 128 w 128"/>
                    <a:gd name="T69" fmla="*/ 170 h 17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8" h="170">
                      <a:moveTo>
                        <a:pt x="0" y="127"/>
                      </a:moveTo>
                      <a:cubicBezTo>
                        <a:pt x="3" y="139"/>
                        <a:pt x="10" y="150"/>
                        <a:pt x="21" y="158"/>
                      </a:cubicBezTo>
                      <a:cubicBezTo>
                        <a:pt x="31" y="165"/>
                        <a:pt x="46" y="170"/>
                        <a:pt x="63" y="170"/>
                      </a:cubicBezTo>
                      <a:cubicBezTo>
                        <a:pt x="63" y="170"/>
                        <a:pt x="63" y="170"/>
                        <a:pt x="63" y="170"/>
                      </a:cubicBezTo>
                      <a:cubicBezTo>
                        <a:pt x="64" y="170"/>
                        <a:pt x="64" y="170"/>
                        <a:pt x="64" y="170"/>
                      </a:cubicBezTo>
                      <a:cubicBezTo>
                        <a:pt x="107" y="168"/>
                        <a:pt x="119" y="144"/>
                        <a:pt x="123" y="129"/>
                      </a:cubicBezTo>
                      <a:cubicBezTo>
                        <a:pt x="128" y="107"/>
                        <a:pt x="119" y="85"/>
                        <a:pt x="113" y="73"/>
                      </a:cubicBezTo>
                      <a:cubicBezTo>
                        <a:pt x="108" y="62"/>
                        <a:pt x="101" y="52"/>
                        <a:pt x="93" y="45"/>
                      </a:cubicBezTo>
                      <a:cubicBezTo>
                        <a:pt x="104" y="33"/>
                        <a:pt x="104" y="33"/>
                        <a:pt x="104" y="33"/>
                      </a:cubicBezTo>
                      <a:cubicBezTo>
                        <a:pt x="109" y="27"/>
                        <a:pt x="110" y="18"/>
                        <a:pt x="107" y="11"/>
                      </a:cubicBezTo>
                      <a:cubicBezTo>
                        <a:pt x="104" y="4"/>
                        <a:pt x="97" y="0"/>
                        <a:pt x="90" y="0"/>
                      </a:cubicBezTo>
                      <a:cubicBezTo>
                        <a:pt x="89" y="0"/>
                        <a:pt x="88" y="0"/>
                        <a:pt x="88" y="0"/>
                      </a:cubicBezTo>
                      <a:cubicBezTo>
                        <a:pt x="82" y="1"/>
                        <a:pt x="77" y="2"/>
                        <a:pt x="72" y="5"/>
                      </a:cubicBezTo>
                      <a:cubicBezTo>
                        <a:pt x="69" y="4"/>
                        <a:pt x="65" y="4"/>
                        <a:pt x="61" y="4"/>
                      </a:cubicBezTo>
                      <a:cubicBezTo>
                        <a:pt x="58" y="4"/>
                        <a:pt x="54" y="4"/>
                        <a:pt x="51" y="5"/>
                      </a:cubicBezTo>
                      <a:cubicBezTo>
                        <a:pt x="47" y="3"/>
                        <a:pt x="44" y="2"/>
                        <a:pt x="40" y="1"/>
                      </a:cubicBezTo>
                      <a:cubicBezTo>
                        <a:pt x="39" y="0"/>
                        <a:pt x="37" y="0"/>
                        <a:pt x="36" y="0"/>
                      </a:cubicBezTo>
                      <a:cubicBezTo>
                        <a:pt x="36" y="0"/>
                        <a:pt x="36" y="0"/>
                        <a:pt x="36" y="0"/>
                      </a:cubicBezTo>
                      <a:cubicBezTo>
                        <a:pt x="28" y="0"/>
                        <a:pt x="21" y="5"/>
                        <a:pt x="18" y="11"/>
                      </a:cubicBezTo>
                      <a:cubicBezTo>
                        <a:pt x="15" y="19"/>
                        <a:pt x="17" y="27"/>
                        <a:pt x="22" y="33"/>
                      </a:cubicBezTo>
                      <a:cubicBezTo>
                        <a:pt x="32" y="44"/>
                        <a:pt x="32" y="44"/>
                        <a:pt x="32" y="44"/>
                      </a:cubicBezTo>
                      <a:cubicBezTo>
                        <a:pt x="23" y="52"/>
                        <a:pt x="6" y="79"/>
                        <a:pt x="6" y="79"/>
                      </a:cubicBezTo>
                    </a:path>
                  </a:pathLst>
                </a:cu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prstClr val="black"/>
                    </a:solidFill>
                  </a:endParaRPr>
                </a:p>
              </p:txBody>
            </p:sp>
          </p:grpSp>
          <p:sp>
            <p:nvSpPr>
              <p:cNvPr id="44" name="Freeform 716"/>
              <p:cNvSpPr>
                <a:spLocks noChangeAspect="1" noEditPoints="1"/>
              </p:cNvSpPr>
              <p:nvPr/>
            </p:nvSpPr>
            <p:spPr bwMode="auto">
              <a:xfrm rot="1133432" flipH="1">
                <a:off x="10171113" y="1498600"/>
                <a:ext cx="201612" cy="242888"/>
              </a:xfrm>
              <a:custGeom>
                <a:avLst/>
                <a:gdLst>
                  <a:gd name="T0" fmla="*/ 36 w 136"/>
                  <a:gd name="T1" fmla="*/ 106 h 203"/>
                  <a:gd name="T2" fmla="*/ 5 w 136"/>
                  <a:gd name="T3" fmla="*/ 191 h 203"/>
                  <a:gd name="T4" fmla="*/ 19 w 136"/>
                  <a:gd name="T5" fmla="*/ 191 h 203"/>
                  <a:gd name="T6" fmla="*/ 58 w 136"/>
                  <a:gd name="T7" fmla="*/ 115 h 203"/>
                  <a:gd name="T8" fmla="*/ 103 w 136"/>
                  <a:gd name="T9" fmla="*/ 203 h 203"/>
                  <a:gd name="T10" fmla="*/ 116 w 136"/>
                  <a:gd name="T11" fmla="*/ 203 h 203"/>
                  <a:gd name="T12" fmla="*/ 80 w 136"/>
                  <a:gd name="T13" fmla="*/ 99 h 203"/>
                  <a:gd name="T14" fmla="*/ 136 w 136"/>
                  <a:gd name="T15" fmla="*/ 71 h 203"/>
                  <a:gd name="T16" fmla="*/ 65 w 136"/>
                  <a:gd name="T17" fmla="*/ 37 h 203"/>
                  <a:gd name="T18" fmla="*/ 73 w 136"/>
                  <a:gd name="T19" fmla="*/ 19 h 203"/>
                  <a:gd name="T20" fmla="*/ 58 w 136"/>
                  <a:gd name="T21" fmla="*/ 0 h 203"/>
                  <a:gd name="T22" fmla="*/ 44 w 136"/>
                  <a:gd name="T23" fmla="*/ 19 h 203"/>
                  <a:gd name="T24" fmla="*/ 51 w 136"/>
                  <a:gd name="T25" fmla="*/ 37 h 203"/>
                  <a:gd name="T26" fmla="*/ 25 w 136"/>
                  <a:gd name="T27" fmla="*/ 81 h 203"/>
                  <a:gd name="T28" fmla="*/ 0 w 136"/>
                  <a:gd name="T29" fmla="*/ 108 h 20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6"/>
                  <a:gd name="T46" fmla="*/ 0 h 203"/>
                  <a:gd name="T47" fmla="*/ 136 w 136"/>
                  <a:gd name="T48" fmla="*/ 203 h 20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6" h="203">
                    <a:moveTo>
                      <a:pt x="36" y="106"/>
                    </a:moveTo>
                    <a:cubicBezTo>
                      <a:pt x="36" y="109"/>
                      <a:pt x="5" y="191"/>
                      <a:pt x="5" y="191"/>
                    </a:cubicBezTo>
                    <a:cubicBezTo>
                      <a:pt x="19" y="191"/>
                      <a:pt x="19" y="191"/>
                      <a:pt x="19" y="191"/>
                    </a:cubicBezTo>
                    <a:cubicBezTo>
                      <a:pt x="58" y="115"/>
                      <a:pt x="58" y="115"/>
                      <a:pt x="58" y="115"/>
                    </a:cubicBezTo>
                    <a:cubicBezTo>
                      <a:pt x="103" y="203"/>
                      <a:pt x="103" y="203"/>
                      <a:pt x="103" y="203"/>
                    </a:cubicBezTo>
                    <a:cubicBezTo>
                      <a:pt x="116" y="203"/>
                      <a:pt x="116" y="203"/>
                      <a:pt x="116" y="203"/>
                    </a:cubicBezTo>
                    <a:cubicBezTo>
                      <a:pt x="80" y="99"/>
                      <a:pt x="80" y="99"/>
                      <a:pt x="80" y="99"/>
                    </a:cubicBezTo>
                    <a:moveTo>
                      <a:pt x="136" y="71"/>
                    </a:moveTo>
                    <a:cubicBezTo>
                      <a:pt x="120" y="43"/>
                      <a:pt x="85" y="38"/>
                      <a:pt x="65" y="37"/>
                    </a:cubicBezTo>
                    <a:cubicBezTo>
                      <a:pt x="68" y="33"/>
                      <a:pt x="73" y="25"/>
                      <a:pt x="73" y="19"/>
                    </a:cubicBezTo>
                    <a:cubicBezTo>
                      <a:pt x="73" y="9"/>
                      <a:pt x="66" y="0"/>
                      <a:pt x="58" y="0"/>
                    </a:cubicBezTo>
                    <a:cubicBezTo>
                      <a:pt x="50" y="0"/>
                      <a:pt x="44" y="9"/>
                      <a:pt x="44" y="19"/>
                    </a:cubicBezTo>
                    <a:cubicBezTo>
                      <a:pt x="44" y="25"/>
                      <a:pt x="49" y="33"/>
                      <a:pt x="51" y="37"/>
                    </a:cubicBezTo>
                    <a:cubicBezTo>
                      <a:pt x="26" y="40"/>
                      <a:pt x="25" y="56"/>
                      <a:pt x="25" y="81"/>
                    </a:cubicBezTo>
                    <a:cubicBezTo>
                      <a:pt x="25" y="86"/>
                      <a:pt x="9" y="111"/>
                      <a:pt x="0" y="108"/>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prstClr val="black"/>
                  </a:solidFill>
                </a:endParaRPr>
              </a:p>
            </p:txBody>
          </p:sp>
          <p:sp>
            <p:nvSpPr>
              <p:cNvPr id="45" name="Freeform 677"/>
              <p:cNvSpPr>
                <a:spLocks noChangeAspect="1"/>
              </p:cNvSpPr>
              <p:nvPr/>
            </p:nvSpPr>
            <p:spPr bwMode="auto">
              <a:xfrm>
                <a:off x="10139363" y="1952625"/>
                <a:ext cx="265112" cy="242888"/>
              </a:xfrm>
              <a:custGeom>
                <a:avLst/>
                <a:gdLst>
                  <a:gd name="T0" fmla="*/ 102 w 128"/>
                  <a:gd name="T1" fmla="*/ 144 h 144"/>
                  <a:gd name="T2" fmla="*/ 0 w 128"/>
                  <a:gd name="T3" fmla="*/ 144 h 144"/>
                  <a:gd name="T4" fmla="*/ 0 w 128"/>
                  <a:gd name="T5" fmla="*/ 57 h 144"/>
                  <a:gd name="T6" fmla="*/ 33 w 128"/>
                  <a:gd name="T7" fmla="*/ 91 h 144"/>
                  <a:gd name="T8" fmla="*/ 33 w 128"/>
                  <a:gd name="T9" fmla="*/ 57 h 144"/>
                  <a:gd name="T10" fmla="*/ 68 w 128"/>
                  <a:gd name="T11" fmla="*/ 91 h 144"/>
                  <a:gd name="T12" fmla="*/ 68 w 128"/>
                  <a:gd name="T13" fmla="*/ 57 h 144"/>
                  <a:gd name="T14" fmla="*/ 101 w 128"/>
                  <a:gd name="T15" fmla="*/ 91 h 144"/>
                  <a:gd name="T16" fmla="*/ 112 w 128"/>
                  <a:gd name="T17" fmla="*/ 0 h 144"/>
                  <a:gd name="T18" fmla="*/ 128 w 128"/>
                  <a:gd name="T19" fmla="*/ 0 h 144"/>
                  <a:gd name="T20" fmla="*/ 128 w 128"/>
                  <a:gd name="T21" fmla="*/ 144 h 1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8"/>
                  <a:gd name="T34" fmla="*/ 0 h 144"/>
                  <a:gd name="T35" fmla="*/ 128 w 128"/>
                  <a:gd name="T36" fmla="*/ 144 h 1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8" h="144">
                    <a:moveTo>
                      <a:pt x="102" y="144"/>
                    </a:moveTo>
                    <a:lnTo>
                      <a:pt x="0" y="144"/>
                    </a:lnTo>
                    <a:lnTo>
                      <a:pt x="0" y="57"/>
                    </a:lnTo>
                    <a:lnTo>
                      <a:pt x="33" y="91"/>
                    </a:lnTo>
                    <a:lnTo>
                      <a:pt x="33" y="57"/>
                    </a:lnTo>
                    <a:lnTo>
                      <a:pt x="68" y="91"/>
                    </a:lnTo>
                    <a:lnTo>
                      <a:pt x="68" y="57"/>
                    </a:lnTo>
                    <a:lnTo>
                      <a:pt x="101" y="91"/>
                    </a:lnTo>
                    <a:lnTo>
                      <a:pt x="112" y="0"/>
                    </a:lnTo>
                    <a:lnTo>
                      <a:pt x="128" y="0"/>
                    </a:lnTo>
                    <a:lnTo>
                      <a:pt x="128" y="144"/>
                    </a:lnTo>
                  </a:path>
                </a:pathLst>
              </a:cu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prstClr val="black"/>
                  </a:solidFill>
                </a:endParaRPr>
              </a:p>
            </p:txBody>
          </p:sp>
          <p:grpSp>
            <p:nvGrpSpPr>
              <p:cNvPr id="140" name="Group 136"/>
              <p:cNvGrpSpPr>
                <a:grpSpLocks/>
              </p:cNvGrpSpPr>
              <p:nvPr/>
            </p:nvGrpSpPr>
            <p:grpSpPr bwMode="auto">
              <a:xfrm>
                <a:off x="10083800" y="2357438"/>
                <a:ext cx="376238" cy="234950"/>
                <a:chOff x="6614966" y="6612454"/>
                <a:chExt cx="620712" cy="476360"/>
              </a:xfrm>
            </p:grpSpPr>
            <p:sp>
              <p:nvSpPr>
                <p:cNvPr id="96" name="Freeform 624"/>
                <p:cNvSpPr>
                  <a:spLocks/>
                </p:cNvSpPr>
                <p:nvPr/>
              </p:nvSpPr>
              <p:spPr bwMode="auto">
                <a:xfrm>
                  <a:off x="6614966" y="6612454"/>
                  <a:ext cx="620712" cy="476360"/>
                </a:xfrm>
                <a:custGeom>
                  <a:avLst/>
                  <a:gdLst>
                    <a:gd name="T0" fmla="*/ 0 w 205"/>
                    <a:gd name="T1" fmla="*/ 157 h 157"/>
                    <a:gd name="T2" fmla="*/ 14 w 205"/>
                    <a:gd name="T3" fmla="*/ 157 h 157"/>
                    <a:gd name="T4" fmla="*/ 24 w 205"/>
                    <a:gd name="T5" fmla="*/ 131 h 157"/>
                    <a:gd name="T6" fmla="*/ 104 w 205"/>
                    <a:gd name="T7" fmla="*/ 4 h 157"/>
                    <a:gd name="T8" fmla="*/ 110 w 205"/>
                    <a:gd name="T9" fmla="*/ 0 h 157"/>
                    <a:gd name="T10" fmla="*/ 114 w 205"/>
                    <a:gd name="T11" fmla="*/ 3 h 157"/>
                    <a:gd name="T12" fmla="*/ 196 w 205"/>
                    <a:gd name="T13" fmla="*/ 131 h 157"/>
                    <a:gd name="T14" fmla="*/ 205 w 205"/>
                    <a:gd name="T15" fmla="*/ 157 h 157"/>
                    <a:gd name="T16" fmla="*/ 175 w 205"/>
                    <a:gd name="T17" fmla="*/ 157 h 157"/>
                    <a:gd name="T18" fmla="*/ 32 w 205"/>
                    <a:gd name="T19" fmla="*/ 157 h 1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5"/>
                    <a:gd name="T31" fmla="*/ 0 h 157"/>
                    <a:gd name="T32" fmla="*/ 205 w 205"/>
                    <a:gd name="T33" fmla="*/ 157 h 1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5" h="157">
                      <a:moveTo>
                        <a:pt x="0" y="157"/>
                      </a:moveTo>
                      <a:cubicBezTo>
                        <a:pt x="14" y="157"/>
                        <a:pt x="14" y="157"/>
                        <a:pt x="14" y="157"/>
                      </a:cubicBezTo>
                      <a:cubicBezTo>
                        <a:pt x="14" y="143"/>
                        <a:pt x="18" y="141"/>
                        <a:pt x="24" y="131"/>
                      </a:cubicBezTo>
                      <a:cubicBezTo>
                        <a:pt x="24" y="130"/>
                        <a:pt x="104" y="4"/>
                        <a:pt x="104" y="4"/>
                      </a:cubicBezTo>
                      <a:cubicBezTo>
                        <a:pt x="105" y="2"/>
                        <a:pt x="107" y="0"/>
                        <a:pt x="110" y="0"/>
                      </a:cubicBezTo>
                      <a:cubicBezTo>
                        <a:pt x="112" y="0"/>
                        <a:pt x="112" y="1"/>
                        <a:pt x="114" y="3"/>
                      </a:cubicBezTo>
                      <a:cubicBezTo>
                        <a:pt x="114" y="3"/>
                        <a:pt x="195" y="130"/>
                        <a:pt x="196" y="131"/>
                      </a:cubicBezTo>
                      <a:cubicBezTo>
                        <a:pt x="201" y="141"/>
                        <a:pt x="205" y="143"/>
                        <a:pt x="205" y="157"/>
                      </a:cubicBezTo>
                      <a:cubicBezTo>
                        <a:pt x="175" y="157"/>
                        <a:pt x="175" y="157"/>
                        <a:pt x="175" y="157"/>
                      </a:cubicBezTo>
                      <a:cubicBezTo>
                        <a:pt x="32" y="157"/>
                        <a:pt x="32" y="157"/>
                        <a:pt x="32" y="157"/>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prstClr val="black"/>
                    </a:solidFill>
                  </a:endParaRPr>
                </a:p>
              </p:txBody>
            </p:sp>
            <p:sp>
              <p:nvSpPr>
                <p:cNvPr id="97" name="Line 625"/>
                <p:cNvSpPr>
                  <a:spLocks noChangeShapeType="1"/>
                </p:cNvSpPr>
                <p:nvPr/>
              </p:nvSpPr>
              <p:spPr bwMode="auto">
                <a:xfrm flipV="1">
                  <a:off x="6944857" y="6759829"/>
                  <a:ext cx="0" cy="182880"/>
                </a:xfrm>
                <a:prstGeom prst="line">
                  <a:avLst/>
                </a:prstGeom>
                <a:noFill/>
                <a:ln w="12700" cap="rnd">
                  <a:solidFill>
                    <a:schemeClr val="accent2"/>
                  </a:solidFill>
                  <a:round/>
                  <a:headEnd/>
                  <a:tailEnd/>
                </a:ln>
                <a:extLst>
                  <a:ext uri="{909E8E84-426E-40DD-AFC4-6F175D3DCCD1}">
                    <a14:hiddenFill xmlns:a14="http://schemas.microsoft.com/office/drawing/2010/main">
                      <a:noFill/>
                    </a14:hiddenFill>
                  </a:ext>
                </a:extLst>
              </p:spPr>
              <p:txBody>
                <a:bodyPr/>
                <a:lstStyle/>
                <a:p>
                  <a:endParaRPr lang="en-US" dirty="0">
                    <a:solidFill>
                      <a:prstClr val="black"/>
                    </a:solidFill>
                  </a:endParaRPr>
                </a:p>
              </p:txBody>
            </p:sp>
            <p:sp>
              <p:nvSpPr>
                <p:cNvPr id="98" name="Rectangle 97"/>
                <p:cNvSpPr/>
                <p:nvPr/>
              </p:nvSpPr>
              <p:spPr>
                <a:xfrm>
                  <a:off x="6931870" y="6979380"/>
                  <a:ext cx="26190" cy="25749"/>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263">
                    <a:defRPr/>
                  </a:pPr>
                  <a:endParaRPr lang="en-US" sz="800" dirty="0">
                    <a:solidFill>
                      <a:prstClr val="white"/>
                    </a:solidFill>
                  </a:endParaRPr>
                </a:p>
              </p:txBody>
            </p:sp>
          </p:grpSp>
          <p:sp>
            <p:nvSpPr>
              <p:cNvPr id="47" name="TextBox 241"/>
              <p:cNvSpPr txBox="1">
                <a:spLocks noChangeArrowheads="1"/>
              </p:cNvSpPr>
              <p:nvPr/>
            </p:nvSpPr>
            <p:spPr bwMode="auto">
              <a:xfrm>
                <a:off x="10591800" y="3414713"/>
                <a:ext cx="1096963" cy="357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57263" eaLnBrk="0" hangingPunct="0">
                  <a:defRPr>
                    <a:solidFill>
                      <a:schemeClr val="tx1"/>
                    </a:solidFill>
                    <a:latin typeface="Arial" pitchFamily="34" charset="0"/>
                  </a:defRPr>
                </a:lvl1pPr>
                <a:lvl2pPr marL="742950" indent="-285750" defTabSz="957263" eaLnBrk="0" hangingPunct="0">
                  <a:defRPr>
                    <a:solidFill>
                      <a:schemeClr val="tx1"/>
                    </a:solidFill>
                    <a:latin typeface="Arial" pitchFamily="34" charset="0"/>
                  </a:defRPr>
                </a:lvl2pPr>
                <a:lvl3pPr marL="1143000" indent="-228600" defTabSz="957263" eaLnBrk="0" hangingPunct="0">
                  <a:defRPr>
                    <a:solidFill>
                      <a:schemeClr val="tx1"/>
                    </a:solidFill>
                    <a:latin typeface="Arial" pitchFamily="34" charset="0"/>
                  </a:defRPr>
                </a:lvl3pPr>
                <a:lvl4pPr marL="1600200" indent="-228600" defTabSz="957263" eaLnBrk="0" hangingPunct="0">
                  <a:defRPr>
                    <a:solidFill>
                      <a:schemeClr val="tx1"/>
                    </a:solidFill>
                    <a:latin typeface="Arial" pitchFamily="34" charset="0"/>
                  </a:defRPr>
                </a:lvl4pPr>
                <a:lvl5pPr marL="2057400" indent="-228600" defTabSz="957263" eaLnBrk="0" hangingPunct="0">
                  <a:defRPr>
                    <a:solidFill>
                      <a:schemeClr val="tx1"/>
                    </a:solidFill>
                    <a:latin typeface="Arial" pitchFamily="34" charset="0"/>
                  </a:defRPr>
                </a:lvl5pPr>
                <a:lvl6pPr marL="2514600" indent="-228600" defTabSz="957263" eaLnBrk="0" fontAlgn="base" hangingPunct="0">
                  <a:spcBef>
                    <a:spcPct val="0"/>
                  </a:spcBef>
                  <a:spcAft>
                    <a:spcPct val="0"/>
                  </a:spcAft>
                  <a:defRPr>
                    <a:solidFill>
                      <a:schemeClr val="tx1"/>
                    </a:solidFill>
                    <a:latin typeface="Arial" pitchFamily="34" charset="0"/>
                  </a:defRPr>
                </a:lvl6pPr>
                <a:lvl7pPr marL="2971800" indent="-228600" defTabSz="957263" eaLnBrk="0" fontAlgn="base" hangingPunct="0">
                  <a:spcBef>
                    <a:spcPct val="0"/>
                  </a:spcBef>
                  <a:spcAft>
                    <a:spcPct val="0"/>
                  </a:spcAft>
                  <a:defRPr>
                    <a:solidFill>
                      <a:schemeClr val="tx1"/>
                    </a:solidFill>
                    <a:latin typeface="Arial" pitchFamily="34" charset="0"/>
                  </a:defRPr>
                </a:lvl7pPr>
                <a:lvl8pPr marL="3429000" indent="-228600" defTabSz="957263" eaLnBrk="0" fontAlgn="base" hangingPunct="0">
                  <a:spcBef>
                    <a:spcPct val="0"/>
                  </a:spcBef>
                  <a:spcAft>
                    <a:spcPct val="0"/>
                  </a:spcAft>
                  <a:defRPr>
                    <a:solidFill>
                      <a:schemeClr val="tx1"/>
                    </a:solidFill>
                    <a:latin typeface="Arial" pitchFamily="34" charset="0"/>
                  </a:defRPr>
                </a:lvl8pPr>
                <a:lvl9pPr marL="3886200" indent="-228600" defTabSz="957263" eaLnBrk="0" fontAlgn="base" hangingPunct="0">
                  <a:spcBef>
                    <a:spcPct val="0"/>
                  </a:spcBef>
                  <a:spcAft>
                    <a:spcPct val="0"/>
                  </a:spcAft>
                  <a:defRPr>
                    <a:solidFill>
                      <a:schemeClr val="tx1"/>
                    </a:solidFill>
                    <a:latin typeface="Arial" pitchFamily="34" charset="0"/>
                  </a:defRPr>
                </a:lvl9pPr>
              </a:lstStyle>
              <a:p>
                <a:pPr eaLnBrk="1" hangingPunct="1">
                  <a:spcAft>
                    <a:spcPts val="600"/>
                  </a:spcAft>
                </a:pPr>
                <a:r>
                  <a:rPr lang="en-US" sz="1000" b="1" dirty="0">
                    <a:solidFill>
                      <a:srgbClr val="000000"/>
                    </a:solidFill>
                    <a:latin typeface="Arial"/>
                  </a:rPr>
                  <a:t>Aligned IT </a:t>
                </a:r>
                <a:br>
                  <a:rPr lang="en-US" sz="1000" b="1" dirty="0">
                    <a:solidFill>
                      <a:srgbClr val="000000"/>
                    </a:solidFill>
                    <a:latin typeface="Arial"/>
                  </a:rPr>
                </a:br>
                <a:r>
                  <a:rPr lang="en-US" sz="1000" b="1" dirty="0">
                    <a:solidFill>
                      <a:srgbClr val="000000"/>
                    </a:solidFill>
                    <a:latin typeface="Arial"/>
                  </a:rPr>
                  <a:t>and Business</a:t>
                </a:r>
              </a:p>
            </p:txBody>
          </p:sp>
          <p:sp>
            <p:nvSpPr>
              <p:cNvPr id="48" name="TextBox 242"/>
              <p:cNvSpPr txBox="1">
                <a:spLocks noChangeArrowheads="1"/>
              </p:cNvSpPr>
              <p:nvPr/>
            </p:nvSpPr>
            <p:spPr bwMode="auto">
              <a:xfrm>
                <a:off x="10591800" y="2947988"/>
                <a:ext cx="1096963" cy="357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57263" eaLnBrk="0" hangingPunct="0">
                  <a:defRPr>
                    <a:solidFill>
                      <a:schemeClr val="tx1"/>
                    </a:solidFill>
                    <a:latin typeface="Arial" pitchFamily="34" charset="0"/>
                  </a:defRPr>
                </a:lvl1pPr>
                <a:lvl2pPr marL="742950" indent="-285750" defTabSz="957263" eaLnBrk="0" hangingPunct="0">
                  <a:defRPr>
                    <a:solidFill>
                      <a:schemeClr val="tx1"/>
                    </a:solidFill>
                    <a:latin typeface="Arial" pitchFamily="34" charset="0"/>
                  </a:defRPr>
                </a:lvl2pPr>
                <a:lvl3pPr marL="1143000" indent="-228600" defTabSz="957263" eaLnBrk="0" hangingPunct="0">
                  <a:defRPr>
                    <a:solidFill>
                      <a:schemeClr val="tx1"/>
                    </a:solidFill>
                    <a:latin typeface="Arial" pitchFamily="34" charset="0"/>
                  </a:defRPr>
                </a:lvl3pPr>
                <a:lvl4pPr marL="1600200" indent="-228600" defTabSz="957263" eaLnBrk="0" hangingPunct="0">
                  <a:defRPr>
                    <a:solidFill>
                      <a:schemeClr val="tx1"/>
                    </a:solidFill>
                    <a:latin typeface="Arial" pitchFamily="34" charset="0"/>
                  </a:defRPr>
                </a:lvl4pPr>
                <a:lvl5pPr marL="2057400" indent="-228600" defTabSz="957263" eaLnBrk="0" hangingPunct="0">
                  <a:defRPr>
                    <a:solidFill>
                      <a:schemeClr val="tx1"/>
                    </a:solidFill>
                    <a:latin typeface="Arial" pitchFamily="34" charset="0"/>
                  </a:defRPr>
                </a:lvl5pPr>
                <a:lvl6pPr marL="2514600" indent="-228600" defTabSz="957263" eaLnBrk="0" fontAlgn="base" hangingPunct="0">
                  <a:spcBef>
                    <a:spcPct val="0"/>
                  </a:spcBef>
                  <a:spcAft>
                    <a:spcPct val="0"/>
                  </a:spcAft>
                  <a:defRPr>
                    <a:solidFill>
                      <a:schemeClr val="tx1"/>
                    </a:solidFill>
                    <a:latin typeface="Arial" pitchFamily="34" charset="0"/>
                  </a:defRPr>
                </a:lvl6pPr>
                <a:lvl7pPr marL="2971800" indent="-228600" defTabSz="957263" eaLnBrk="0" fontAlgn="base" hangingPunct="0">
                  <a:spcBef>
                    <a:spcPct val="0"/>
                  </a:spcBef>
                  <a:spcAft>
                    <a:spcPct val="0"/>
                  </a:spcAft>
                  <a:defRPr>
                    <a:solidFill>
                      <a:schemeClr val="tx1"/>
                    </a:solidFill>
                    <a:latin typeface="Arial" pitchFamily="34" charset="0"/>
                  </a:defRPr>
                </a:lvl7pPr>
                <a:lvl8pPr marL="3429000" indent="-228600" defTabSz="957263" eaLnBrk="0" fontAlgn="base" hangingPunct="0">
                  <a:spcBef>
                    <a:spcPct val="0"/>
                  </a:spcBef>
                  <a:spcAft>
                    <a:spcPct val="0"/>
                  </a:spcAft>
                  <a:defRPr>
                    <a:solidFill>
                      <a:schemeClr val="tx1"/>
                    </a:solidFill>
                    <a:latin typeface="Arial" pitchFamily="34" charset="0"/>
                  </a:defRPr>
                </a:lvl8pPr>
                <a:lvl9pPr marL="3886200" indent="-228600" defTabSz="957263" eaLnBrk="0" fontAlgn="base" hangingPunct="0">
                  <a:spcBef>
                    <a:spcPct val="0"/>
                  </a:spcBef>
                  <a:spcAft>
                    <a:spcPct val="0"/>
                  </a:spcAft>
                  <a:defRPr>
                    <a:solidFill>
                      <a:schemeClr val="tx1"/>
                    </a:solidFill>
                    <a:latin typeface="Arial" pitchFamily="34" charset="0"/>
                  </a:defRPr>
                </a:lvl9pPr>
              </a:lstStyle>
              <a:p>
                <a:pPr eaLnBrk="1" hangingPunct="1">
                  <a:spcAft>
                    <a:spcPts val="600"/>
                  </a:spcAft>
                </a:pPr>
                <a:r>
                  <a:rPr lang="en-US" sz="1000" b="1" dirty="0">
                    <a:solidFill>
                      <a:srgbClr val="000000"/>
                    </a:solidFill>
                    <a:latin typeface="Arial"/>
                  </a:rPr>
                  <a:t>Predictable IT Costs </a:t>
                </a:r>
              </a:p>
            </p:txBody>
          </p:sp>
          <p:sp>
            <p:nvSpPr>
              <p:cNvPr id="49" name="Rounded Rectangle 48"/>
              <p:cNvSpPr/>
              <p:nvPr/>
            </p:nvSpPr>
            <p:spPr>
              <a:xfrm>
                <a:off x="2963862" y="5583237"/>
                <a:ext cx="6748463" cy="734358"/>
              </a:xfrm>
              <a:prstGeom prst="roundRect">
                <a:avLst/>
              </a:prstGeom>
              <a:solidFill>
                <a:schemeClr val="accent2"/>
              </a:solidFill>
              <a:ln>
                <a:solidFill>
                  <a:schemeClr val="accent2"/>
                </a:solidFill>
              </a:ln>
            </p:spPr>
            <p:style>
              <a:lnRef idx="1">
                <a:schemeClr val="accent5"/>
              </a:lnRef>
              <a:fillRef idx="3">
                <a:schemeClr val="accent5"/>
              </a:fillRef>
              <a:effectRef idx="2">
                <a:schemeClr val="accent5"/>
              </a:effectRef>
              <a:fontRef idx="minor">
                <a:schemeClr val="lt1"/>
              </a:fontRef>
            </p:style>
            <p:txBody>
              <a:bodyPr anchor="ctr"/>
              <a:lstStyle/>
              <a:p>
                <a:pPr algn="ctr" defTabSz="957756">
                  <a:lnSpc>
                    <a:spcPct val="90000"/>
                  </a:lnSpc>
                  <a:defRPr/>
                </a:pPr>
                <a:r>
                  <a:rPr lang="en-US" sz="1200" dirty="0">
                    <a:solidFill>
                      <a:prstClr val="white"/>
                    </a:solidFill>
                  </a:rPr>
                  <a:t>Industrialized ITIL Based Delivery Model </a:t>
                </a:r>
              </a:p>
              <a:p>
                <a:pPr algn="ctr" defTabSz="957756">
                  <a:lnSpc>
                    <a:spcPct val="90000"/>
                  </a:lnSpc>
                  <a:defRPr/>
                </a:pPr>
                <a:r>
                  <a:rPr lang="en-US" sz="1200" dirty="0">
                    <a:solidFill>
                      <a:prstClr val="white"/>
                    </a:solidFill>
                  </a:rPr>
                  <a:t>Service Integration Heritage and Experience</a:t>
                </a:r>
                <a:br>
                  <a:rPr lang="en-US" sz="1200" dirty="0">
                    <a:solidFill>
                      <a:prstClr val="white"/>
                    </a:solidFill>
                  </a:rPr>
                </a:br>
                <a:r>
                  <a:rPr lang="en-US" sz="1200" dirty="0">
                    <a:solidFill>
                      <a:prstClr val="white"/>
                    </a:solidFill>
                  </a:rPr>
                  <a:t>Exceptional Track Record of AM Delivery Quality</a:t>
                </a:r>
              </a:p>
            </p:txBody>
          </p:sp>
          <p:sp>
            <p:nvSpPr>
              <p:cNvPr id="50" name="Rounded Rectangle 49"/>
              <p:cNvSpPr/>
              <p:nvPr/>
            </p:nvSpPr>
            <p:spPr>
              <a:xfrm>
                <a:off x="3537313" y="1195725"/>
                <a:ext cx="2692375" cy="891024"/>
              </a:xfrm>
              <a:prstGeom prst="roundRect">
                <a:avLst/>
              </a:prstGeom>
              <a:gradFill flip="none" rotWithShape="1">
                <a:gsLst>
                  <a:gs pos="0">
                    <a:schemeClr val="accent1">
                      <a:lumMod val="60000"/>
                      <a:lumOff val="40000"/>
                    </a:schemeClr>
                  </a:gs>
                  <a:gs pos="50000">
                    <a:schemeClr val="accent1">
                      <a:lumMod val="20000"/>
                      <a:lumOff val="80000"/>
                    </a:schemeClr>
                  </a:gs>
                  <a:gs pos="100000">
                    <a:schemeClr val="bg1"/>
                  </a:gs>
                </a:gsLst>
                <a:lin ang="0" scaled="1"/>
                <a:tileRect/>
              </a:gradFill>
              <a:ln w="28575">
                <a:gradFill flip="none" rotWithShape="1">
                  <a:gsLst>
                    <a:gs pos="0">
                      <a:schemeClr val="accent1"/>
                    </a:gs>
                    <a:gs pos="50000">
                      <a:schemeClr val="accent1">
                        <a:lumMod val="60000"/>
                        <a:lumOff val="40000"/>
                      </a:schemeClr>
                    </a:gs>
                    <a:gs pos="100000">
                      <a:schemeClr val="accent1">
                        <a:lumMod val="40000"/>
                        <a:lumOff val="60000"/>
                      </a:schemeClr>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dirty="0">
                  <a:solidFill>
                    <a:prstClr val="white"/>
                  </a:solidFill>
                  <a:cs typeface="Arial" pitchFamily="34" charset="0"/>
                </a:endParaRPr>
              </a:p>
            </p:txBody>
          </p:sp>
          <p:sp>
            <p:nvSpPr>
              <p:cNvPr id="51" name="Rounded Rectangle 50"/>
              <p:cNvSpPr/>
              <p:nvPr/>
            </p:nvSpPr>
            <p:spPr>
              <a:xfrm>
                <a:off x="2707935" y="2167218"/>
                <a:ext cx="3521752" cy="891024"/>
              </a:xfrm>
              <a:prstGeom prst="roundRect">
                <a:avLst/>
              </a:prstGeom>
              <a:gradFill flip="none" rotWithShape="1">
                <a:gsLst>
                  <a:gs pos="0">
                    <a:schemeClr val="accent3">
                      <a:lumMod val="40000"/>
                      <a:lumOff val="60000"/>
                    </a:schemeClr>
                  </a:gs>
                  <a:gs pos="50000">
                    <a:schemeClr val="accent3">
                      <a:lumMod val="20000"/>
                      <a:lumOff val="80000"/>
                    </a:schemeClr>
                  </a:gs>
                  <a:gs pos="100000">
                    <a:schemeClr val="bg1"/>
                  </a:gs>
                </a:gsLst>
                <a:lin ang="0" scaled="1"/>
                <a:tileRect/>
              </a:gradFill>
              <a:ln w="28575">
                <a:gradFill flip="none" rotWithShape="1">
                  <a:gsLst>
                    <a:gs pos="0">
                      <a:schemeClr val="accent3"/>
                    </a:gs>
                    <a:gs pos="50000">
                      <a:schemeClr val="accent3">
                        <a:lumMod val="60000"/>
                        <a:lumOff val="40000"/>
                      </a:schemeClr>
                    </a:gs>
                    <a:gs pos="100000">
                      <a:schemeClr val="accent3">
                        <a:lumMod val="40000"/>
                        <a:lumOff val="60000"/>
                      </a:schemeClr>
                    </a:gs>
                  </a:gsLst>
                  <a:lin ang="108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dirty="0">
                  <a:solidFill>
                    <a:prstClr val="white"/>
                  </a:solidFill>
                  <a:cs typeface="Arial" pitchFamily="34" charset="0"/>
                </a:endParaRPr>
              </a:p>
            </p:txBody>
          </p:sp>
          <p:sp>
            <p:nvSpPr>
              <p:cNvPr id="52" name="Rounded Rectangle 51"/>
              <p:cNvSpPr/>
              <p:nvPr/>
            </p:nvSpPr>
            <p:spPr>
              <a:xfrm>
                <a:off x="3537313" y="3139921"/>
                <a:ext cx="2692375" cy="891024"/>
              </a:xfrm>
              <a:prstGeom prst="roundRect">
                <a:avLst/>
              </a:prstGeom>
              <a:gradFill flip="none" rotWithShape="1">
                <a:gsLst>
                  <a:gs pos="0">
                    <a:schemeClr val="tx2">
                      <a:lumMod val="40000"/>
                      <a:lumOff val="60000"/>
                    </a:schemeClr>
                  </a:gs>
                  <a:gs pos="50000">
                    <a:schemeClr val="bg2">
                      <a:lumMod val="20000"/>
                      <a:lumOff val="80000"/>
                    </a:schemeClr>
                  </a:gs>
                  <a:gs pos="100000">
                    <a:schemeClr val="bg1"/>
                  </a:gs>
                </a:gsLst>
                <a:lin ang="0" scaled="1"/>
                <a:tileRect/>
              </a:gradFill>
              <a:ln w="28575">
                <a:gradFill flip="none" rotWithShape="1">
                  <a:gsLst>
                    <a:gs pos="0">
                      <a:schemeClr val="tx2"/>
                    </a:gs>
                    <a:gs pos="50000">
                      <a:schemeClr val="tx2">
                        <a:lumMod val="60000"/>
                        <a:lumOff val="40000"/>
                      </a:schemeClr>
                    </a:gs>
                    <a:gs pos="100000">
                      <a:schemeClr val="bg1"/>
                    </a:gs>
                  </a:gsLst>
                  <a:lin ang="108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dirty="0">
                  <a:solidFill>
                    <a:prstClr val="white"/>
                  </a:solidFill>
                  <a:cs typeface="Arial" pitchFamily="34" charset="0"/>
                </a:endParaRPr>
              </a:p>
            </p:txBody>
          </p:sp>
          <p:sp>
            <p:nvSpPr>
              <p:cNvPr id="53" name="Rounded Rectangle 52"/>
              <p:cNvSpPr/>
              <p:nvPr/>
            </p:nvSpPr>
            <p:spPr>
              <a:xfrm>
                <a:off x="2707935" y="4117075"/>
                <a:ext cx="3521752" cy="891024"/>
              </a:xfrm>
              <a:prstGeom prst="roundRect">
                <a:avLst/>
              </a:prstGeom>
              <a:gradFill flip="none" rotWithShape="1">
                <a:gsLst>
                  <a:gs pos="0">
                    <a:schemeClr val="accent6">
                      <a:lumMod val="40000"/>
                      <a:lumOff val="60000"/>
                    </a:schemeClr>
                  </a:gs>
                  <a:gs pos="50000">
                    <a:schemeClr val="accent6">
                      <a:lumMod val="20000"/>
                      <a:lumOff val="80000"/>
                    </a:schemeClr>
                  </a:gs>
                  <a:gs pos="100000">
                    <a:schemeClr val="bg1"/>
                  </a:gs>
                </a:gsLst>
                <a:lin ang="0" scaled="1"/>
                <a:tileRect/>
              </a:gradFill>
              <a:ln w="28575">
                <a:gradFill flip="none" rotWithShape="1">
                  <a:gsLst>
                    <a:gs pos="0">
                      <a:schemeClr val="accent2"/>
                    </a:gs>
                    <a:gs pos="50000">
                      <a:schemeClr val="accent2">
                        <a:lumMod val="60000"/>
                        <a:lumOff val="40000"/>
                      </a:schemeClr>
                    </a:gs>
                    <a:gs pos="100000">
                      <a:schemeClr val="accent6"/>
                    </a:gs>
                  </a:gsLst>
                  <a:lin ang="108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dirty="0">
                  <a:solidFill>
                    <a:prstClr val="white"/>
                  </a:solidFill>
                  <a:cs typeface="Arial" pitchFamily="34" charset="0"/>
                </a:endParaRPr>
              </a:p>
            </p:txBody>
          </p:sp>
          <p:sp>
            <p:nvSpPr>
              <p:cNvPr id="54" name="Rounded Rectangle 53"/>
              <p:cNvSpPr/>
              <p:nvPr/>
            </p:nvSpPr>
            <p:spPr>
              <a:xfrm>
                <a:off x="2719388" y="1195388"/>
                <a:ext cx="1490662" cy="890587"/>
              </a:xfrm>
              <a:prstGeom prst="roundRect">
                <a:avLst/>
              </a:prstGeom>
              <a:gradFill>
                <a:gsLst>
                  <a:gs pos="75000">
                    <a:schemeClr val="accent2"/>
                  </a:gs>
                  <a:gs pos="100000">
                    <a:schemeClr val="accent2">
                      <a:lumMod val="60000"/>
                      <a:lumOff val="40000"/>
                    </a:schemeClr>
                  </a:gs>
                </a:gsLst>
                <a:lin ang="16200000" scaled="1"/>
              </a:gra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dirty="0">
                  <a:solidFill>
                    <a:prstClr val="white"/>
                  </a:solidFill>
                  <a:cs typeface="Arial" pitchFamily="34" charset="0"/>
                </a:endParaRPr>
              </a:p>
            </p:txBody>
          </p:sp>
          <p:sp>
            <p:nvSpPr>
              <p:cNvPr id="55" name="Rounded Rectangle 54"/>
              <p:cNvSpPr/>
              <p:nvPr/>
            </p:nvSpPr>
            <p:spPr>
              <a:xfrm>
                <a:off x="2719388" y="3140075"/>
                <a:ext cx="1490662" cy="890588"/>
              </a:xfrm>
              <a:prstGeom prst="roundRect">
                <a:avLst/>
              </a:prstGeom>
              <a:gradFill>
                <a:gsLst>
                  <a:gs pos="75000">
                    <a:schemeClr val="accent2"/>
                  </a:gs>
                  <a:gs pos="100000">
                    <a:schemeClr val="accent2">
                      <a:lumMod val="60000"/>
                      <a:lumOff val="40000"/>
                    </a:schemeClr>
                  </a:gs>
                </a:gsLst>
                <a:lin ang="16200000" scaled="1"/>
              </a:gra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dirty="0">
                  <a:solidFill>
                    <a:prstClr val="white"/>
                  </a:solidFill>
                  <a:cs typeface="Arial" pitchFamily="34" charset="0"/>
                </a:endParaRPr>
              </a:p>
            </p:txBody>
          </p:sp>
          <p:sp>
            <p:nvSpPr>
              <p:cNvPr id="56" name="Rounded Rectangle 55"/>
              <p:cNvSpPr/>
              <p:nvPr/>
            </p:nvSpPr>
            <p:spPr>
              <a:xfrm>
                <a:off x="2719388" y="4116388"/>
                <a:ext cx="1490662" cy="892175"/>
              </a:xfrm>
              <a:prstGeom prst="roundRect">
                <a:avLst/>
              </a:prstGeom>
              <a:gradFill>
                <a:gsLst>
                  <a:gs pos="75000">
                    <a:schemeClr val="accent2"/>
                  </a:gs>
                  <a:gs pos="100000">
                    <a:schemeClr val="accent2">
                      <a:lumMod val="60000"/>
                      <a:lumOff val="40000"/>
                    </a:schemeClr>
                  </a:gs>
                </a:gsLst>
                <a:lin ang="16200000" scaled="1"/>
              </a:gra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dirty="0">
                  <a:solidFill>
                    <a:prstClr val="white"/>
                  </a:solidFill>
                  <a:cs typeface="Arial" pitchFamily="34" charset="0"/>
                </a:endParaRPr>
              </a:p>
            </p:txBody>
          </p:sp>
          <p:sp>
            <p:nvSpPr>
              <p:cNvPr id="57" name="Rounded Rectangle 56"/>
              <p:cNvSpPr/>
              <p:nvPr/>
            </p:nvSpPr>
            <p:spPr>
              <a:xfrm>
                <a:off x="6284558" y="2167218"/>
                <a:ext cx="3491905" cy="891024"/>
              </a:xfrm>
              <a:prstGeom prst="roundRect">
                <a:avLst/>
              </a:prstGeom>
              <a:gradFill flip="none" rotWithShape="1">
                <a:gsLst>
                  <a:gs pos="0">
                    <a:schemeClr val="accent5">
                      <a:lumMod val="40000"/>
                      <a:lumOff val="60000"/>
                    </a:schemeClr>
                  </a:gs>
                  <a:gs pos="50000">
                    <a:schemeClr val="accent5">
                      <a:lumMod val="20000"/>
                      <a:lumOff val="80000"/>
                    </a:schemeClr>
                  </a:gs>
                  <a:gs pos="100000">
                    <a:schemeClr val="bg1"/>
                  </a:gs>
                </a:gsLst>
                <a:lin ang="10800000" scaled="1"/>
                <a:tileRect/>
              </a:gradFill>
              <a:ln w="28575">
                <a:gradFill flip="none" rotWithShape="1">
                  <a:gsLst>
                    <a:gs pos="0">
                      <a:schemeClr val="accent5"/>
                    </a:gs>
                    <a:gs pos="50000">
                      <a:schemeClr val="accent5">
                        <a:lumMod val="60000"/>
                        <a:lumOff val="40000"/>
                      </a:schemeClr>
                    </a:gs>
                    <a:gs pos="100000">
                      <a:schemeClr val="accent5">
                        <a:lumMod val="40000"/>
                        <a:lumOff val="60000"/>
                      </a:schemeClr>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dirty="0">
                  <a:solidFill>
                    <a:prstClr val="white"/>
                  </a:solidFill>
                  <a:cs typeface="Arial" pitchFamily="34" charset="0"/>
                </a:endParaRPr>
              </a:p>
            </p:txBody>
          </p:sp>
          <p:sp>
            <p:nvSpPr>
              <p:cNvPr id="58" name="Rounded Rectangle 57"/>
              <p:cNvSpPr/>
              <p:nvPr/>
            </p:nvSpPr>
            <p:spPr>
              <a:xfrm>
                <a:off x="8313738" y="2166938"/>
                <a:ext cx="1490662" cy="890587"/>
              </a:xfrm>
              <a:prstGeom prst="roundRect">
                <a:avLst/>
              </a:prstGeom>
              <a:gradFill>
                <a:gsLst>
                  <a:gs pos="75000">
                    <a:schemeClr val="accent2"/>
                  </a:gs>
                  <a:gs pos="100000">
                    <a:schemeClr val="accent2">
                      <a:lumMod val="60000"/>
                      <a:lumOff val="40000"/>
                    </a:schemeClr>
                  </a:gs>
                </a:gsLst>
                <a:lin ang="16200000" scaled="1"/>
              </a:gra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dirty="0">
                  <a:solidFill>
                    <a:prstClr val="white"/>
                  </a:solidFill>
                  <a:cs typeface="Arial" pitchFamily="34" charset="0"/>
                </a:endParaRPr>
              </a:p>
            </p:txBody>
          </p:sp>
          <p:sp>
            <p:nvSpPr>
              <p:cNvPr id="59" name="Rounded Rectangle 58"/>
              <p:cNvSpPr/>
              <p:nvPr/>
            </p:nvSpPr>
            <p:spPr>
              <a:xfrm>
                <a:off x="6284558" y="1195725"/>
                <a:ext cx="2692375" cy="891024"/>
              </a:xfrm>
              <a:prstGeom prst="roundRect">
                <a:avLst/>
              </a:prstGeom>
              <a:gradFill flip="none" rotWithShape="1">
                <a:gsLst>
                  <a:gs pos="0">
                    <a:schemeClr val="accent4">
                      <a:lumMod val="40000"/>
                      <a:lumOff val="60000"/>
                    </a:schemeClr>
                  </a:gs>
                  <a:gs pos="50000">
                    <a:schemeClr val="accent4">
                      <a:lumMod val="20000"/>
                      <a:lumOff val="80000"/>
                    </a:schemeClr>
                  </a:gs>
                  <a:gs pos="100000">
                    <a:schemeClr val="bg1"/>
                  </a:gs>
                </a:gsLst>
                <a:lin ang="10800000" scaled="1"/>
                <a:tileRect/>
              </a:gradFill>
              <a:ln w="28575">
                <a:gradFill flip="none" rotWithShape="1">
                  <a:gsLst>
                    <a:gs pos="0">
                      <a:schemeClr val="accent2"/>
                    </a:gs>
                    <a:gs pos="50000">
                      <a:schemeClr val="accent2">
                        <a:lumMod val="60000"/>
                        <a:lumOff val="40000"/>
                      </a:schemeClr>
                    </a:gs>
                    <a:gs pos="100000">
                      <a:schemeClr val="accent6"/>
                    </a:gs>
                  </a:gsLst>
                  <a:lin ang="108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dirty="0">
                  <a:solidFill>
                    <a:prstClr val="white"/>
                  </a:solidFill>
                  <a:cs typeface="Arial" pitchFamily="34" charset="0"/>
                </a:endParaRPr>
              </a:p>
            </p:txBody>
          </p:sp>
          <p:sp>
            <p:nvSpPr>
              <p:cNvPr id="60" name="Rounded Rectangle 59"/>
              <p:cNvSpPr/>
              <p:nvPr/>
            </p:nvSpPr>
            <p:spPr>
              <a:xfrm>
                <a:off x="8291513" y="1200150"/>
                <a:ext cx="1490662" cy="892175"/>
              </a:xfrm>
              <a:prstGeom prst="roundRect">
                <a:avLst/>
              </a:prstGeom>
              <a:gradFill>
                <a:gsLst>
                  <a:gs pos="75000">
                    <a:schemeClr val="accent2"/>
                  </a:gs>
                  <a:gs pos="100000">
                    <a:schemeClr val="accent2">
                      <a:lumMod val="60000"/>
                      <a:lumOff val="40000"/>
                    </a:schemeClr>
                  </a:gs>
                </a:gsLst>
                <a:lin ang="16200000" scaled="1"/>
              </a:gra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dirty="0">
                  <a:solidFill>
                    <a:prstClr val="white"/>
                  </a:solidFill>
                  <a:cs typeface="Arial" pitchFamily="34" charset="0"/>
                </a:endParaRPr>
              </a:p>
            </p:txBody>
          </p:sp>
          <p:sp>
            <p:nvSpPr>
              <p:cNvPr id="61" name="Rounded Rectangle 60"/>
              <p:cNvSpPr/>
              <p:nvPr/>
            </p:nvSpPr>
            <p:spPr>
              <a:xfrm>
                <a:off x="6319075" y="4117075"/>
                <a:ext cx="3516663" cy="891024"/>
              </a:xfrm>
              <a:prstGeom prst="roundRect">
                <a:avLst/>
              </a:prstGeom>
              <a:gradFill flip="none" rotWithShape="1">
                <a:gsLst>
                  <a:gs pos="0">
                    <a:schemeClr val="bg2">
                      <a:lumMod val="40000"/>
                      <a:lumOff val="60000"/>
                    </a:schemeClr>
                  </a:gs>
                  <a:gs pos="50000">
                    <a:schemeClr val="bg2">
                      <a:lumMod val="20000"/>
                      <a:lumOff val="80000"/>
                    </a:schemeClr>
                  </a:gs>
                  <a:gs pos="100000">
                    <a:schemeClr val="bg1"/>
                  </a:gs>
                </a:gsLst>
                <a:lin ang="10800000" scaled="1"/>
                <a:tileRect/>
              </a:gradFill>
              <a:ln w="28575">
                <a:gradFill flip="none" rotWithShape="1">
                  <a:gsLst>
                    <a:gs pos="0">
                      <a:schemeClr val="tx2"/>
                    </a:gs>
                    <a:gs pos="50000">
                      <a:schemeClr val="tx2">
                        <a:lumMod val="60000"/>
                        <a:lumOff val="40000"/>
                      </a:schemeClr>
                    </a:gs>
                    <a:gs pos="100000">
                      <a:schemeClr val="bg2"/>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dirty="0">
                  <a:solidFill>
                    <a:prstClr val="white"/>
                  </a:solidFill>
                  <a:cs typeface="Arial" pitchFamily="34" charset="0"/>
                </a:endParaRPr>
              </a:p>
            </p:txBody>
          </p:sp>
          <p:sp>
            <p:nvSpPr>
              <p:cNvPr id="62" name="Rounded Rectangle 61"/>
              <p:cNvSpPr/>
              <p:nvPr/>
            </p:nvSpPr>
            <p:spPr>
              <a:xfrm>
                <a:off x="8313738" y="4116388"/>
                <a:ext cx="1490662" cy="892175"/>
              </a:xfrm>
              <a:prstGeom prst="roundRect">
                <a:avLst/>
              </a:prstGeom>
              <a:gradFill>
                <a:gsLst>
                  <a:gs pos="75000">
                    <a:schemeClr val="accent2"/>
                  </a:gs>
                  <a:gs pos="100000">
                    <a:schemeClr val="accent2">
                      <a:lumMod val="60000"/>
                      <a:lumOff val="40000"/>
                    </a:schemeClr>
                  </a:gs>
                </a:gsLst>
                <a:lin ang="16200000" scaled="1"/>
              </a:gra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dirty="0">
                  <a:solidFill>
                    <a:prstClr val="white"/>
                  </a:solidFill>
                  <a:cs typeface="Arial" pitchFamily="34" charset="0"/>
                </a:endParaRPr>
              </a:p>
            </p:txBody>
          </p:sp>
          <p:sp>
            <p:nvSpPr>
              <p:cNvPr id="63" name="Rounded Rectangle 62"/>
              <p:cNvSpPr/>
              <p:nvPr/>
            </p:nvSpPr>
            <p:spPr>
              <a:xfrm>
                <a:off x="6319075" y="3139921"/>
                <a:ext cx="2692375" cy="891024"/>
              </a:xfrm>
              <a:prstGeom prst="roundRect">
                <a:avLst/>
              </a:prstGeom>
              <a:gradFill flip="none" rotWithShape="1">
                <a:gsLst>
                  <a:gs pos="0">
                    <a:srgbClr val="E1CCF0"/>
                  </a:gs>
                  <a:gs pos="50000">
                    <a:srgbClr val="E6D5F3"/>
                  </a:gs>
                  <a:gs pos="100000">
                    <a:schemeClr val="bg1"/>
                  </a:gs>
                </a:gsLst>
                <a:lin ang="10800000" scaled="1"/>
                <a:tileRect/>
              </a:gradFill>
              <a:ln w="28575">
                <a:gradFill flip="none" rotWithShape="1">
                  <a:gsLst>
                    <a:gs pos="0">
                      <a:srgbClr val="7030A0"/>
                    </a:gs>
                    <a:gs pos="50000">
                      <a:srgbClr val="B889DB"/>
                    </a:gs>
                    <a:gs pos="100000">
                      <a:schemeClr val="tx2">
                        <a:lumMod val="40000"/>
                        <a:lumOff val="60000"/>
                      </a:schemeClr>
                    </a:gs>
                  </a:gsLst>
                  <a:lin ang="108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dirty="0">
                  <a:solidFill>
                    <a:prstClr val="white"/>
                  </a:solidFill>
                  <a:cs typeface="Arial" pitchFamily="34" charset="0"/>
                </a:endParaRPr>
              </a:p>
            </p:txBody>
          </p:sp>
          <p:sp>
            <p:nvSpPr>
              <p:cNvPr id="64" name="Rectangle 163"/>
              <p:cNvSpPr>
                <a:spLocks noChangeArrowheads="1"/>
              </p:cNvSpPr>
              <p:nvPr/>
            </p:nvSpPr>
            <p:spPr bwMode="auto">
              <a:xfrm>
                <a:off x="2722563" y="3187492"/>
                <a:ext cx="1544220" cy="822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57263"/>
                <a:r>
                  <a:rPr lang="en-US" sz="1000" b="1" dirty="0">
                    <a:solidFill>
                      <a:srgbClr val="FFFFFF"/>
                    </a:solidFill>
                  </a:rPr>
                  <a:t>Application</a:t>
                </a:r>
              </a:p>
              <a:p>
                <a:pPr algn="ctr" defTabSz="957263"/>
                <a:r>
                  <a:rPr lang="en-US" sz="1000" b="1" dirty="0">
                    <a:solidFill>
                      <a:srgbClr val="FFFFFF"/>
                    </a:solidFill>
                  </a:rPr>
                  <a:t>Rationalization &amp; Transformation</a:t>
                </a:r>
              </a:p>
            </p:txBody>
          </p:sp>
          <p:sp>
            <p:nvSpPr>
              <p:cNvPr id="65" name="Rectangle 164"/>
              <p:cNvSpPr>
                <a:spLocks noChangeArrowheads="1"/>
              </p:cNvSpPr>
              <p:nvPr/>
            </p:nvSpPr>
            <p:spPr bwMode="auto">
              <a:xfrm>
                <a:off x="2730500" y="4252913"/>
                <a:ext cx="1468438" cy="643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957263"/>
                <a:r>
                  <a:rPr lang="en-US" sz="1000" b="1" dirty="0">
                    <a:solidFill>
                      <a:srgbClr val="FFFFFF"/>
                    </a:solidFill>
                  </a:rPr>
                  <a:t>Industrialized Managed</a:t>
                </a:r>
              </a:p>
              <a:p>
                <a:pPr algn="ctr" defTabSz="957263"/>
                <a:r>
                  <a:rPr lang="en-US" sz="1000" b="1" dirty="0">
                    <a:solidFill>
                      <a:srgbClr val="FFFFFF"/>
                    </a:solidFill>
                  </a:rPr>
                  <a:t>Service Centers </a:t>
                </a:r>
              </a:p>
            </p:txBody>
          </p:sp>
          <p:sp>
            <p:nvSpPr>
              <p:cNvPr id="66" name="TextBox 165"/>
              <p:cNvSpPr txBox="1">
                <a:spLocks noChangeArrowheads="1"/>
              </p:cNvSpPr>
              <p:nvPr/>
            </p:nvSpPr>
            <p:spPr bwMode="auto">
              <a:xfrm>
                <a:off x="2817813" y="1455738"/>
                <a:ext cx="1293812"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91440" bIns="91440" anchor="ctr"/>
              <a:lstStyle>
                <a:lvl1pPr marL="3175" defTabSz="957263" eaLnBrk="0" hangingPunct="0">
                  <a:defRPr>
                    <a:solidFill>
                      <a:schemeClr val="tx1"/>
                    </a:solidFill>
                    <a:latin typeface="Arial" pitchFamily="34" charset="0"/>
                  </a:defRPr>
                </a:lvl1pPr>
                <a:lvl2pPr marL="742950" indent="-285750" defTabSz="957263" eaLnBrk="0" hangingPunct="0">
                  <a:defRPr>
                    <a:solidFill>
                      <a:schemeClr val="tx1"/>
                    </a:solidFill>
                    <a:latin typeface="Arial" pitchFamily="34" charset="0"/>
                  </a:defRPr>
                </a:lvl2pPr>
                <a:lvl3pPr marL="1143000" indent="-228600" defTabSz="957263" eaLnBrk="0" hangingPunct="0">
                  <a:defRPr>
                    <a:solidFill>
                      <a:schemeClr val="tx1"/>
                    </a:solidFill>
                    <a:latin typeface="Arial" pitchFamily="34" charset="0"/>
                  </a:defRPr>
                </a:lvl3pPr>
                <a:lvl4pPr marL="1600200" indent="-228600" defTabSz="957263" eaLnBrk="0" hangingPunct="0">
                  <a:defRPr>
                    <a:solidFill>
                      <a:schemeClr val="tx1"/>
                    </a:solidFill>
                    <a:latin typeface="Arial" pitchFamily="34" charset="0"/>
                  </a:defRPr>
                </a:lvl4pPr>
                <a:lvl5pPr marL="2057400" indent="-228600" defTabSz="957263" eaLnBrk="0" hangingPunct="0">
                  <a:defRPr>
                    <a:solidFill>
                      <a:schemeClr val="tx1"/>
                    </a:solidFill>
                    <a:latin typeface="Arial" pitchFamily="34" charset="0"/>
                  </a:defRPr>
                </a:lvl5pPr>
                <a:lvl6pPr marL="2514600" indent="-228600" defTabSz="957263" eaLnBrk="0" fontAlgn="base" hangingPunct="0">
                  <a:spcBef>
                    <a:spcPct val="0"/>
                  </a:spcBef>
                  <a:spcAft>
                    <a:spcPct val="0"/>
                  </a:spcAft>
                  <a:defRPr>
                    <a:solidFill>
                      <a:schemeClr val="tx1"/>
                    </a:solidFill>
                    <a:latin typeface="Arial" pitchFamily="34" charset="0"/>
                  </a:defRPr>
                </a:lvl6pPr>
                <a:lvl7pPr marL="2971800" indent="-228600" defTabSz="957263" eaLnBrk="0" fontAlgn="base" hangingPunct="0">
                  <a:spcBef>
                    <a:spcPct val="0"/>
                  </a:spcBef>
                  <a:spcAft>
                    <a:spcPct val="0"/>
                  </a:spcAft>
                  <a:defRPr>
                    <a:solidFill>
                      <a:schemeClr val="tx1"/>
                    </a:solidFill>
                    <a:latin typeface="Arial" pitchFamily="34" charset="0"/>
                  </a:defRPr>
                </a:lvl7pPr>
                <a:lvl8pPr marL="3429000" indent="-228600" defTabSz="957263" eaLnBrk="0" fontAlgn="base" hangingPunct="0">
                  <a:spcBef>
                    <a:spcPct val="0"/>
                  </a:spcBef>
                  <a:spcAft>
                    <a:spcPct val="0"/>
                  </a:spcAft>
                  <a:defRPr>
                    <a:solidFill>
                      <a:schemeClr val="tx1"/>
                    </a:solidFill>
                    <a:latin typeface="Arial" pitchFamily="34" charset="0"/>
                  </a:defRPr>
                </a:lvl8pPr>
                <a:lvl9pPr marL="3886200" indent="-228600" defTabSz="957263" eaLnBrk="0" fontAlgn="base" hangingPunct="0">
                  <a:spcBef>
                    <a:spcPct val="0"/>
                  </a:spcBef>
                  <a:spcAft>
                    <a:spcPct val="0"/>
                  </a:spcAft>
                  <a:defRPr>
                    <a:solidFill>
                      <a:schemeClr val="tx1"/>
                    </a:solidFill>
                    <a:latin typeface="Arial" pitchFamily="34" charset="0"/>
                  </a:defRPr>
                </a:lvl9pPr>
              </a:lstStyle>
              <a:p>
                <a:pPr algn="ctr" eaLnBrk="1" hangingPunct="1"/>
                <a:r>
                  <a:rPr lang="en-US" sz="1000" b="1" dirty="0">
                    <a:solidFill>
                      <a:srgbClr val="FFFFFF"/>
                    </a:solidFill>
                    <a:latin typeface="Arial"/>
                  </a:rPr>
                  <a:t>Incident Count Reduction</a:t>
                </a:r>
              </a:p>
            </p:txBody>
          </p:sp>
          <p:sp>
            <p:nvSpPr>
              <p:cNvPr id="67" name="Rectangle 167"/>
              <p:cNvSpPr>
                <a:spLocks noChangeArrowheads="1"/>
              </p:cNvSpPr>
              <p:nvPr/>
            </p:nvSpPr>
            <p:spPr bwMode="auto">
              <a:xfrm>
                <a:off x="8193088" y="1265961"/>
                <a:ext cx="1760537" cy="697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91440">
                <a:spAutoFit/>
              </a:bodyPr>
              <a:lstStyle/>
              <a:p>
                <a:pPr algn="ctr" defTabSz="957263"/>
                <a:r>
                  <a:rPr lang="en-US" sz="1000" b="1" dirty="0">
                    <a:solidFill>
                      <a:srgbClr val="FFFFFF"/>
                    </a:solidFill>
                  </a:rPr>
                  <a:t>Real time </a:t>
                </a:r>
              </a:p>
              <a:p>
                <a:pPr algn="ctr" defTabSz="957263"/>
                <a:r>
                  <a:rPr lang="en-US" sz="1000" b="1" dirty="0">
                    <a:solidFill>
                      <a:srgbClr val="FFFFFF"/>
                    </a:solidFill>
                  </a:rPr>
                  <a:t>Dashboards</a:t>
                </a:r>
              </a:p>
              <a:p>
                <a:pPr algn="ctr" defTabSz="957263"/>
                <a:r>
                  <a:rPr lang="en-US" sz="1000" b="1" dirty="0">
                    <a:solidFill>
                      <a:srgbClr val="FFFFFF"/>
                    </a:solidFill>
                  </a:rPr>
                  <a:t>&amp; Smart KPIs</a:t>
                </a:r>
              </a:p>
            </p:txBody>
          </p:sp>
          <p:sp>
            <p:nvSpPr>
              <p:cNvPr id="68" name="Rectangle 168"/>
              <p:cNvSpPr>
                <a:spLocks noChangeArrowheads="1"/>
              </p:cNvSpPr>
              <p:nvPr/>
            </p:nvSpPr>
            <p:spPr bwMode="auto">
              <a:xfrm>
                <a:off x="8186737" y="2288520"/>
                <a:ext cx="1743075" cy="643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957263"/>
                <a:r>
                  <a:rPr lang="en-US" sz="1000" b="1" dirty="0">
                    <a:solidFill>
                      <a:srgbClr val="FFFFFF"/>
                    </a:solidFill>
                  </a:rPr>
                  <a:t>Visual Management &amp; Rightshore</a:t>
                </a:r>
                <a:r>
                  <a:rPr lang="en-US" sz="1000" b="1" baseline="30000" dirty="0">
                    <a:solidFill>
                      <a:srgbClr val="FFFFFF"/>
                    </a:solidFill>
                  </a:rPr>
                  <a:t>®</a:t>
                </a:r>
              </a:p>
            </p:txBody>
          </p:sp>
          <p:sp>
            <p:nvSpPr>
              <p:cNvPr id="69" name="Rectangle 169"/>
              <p:cNvSpPr>
                <a:spLocks noChangeArrowheads="1"/>
              </p:cNvSpPr>
              <p:nvPr/>
            </p:nvSpPr>
            <p:spPr bwMode="auto">
              <a:xfrm>
                <a:off x="8340726" y="4310064"/>
                <a:ext cx="1436688" cy="643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957263"/>
                <a:r>
                  <a:rPr lang="en-US" sz="1000" b="1" dirty="0">
                    <a:solidFill>
                      <a:srgbClr val="FFFFFF"/>
                    </a:solidFill>
                  </a:rPr>
                  <a:t>Proven</a:t>
                </a:r>
              </a:p>
              <a:p>
                <a:pPr algn="ctr" defTabSz="957263"/>
                <a:r>
                  <a:rPr lang="en-US" sz="1000" b="1" dirty="0">
                    <a:solidFill>
                      <a:srgbClr val="FFFFFF"/>
                    </a:solidFill>
                  </a:rPr>
                  <a:t>Transition Tools</a:t>
                </a:r>
              </a:p>
            </p:txBody>
          </p:sp>
          <p:sp>
            <p:nvSpPr>
              <p:cNvPr id="70" name="Rounded Rectangle 69"/>
              <p:cNvSpPr/>
              <p:nvPr/>
            </p:nvSpPr>
            <p:spPr>
              <a:xfrm>
                <a:off x="2719388" y="2166938"/>
                <a:ext cx="1490662" cy="890587"/>
              </a:xfrm>
              <a:prstGeom prst="roundRect">
                <a:avLst/>
              </a:prstGeom>
              <a:gradFill>
                <a:gsLst>
                  <a:gs pos="75000">
                    <a:schemeClr val="accent2"/>
                  </a:gs>
                  <a:gs pos="100000">
                    <a:schemeClr val="accent2">
                      <a:lumMod val="60000"/>
                      <a:lumOff val="40000"/>
                    </a:schemeClr>
                  </a:gs>
                </a:gsLst>
                <a:lin ang="16200000" scaled="1"/>
              </a:gra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dirty="0">
                  <a:solidFill>
                    <a:prstClr val="white"/>
                  </a:solidFill>
                  <a:cs typeface="Arial" pitchFamily="34" charset="0"/>
                </a:endParaRPr>
              </a:p>
            </p:txBody>
          </p:sp>
          <p:sp>
            <p:nvSpPr>
              <p:cNvPr id="71" name="Rectangle 171"/>
              <p:cNvSpPr>
                <a:spLocks noChangeArrowheads="1"/>
              </p:cNvSpPr>
              <p:nvPr/>
            </p:nvSpPr>
            <p:spPr bwMode="auto">
              <a:xfrm>
                <a:off x="2662238" y="2288520"/>
                <a:ext cx="1604963" cy="643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957263"/>
                <a:r>
                  <a:rPr lang="en-US" sz="1000" b="1" dirty="0">
                    <a:solidFill>
                      <a:srgbClr val="FFFFFF"/>
                    </a:solidFill>
                  </a:rPr>
                  <a:t>CAST Application Intelligence</a:t>
                </a:r>
              </a:p>
            </p:txBody>
          </p:sp>
          <p:pic>
            <p:nvPicPr>
              <p:cNvPr id="72" name="Picture 4"/>
              <p:cNvPicPr>
                <a:picLocks noChangeAspect="1" noChangeArrowheads="1"/>
              </p:cNvPicPr>
              <p:nvPr/>
            </p:nvPicPr>
            <p:blipFill>
              <a:blip r:embed="rId2" cstate="print">
                <a:extLst>
                  <a:ext uri="{28A0092B-C50C-407E-A947-70E740481C1C}">
                    <a14:useLocalDpi xmlns:a14="http://schemas.microsoft.com/office/drawing/2010/main"/>
                  </a:ext>
                </a:extLst>
              </a:blip>
              <a:srcRect t="21503"/>
              <a:stretch>
                <a:fillRect/>
              </a:stretch>
            </p:blipFill>
            <p:spPr bwMode="auto">
              <a:xfrm>
                <a:off x="4359275" y="1330325"/>
                <a:ext cx="1271588" cy="592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pic>
          <p:pic>
            <p:nvPicPr>
              <p:cNvPr id="73" name="Picture 2"/>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237038" y="1216025"/>
                <a:ext cx="6889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 name="Picture 3"/>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516563" y="1641475"/>
                <a:ext cx="62547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 name="Rectangle 74"/>
              <p:cNvSpPr/>
              <p:nvPr/>
            </p:nvSpPr>
            <p:spPr>
              <a:xfrm>
                <a:off x="4518025" y="1693863"/>
                <a:ext cx="1112838" cy="225425"/>
              </a:xfrm>
              <a:prstGeom prst="rect">
                <a:avLst/>
              </a:prstGeom>
              <a:solidFill>
                <a:schemeClr val="accent5"/>
              </a:solidFill>
              <a:ln w="25400" cap="flat"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stStyle>
              <a:p>
                <a:pPr algn="ctr">
                  <a:defRPr/>
                </a:pPr>
                <a:r>
                  <a:rPr lang="en-US" sz="800" dirty="0">
                    <a:solidFill>
                      <a:prstClr val="white"/>
                    </a:solidFill>
                  </a:rPr>
                  <a:t>Failure Mode Analysis</a:t>
                </a:r>
              </a:p>
            </p:txBody>
          </p:sp>
          <p:pic>
            <p:nvPicPr>
              <p:cNvPr id="76" name="Picture 4"/>
              <p:cNvPicPr>
                <a:picLocks noChangeAspect="1" noChangeArrowheads="1"/>
              </p:cNvPicPr>
              <p:nvPr/>
            </p:nvPicPr>
            <p:blipFill>
              <a:blip r:embed="rId5" cstate="print">
                <a:extLst>
                  <a:ext uri="{28A0092B-C50C-407E-A947-70E740481C1C}">
                    <a14:useLocalDpi xmlns:a14="http://schemas.microsoft.com/office/drawing/2010/main"/>
                  </a:ext>
                </a:extLst>
              </a:blip>
              <a:srcRect l="1178" t="11684" r="42470" b="4744"/>
              <a:stretch>
                <a:fillRect/>
              </a:stretch>
            </p:blipFill>
            <p:spPr bwMode="auto">
              <a:xfrm>
                <a:off x="4297363" y="2312988"/>
                <a:ext cx="879475" cy="674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4"/>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5207000" y="2435225"/>
                <a:ext cx="906463"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 name="Picture 5"/>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4933950" y="2281238"/>
                <a:ext cx="736600" cy="434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 name="Picture 2"/>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5389563" y="3178175"/>
                <a:ext cx="703262"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0" name="Picture 2"/>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4449763" y="3181350"/>
                <a:ext cx="1016000"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 name="Picture 2"/>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5218113" y="3548063"/>
                <a:ext cx="763587"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 name="Picture 2"/>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4365625" y="3605213"/>
                <a:ext cx="720725"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 name="Picture 183" descr="IMG_7458.JPG"/>
              <p:cNvPicPr>
                <a:picLocks noChangeAspect="1"/>
              </p:cNvPicPr>
              <p:nvPr/>
            </p:nvPicPr>
            <p:blipFill>
              <a:blip r:embed="rId12" cstate="print">
                <a:lum bright="10000" contrast="20000"/>
                <a:extLst>
                  <a:ext uri="{28A0092B-C50C-407E-A947-70E740481C1C}">
                    <a14:useLocalDpi xmlns:a14="http://schemas.microsoft.com/office/drawing/2010/main"/>
                  </a:ext>
                </a:extLst>
              </a:blip>
              <a:srcRect/>
              <a:stretch>
                <a:fillRect/>
              </a:stretch>
            </p:blipFill>
            <p:spPr bwMode="auto">
              <a:xfrm>
                <a:off x="4518025" y="4254500"/>
                <a:ext cx="1516063"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4" name="Picture 3"/>
              <p:cNvPicPr>
                <a:picLocks noChangeAspect="1" noChangeArrowheads="1"/>
              </p:cNvPicPr>
              <p:nvPr/>
            </p:nvPicPr>
            <p:blipFill>
              <a:blip r:embed="rId13" cstate="print"/>
              <a:srcRect/>
              <a:stretch>
                <a:fillRect/>
              </a:stretch>
            </p:blipFill>
            <p:spPr>
              <a:xfrm>
                <a:off x="6845300" y="1284288"/>
                <a:ext cx="779463" cy="381000"/>
              </a:xfrm>
              <a:prstGeom prst="rect">
                <a:avLst/>
              </a:prstGeom>
              <a:noFill/>
              <a:ln w="9525">
                <a:solidFill>
                  <a:schemeClr val="bg1">
                    <a:lumMod val="95000"/>
                  </a:schemeClr>
                </a:solidFill>
                <a:miter lim="800000"/>
              </a:ln>
              <a:effectLst/>
            </p:spPr>
          </p:pic>
          <p:pic>
            <p:nvPicPr>
              <p:cNvPr id="85" name="Picture 1"/>
              <p:cNvPicPr>
                <a:picLocks noChangeAspect="1" noChangeArrowheads="1"/>
              </p:cNvPicPr>
              <p:nvPr/>
            </p:nvPicPr>
            <p:blipFill>
              <a:blip r:embed="rId14" cstate="print"/>
              <a:srcRect/>
              <a:stretch>
                <a:fillRect/>
              </a:stretch>
            </p:blipFill>
            <p:spPr>
              <a:xfrm>
                <a:off x="6346825" y="1508125"/>
                <a:ext cx="892175" cy="517525"/>
              </a:xfrm>
              <a:prstGeom prst="rect">
                <a:avLst/>
              </a:prstGeom>
              <a:noFill/>
              <a:ln w="9525">
                <a:solidFill>
                  <a:schemeClr val="bg1">
                    <a:lumMod val="95000"/>
                  </a:schemeClr>
                </a:solidFill>
                <a:miter lim="800000"/>
              </a:ln>
              <a:effectLst/>
            </p:spPr>
          </p:pic>
          <p:pic>
            <p:nvPicPr>
              <p:cNvPr id="86" name="Picture 2"/>
              <p:cNvPicPr>
                <a:picLocks noChangeAspect="1" noChangeArrowheads="1"/>
              </p:cNvPicPr>
              <p:nvPr/>
            </p:nvPicPr>
            <p:blipFill>
              <a:blip r:embed="rId15" cstate="print"/>
              <a:srcRect/>
              <a:stretch>
                <a:fillRect/>
              </a:stretch>
            </p:blipFill>
            <p:spPr>
              <a:xfrm>
                <a:off x="7593013" y="1301750"/>
                <a:ext cx="544512" cy="725488"/>
              </a:xfrm>
              <a:prstGeom prst="rect">
                <a:avLst/>
              </a:prstGeom>
              <a:noFill/>
              <a:ln w="9525">
                <a:solidFill>
                  <a:schemeClr val="bg1">
                    <a:lumMod val="95000"/>
                  </a:schemeClr>
                </a:solidFill>
                <a:miter lim="800000"/>
              </a:ln>
              <a:effectLst/>
            </p:spPr>
          </p:pic>
          <p:pic>
            <p:nvPicPr>
              <p:cNvPr id="87" name="Picture 4" descr="SAP EZ Trans"/>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6970713" y="4217988"/>
                <a:ext cx="949325"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6"/>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7596188" y="4400550"/>
                <a:ext cx="703262"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 name="Picture 12"/>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6473825" y="4229100"/>
                <a:ext cx="522288"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 name="Picture 3"/>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6403975" y="2282825"/>
                <a:ext cx="1466850"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 name="Picture 11"/>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7624763" y="2562225"/>
                <a:ext cx="658812"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 name="Picture 9"/>
              <p:cNvPicPr>
                <a:picLocks noChangeAspect="1" noChangeArrowheads="1"/>
              </p:cNvPicPr>
              <p:nvPr/>
            </p:nvPicPr>
            <p:blipFill>
              <a:blip r:embed="rId21" cstate="print">
                <a:extLst>
                  <a:ext uri="{28A0092B-C50C-407E-A947-70E740481C1C}">
                    <a14:useLocalDpi xmlns:a14="http://schemas.microsoft.com/office/drawing/2010/main"/>
                  </a:ext>
                </a:extLst>
              </a:blip>
              <a:srcRect/>
              <a:stretch>
                <a:fillRect/>
              </a:stretch>
            </p:blipFill>
            <p:spPr bwMode="auto">
              <a:xfrm>
                <a:off x="6835775" y="2193925"/>
                <a:ext cx="652463"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 name="Picture 187"/>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6714825" y="3246438"/>
                <a:ext cx="1709400" cy="677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4" name="Rounded Rectangle 93"/>
              <p:cNvSpPr/>
              <p:nvPr/>
            </p:nvSpPr>
            <p:spPr>
              <a:xfrm>
                <a:off x="8313738" y="3140075"/>
                <a:ext cx="1490662" cy="890588"/>
              </a:xfrm>
              <a:prstGeom prst="roundRect">
                <a:avLst/>
              </a:prstGeom>
              <a:gradFill>
                <a:gsLst>
                  <a:gs pos="75000">
                    <a:schemeClr val="accent2"/>
                  </a:gs>
                  <a:gs pos="100000">
                    <a:schemeClr val="accent2">
                      <a:lumMod val="60000"/>
                      <a:lumOff val="40000"/>
                    </a:schemeClr>
                  </a:gs>
                </a:gsLst>
                <a:lin ang="16200000" scaled="1"/>
              </a:gra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dirty="0">
                  <a:solidFill>
                    <a:prstClr val="white"/>
                  </a:solidFill>
                  <a:cs typeface="Arial" pitchFamily="34" charset="0"/>
                </a:endParaRPr>
              </a:p>
            </p:txBody>
          </p:sp>
          <p:sp>
            <p:nvSpPr>
              <p:cNvPr id="95" name="Rectangle 166"/>
              <p:cNvSpPr>
                <a:spLocks noChangeArrowheads="1"/>
              </p:cNvSpPr>
              <p:nvPr/>
            </p:nvSpPr>
            <p:spPr bwMode="auto">
              <a:xfrm>
                <a:off x="8170863" y="3358659"/>
                <a:ext cx="1776412" cy="46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957263"/>
                <a:r>
                  <a:rPr lang="en-US" sz="1000" b="1" dirty="0" smtClean="0">
                    <a:solidFill>
                      <a:srgbClr val="FFFFFF"/>
                    </a:solidFill>
                  </a:rPr>
                  <a:t>Innovation  </a:t>
                </a:r>
                <a:endParaRPr lang="en-US" sz="1000" b="1" dirty="0">
                  <a:solidFill>
                    <a:srgbClr val="FFFFFF"/>
                  </a:solidFill>
                </a:endParaRPr>
              </a:p>
              <a:p>
                <a:pPr algn="ctr" defTabSz="957263"/>
                <a:endParaRPr lang="en-US" sz="1000" b="1" dirty="0">
                  <a:solidFill>
                    <a:srgbClr val="FFFFFF"/>
                  </a:solidFill>
                </a:endParaRPr>
              </a:p>
            </p:txBody>
          </p:sp>
        </p:grpSp>
        <p:pic>
          <p:nvPicPr>
            <p:cNvPr id="138" name="Picture 2" descr="image001"/>
            <p:cNvPicPr>
              <a:picLocks noChangeAspect="1" noChangeArrowheads="1"/>
            </p:cNvPicPr>
            <p:nvPr/>
          </p:nvPicPr>
          <p:blipFill>
            <a:blip r:embed="rId23" cstate="print">
              <a:extLst>
                <a:ext uri="{28A0092B-C50C-407E-A947-70E740481C1C}">
                  <a14:useLocalDpi xmlns:a14="http://schemas.microsoft.com/office/drawing/2010/main"/>
                </a:ext>
              </a:extLst>
            </a:blip>
            <a:srcRect/>
            <a:stretch>
              <a:fillRect/>
            </a:stretch>
          </p:blipFill>
          <p:spPr bwMode="auto">
            <a:xfrm>
              <a:off x="5786888" y="3462909"/>
              <a:ext cx="694728" cy="46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9" name="Picture 138"/>
            <p:cNvPicPr>
              <a:picLocks noChangeAspect="1"/>
            </p:cNvPicPr>
            <p:nvPr/>
          </p:nvPicPr>
          <p:blipFill>
            <a:blip r:embed="rId24" cstate="print"/>
            <a:stretch>
              <a:fillRect/>
            </a:stretch>
          </p:blipFill>
          <p:spPr>
            <a:xfrm>
              <a:off x="5055847" y="3198490"/>
              <a:ext cx="881022" cy="542591"/>
            </a:xfrm>
            <a:prstGeom prst="rect">
              <a:avLst/>
            </a:prstGeom>
          </p:spPr>
        </p:pic>
      </p:grpSp>
    </p:spTree>
    <p:extLst>
      <p:ext uri="{BB962C8B-B14F-4D97-AF65-F5344CB8AC3E}">
        <p14:creationId xmlns:p14="http://schemas.microsoft.com/office/powerpoint/2010/main" val="9524395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rot="19645103">
            <a:off x="1488559" y="3204398"/>
            <a:ext cx="4859079" cy="822960"/>
          </a:xfrm>
        </p:spPr>
        <p:txBody>
          <a:bodyPr/>
          <a:lstStyle/>
          <a:p>
            <a:pPr algn="ctr"/>
            <a:r>
              <a:rPr lang="en-US" dirty="0" smtClean="0"/>
              <a:t>Discussion on CRM</a:t>
            </a:r>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NA ppt template_8-2015">
  <a:themeElements>
    <a:clrScheme name="Custom 4">
      <a:dk1>
        <a:sysClr val="windowText" lastClr="000000"/>
      </a:dk1>
      <a:lt1>
        <a:sysClr val="window" lastClr="FFFFFF"/>
      </a:lt1>
      <a:dk2>
        <a:srgbClr val="969696"/>
      </a:dk2>
      <a:lt2>
        <a:srgbClr val="C0C0C0"/>
      </a:lt2>
      <a:accent1>
        <a:srgbClr val="263147"/>
      </a:accent1>
      <a:accent2>
        <a:srgbClr val="009ACC"/>
      </a:accent2>
      <a:accent3>
        <a:srgbClr val="70AD47"/>
      </a:accent3>
      <a:accent4>
        <a:srgbClr val="40B3D6"/>
      </a:accent4>
      <a:accent5>
        <a:srgbClr val="E47E1A"/>
      </a:accent5>
      <a:accent6>
        <a:srgbClr val="7FCCE3"/>
      </a:accent6>
      <a:hlink>
        <a:srgbClr val="AC2B37"/>
      </a:hlink>
      <a:folHlink>
        <a:srgbClr val="762C7C"/>
      </a:folHlink>
    </a:clrScheme>
    <a:fontScheme name="Capgemini_NA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200" dirty="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spcAft>
            <a:spcPts val="600"/>
          </a:spcAft>
          <a:defRPr sz="1200" dirty="0" err="1"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G PPT Template_2014_1">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apgemini NA ppt template_8-2015</Template>
  <TotalTime>0</TotalTime>
  <Words>1983</Words>
  <Application>Microsoft Office PowerPoint</Application>
  <PresentationFormat>On-screen Show (4:3)</PresentationFormat>
  <Paragraphs>783</Paragraphs>
  <Slides>16</Slides>
  <Notes>5</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6</vt:i4>
      </vt:variant>
    </vt:vector>
  </HeadingPairs>
  <TitlesOfParts>
    <vt:vector size="20" baseType="lpstr">
      <vt:lpstr>Capgemini NA ppt template_8-2015</vt:lpstr>
      <vt:lpstr>Closing slides</vt:lpstr>
      <vt:lpstr>CG PPT Template_2014_1</vt:lpstr>
      <vt:lpstr>think-cell Slide</vt:lpstr>
      <vt:lpstr>Capgemini AM Solution Walk-thru</vt:lpstr>
      <vt:lpstr>Data Points Analyzed</vt:lpstr>
      <vt:lpstr>Key considerations for solution approach</vt:lpstr>
      <vt:lpstr>Approach to Providing 16*5 Support Coverage</vt:lpstr>
      <vt:lpstr>Proposed Service Levels</vt:lpstr>
      <vt:lpstr>Engagement Governance</vt:lpstr>
      <vt:lpstr>Interaction Model</vt:lpstr>
      <vt:lpstr>Continuous Improvement Framework</vt:lpstr>
      <vt:lpstr>Discussion on CRM</vt:lpstr>
      <vt:lpstr>November 12th Workshop Recap</vt:lpstr>
      <vt:lpstr>CRM Scope Summary</vt:lpstr>
      <vt:lpstr>CRM Delivery Model – Quarterly Releases</vt:lpstr>
      <vt:lpstr>Key Targeted Focus Areas</vt:lpstr>
      <vt:lpstr>CRM and Other Apps – Staffing Plan</vt:lpstr>
      <vt:lpstr>Assumptions</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6-12-01T06:35:18Z</dcterms:created>
  <dcterms:modified xsi:type="dcterms:W3CDTF">2016-12-11T13:13:55Z</dcterms:modified>
</cp:coreProperties>
</file>